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charts/chart1.xml" ContentType="application/vnd.openxmlformats-officedocument.drawingml.chart+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16" r:id="rId1"/>
  </p:sldMasterIdLst>
  <p:notesMasterIdLst>
    <p:notesMasterId r:id="rId38"/>
  </p:notesMasterIdLst>
  <p:handoutMasterIdLst>
    <p:handoutMasterId r:id="rId39"/>
  </p:handoutMasterIdLst>
  <p:sldIdLst>
    <p:sldId id="581" r:id="rId2"/>
    <p:sldId id="896" r:id="rId3"/>
    <p:sldId id="897" r:id="rId4"/>
    <p:sldId id="908" r:id="rId5"/>
    <p:sldId id="257" r:id="rId6"/>
    <p:sldId id="724" r:id="rId7"/>
    <p:sldId id="770" r:id="rId8"/>
    <p:sldId id="734" r:id="rId9"/>
    <p:sldId id="730" r:id="rId10"/>
    <p:sldId id="732" r:id="rId11"/>
    <p:sldId id="882" r:id="rId12"/>
    <p:sldId id="791" r:id="rId13"/>
    <p:sldId id="819" r:id="rId14"/>
    <p:sldId id="795" r:id="rId15"/>
    <p:sldId id="797" r:id="rId16"/>
    <p:sldId id="783" r:id="rId17"/>
    <p:sldId id="798" r:id="rId18"/>
    <p:sldId id="756" r:id="rId19"/>
    <p:sldId id="883" r:id="rId20"/>
    <p:sldId id="899" r:id="rId21"/>
    <p:sldId id="767" r:id="rId22"/>
    <p:sldId id="760" r:id="rId23"/>
    <p:sldId id="894" r:id="rId24"/>
    <p:sldId id="789" r:id="rId25"/>
    <p:sldId id="879" r:id="rId26"/>
    <p:sldId id="829" r:id="rId27"/>
    <p:sldId id="902" r:id="rId28"/>
    <p:sldId id="903" r:id="rId29"/>
    <p:sldId id="907" r:id="rId30"/>
    <p:sldId id="906" r:id="rId31"/>
    <p:sldId id="905" r:id="rId32"/>
    <p:sldId id="857" r:id="rId33"/>
    <p:sldId id="898" r:id="rId34"/>
    <p:sldId id="895" r:id="rId35"/>
    <p:sldId id="910" r:id="rId36"/>
    <p:sldId id="911" r:id="rId37"/>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800F173-EEBB-5240-AC32-DF42B6172E93}">
          <p14:sldIdLst>
            <p14:sldId id="581"/>
            <p14:sldId id="896"/>
            <p14:sldId id="897"/>
            <p14:sldId id="908"/>
            <p14:sldId id="257"/>
            <p14:sldId id="724"/>
            <p14:sldId id="770"/>
            <p14:sldId id="734"/>
            <p14:sldId id="730"/>
            <p14:sldId id="732"/>
            <p14:sldId id="882"/>
            <p14:sldId id="791"/>
            <p14:sldId id="819"/>
            <p14:sldId id="795"/>
            <p14:sldId id="797"/>
            <p14:sldId id="783"/>
            <p14:sldId id="798"/>
            <p14:sldId id="756"/>
            <p14:sldId id="883"/>
            <p14:sldId id="899"/>
            <p14:sldId id="767"/>
            <p14:sldId id="760"/>
            <p14:sldId id="894"/>
            <p14:sldId id="789"/>
            <p14:sldId id="879"/>
            <p14:sldId id="829"/>
            <p14:sldId id="902"/>
            <p14:sldId id="903"/>
            <p14:sldId id="907"/>
            <p14:sldId id="906"/>
            <p14:sldId id="905"/>
            <p14:sldId id="857"/>
            <p14:sldId id="898"/>
            <p14:sldId id="895"/>
            <p14:sldId id="910"/>
            <p14:sldId id="911"/>
          </p14:sldIdLst>
        </p14:section>
      </p14:sectionLst>
    </p:ex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ura Sarkisian"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0F2A8"/>
    <a:srgbClr val="9BADB8"/>
    <a:srgbClr val="C39774"/>
    <a:srgbClr val="84D1A6"/>
    <a:srgbClr val="A1B3BF"/>
    <a:srgbClr val="FBD4A5"/>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21" autoAdjust="0"/>
    <p:restoredTop sz="95701" autoAdjust="0"/>
  </p:normalViewPr>
  <p:slideViewPr>
    <p:cSldViewPr snapToGrid="0" snapToObjects="1">
      <p:cViewPr>
        <p:scale>
          <a:sx n="103" d="100"/>
          <a:sy n="103" d="100"/>
        </p:scale>
        <p:origin x="-78" y="-120"/>
      </p:cViewPr>
      <p:guideLst>
        <p:guide orient="horz" pos="2160"/>
        <p:guide pos="2880"/>
      </p:guideLst>
    </p:cSldViewPr>
  </p:slideViewPr>
  <p:notesTextViewPr>
    <p:cViewPr>
      <p:scale>
        <a:sx n="100" d="100"/>
        <a:sy n="100" d="100"/>
      </p:scale>
      <p:origin x="0" y="0"/>
    </p:cViewPr>
  </p:notesTextViewPr>
  <p:sorterViewPr>
    <p:cViewPr>
      <p:scale>
        <a:sx n="111" d="100"/>
        <a:sy n="111" d="100"/>
      </p:scale>
      <p:origin x="0" y="985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8985731812087"/>
          <c:y val="0.319418792967604"/>
          <c:w val="0.537260001395376"/>
          <c:h val="0.57091011218982002"/>
        </c:manualLayout>
      </c:layout>
      <c:doughnutChart>
        <c:varyColors val="1"/>
        <c:ser>
          <c:idx val="0"/>
          <c:order val="0"/>
          <c:tx>
            <c:strRef>
              <c:f>Sheet1!$B$1</c:f>
              <c:strCache>
                <c:ptCount val="1"/>
                <c:pt idx="0">
                  <c:v>Percent of total</c:v>
                </c:pt>
              </c:strCache>
            </c:strRef>
          </c:tx>
          <c:dPt>
            <c:idx val="0"/>
            <c:bubble3D val="0"/>
            <c:spPr>
              <a:solidFill>
                <a:schemeClr val="tx2"/>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1"/>
              </a:solidFill>
              <a:ln w="19050">
                <a:solidFill>
                  <a:schemeClr val="lt1"/>
                </a:solidFill>
              </a:ln>
              <a:effectLst/>
            </c:spPr>
          </c:dPt>
          <c:dPt>
            <c:idx val="3"/>
            <c:bubble3D val="0"/>
            <c:explosion val="21"/>
            <c:spPr>
              <a:solidFill>
                <a:srgbClr val="ED2125"/>
              </a:solidFill>
            </c:spPr>
          </c:dPt>
          <c:dLbls>
            <c:dLbl>
              <c:idx val="0"/>
              <c:layout>
                <c:manualLayout>
                  <c:x val="0.242150495236923"/>
                  <c:y val="-0.24117790168225101"/>
                </c:manualLayout>
              </c:layout>
              <c:showLegendKey val="0"/>
              <c:showVal val="0"/>
              <c:showCatName val="1"/>
              <c:showSerName val="0"/>
              <c:showPercent val="1"/>
              <c:showBubbleSize val="0"/>
              <c:extLst>
                <c:ext xmlns:c15="http://schemas.microsoft.com/office/drawing/2012/chart" uri="{CE6537A1-D6FC-4f65-9D91-7224C49458BB}">
                  <c15:layout/>
                </c:ext>
              </c:extLst>
            </c:dLbl>
            <c:dLbl>
              <c:idx val="1"/>
              <c:layout>
                <c:manualLayout>
                  <c:x val="0.28174457173458101"/>
                  <c:y val="-0.101637489574878"/>
                </c:manualLayout>
              </c:layout>
              <c:tx>
                <c:rich>
                  <a:bodyPr/>
                  <a:lstStyle/>
                  <a:p>
                    <a:r>
                      <a:rPr lang="en-US" dirty="0" smtClean="0"/>
                      <a:t>Check Engine</a:t>
                    </a:r>
                    <a:r>
                      <a:rPr lang="en-US" dirty="0"/>
                      <a:t>
19%</a:t>
                    </a:r>
                  </a:p>
                </c:rich>
              </c:tx>
              <c:showLegendKey val="0"/>
              <c:showVal val="0"/>
              <c:showCatName val="1"/>
              <c:showSerName val="0"/>
              <c:showPercent val="1"/>
              <c:showBubbleSize val="0"/>
              <c:extLst>
                <c:ext xmlns:c15="http://schemas.microsoft.com/office/drawing/2012/chart" uri="{CE6537A1-D6FC-4f65-9D91-7224C49458BB}">
                  <c15:layout/>
                </c:ext>
              </c:extLst>
            </c:dLbl>
            <c:dLbl>
              <c:idx val="2"/>
              <c:layout>
                <c:manualLayout>
                  <c:x val="-0.27145488904422199"/>
                  <c:y val="8.8187193457674208E-3"/>
                </c:manualLayout>
              </c:layout>
              <c:tx>
                <c:rich>
                  <a:bodyPr/>
                  <a:lstStyle/>
                  <a:p>
                    <a:r>
                      <a:rPr lang="en-US" dirty="0" smtClean="0"/>
                      <a:t>Low Fuel</a:t>
                    </a:r>
                    <a:r>
                      <a:rPr lang="en-US" dirty="0"/>
                      <a:t>
23%</a:t>
                    </a:r>
                  </a:p>
                </c:rich>
              </c:tx>
              <c:showLegendKey val="0"/>
              <c:showVal val="0"/>
              <c:showCatName val="1"/>
              <c:showSerName val="0"/>
              <c:showPercent val="1"/>
              <c:showBubbleSize val="0"/>
              <c:extLst>
                <c:ext xmlns:c15="http://schemas.microsoft.com/office/drawing/2012/chart" uri="{CE6537A1-D6FC-4f65-9D91-7224C49458BB}">
                  <c15:layout/>
                </c:ext>
              </c:extLst>
            </c:dLbl>
            <c:dLbl>
              <c:idx val="3"/>
              <c:layout>
                <c:manualLayout>
                  <c:x val="-9.5020246981563999E-2"/>
                  <c:y val="-0.30770250576611602"/>
                </c:manualLayout>
              </c:layout>
              <c:tx>
                <c:rich>
                  <a:bodyPr/>
                  <a:lstStyle/>
                  <a:p>
                    <a:r>
                      <a:rPr lang="en-US" dirty="0" smtClean="0"/>
                      <a:t>Limited Tech.</a:t>
                    </a:r>
                    <a:r>
                      <a:rPr lang="en-US" baseline="0" dirty="0" smtClean="0"/>
                      <a:t> Users</a:t>
                    </a:r>
                    <a:r>
                      <a:rPr lang="en-US" dirty="0"/>
                      <a:t>
29%</a:t>
                    </a:r>
                  </a:p>
                </c:rich>
              </c:tx>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Equipped Navigators</c:v>
                </c:pt>
                <c:pt idx="1">
                  <c:v>Check Engine</c:v>
                </c:pt>
                <c:pt idx="2">
                  <c:v>Low Fuel</c:v>
                </c:pt>
                <c:pt idx="3">
                  <c:v>Limited</c:v>
                </c:pt>
              </c:strCache>
            </c:strRef>
          </c:cat>
          <c:val>
            <c:numRef>
              <c:f>Sheet1!$B$2:$B$5</c:f>
              <c:numCache>
                <c:formatCode>General</c:formatCode>
                <c:ptCount val="4"/>
                <c:pt idx="0">
                  <c:v>0.28999999999999998</c:v>
                </c:pt>
                <c:pt idx="1">
                  <c:v>0.19</c:v>
                </c:pt>
                <c:pt idx="2">
                  <c:v>0.23</c:v>
                </c:pt>
                <c:pt idx="3">
                  <c:v>0.28999999999999998</c:v>
                </c:pt>
              </c:numCache>
            </c:numRef>
          </c:val>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EFE1274-8628-9043-941B-66D40A7FC692}" type="doc">
      <dgm:prSet loTypeId="urn:microsoft.com/office/officeart/2005/8/layout/cycle3" loCatId="" qsTypeId="urn:microsoft.com/office/officeart/2005/8/quickstyle/simple4" qsCatId="simple" csTypeId="urn:microsoft.com/office/officeart/2005/8/colors/accent1_2" csCatId="accent1" phldr="1"/>
      <dgm:spPr/>
      <dgm:t>
        <a:bodyPr/>
        <a:lstStyle/>
        <a:p>
          <a:endParaRPr lang="en-US"/>
        </a:p>
      </dgm:t>
    </dgm:pt>
    <dgm:pt modelId="{B68EEBF5-C3D4-BE4B-BA99-8FF452FA7651}">
      <dgm:prSet phldrT="[Text]" custT="1"/>
      <dgm:spPr/>
      <dgm:t>
        <a:bodyPr anchor="t"/>
        <a:lstStyle/>
        <a:p>
          <a:r>
            <a:rPr lang="en-US" sz="1600" b="1" u="sng" dirty="0" smtClean="0"/>
            <a:t>Leadership</a:t>
          </a:r>
          <a:endParaRPr lang="en-US" sz="1600" b="1" u="sng" dirty="0"/>
        </a:p>
      </dgm:t>
    </dgm:pt>
    <dgm:pt modelId="{AF2657CD-9B4B-1A4E-A3F1-BDD1F8FFEEEF}" type="parTrans" cxnId="{CD855DE7-8E5A-B344-87FF-FD5224F5D873}">
      <dgm:prSet/>
      <dgm:spPr/>
      <dgm:t>
        <a:bodyPr/>
        <a:lstStyle/>
        <a:p>
          <a:endParaRPr lang="en-US" sz="1600"/>
        </a:p>
      </dgm:t>
    </dgm:pt>
    <dgm:pt modelId="{56B05B0F-5935-9246-85FE-654A4669E09B}" type="sibTrans" cxnId="{CD855DE7-8E5A-B344-87FF-FD5224F5D873}">
      <dgm:prSet/>
      <dgm:spPr/>
      <dgm:t>
        <a:bodyPr/>
        <a:lstStyle/>
        <a:p>
          <a:endParaRPr lang="en-US" sz="1600"/>
        </a:p>
      </dgm:t>
    </dgm:pt>
    <dgm:pt modelId="{35BFD692-C824-DE4C-AFB0-61D0A2941888}">
      <dgm:prSet phldrT="[Text]" custT="1"/>
      <dgm:spPr/>
      <dgm:t>
        <a:bodyPr anchor="t"/>
        <a:lstStyle/>
        <a:p>
          <a:r>
            <a:rPr lang="en-US" sz="1600" b="1" u="sng" dirty="0" smtClean="0"/>
            <a:t>Advising Capacity &amp;  Productivity</a:t>
          </a:r>
          <a:endParaRPr lang="en-US" sz="1600" b="1" u="sng" dirty="0"/>
        </a:p>
      </dgm:t>
    </dgm:pt>
    <dgm:pt modelId="{87F010AE-D25D-CE44-B90B-9C725813CDB2}" type="parTrans" cxnId="{91B29116-6C22-1747-A470-E1E739CC0B2A}">
      <dgm:prSet/>
      <dgm:spPr/>
      <dgm:t>
        <a:bodyPr/>
        <a:lstStyle/>
        <a:p>
          <a:endParaRPr lang="en-US" sz="1600"/>
        </a:p>
      </dgm:t>
    </dgm:pt>
    <dgm:pt modelId="{6BA0789E-EFEF-CE4A-97CE-8E459C4889AF}" type="sibTrans" cxnId="{91B29116-6C22-1747-A470-E1E739CC0B2A}">
      <dgm:prSet/>
      <dgm:spPr/>
      <dgm:t>
        <a:bodyPr/>
        <a:lstStyle/>
        <a:p>
          <a:endParaRPr lang="en-US" sz="1600"/>
        </a:p>
      </dgm:t>
    </dgm:pt>
    <dgm:pt modelId="{F36CA748-2897-2D4C-A9FD-D01F9F6BEC83}">
      <dgm:prSet phldrT="[Text]" custT="1"/>
      <dgm:spPr/>
      <dgm:t>
        <a:bodyPr anchor="t"/>
        <a:lstStyle/>
        <a:p>
          <a:r>
            <a:rPr lang="en-US" sz="1600" b="1" u="sng" dirty="0" smtClean="0"/>
            <a:t>Process Improvement	</a:t>
          </a:r>
          <a:endParaRPr lang="en-US" sz="1600" b="1" u="sng" dirty="0"/>
        </a:p>
      </dgm:t>
    </dgm:pt>
    <dgm:pt modelId="{AB71FD91-4D6A-4B4B-9A37-B01EADB9CBF3}" type="parTrans" cxnId="{8813ED10-C350-0547-A2A7-3E6E3B5C372C}">
      <dgm:prSet/>
      <dgm:spPr/>
      <dgm:t>
        <a:bodyPr/>
        <a:lstStyle/>
        <a:p>
          <a:endParaRPr lang="en-US" sz="1600"/>
        </a:p>
      </dgm:t>
    </dgm:pt>
    <dgm:pt modelId="{CCE5C072-077E-1D4F-8F0D-C9C0354EF419}" type="sibTrans" cxnId="{8813ED10-C350-0547-A2A7-3E6E3B5C372C}">
      <dgm:prSet/>
      <dgm:spPr/>
      <dgm:t>
        <a:bodyPr/>
        <a:lstStyle/>
        <a:p>
          <a:endParaRPr lang="en-US" sz="1600"/>
        </a:p>
      </dgm:t>
    </dgm:pt>
    <dgm:pt modelId="{42EC81A7-B47B-AC45-8512-EC723C5B7118}">
      <dgm:prSet phldrT="[Text]" custT="1"/>
      <dgm:spPr/>
      <dgm:t>
        <a:bodyPr anchor="t"/>
        <a:lstStyle/>
        <a:p>
          <a:r>
            <a:rPr lang="en-US" sz="1600" b="1" u="sng" dirty="0" smtClean="0"/>
            <a:t>Technology Tools and Integration</a:t>
          </a:r>
          <a:endParaRPr lang="en-US" sz="1600" b="1" u="sng" dirty="0"/>
        </a:p>
      </dgm:t>
    </dgm:pt>
    <dgm:pt modelId="{D0214185-0016-6743-B93D-95F049B9D283}" type="parTrans" cxnId="{DDE7B267-7DB7-1549-95B3-CB8A3206C326}">
      <dgm:prSet/>
      <dgm:spPr/>
      <dgm:t>
        <a:bodyPr/>
        <a:lstStyle/>
        <a:p>
          <a:endParaRPr lang="en-US" sz="1600"/>
        </a:p>
      </dgm:t>
    </dgm:pt>
    <dgm:pt modelId="{1CB104AD-BF29-1D4A-8C2F-75FFC3B6F099}" type="sibTrans" cxnId="{DDE7B267-7DB7-1549-95B3-CB8A3206C326}">
      <dgm:prSet/>
      <dgm:spPr/>
      <dgm:t>
        <a:bodyPr/>
        <a:lstStyle/>
        <a:p>
          <a:endParaRPr lang="en-US" sz="1600"/>
        </a:p>
      </dgm:t>
    </dgm:pt>
    <dgm:pt modelId="{D133A4FF-A8F9-CF4D-98E8-A02AAB105ED5}">
      <dgm:prSet phldrT="[Text]" custT="1"/>
      <dgm:spPr/>
      <dgm:t>
        <a:bodyPr anchor="t"/>
        <a:lstStyle/>
        <a:p>
          <a:r>
            <a:rPr lang="en-US" sz="1600" b="1" u="sng" dirty="0" smtClean="0"/>
            <a:t>Student Engagement</a:t>
          </a:r>
          <a:endParaRPr lang="en-US" sz="1600" b="1" u="sng" dirty="0"/>
        </a:p>
      </dgm:t>
    </dgm:pt>
    <dgm:pt modelId="{AEA5C414-4488-4C40-AFCF-E954A155B66B}" type="parTrans" cxnId="{0BFB69D5-472D-FC42-9761-3FFB6366965D}">
      <dgm:prSet/>
      <dgm:spPr/>
      <dgm:t>
        <a:bodyPr/>
        <a:lstStyle/>
        <a:p>
          <a:endParaRPr lang="en-US" sz="1600"/>
        </a:p>
      </dgm:t>
    </dgm:pt>
    <dgm:pt modelId="{6330D3C4-46BB-6643-B369-E5D735D2EE5A}" type="sibTrans" cxnId="{0BFB69D5-472D-FC42-9761-3FFB6366965D}">
      <dgm:prSet/>
      <dgm:spPr/>
      <dgm:t>
        <a:bodyPr/>
        <a:lstStyle/>
        <a:p>
          <a:endParaRPr lang="en-US" sz="1600"/>
        </a:p>
      </dgm:t>
    </dgm:pt>
    <dgm:pt modelId="{CE3E472E-1374-5549-AFEC-02270E380DC4}" type="pres">
      <dgm:prSet presAssocID="{BEFE1274-8628-9043-941B-66D40A7FC692}" presName="Name0" presStyleCnt="0">
        <dgm:presLayoutVars>
          <dgm:dir/>
          <dgm:resizeHandles val="exact"/>
        </dgm:presLayoutVars>
      </dgm:prSet>
      <dgm:spPr/>
      <dgm:t>
        <a:bodyPr/>
        <a:lstStyle/>
        <a:p>
          <a:endParaRPr lang="en-US"/>
        </a:p>
      </dgm:t>
    </dgm:pt>
    <dgm:pt modelId="{AED0A784-0BC3-FA4F-A155-B5007DC3A46A}" type="pres">
      <dgm:prSet presAssocID="{BEFE1274-8628-9043-941B-66D40A7FC692}" presName="cycle" presStyleCnt="0"/>
      <dgm:spPr/>
    </dgm:pt>
    <dgm:pt modelId="{FEDB2D39-7826-2248-A99E-EEAAEB51E8A2}" type="pres">
      <dgm:prSet presAssocID="{B68EEBF5-C3D4-BE4B-BA99-8FF452FA7651}" presName="nodeFirstNode" presStyleLbl="node1" presStyleIdx="0" presStyleCnt="5" custScaleX="114698" custScaleY="70060">
        <dgm:presLayoutVars>
          <dgm:bulletEnabled val="1"/>
        </dgm:presLayoutVars>
      </dgm:prSet>
      <dgm:spPr/>
      <dgm:t>
        <a:bodyPr/>
        <a:lstStyle/>
        <a:p>
          <a:endParaRPr lang="en-US"/>
        </a:p>
      </dgm:t>
    </dgm:pt>
    <dgm:pt modelId="{4916501F-BFF4-ED48-9A66-89D26C7D20EA}" type="pres">
      <dgm:prSet presAssocID="{56B05B0F-5935-9246-85FE-654A4669E09B}" presName="sibTransFirstNode" presStyleLbl="bgShp" presStyleIdx="0" presStyleCnt="1"/>
      <dgm:spPr/>
      <dgm:t>
        <a:bodyPr/>
        <a:lstStyle/>
        <a:p>
          <a:endParaRPr lang="en-US"/>
        </a:p>
      </dgm:t>
    </dgm:pt>
    <dgm:pt modelId="{81BF8EF2-A4E5-854F-ABBA-C9A42BC24BA7}" type="pres">
      <dgm:prSet presAssocID="{35BFD692-C824-DE4C-AFB0-61D0A2941888}" presName="nodeFollowingNodes" presStyleLbl="node1" presStyleIdx="1" presStyleCnt="5" custScaleX="124720" custScaleY="74110" custRadScaleRad="101706" custRadScaleInc="-4591">
        <dgm:presLayoutVars>
          <dgm:bulletEnabled val="1"/>
        </dgm:presLayoutVars>
      </dgm:prSet>
      <dgm:spPr/>
      <dgm:t>
        <a:bodyPr/>
        <a:lstStyle/>
        <a:p>
          <a:endParaRPr lang="en-US"/>
        </a:p>
      </dgm:t>
    </dgm:pt>
    <dgm:pt modelId="{B1446D54-33F5-F64A-89B9-2CB70FF897FB}" type="pres">
      <dgm:prSet presAssocID="{F36CA748-2897-2D4C-A9FD-D01F9F6BEC83}" presName="nodeFollowingNodes" presStyleLbl="node1" presStyleIdx="2" presStyleCnt="5" custScaleX="124720" custScaleY="82449" custRadScaleRad="96884" custRadScaleInc="-46395">
        <dgm:presLayoutVars>
          <dgm:bulletEnabled val="1"/>
        </dgm:presLayoutVars>
      </dgm:prSet>
      <dgm:spPr/>
      <dgm:t>
        <a:bodyPr/>
        <a:lstStyle/>
        <a:p>
          <a:endParaRPr lang="en-US"/>
        </a:p>
      </dgm:t>
    </dgm:pt>
    <dgm:pt modelId="{BD2ACC97-5F8D-2148-94C0-BF0C4CC153B8}" type="pres">
      <dgm:prSet presAssocID="{42EC81A7-B47B-AC45-8512-EC723C5B7118}" presName="nodeFollowingNodes" presStyleLbl="node1" presStyleIdx="3" presStyleCnt="5" custScaleX="124720" custScaleY="93859" custRadScaleRad="93656" custRadScaleInc="43165">
        <dgm:presLayoutVars>
          <dgm:bulletEnabled val="1"/>
        </dgm:presLayoutVars>
      </dgm:prSet>
      <dgm:spPr/>
      <dgm:t>
        <a:bodyPr/>
        <a:lstStyle/>
        <a:p>
          <a:endParaRPr lang="en-US"/>
        </a:p>
      </dgm:t>
    </dgm:pt>
    <dgm:pt modelId="{BA1A17AF-348F-4640-9EDA-30933F261652}" type="pres">
      <dgm:prSet presAssocID="{D133A4FF-A8F9-CF4D-98E8-A02AAB105ED5}" presName="nodeFollowingNodes" presStyleLbl="node1" presStyleIdx="4" presStyleCnt="5" custScaleX="124720" custScaleY="72686" custRadScaleRad="101706" custRadScaleInc="4591">
        <dgm:presLayoutVars>
          <dgm:bulletEnabled val="1"/>
        </dgm:presLayoutVars>
      </dgm:prSet>
      <dgm:spPr/>
      <dgm:t>
        <a:bodyPr/>
        <a:lstStyle/>
        <a:p>
          <a:endParaRPr lang="en-US"/>
        </a:p>
      </dgm:t>
    </dgm:pt>
  </dgm:ptLst>
  <dgm:cxnLst>
    <dgm:cxn modelId="{3DC6B73E-7F3C-4C1C-A999-7BE712A5ED4A}" type="presOf" srcId="{BEFE1274-8628-9043-941B-66D40A7FC692}" destId="{CE3E472E-1374-5549-AFEC-02270E380DC4}" srcOrd="0" destOrd="0" presId="urn:microsoft.com/office/officeart/2005/8/layout/cycle3"/>
    <dgm:cxn modelId="{3EF6BFF3-F851-4919-937A-2BB55ABACC84}" type="presOf" srcId="{F36CA748-2897-2D4C-A9FD-D01F9F6BEC83}" destId="{B1446D54-33F5-F64A-89B9-2CB70FF897FB}" srcOrd="0" destOrd="0" presId="urn:microsoft.com/office/officeart/2005/8/layout/cycle3"/>
    <dgm:cxn modelId="{DEDD5B30-30F1-4E2A-913D-484409E8AB70}" type="presOf" srcId="{D133A4FF-A8F9-CF4D-98E8-A02AAB105ED5}" destId="{BA1A17AF-348F-4640-9EDA-30933F261652}" srcOrd="0" destOrd="0" presId="urn:microsoft.com/office/officeart/2005/8/layout/cycle3"/>
    <dgm:cxn modelId="{CD855DE7-8E5A-B344-87FF-FD5224F5D873}" srcId="{BEFE1274-8628-9043-941B-66D40A7FC692}" destId="{B68EEBF5-C3D4-BE4B-BA99-8FF452FA7651}" srcOrd="0" destOrd="0" parTransId="{AF2657CD-9B4B-1A4E-A3F1-BDD1F8FFEEEF}" sibTransId="{56B05B0F-5935-9246-85FE-654A4669E09B}"/>
    <dgm:cxn modelId="{91B29116-6C22-1747-A470-E1E739CC0B2A}" srcId="{BEFE1274-8628-9043-941B-66D40A7FC692}" destId="{35BFD692-C824-DE4C-AFB0-61D0A2941888}" srcOrd="1" destOrd="0" parTransId="{87F010AE-D25D-CE44-B90B-9C725813CDB2}" sibTransId="{6BA0789E-EFEF-CE4A-97CE-8E459C4889AF}"/>
    <dgm:cxn modelId="{0BFB69D5-472D-FC42-9761-3FFB6366965D}" srcId="{BEFE1274-8628-9043-941B-66D40A7FC692}" destId="{D133A4FF-A8F9-CF4D-98E8-A02AAB105ED5}" srcOrd="4" destOrd="0" parTransId="{AEA5C414-4488-4C40-AFCF-E954A155B66B}" sibTransId="{6330D3C4-46BB-6643-B369-E5D735D2EE5A}"/>
    <dgm:cxn modelId="{CF3B8C55-970B-4493-A19A-7B27F0E843CC}" type="presOf" srcId="{B68EEBF5-C3D4-BE4B-BA99-8FF452FA7651}" destId="{FEDB2D39-7826-2248-A99E-EEAAEB51E8A2}" srcOrd="0" destOrd="0" presId="urn:microsoft.com/office/officeart/2005/8/layout/cycle3"/>
    <dgm:cxn modelId="{DDE7B267-7DB7-1549-95B3-CB8A3206C326}" srcId="{BEFE1274-8628-9043-941B-66D40A7FC692}" destId="{42EC81A7-B47B-AC45-8512-EC723C5B7118}" srcOrd="3" destOrd="0" parTransId="{D0214185-0016-6743-B93D-95F049B9D283}" sibTransId="{1CB104AD-BF29-1D4A-8C2F-75FFC3B6F099}"/>
    <dgm:cxn modelId="{8813ED10-C350-0547-A2A7-3E6E3B5C372C}" srcId="{BEFE1274-8628-9043-941B-66D40A7FC692}" destId="{F36CA748-2897-2D4C-A9FD-D01F9F6BEC83}" srcOrd="2" destOrd="0" parTransId="{AB71FD91-4D6A-4B4B-9A37-B01EADB9CBF3}" sibTransId="{CCE5C072-077E-1D4F-8F0D-C9C0354EF419}"/>
    <dgm:cxn modelId="{D1B2D75D-1308-4039-9DF3-35B08DFA354B}" type="presOf" srcId="{35BFD692-C824-DE4C-AFB0-61D0A2941888}" destId="{81BF8EF2-A4E5-854F-ABBA-C9A42BC24BA7}" srcOrd="0" destOrd="0" presId="urn:microsoft.com/office/officeart/2005/8/layout/cycle3"/>
    <dgm:cxn modelId="{044CCF33-1C81-4B87-9D75-B81AEF934676}" type="presOf" srcId="{42EC81A7-B47B-AC45-8512-EC723C5B7118}" destId="{BD2ACC97-5F8D-2148-94C0-BF0C4CC153B8}" srcOrd="0" destOrd="0" presId="urn:microsoft.com/office/officeart/2005/8/layout/cycle3"/>
    <dgm:cxn modelId="{197E9579-367E-49C0-A004-08AEAF3311EA}" type="presOf" srcId="{56B05B0F-5935-9246-85FE-654A4669E09B}" destId="{4916501F-BFF4-ED48-9A66-89D26C7D20EA}" srcOrd="0" destOrd="0" presId="urn:microsoft.com/office/officeart/2005/8/layout/cycle3"/>
    <dgm:cxn modelId="{CCBB17B9-E3A2-4937-856E-72BF142013AC}" type="presParOf" srcId="{CE3E472E-1374-5549-AFEC-02270E380DC4}" destId="{AED0A784-0BC3-FA4F-A155-B5007DC3A46A}" srcOrd="0" destOrd="0" presId="urn:microsoft.com/office/officeart/2005/8/layout/cycle3"/>
    <dgm:cxn modelId="{0597C3CF-14E2-4B79-8E7F-9E443A0B746C}" type="presParOf" srcId="{AED0A784-0BC3-FA4F-A155-B5007DC3A46A}" destId="{FEDB2D39-7826-2248-A99E-EEAAEB51E8A2}" srcOrd="0" destOrd="0" presId="urn:microsoft.com/office/officeart/2005/8/layout/cycle3"/>
    <dgm:cxn modelId="{432EFC57-A7A1-4399-9C7F-D9B29D4CCC87}" type="presParOf" srcId="{AED0A784-0BC3-FA4F-A155-B5007DC3A46A}" destId="{4916501F-BFF4-ED48-9A66-89D26C7D20EA}" srcOrd="1" destOrd="0" presId="urn:microsoft.com/office/officeart/2005/8/layout/cycle3"/>
    <dgm:cxn modelId="{F7D22A8A-11BA-461A-B172-B4370DA86FCF}" type="presParOf" srcId="{AED0A784-0BC3-FA4F-A155-B5007DC3A46A}" destId="{81BF8EF2-A4E5-854F-ABBA-C9A42BC24BA7}" srcOrd="2" destOrd="0" presId="urn:microsoft.com/office/officeart/2005/8/layout/cycle3"/>
    <dgm:cxn modelId="{A8DB7232-6FD4-4451-B653-D27CA76E5359}" type="presParOf" srcId="{AED0A784-0BC3-FA4F-A155-B5007DC3A46A}" destId="{B1446D54-33F5-F64A-89B9-2CB70FF897FB}" srcOrd="3" destOrd="0" presId="urn:microsoft.com/office/officeart/2005/8/layout/cycle3"/>
    <dgm:cxn modelId="{7DA3F824-0B5B-43C3-AE07-AD99BA99982B}" type="presParOf" srcId="{AED0A784-0BC3-FA4F-A155-B5007DC3A46A}" destId="{BD2ACC97-5F8D-2148-94C0-BF0C4CC153B8}" srcOrd="4" destOrd="0" presId="urn:microsoft.com/office/officeart/2005/8/layout/cycle3"/>
    <dgm:cxn modelId="{72401A3B-78AE-4879-A292-3F1ECBB50E44}" type="presParOf" srcId="{AED0A784-0BC3-FA4F-A155-B5007DC3A46A}" destId="{BA1A17AF-348F-4640-9EDA-30933F261652}" srcOrd="5"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16501F-BFF4-ED48-9A66-89D26C7D20EA}">
      <dsp:nvSpPr>
        <dsp:cNvPr id="0" name=""/>
        <dsp:cNvSpPr/>
      </dsp:nvSpPr>
      <dsp:spPr>
        <a:xfrm>
          <a:off x="1149726" y="-232080"/>
          <a:ext cx="5321474" cy="5321474"/>
        </a:xfrm>
        <a:prstGeom prst="circularArrow">
          <a:avLst>
            <a:gd name="adj1" fmla="val 5544"/>
            <a:gd name="adj2" fmla="val 330680"/>
            <a:gd name="adj3" fmla="val 13432131"/>
            <a:gd name="adj4" fmla="val 17598940"/>
            <a:gd name="adj5" fmla="val 5757"/>
          </a:avLst>
        </a:prstGeom>
        <a:solidFill>
          <a:schemeClr val="accent1">
            <a:tint val="40000"/>
            <a:hueOff val="0"/>
            <a:satOff val="0"/>
            <a:lumOff val="0"/>
            <a:alphaOff val="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FEDB2D39-7826-2248-A99E-EEAAEB51E8A2}">
      <dsp:nvSpPr>
        <dsp:cNvPr id="0" name=""/>
        <dsp:cNvSpPr/>
      </dsp:nvSpPr>
      <dsp:spPr>
        <a:xfrm>
          <a:off x="2384921" y="112404"/>
          <a:ext cx="2851085" cy="870752"/>
        </a:xfrm>
        <a:prstGeom prst="round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t" anchorCtr="0">
          <a:noAutofit/>
        </a:bodyPr>
        <a:lstStyle/>
        <a:p>
          <a:pPr lvl="0" algn="ctr" defTabSz="711200">
            <a:lnSpc>
              <a:spcPct val="90000"/>
            </a:lnSpc>
            <a:spcBef>
              <a:spcPct val="0"/>
            </a:spcBef>
            <a:spcAft>
              <a:spcPct val="35000"/>
            </a:spcAft>
          </a:pPr>
          <a:r>
            <a:rPr lang="en-US" sz="1600" b="1" u="sng" kern="1200" dirty="0" smtClean="0"/>
            <a:t>Leadership</a:t>
          </a:r>
          <a:endParaRPr lang="en-US" sz="1600" b="1" u="sng" kern="1200" dirty="0"/>
        </a:p>
      </dsp:txBody>
      <dsp:txXfrm>
        <a:off x="2427428" y="154911"/>
        <a:ext cx="2766071" cy="785738"/>
      </dsp:txXfrm>
    </dsp:sp>
    <dsp:sp modelId="{81BF8EF2-A4E5-854F-ABBA-C9A42BC24BA7}">
      <dsp:nvSpPr>
        <dsp:cNvPr id="0" name=""/>
        <dsp:cNvSpPr/>
      </dsp:nvSpPr>
      <dsp:spPr>
        <a:xfrm>
          <a:off x="4418587" y="1538645"/>
          <a:ext cx="3100205" cy="921088"/>
        </a:xfrm>
        <a:prstGeom prst="round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t" anchorCtr="0">
          <a:noAutofit/>
        </a:bodyPr>
        <a:lstStyle/>
        <a:p>
          <a:pPr lvl="0" algn="ctr" defTabSz="711200">
            <a:lnSpc>
              <a:spcPct val="90000"/>
            </a:lnSpc>
            <a:spcBef>
              <a:spcPct val="0"/>
            </a:spcBef>
            <a:spcAft>
              <a:spcPct val="35000"/>
            </a:spcAft>
          </a:pPr>
          <a:r>
            <a:rPr lang="en-US" sz="1600" b="1" u="sng" kern="1200" dirty="0" smtClean="0"/>
            <a:t>Advising Capacity &amp;  Productivity</a:t>
          </a:r>
          <a:endParaRPr lang="en-US" sz="1600" b="1" u="sng" kern="1200" dirty="0"/>
        </a:p>
      </dsp:txBody>
      <dsp:txXfrm>
        <a:off x="4463551" y="1583609"/>
        <a:ext cx="3010277" cy="831160"/>
      </dsp:txXfrm>
    </dsp:sp>
    <dsp:sp modelId="{B1446D54-33F5-F64A-89B9-2CB70FF897FB}">
      <dsp:nvSpPr>
        <dsp:cNvPr id="0" name=""/>
        <dsp:cNvSpPr/>
      </dsp:nvSpPr>
      <dsp:spPr>
        <a:xfrm>
          <a:off x="4233677" y="3274110"/>
          <a:ext cx="3100205" cy="1024730"/>
        </a:xfrm>
        <a:prstGeom prst="round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t" anchorCtr="0">
          <a:noAutofit/>
        </a:bodyPr>
        <a:lstStyle/>
        <a:p>
          <a:pPr lvl="0" algn="ctr" defTabSz="711200">
            <a:lnSpc>
              <a:spcPct val="90000"/>
            </a:lnSpc>
            <a:spcBef>
              <a:spcPct val="0"/>
            </a:spcBef>
            <a:spcAft>
              <a:spcPct val="35000"/>
            </a:spcAft>
          </a:pPr>
          <a:r>
            <a:rPr lang="en-US" sz="1600" b="1" u="sng" kern="1200" dirty="0" smtClean="0"/>
            <a:t>Process Improvement	</a:t>
          </a:r>
          <a:endParaRPr lang="en-US" sz="1600" b="1" u="sng" kern="1200" dirty="0"/>
        </a:p>
      </dsp:txBody>
      <dsp:txXfrm>
        <a:off x="4283700" y="3324133"/>
        <a:ext cx="3000159" cy="924684"/>
      </dsp:txXfrm>
    </dsp:sp>
    <dsp:sp modelId="{BD2ACC97-5F8D-2148-94C0-BF0C4CC153B8}">
      <dsp:nvSpPr>
        <dsp:cNvPr id="0" name=""/>
        <dsp:cNvSpPr/>
      </dsp:nvSpPr>
      <dsp:spPr>
        <a:xfrm>
          <a:off x="385574" y="3234879"/>
          <a:ext cx="3100205" cy="1166541"/>
        </a:xfrm>
        <a:prstGeom prst="round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t" anchorCtr="0">
          <a:noAutofit/>
        </a:bodyPr>
        <a:lstStyle/>
        <a:p>
          <a:pPr lvl="0" algn="ctr" defTabSz="711200">
            <a:lnSpc>
              <a:spcPct val="90000"/>
            </a:lnSpc>
            <a:spcBef>
              <a:spcPct val="0"/>
            </a:spcBef>
            <a:spcAft>
              <a:spcPct val="35000"/>
            </a:spcAft>
          </a:pPr>
          <a:r>
            <a:rPr lang="en-US" sz="1600" b="1" u="sng" kern="1200" dirty="0" smtClean="0"/>
            <a:t>Technology Tools and Integration</a:t>
          </a:r>
          <a:endParaRPr lang="en-US" sz="1600" b="1" u="sng" kern="1200" dirty="0"/>
        </a:p>
      </dsp:txBody>
      <dsp:txXfrm>
        <a:off x="442520" y="3291825"/>
        <a:ext cx="2986313" cy="1052649"/>
      </dsp:txXfrm>
    </dsp:sp>
    <dsp:sp modelId="{BA1A17AF-348F-4640-9EDA-30933F261652}">
      <dsp:nvSpPr>
        <dsp:cNvPr id="0" name=""/>
        <dsp:cNvSpPr/>
      </dsp:nvSpPr>
      <dsp:spPr>
        <a:xfrm>
          <a:off x="102135" y="1547494"/>
          <a:ext cx="3100205" cy="903389"/>
        </a:xfrm>
        <a:prstGeom prst="round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t" anchorCtr="0">
          <a:noAutofit/>
        </a:bodyPr>
        <a:lstStyle/>
        <a:p>
          <a:pPr lvl="0" algn="ctr" defTabSz="711200">
            <a:lnSpc>
              <a:spcPct val="90000"/>
            </a:lnSpc>
            <a:spcBef>
              <a:spcPct val="0"/>
            </a:spcBef>
            <a:spcAft>
              <a:spcPct val="35000"/>
            </a:spcAft>
          </a:pPr>
          <a:r>
            <a:rPr lang="en-US" sz="1600" b="1" u="sng" kern="1200" dirty="0" smtClean="0"/>
            <a:t>Student Engagement</a:t>
          </a:r>
          <a:endParaRPr lang="en-US" sz="1600" b="1" u="sng" kern="1200" dirty="0"/>
        </a:p>
      </dsp:txBody>
      <dsp:txXfrm>
        <a:off x="146235" y="1591594"/>
        <a:ext cx="3012005" cy="815189"/>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1EB9B928-BDCC-F042-BA06-575BDEA1CA5A}" type="datetimeFigureOut">
              <a:rPr lang="en-US" smtClean="0"/>
              <a:t>4/6/2016</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8BF3D4CA-63B0-1A41-9430-60BA22391711}" type="slidenum">
              <a:rPr lang="en-US" smtClean="0"/>
              <a:t>‹#›</a:t>
            </a:fld>
            <a:endParaRPr lang="en-US"/>
          </a:p>
        </p:txBody>
      </p:sp>
    </p:spTree>
    <p:extLst>
      <p:ext uri="{BB962C8B-B14F-4D97-AF65-F5344CB8AC3E}">
        <p14:creationId xmlns:p14="http://schemas.microsoft.com/office/powerpoint/2010/main" val="8616962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8FF388FF-E3C2-644E-AB8A-2074DE3219F9}" type="datetimeFigureOut">
              <a:rPr lang="en-US" smtClean="0"/>
              <a:t>4/6/2016</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27545076-357E-6147-828B-9ED9B138477F}" type="slidenum">
              <a:rPr lang="en-US" smtClean="0"/>
              <a:t>‹#›</a:t>
            </a:fld>
            <a:endParaRPr lang="en-US"/>
          </a:p>
        </p:txBody>
      </p:sp>
    </p:spTree>
    <p:extLst>
      <p:ext uri="{BB962C8B-B14F-4D97-AF65-F5344CB8AC3E}">
        <p14:creationId xmlns:p14="http://schemas.microsoft.com/office/powerpoint/2010/main" val="320169125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3522CC-65DB-BB49-B360-AF25A2B7784F}" type="slidenum">
              <a:rPr lang="en-US" smtClean="0"/>
              <a:t>2</a:t>
            </a:fld>
            <a:endParaRPr lang="en-US"/>
          </a:p>
        </p:txBody>
      </p:sp>
    </p:spTree>
    <p:extLst>
      <p:ext uri="{BB962C8B-B14F-4D97-AF65-F5344CB8AC3E}">
        <p14:creationId xmlns:p14="http://schemas.microsoft.com/office/powerpoint/2010/main" val="4073432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nally, we’d like your input as we</a:t>
            </a:r>
            <a:r>
              <a:rPr lang="en-US" baseline="0" dirty="0" smtClean="0"/>
              <a:t> design the resources and supports that will be available to you as </a:t>
            </a:r>
            <a:r>
              <a:rPr lang="en-US" baseline="0" dirty="0" err="1" smtClean="0"/>
              <a:t>iPASS</a:t>
            </a:r>
            <a:r>
              <a:rPr lang="en-US" baseline="0" dirty="0" smtClean="0"/>
              <a:t> grantees. Please let us know how we can best help you achieve your goals. Our email addresses and phone numbers are on this slide and we encourage you contact us any time.</a:t>
            </a:r>
            <a:endParaRPr lang="en-US" dirty="0"/>
          </a:p>
        </p:txBody>
      </p:sp>
      <p:sp>
        <p:nvSpPr>
          <p:cNvPr id="4" name="Slide Number Placeholder 3"/>
          <p:cNvSpPr>
            <a:spLocks noGrp="1"/>
          </p:cNvSpPr>
          <p:nvPr>
            <p:ph type="sldNum" sz="quarter" idx="10"/>
          </p:nvPr>
        </p:nvSpPr>
        <p:spPr/>
        <p:txBody>
          <a:bodyPr/>
          <a:lstStyle/>
          <a:p>
            <a:fld id="{D2053F60-1B18-4BC7-8AAF-C264D91DA0D4}" type="slidenum">
              <a:rPr lang="en-US" smtClean="0"/>
              <a:t>36</a:t>
            </a:fld>
            <a:endParaRPr lang="en-US"/>
          </a:p>
        </p:txBody>
      </p:sp>
    </p:spTree>
    <p:extLst>
      <p:ext uri="{BB962C8B-B14F-4D97-AF65-F5344CB8AC3E}">
        <p14:creationId xmlns:p14="http://schemas.microsoft.com/office/powerpoint/2010/main" val="18170902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Image Title Slide 1">
    <p:spTree>
      <p:nvGrpSpPr>
        <p:cNvPr id="1" name=""/>
        <p:cNvGrpSpPr/>
        <p:nvPr/>
      </p:nvGrpSpPr>
      <p:grpSpPr>
        <a:xfrm>
          <a:off x="0" y="0"/>
          <a:ext cx="0" cy="0"/>
          <a:chOff x="0" y="0"/>
          <a:chExt cx="0" cy="0"/>
        </a:xfrm>
      </p:grpSpPr>
      <p:pic>
        <p:nvPicPr>
          <p:cNvPr id="12" name="Picture 11" descr="Title_Image1.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 name="Picture 2" descr="Title_Image1.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4" name="Picture 3" descr="Title_Image1.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40805511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Lt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00275" y="2866073"/>
            <a:ext cx="735965" cy="679767"/>
          </a:xfrm>
        </p:spPr>
        <p:txBody>
          <a:bodyPr anchor="t">
            <a:normAutofit/>
          </a:bodyPr>
          <a:lstStyle>
            <a:lvl1pPr algn="l">
              <a:defRPr sz="3400" b="0" cap="all">
                <a:solidFill>
                  <a:srgbClr val="ED2125"/>
                </a:solidFill>
              </a:defRPr>
            </a:lvl1pPr>
          </a:lstStyle>
          <a:p>
            <a:r>
              <a:rPr lang="en-US" dirty="0" smtClean="0"/>
              <a:t>#</a:t>
            </a:r>
            <a:endParaRPr lang="en-US" dirty="0"/>
          </a:p>
        </p:txBody>
      </p:sp>
      <p:sp>
        <p:nvSpPr>
          <p:cNvPr id="3" name="Text Placeholder 2"/>
          <p:cNvSpPr>
            <a:spLocks noGrp="1"/>
          </p:cNvSpPr>
          <p:nvPr>
            <p:ph type="body" idx="1" hasCustomPrompt="1"/>
          </p:nvPr>
        </p:nvSpPr>
        <p:spPr>
          <a:xfrm>
            <a:off x="2915920" y="2866073"/>
            <a:ext cx="5628640" cy="2874327"/>
          </a:xfrm>
        </p:spPr>
        <p:txBody>
          <a:bodyPr anchor="t">
            <a:normAutofit/>
          </a:bodyPr>
          <a:lstStyle>
            <a:lvl1pPr marL="0" indent="0">
              <a:buNone/>
              <a:defRPr sz="3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section title</a:t>
            </a:r>
          </a:p>
        </p:txBody>
      </p:sp>
      <p:pic>
        <p:nvPicPr>
          <p:cNvPr id="7" name="Picture 6" descr="arc_light 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5" name="Picture 4" descr="arc_light 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spTree>
    <p:extLst>
      <p:ext uri="{BB962C8B-B14F-4D97-AF65-F5344CB8AC3E}">
        <p14:creationId xmlns:p14="http://schemas.microsoft.com/office/powerpoint/2010/main" val="2671904901"/>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itle and Bullet Content Photo 1">
    <p:spTree>
      <p:nvGrpSpPr>
        <p:cNvPr id="1" name=""/>
        <p:cNvGrpSpPr/>
        <p:nvPr/>
      </p:nvGrpSpPr>
      <p:grpSpPr>
        <a:xfrm>
          <a:off x="0" y="0"/>
          <a:ext cx="0" cy="0"/>
          <a:chOff x="0" y="0"/>
          <a:chExt cx="0" cy="0"/>
        </a:xfrm>
      </p:grpSpPr>
      <p:pic>
        <p:nvPicPr>
          <p:cNvPr id="15" name="Picture 14" descr="TYT_PPHeader_0000_186049192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a:defRPr>
                <a:solidFill>
                  <a:srgbClr val="000000"/>
                </a:solidFill>
                <a:latin typeface="Arial"/>
                <a:cs typeface="Arial"/>
              </a:defRPr>
            </a:lvl1pPr>
            <a:lvl2pPr>
              <a:defRPr>
                <a:solidFill>
                  <a:srgbClr val="000000"/>
                </a:solidFill>
                <a:latin typeface="Arial"/>
                <a:cs typeface="Arial"/>
              </a:defRPr>
            </a:lvl2pPr>
            <a:lvl3pPr>
              <a:defRPr>
                <a:solidFill>
                  <a:srgbClr val="000000"/>
                </a:solidFill>
                <a:latin typeface="Arial"/>
                <a:cs typeface="Arial"/>
              </a:defRPr>
            </a:lvl3pPr>
            <a:lvl4pPr>
              <a:defRPr>
                <a:solidFill>
                  <a:srgbClr val="000000"/>
                </a:solidFill>
                <a:latin typeface="Arial"/>
                <a:cs typeface="Arial"/>
              </a:defRPr>
            </a:lvl4pPr>
            <a:lvl5pPr>
              <a:defRPr>
                <a:solidFill>
                  <a:srgbClr val="000000"/>
                </a:solidFill>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2" name="Picture 11"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1"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028717068"/>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wo Content Photo 1">
    <p:spTree>
      <p:nvGrpSpPr>
        <p:cNvPr id="1" name=""/>
        <p:cNvGrpSpPr/>
        <p:nvPr/>
      </p:nvGrpSpPr>
      <p:grpSpPr>
        <a:xfrm>
          <a:off x="0" y="0"/>
          <a:ext cx="0" cy="0"/>
          <a:chOff x="0" y="0"/>
          <a:chExt cx="0" cy="0"/>
        </a:xfrm>
      </p:grpSpPr>
      <p:pic>
        <p:nvPicPr>
          <p:cNvPr id="10" name="Picture 9" descr="TYT_PPHeader_0000_186049192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7" name="Picture 16"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1"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8934730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wo Content Bullets Photo 1">
    <p:spTree>
      <p:nvGrpSpPr>
        <p:cNvPr id="1" name=""/>
        <p:cNvGrpSpPr/>
        <p:nvPr/>
      </p:nvGrpSpPr>
      <p:grpSpPr>
        <a:xfrm>
          <a:off x="0" y="0"/>
          <a:ext cx="0" cy="0"/>
          <a:chOff x="0" y="0"/>
          <a:chExt cx="0" cy="0"/>
        </a:xfrm>
      </p:grpSpPr>
      <p:pic>
        <p:nvPicPr>
          <p:cNvPr id="10" name="Picture 9" descr="TYT_PPHeader_0000_186049192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5" name="Picture 14"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1"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2321393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Comparison Photo 1">
    <p:spTree>
      <p:nvGrpSpPr>
        <p:cNvPr id="1" name=""/>
        <p:cNvGrpSpPr/>
        <p:nvPr/>
      </p:nvGrpSpPr>
      <p:grpSpPr>
        <a:xfrm>
          <a:off x="0" y="0"/>
          <a:ext cx="0" cy="0"/>
          <a:chOff x="0" y="0"/>
          <a:chExt cx="0" cy="0"/>
        </a:xfrm>
      </p:grpSpPr>
      <p:pic>
        <p:nvPicPr>
          <p:cNvPr id="12" name="Picture 11" descr="TYT_PPHeader_0000_186049192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t>‹#›</a:t>
            </a:fld>
            <a:endParaRPr lang="en-US"/>
          </a:p>
        </p:txBody>
      </p:sp>
      <p:pic>
        <p:nvPicPr>
          <p:cNvPr id="16" name="Picture 15"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3"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7955845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Comparison Dark Heading Photo 1">
    <p:spTree>
      <p:nvGrpSpPr>
        <p:cNvPr id="1" name=""/>
        <p:cNvGrpSpPr/>
        <p:nvPr/>
      </p:nvGrpSpPr>
      <p:grpSpPr>
        <a:xfrm>
          <a:off x="0" y="0"/>
          <a:ext cx="0" cy="0"/>
          <a:chOff x="0" y="0"/>
          <a:chExt cx="0" cy="0"/>
        </a:xfrm>
      </p:grpSpPr>
      <p:pic>
        <p:nvPicPr>
          <p:cNvPr id="12" name="Picture 11" descr="TYT_PPHeader_0000_186049192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t>‹#›</a:t>
            </a:fld>
            <a:endParaRPr lang="en-US"/>
          </a:p>
        </p:txBody>
      </p:sp>
      <p:pic>
        <p:nvPicPr>
          <p:cNvPr id="13" name="Picture 12"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5"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53543387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Title Only Photo 1">
    <p:spTree>
      <p:nvGrpSpPr>
        <p:cNvPr id="1" name=""/>
        <p:cNvGrpSpPr/>
        <p:nvPr/>
      </p:nvGrpSpPr>
      <p:grpSpPr>
        <a:xfrm>
          <a:off x="0" y="0"/>
          <a:ext cx="0" cy="0"/>
          <a:chOff x="0" y="0"/>
          <a:chExt cx="0" cy="0"/>
        </a:xfrm>
      </p:grpSpPr>
      <p:pic>
        <p:nvPicPr>
          <p:cNvPr id="8" name="Picture 7" descr="TYT_PPHeader_0000_186049192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6" name="Rectangle 5"/>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12"/>
          </p:nvPr>
        </p:nvSpPr>
        <p:spPr/>
        <p:txBody>
          <a:bodyPr/>
          <a:lstStyle/>
          <a:p>
            <a:fld id="{56061281-BD0D-6F47-BBB8-8F6BE6AA34E7}" type="slidenum">
              <a:rPr lang="en-US" smtClean="0"/>
              <a:t>‹#›</a:t>
            </a:fld>
            <a:endParaRPr lang="en-US"/>
          </a:p>
        </p:txBody>
      </p:sp>
      <p:pic>
        <p:nvPicPr>
          <p:cNvPr id="14" name="Picture 13"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0"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81754757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Title and Content Photo 2">
    <p:spTree>
      <p:nvGrpSpPr>
        <p:cNvPr id="1" name=""/>
        <p:cNvGrpSpPr/>
        <p:nvPr/>
      </p:nvGrpSpPr>
      <p:grpSpPr>
        <a:xfrm>
          <a:off x="0" y="0"/>
          <a:ext cx="0" cy="0"/>
          <a:chOff x="0" y="0"/>
          <a:chExt cx="0" cy="0"/>
        </a:xfrm>
      </p:grpSpPr>
      <p:pic>
        <p:nvPicPr>
          <p:cNvPr id="9" name="Picture 8" descr="TYT_PPHeader_0001_159268989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marL="0" indent="0">
              <a:buFontTx/>
              <a:buNone/>
              <a:defRPr>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smtClean="0"/>
              <a:t>Click to edit Master text styles</a:t>
            </a:r>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8" name="Picture 17"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1"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2"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99014031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itle and Bullet Content Photo 2">
    <p:spTree>
      <p:nvGrpSpPr>
        <p:cNvPr id="1" name=""/>
        <p:cNvGrpSpPr/>
        <p:nvPr/>
      </p:nvGrpSpPr>
      <p:grpSpPr>
        <a:xfrm>
          <a:off x="0" y="0"/>
          <a:ext cx="0" cy="0"/>
          <a:chOff x="0" y="0"/>
          <a:chExt cx="0" cy="0"/>
        </a:xfrm>
      </p:grpSpPr>
      <p:pic>
        <p:nvPicPr>
          <p:cNvPr id="9" name="Picture 8" descr="TYT_PPHeader_0001_159268989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a:defRPr>
                <a:solidFill>
                  <a:srgbClr val="000000"/>
                </a:solidFill>
                <a:latin typeface="Arial"/>
                <a:cs typeface="Arial"/>
              </a:defRPr>
            </a:lvl1pPr>
            <a:lvl2pPr>
              <a:defRPr>
                <a:solidFill>
                  <a:srgbClr val="000000"/>
                </a:solidFill>
                <a:latin typeface="Arial"/>
                <a:cs typeface="Arial"/>
              </a:defRPr>
            </a:lvl2pPr>
            <a:lvl3pPr>
              <a:defRPr>
                <a:solidFill>
                  <a:srgbClr val="000000"/>
                </a:solidFill>
                <a:latin typeface="Arial"/>
                <a:cs typeface="Arial"/>
              </a:defRPr>
            </a:lvl3pPr>
            <a:lvl4pPr>
              <a:defRPr>
                <a:solidFill>
                  <a:srgbClr val="000000"/>
                </a:solidFill>
                <a:latin typeface="Arial"/>
                <a:cs typeface="Arial"/>
              </a:defRPr>
            </a:lvl4pPr>
            <a:lvl5pPr>
              <a:defRPr>
                <a:solidFill>
                  <a:srgbClr val="000000"/>
                </a:solidFill>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2" name="Picture 11"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1"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334876825"/>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Two Content Photo 2">
    <p:spTree>
      <p:nvGrpSpPr>
        <p:cNvPr id="1" name=""/>
        <p:cNvGrpSpPr/>
        <p:nvPr/>
      </p:nvGrpSpPr>
      <p:grpSpPr>
        <a:xfrm>
          <a:off x="0" y="0"/>
          <a:ext cx="0" cy="0"/>
          <a:chOff x="0" y="0"/>
          <a:chExt cx="0" cy="0"/>
        </a:xfrm>
      </p:grpSpPr>
      <p:pic>
        <p:nvPicPr>
          <p:cNvPr id="13" name="Picture 12" descr="TYT_PPHeader_0001_159268989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7" name="Picture 16"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1"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42801689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Two Content Bullets Photo 2">
    <p:spTree>
      <p:nvGrpSpPr>
        <p:cNvPr id="1" name=""/>
        <p:cNvGrpSpPr/>
        <p:nvPr/>
      </p:nvGrpSpPr>
      <p:grpSpPr>
        <a:xfrm>
          <a:off x="0" y="0"/>
          <a:ext cx="0" cy="0"/>
          <a:chOff x="0" y="0"/>
          <a:chExt cx="0" cy="0"/>
        </a:xfrm>
      </p:grpSpPr>
      <p:pic>
        <p:nvPicPr>
          <p:cNvPr id="11" name="Picture 10" descr="TYT_PPHeader_0001_159268989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5" name="Picture 14"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6231915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DrkBrow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00275" y="2866073"/>
            <a:ext cx="735965" cy="679767"/>
          </a:xfrm>
        </p:spPr>
        <p:txBody>
          <a:bodyPr anchor="t">
            <a:normAutofit/>
          </a:bodyPr>
          <a:lstStyle>
            <a:lvl1pPr algn="l">
              <a:defRPr sz="3400" b="0" cap="all">
                <a:solidFill>
                  <a:srgbClr val="ED2125"/>
                </a:solidFill>
              </a:defRPr>
            </a:lvl1pPr>
          </a:lstStyle>
          <a:p>
            <a:r>
              <a:rPr lang="en-US" dirty="0" smtClean="0"/>
              <a:t>#</a:t>
            </a:r>
            <a:endParaRPr lang="en-US" dirty="0"/>
          </a:p>
        </p:txBody>
      </p:sp>
      <p:sp>
        <p:nvSpPr>
          <p:cNvPr id="3" name="Text Placeholder 2"/>
          <p:cNvSpPr>
            <a:spLocks noGrp="1"/>
          </p:cNvSpPr>
          <p:nvPr>
            <p:ph type="body" idx="1" hasCustomPrompt="1"/>
          </p:nvPr>
        </p:nvSpPr>
        <p:spPr>
          <a:xfrm>
            <a:off x="2915920" y="2866073"/>
            <a:ext cx="5628640" cy="2874327"/>
          </a:xfrm>
        </p:spPr>
        <p:txBody>
          <a:bodyPr anchor="t">
            <a:normAutofit/>
          </a:bodyPr>
          <a:lstStyle>
            <a:lvl1pPr marL="0" indent="0">
              <a:buNone/>
              <a:defRPr sz="3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section title</a:t>
            </a:r>
          </a:p>
        </p:txBody>
      </p:sp>
      <p:pic>
        <p:nvPicPr>
          <p:cNvPr id="4" name="Picture 3" descr="arc_dark brown.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5" name="Picture 4" descr="arc_dark brown.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spTree>
    <p:extLst>
      <p:ext uri="{BB962C8B-B14F-4D97-AF65-F5344CB8AC3E}">
        <p14:creationId xmlns:p14="http://schemas.microsoft.com/office/powerpoint/2010/main" val="518143503"/>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Comparison Photo 2">
    <p:spTree>
      <p:nvGrpSpPr>
        <p:cNvPr id="1" name=""/>
        <p:cNvGrpSpPr/>
        <p:nvPr/>
      </p:nvGrpSpPr>
      <p:grpSpPr>
        <a:xfrm>
          <a:off x="0" y="0"/>
          <a:ext cx="0" cy="0"/>
          <a:chOff x="0" y="0"/>
          <a:chExt cx="0" cy="0"/>
        </a:xfrm>
      </p:grpSpPr>
      <p:pic>
        <p:nvPicPr>
          <p:cNvPr id="13" name="Picture 12" descr="TYT_PPHeader_0001_159268989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t>‹#›</a:t>
            </a:fld>
            <a:endParaRPr lang="en-US"/>
          </a:p>
        </p:txBody>
      </p:sp>
      <p:pic>
        <p:nvPicPr>
          <p:cNvPr id="16" name="Picture 15"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402711223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Comparison Dark Heading Photo 2">
    <p:spTree>
      <p:nvGrpSpPr>
        <p:cNvPr id="1" name=""/>
        <p:cNvGrpSpPr/>
        <p:nvPr/>
      </p:nvGrpSpPr>
      <p:grpSpPr>
        <a:xfrm>
          <a:off x="0" y="0"/>
          <a:ext cx="0" cy="0"/>
          <a:chOff x="0" y="0"/>
          <a:chExt cx="0" cy="0"/>
        </a:xfrm>
      </p:grpSpPr>
      <p:pic>
        <p:nvPicPr>
          <p:cNvPr id="15" name="Picture 14" descr="TYT_PPHeader_0001_159268989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t>‹#›</a:t>
            </a:fld>
            <a:endParaRPr lang="en-US"/>
          </a:p>
        </p:txBody>
      </p:sp>
      <p:pic>
        <p:nvPicPr>
          <p:cNvPr id="13" name="Picture 12"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74564961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Title Only Photo 2">
    <p:spTree>
      <p:nvGrpSpPr>
        <p:cNvPr id="1" name=""/>
        <p:cNvGrpSpPr/>
        <p:nvPr/>
      </p:nvGrpSpPr>
      <p:grpSpPr>
        <a:xfrm>
          <a:off x="0" y="0"/>
          <a:ext cx="0" cy="0"/>
          <a:chOff x="0" y="0"/>
          <a:chExt cx="0" cy="0"/>
        </a:xfrm>
      </p:grpSpPr>
      <p:pic>
        <p:nvPicPr>
          <p:cNvPr id="9" name="Picture 8" descr="TYT_PPHeader_0001_159268989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6" name="Rectangle 5"/>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12"/>
          </p:nvPr>
        </p:nvSpPr>
        <p:spPr/>
        <p:txBody>
          <a:bodyPr/>
          <a:lstStyle/>
          <a:p>
            <a:fld id="{56061281-BD0D-6F47-BBB8-8F6BE6AA34E7}" type="slidenum">
              <a:rPr lang="en-US" smtClean="0"/>
              <a:t>‹#›</a:t>
            </a:fld>
            <a:endParaRPr lang="en-US"/>
          </a:p>
        </p:txBody>
      </p:sp>
      <p:pic>
        <p:nvPicPr>
          <p:cNvPr id="14" name="Picture 13"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8"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0"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19962263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Title and Content Photo 3">
    <p:spTree>
      <p:nvGrpSpPr>
        <p:cNvPr id="1" name=""/>
        <p:cNvGrpSpPr/>
        <p:nvPr/>
      </p:nvGrpSpPr>
      <p:grpSpPr>
        <a:xfrm>
          <a:off x="0" y="0"/>
          <a:ext cx="0" cy="0"/>
          <a:chOff x="0" y="0"/>
          <a:chExt cx="0" cy="0"/>
        </a:xfrm>
      </p:grpSpPr>
      <p:pic>
        <p:nvPicPr>
          <p:cNvPr id="11" name="Picture 10" descr="TYT_PPHeader_0002_145038825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marL="0" indent="0">
              <a:buFontTx/>
              <a:buNone/>
              <a:defRPr>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smtClean="0"/>
              <a:t>Click to edit Master text styles</a:t>
            </a:r>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8" name="Picture 17"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2"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492288645"/>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Title and Bullet Content Photo 3">
    <p:spTree>
      <p:nvGrpSpPr>
        <p:cNvPr id="1" name=""/>
        <p:cNvGrpSpPr/>
        <p:nvPr/>
      </p:nvGrpSpPr>
      <p:grpSpPr>
        <a:xfrm>
          <a:off x="0" y="0"/>
          <a:ext cx="0" cy="0"/>
          <a:chOff x="0" y="0"/>
          <a:chExt cx="0" cy="0"/>
        </a:xfrm>
      </p:grpSpPr>
      <p:pic>
        <p:nvPicPr>
          <p:cNvPr id="11" name="Picture 10" descr="TYT_PPHeader_0002_145038825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a:defRPr>
                <a:solidFill>
                  <a:srgbClr val="000000"/>
                </a:solidFill>
                <a:latin typeface="Arial"/>
                <a:cs typeface="Arial"/>
              </a:defRPr>
            </a:lvl1pPr>
            <a:lvl2pPr>
              <a:defRPr>
                <a:solidFill>
                  <a:srgbClr val="000000"/>
                </a:solidFill>
                <a:latin typeface="Arial"/>
                <a:cs typeface="Arial"/>
              </a:defRPr>
            </a:lvl2pPr>
            <a:lvl3pPr>
              <a:defRPr>
                <a:solidFill>
                  <a:srgbClr val="000000"/>
                </a:solidFill>
                <a:latin typeface="Arial"/>
                <a:cs typeface="Arial"/>
              </a:defRPr>
            </a:lvl3pPr>
            <a:lvl4pPr>
              <a:defRPr>
                <a:solidFill>
                  <a:srgbClr val="000000"/>
                </a:solidFill>
                <a:latin typeface="Arial"/>
                <a:cs typeface="Arial"/>
              </a:defRPr>
            </a:lvl4pPr>
            <a:lvl5pPr>
              <a:defRPr>
                <a:solidFill>
                  <a:srgbClr val="000000"/>
                </a:solidFill>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2" name="Picture 11"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622199982"/>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wo Content Photo 3">
    <p:spTree>
      <p:nvGrpSpPr>
        <p:cNvPr id="1" name=""/>
        <p:cNvGrpSpPr/>
        <p:nvPr/>
      </p:nvGrpSpPr>
      <p:grpSpPr>
        <a:xfrm>
          <a:off x="0" y="0"/>
          <a:ext cx="0" cy="0"/>
          <a:chOff x="0" y="0"/>
          <a:chExt cx="0" cy="0"/>
        </a:xfrm>
      </p:grpSpPr>
      <p:pic>
        <p:nvPicPr>
          <p:cNvPr id="11" name="Picture 10" descr="TYT_PPHeader_0002_145038825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7" name="Picture 16"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19179502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Two Content Bullets Photo 3">
    <p:spTree>
      <p:nvGrpSpPr>
        <p:cNvPr id="1" name=""/>
        <p:cNvGrpSpPr/>
        <p:nvPr/>
      </p:nvGrpSpPr>
      <p:grpSpPr>
        <a:xfrm>
          <a:off x="0" y="0"/>
          <a:ext cx="0" cy="0"/>
          <a:chOff x="0" y="0"/>
          <a:chExt cx="0" cy="0"/>
        </a:xfrm>
      </p:grpSpPr>
      <p:pic>
        <p:nvPicPr>
          <p:cNvPr id="11" name="Picture 10" descr="TYT_PPHeader_0002_145038825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5" name="Picture 14"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6173741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Comparison Photo 3">
    <p:spTree>
      <p:nvGrpSpPr>
        <p:cNvPr id="1" name=""/>
        <p:cNvGrpSpPr/>
        <p:nvPr/>
      </p:nvGrpSpPr>
      <p:grpSpPr>
        <a:xfrm>
          <a:off x="0" y="0"/>
          <a:ext cx="0" cy="0"/>
          <a:chOff x="0" y="0"/>
          <a:chExt cx="0" cy="0"/>
        </a:xfrm>
      </p:grpSpPr>
      <p:pic>
        <p:nvPicPr>
          <p:cNvPr id="13" name="Picture 12" descr="TYT_PPHeader_0002_145038825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t>‹#›</a:t>
            </a:fld>
            <a:endParaRPr lang="en-US"/>
          </a:p>
        </p:txBody>
      </p:sp>
      <p:pic>
        <p:nvPicPr>
          <p:cNvPr id="16" name="Picture 15"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33373011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Comparison Dark Heading Photo 3">
    <p:spTree>
      <p:nvGrpSpPr>
        <p:cNvPr id="1" name=""/>
        <p:cNvGrpSpPr/>
        <p:nvPr/>
      </p:nvGrpSpPr>
      <p:grpSpPr>
        <a:xfrm>
          <a:off x="0" y="0"/>
          <a:ext cx="0" cy="0"/>
          <a:chOff x="0" y="0"/>
          <a:chExt cx="0" cy="0"/>
        </a:xfrm>
      </p:grpSpPr>
      <p:pic>
        <p:nvPicPr>
          <p:cNvPr id="15" name="Picture 14" descr="TYT_PPHeader_0002_145038825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t>‹#›</a:t>
            </a:fld>
            <a:endParaRPr lang="en-US"/>
          </a:p>
        </p:txBody>
      </p:sp>
      <p:pic>
        <p:nvPicPr>
          <p:cNvPr id="13" name="Picture 12"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26121068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Only Photo 3">
    <p:spTree>
      <p:nvGrpSpPr>
        <p:cNvPr id="1" name=""/>
        <p:cNvGrpSpPr/>
        <p:nvPr/>
      </p:nvGrpSpPr>
      <p:grpSpPr>
        <a:xfrm>
          <a:off x="0" y="0"/>
          <a:ext cx="0" cy="0"/>
          <a:chOff x="0" y="0"/>
          <a:chExt cx="0" cy="0"/>
        </a:xfrm>
      </p:grpSpPr>
      <p:pic>
        <p:nvPicPr>
          <p:cNvPr id="9" name="Picture 8" descr="TYT_PPHeader_0002_145038825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6" name="Rectangle 5"/>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12"/>
          </p:nvPr>
        </p:nvSpPr>
        <p:spPr/>
        <p:txBody>
          <a:bodyPr/>
          <a:lstStyle/>
          <a:p>
            <a:fld id="{56061281-BD0D-6F47-BBB8-8F6BE6AA34E7}" type="slidenum">
              <a:rPr lang="en-US" smtClean="0"/>
              <a:t>‹#›</a:t>
            </a:fld>
            <a:endParaRPr lang="en-US"/>
          </a:p>
        </p:txBody>
      </p:sp>
      <p:pic>
        <p:nvPicPr>
          <p:cNvPr id="14" name="Picture 13"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8"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0"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1128374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LtBrow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00275" y="2866073"/>
            <a:ext cx="735965" cy="679767"/>
          </a:xfrm>
        </p:spPr>
        <p:txBody>
          <a:bodyPr anchor="t">
            <a:normAutofit/>
          </a:bodyPr>
          <a:lstStyle>
            <a:lvl1pPr algn="l">
              <a:defRPr sz="3400" b="0" cap="all">
                <a:solidFill>
                  <a:srgbClr val="ED2125"/>
                </a:solidFill>
              </a:defRPr>
            </a:lvl1pPr>
          </a:lstStyle>
          <a:p>
            <a:r>
              <a:rPr lang="en-US" dirty="0" smtClean="0"/>
              <a:t>#</a:t>
            </a:r>
            <a:endParaRPr lang="en-US" dirty="0"/>
          </a:p>
        </p:txBody>
      </p:sp>
      <p:sp>
        <p:nvSpPr>
          <p:cNvPr id="3" name="Text Placeholder 2"/>
          <p:cNvSpPr>
            <a:spLocks noGrp="1"/>
          </p:cNvSpPr>
          <p:nvPr>
            <p:ph type="body" idx="1" hasCustomPrompt="1"/>
          </p:nvPr>
        </p:nvSpPr>
        <p:spPr>
          <a:xfrm>
            <a:off x="2915920" y="2866073"/>
            <a:ext cx="5628640" cy="2874327"/>
          </a:xfrm>
        </p:spPr>
        <p:txBody>
          <a:bodyPr anchor="t">
            <a:normAutofit/>
          </a:bodyPr>
          <a:lstStyle>
            <a:lvl1pPr marL="0" indent="0">
              <a:buNone/>
              <a:defRPr sz="3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section title</a:t>
            </a:r>
          </a:p>
        </p:txBody>
      </p:sp>
      <p:pic>
        <p:nvPicPr>
          <p:cNvPr id="4" name="Picture 3" descr="arc_light brown.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5" name="Picture 4" descr="arc_light brown.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spTree>
    <p:extLst>
      <p:ext uri="{BB962C8B-B14F-4D97-AF65-F5344CB8AC3E}">
        <p14:creationId xmlns:p14="http://schemas.microsoft.com/office/powerpoint/2010/main" val="3199253716"/>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Rectangle 4"/>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p>
            <a:fld id="{56061281-BD0D-6F47-BBB8-8F6BE6AA34E7}" type="slidenum">
              <a:rPr lang="en-US" smtClean="0"/>
              <a:t>‹#›</a:t>
            </a:fld>
            <a:endParaRPr lang="en-US"/>
          </a:p>
        </p:txBody>
      </p:sp>
      <p:pic>
        <p:nvPicPr>
          <p:cNvPr id="8" name="Picture 7" descr="footer.png"/>
          <p:cNvPicPr>
            <a:picLocks noChangeAspect="1"/>
          </p:cNvPicPr>
          <p:nvPr userDrawn="1"/>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6"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Tree>
    <p:extLst>
      <p:ext uri="{BB962C8B-B14F-4D97-AF65-F5344CB8AC3E}">
        <p14:creationId xmlns:p14="http://schemas.microsoft.com/office/powerpoint/2010/main" val="156746197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Content with Caption">
    <p:spTree>
      <p:nvGrpSpPr>
        <p:cNvPr id="1" name=""/>
        <p:cNvGrpSpPr/>
        <p:nvPr/>
      </p:nvGrpSpPr>
      <p:grpSpPr>
        <a:xfrm>
          <a:off x="0" y="0"/>
          <a:ext cx="0" cy="0"/>
          <a:chOff x="0" y="0"/>
          <a:chExt cx="0" cy="0"/>
        </a:xfrm>
      </p:grpSpPr>
      <p:sp>
        <p:nvSpPr>
          <p:cNvPr id="8" name="Rectangle 7"/>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57200" y="273050"/>
            <a:ext cx="3008313" cy="1162050"/>
          </a:xfrm>
        </p:spPr>
        <p:txBody>
          <a:bodyPr anchor="b">
            <a:normAutofit/>
          </a:bodyPr>
          <a:lstStyle>
            <a:lvl1pPr algn="l">
              <a:defRPr sz="2400" b="1">
                <a:solidFill>
                  <a:srgbClr val="00000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56061281-BD0D-6F47-BBB8-8F6BE6AA34E7}" type="slidenum">
              <a:rPr lang="en-US" smtClean="0"/>
              <a:t>‹#›</a:t>
            </a:fld>
            <a:endParaRPr lang="en-US"/>
          </a:p>
        </p:txBody>
      </p:sp>
      <p:pic>
        <p:nvPicPr>
          <p:cNvPr id="11" name="Picture 10" descr="footer.png"/>
          <p:cNvPicPr>
            <a:picLocks noChangeAspect="1"/>
          </p:cNvPicPr>
          <p:nvPr userDrawn="1"/>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Tree>
    <p:extLst>
      <p:ext uri="{BB962C8B-B14F-4D97-AF65-F5344CB8AC3E}">
        <p14:creationId xmlns:p14="http://schemas.microsoft.com/office/powerpoint/2010/main" val="27502108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sp>
        <p:nvSpPr>
          <p:cNvPr id="8" name="Rectangle 7"/>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792288" y="4800600"/>
            <a:ext cx="5486400" cy="566738"/>
          </a:xfrm>
        </p:spPr>
        <p:txBody>
          <a:bodyPr anchor="b">
            <a:normAutofit/>
          </a:bodyPr>
          <a:lstStyle>
            <a:lvl1pPr algn="l">
              <a:defRPr sz="2400" b="1">
                <a:solidFill>
                  <a:srgbClr val="000000"/>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56061281-BD0D-6F47-BBB8-8F6BE6AA34E7}" type="slidenum">
              <a:rPr lang="en-US" smtClean="0"/>
              <a:t>‹#›</a:t>
            </a:fld>
            <a:endParaRPr lang="en-US"/>
          </a:p>
        </p:txBody>
      </p:sp>
      <p:pic>
        <p:nvPicPr>
          <p:cNvPr id="11" name="Picture 10" descr="footer.png"/>
          <p:cNvPicPr>
            <a:picLocks noChangeAspect="1"/>
          </p:cNvPicPr>
          <p:nvPr userDrawn="1"/>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1792287" y="6172200"/>
            <a:ext cx="5025073" cy="597066"/>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Tree>
    <p:extLst>
      <p:ext uri="{BB962C8B-B14F-4D97-AF65-F5344CB8AC3E}">
        <p14:creationId xmlns:p14="http://schemas.microsoft.com/office/powerpoint/2010/main" val="131967183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Title and Vertical Text">
    <p:spTree>
      <p:nvGrpSpPr>
        <p:cNvPr id="1" name=""/>
        <p:cNvGrpSpPr/>
        <p:nvPr/>
      </p:nvGrpSpPr>
      <p:grpSpPr>
        <a:xfrm>
          <a:off x="0" y="0"/>
          <a:ext cx="0" cy="0"/>
          <a:chOff x="0" y="0"/>
          <a:chExt cx="0" cy="0"/>
        </a:xfrm>
      </p:grpSpPr>
      <p:sp>
        <p:nvSpPr>
          <p:cNvPr id="7" name="Rectangle 6"/>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Vertical Text Placeholder 2"/>
          <p:cNvSpPr>
            <a:spLocks noGrp="1"/>
          </p:cNvSpPr>
          <p:nvPr>
            <p:ph type="body" orient="vert" idx="1"/>
          </p:nvPr>
        </p:nvSpPr>
        <p:spPr/>
        <p:txBody>
          <a:bodyPr vert="eaVert"/>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p>
            <a:fld id="{56061281-BD0D-6F47-BBB8-8F6BE6AA34E7}" type="slidenum">
              <a:rPr lang="en-US" smtClean="0"/>
              <a:t>‹#›</a:t>
            </a:fld>
            <a:endParaRPr lang="en-US"/>
          </a:p>
        </p:txBody>
      </p:sp>
      <p:pic>
        <p:nvPicPr>
          <p:cNvPr id="10" name="Picture 9" descr="footer.png"/>
          <p:cNvPicPr>
            <a:picLocks noChangeAspect="1"/>
          </p:cNvPicPr>
          <p:nvPr userDrawn="1"/>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8"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9"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98539388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Vertical Title and Text">
    <p:spTree>
      <p:nvGrpSpPr>
        <p:cNvPr id="1" name=""/>
        <p:cNvGrpSpPr/>
        <p:nvPr/>
      </p:nvGrpSpPr>
      <p:grpSpPr>
        <a:xfrm>
          <a:off x="0" y="0"/>
          <a:ext cx="0" cy="0"/>
          <a:chOff x="0" y="0"/>
          <a:chExt cx="0" cy="0"/>
        </a:xfrm>
      </p:grpSpPr>
      <p:sp>
        <p:nvSpPr>
          <p:cNvPr id="7" name="Rectangle 6"/>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Vertical Title 1"/>
          <p:cNvSpPr>
            <a:spLocks noGrp="1"/>
          </p:cNvSpPr>
          <p:nvPr>
            <p:ph type="title" orient="vert"/>
          </p:nvPr>
        </p:nvSpPr>
        <p:spPr>
          <a:xfrm>
            <a:off x="6629400" y="274638"/>
            <a:ext cx="2057400" cy="5851525"/>
          </a:xfrm>
        </p:spPr>
        <p:txBody>
          <a:bodyPr vert="eaVert"/>
          <a:lstStyle>
            <a:lvl1pPr>
              <a:defRPr>
                <a:solidFill>
                  <a:srgbClr val="000000"/>
                </a:solidFill>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p>
            <a:fld id="{56061281-BD0D-6F47-BBB8-8F6BE6AA34E7}" type="slidenum">
              <a:rPr lang="en-US" smtClean="0"/>
              <a:t>‹#›</a:t>
            </a:fld>
            <a:endParaRPr lang="en-US"/>
          </a:p>
        </p:txBody>
      </p:sp>
      <p:pic>
        <p:nvPicPr>
          <p:cNvPr id="10" name="Picture 9" descr="footer.png"/>
          <p:cNvPicPr>
            <a:picLocks noChangeAspect="1"/>
          </p:cNvPicPr>
          <p:nvPr userDrawn="1"/>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8"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Tree>
    <p:extLst>
      <p:ext uri="{BB962C8B-B14F-4D97-AF65-F5344CB8AC3E}">
        <p14:creationId xmlns:p14="http://schemas.microsoft.com/office/powerpoint/2010/main" val="7772656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948838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EDU Body A">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6829" y="338675"/>
            <a:ext cx="8021782" cy="729971"/>
          </a:xfrm>
          <a:prstGeom prst="rect">
            <a:avLst/>
          </a:prstGeom>
        </p:spPr>
        <p:txBody>
          <a:bodyPr anchor="t"/>
          <a:lstStyle>
            <a:lvl1pPr algn="l">
              <a:defRPr sz="3600" b="0" cap="none">
                <a:solidFill>
                  <a:schemeClr val="tx1">
                    <a:lumMod val="75000"/>
                    <a:lumOff val="25000"/>
                  </a:schemeClr>
                </a:solidFill>
                <a:latin typeface="Arial"/>
                <a:cs typeface="Arial"/>
              </a:defRPr>
            </a:lvl1pPr>
          </a:lstStyle>
          <a:p>
            <a:r>
              <a:rPr lang="en-US" dirty="0" smtClean="0"/>
              <a:t>Section Header</a:t>
            </a:r>
            <a:endParaRPr lang="en-US" dirty="0"/>
          </a:p>
        </p:txBody>
      </p:sp>
      <p:sp>
        <p:nvSpPr>
          <p:cNvPr id="9" name="Content Placeholder 2"/>
          <p:cNvSpPr>
            <a:spLocks noGrp="1"/>
          </p:cNvSpPr>
          <p:nvPr>
            <p:ph idx="1" hasCustomPrompt="1"/>
          </p:nvPr>
        </p:nvSpPr>
        <p:spPr>
          <a:xfrm>
            <a:off x="606829" y="1371599"/>
            <a:ext cx="8079971" cy="4546599"/>
          </a:xfrm>
          <a:prstGeom prst="rect">
            <a:avLst/>
          </a:prstGeom>
        </p:spPr>
        <p:txBody>
          <a:bodyPr/>
          <a:lstStyle>
            <a:lvl1pPr marL="457200" indent="-457200">
              <a:buClr>
                <a:srgbClr val="B20838"/>
              </a:buClr>
              <a:buFont typeface="Wingdings" pitchFamily="2" charset="2"/>
              <a:buChar char="§"/>
              <a:defRPr sz="3000" baseline="0">
                <a:solidFill>
                  <a:schemeClr val="tx1">
                    <a:lumMod val="75000"/>
                    <a:lumOff val="25000"/>
                  </a:schemeClr>
                </a:solidFill>
                <a:latin typeface="Arial"/>
                <a:cs typeface="Arial"/>
              </a:defRPr>
            </a:lvl1pPr>
            <a:lvl2pPr marL="914400" indent="-457200">
              <a:buClr>
                <a:srgbClr val="B20838"/>
              </a:buClr>
              <a:buFont typeface="Wingdings" pitchFamily="2" charset="2"/>
              <a:buChar char="§"/>
              <a:defRPr sz="2700">
                <a:solidFill>
                  <a:schemeClr val="tx1">
                    <a:lumMod val="75000"/>
                    <a:lumOff val="25000"/>
                  </a:schemeClr>
                </a:solidFill>
                <a:latin typeface="Arial"/>
                <a:cs typeface="Arial"/>
              </a:defRPr>
            </a:lvl2pPr>
            <a:lvl3pPr marL="1257300" indent="-342900">
              <a:buClr>
                <a:srgbClr val="B20838"/>
              </a:buClr>
              <a:buFont typeface="Wingdings" pitchFamily="2" charset="2"/>
              <a:buChar char="§"/>
              <a:defRPr sz="2400">
                <a:solidFill>
                  <a:schemeClr val="tx1">
                    <a:lumMod val="75000"/>
                    <a:lumOff val="25000"/>
                  </a:schemeClr>
                </a:solidFill>
                <a:latin typeface="Arial"/>
                <a:cs typeface="Arial"/>
              </a:defRPr>
            </a:lvl3pPr>
            <a:lvl4pPr marL="1714500" indent="-342900">
              <a:buClr>
                <a:srgbClr val="B20838"/>
              </a:buClr>
              <a:buFont typeface="Wingdings" pitchFamily="2" charset="2"/>
              <a:buChar char="§"/>
              <a:defRPr sz="2100">
                <a:solidFill>
                  <a:schemeClr val="tx1">
                    <a:lumMod val="75000"/>
                    <a:lumOff val="25000"/>
                  </a:schemeClr>
                </a:solidFill>
                <a:latin typeface="Arial"/>
                <a:cs typeface="Arial"/>
              </a:defRPr>
            </a:lvl4pPr>
            <a:lvl5pPr marL="2114550" indent="-285750">
              <a:buClr>
                <a:srgbClr val="B20838"/>
              </a:buClr>
              <a:buFont typeface="Wingdings" pitchFamily="2" charset="2"/>
              <a:buChar char="§"/>
              <a:defRPr sz="1800">
                <a:solidFill>
                  <a:schemeClr val="tx1">
                    <a:lumMod val="75000"/>
                    <a:lumOff val="25000"/>
                  </a:schemeClr>
                </a:solidFill>
                <a:latin typeface="Arial"/>
                <a:cs typeface="Arial"/>
              </a:defRPr>
            </a:lvl5p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0077853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Drk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00275" y="2866073"/>
            <a:ext cx="735965" cy="679767"/>
          </a:xfrm>
        </p:spPr>
        <p:txBody>
          <a:bodyPr anchor="t">
            <a:normAutofit/>
          </a:bodyPr>
          <a:lstStyle>
            <a:lvl1pPr algn="l">
              <a:defRPr sz="3400" b="0" cap="all">
                <a:solidFill>
                  <a:srgbClr val="ED2125"/>
                </a:solidFill>
              </a:defRPr>
            </a:lvl1pPr>
          </a:lstStyle>
          <a:p>
            <a:r>
              <a:rPr lang="en-US" dirty="0" smtClean="0"/>
              <a:t>#</a:t>
            </a:r>
            <a:endParaRPr lang="en-US" dirty="0"/>
          </a:p>
        </p:txBody>
      </p:sp>
      <p:sp>
        <p:nvSpPr>
          <p:cNvPr id="3" name="Text Placeholder 2"/>
          <p:cNvSpPr>
            <a:spLocks noGrp="1"/>
          </p:cNvSpPr>
          <p:nvPr>
            <p:ph type="body" idx="1" hasCustomPrompt="1"/>
          </p:nvPr>
        </p:nvSpPr>
        <p:spPr>
          <a:xfrm>
            <a:off x="2915920" y="2866073"/>
            <a:ext cx="5628640" cy="2874327"/>
          </a:xfrm>
        </p:spPr>
        <p:txBody>
          <a:bodyPr anchor="t">
            <a:normAutofit/>
          </a:bodyPr>
          <a:lstStyle>
            <a:lvl1pPr marL="0" indent="0">
              <a:buNone/>
              <a:defRPr sz="3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section title</a:t>
            </a:r>
          </a:p>
        </p:txBody>
      </p:sp>
      <p:pic>
        <p:nvPicPr>
          <p:cNvPr id="4" name="Picture 3" descr="arc_dark 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5" name="Picture 4" descr="arc_dark 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spTree>
    <p:extLst>
      <p:ext uri="{BB962C8B-B14F-4D97-AF65-F5344CB8AC3E}">
        <p14:creationId xmlns:p14="http://schemas.microsoft.com/office/powerpoint/2010/main" val="1535668533"/>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marL="0" indent="0">
              <a:buFontTx/>
              <a:buNone/>
              <a:defRPr>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smtClean="0"/>
              <a:t>Click to edit Master text styles</a:t>
            </a:r>
          </a:p>
        </p:txBody>
      </p:sp>
      <p:cxnSp>
        <p:nvCxnSpPr>
          <p:cNvPr id="8" name="Straight Connector 7"/>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8" name="Picture 17"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1"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
        <p:nvSpPr>
          <p:cNvPr id="12" name="Rectangle 11"/>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4" name="Straight Connector 13"/>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5" name="Picture 14"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250177772"/>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Bullet Content">
    <p:spTree>
      <p:nvGrpSpPr>
        <p:cNvPr id="1" name=""/>
        <p:cNvGrpSpPr/>
        <p:nvPr/>
      </p:nvGrpSpPr>
      <p:grpSpPr>
        <a:xfrm>
          <a:off x="0" y="0"/>
          <a:ext cx="0" cy="0"/>
          <a:chOff x="0" y="0"/>
          <a:chExt cx="0" cy="0"/>
        </a:xfrm>
      </p:grpSpPr>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a:defRPr>
                <a:solidFill>
                  <a:srgbClr val="000000"/>
                </a:solidFill>
                <a:latin typeface="Arial"/>
                <a:cs typeface="Arial"/>
              </a:defRPr>
            </a:lvl1pPr>
            <a:lvl2pPr>
              <a:defRPr>
                <a:solidFill>
                  <a:srgbClr val="000000"/>
                </a:solidFill>
                <a:latin typeface="Arial"/>
                <a:cs typeface="Arial"/>
              </a:defRPr>
            </a:lvl2pPr>
            <a:lvl3pPr>
              <a:defRPr>
                <a:solidFill>
                  <a:srgbClr val="000000"/>
                </a:solidFill>
                <a:latin typeface="Arial"/>
                <a:cs typeface="Arial"/>
              </a:defRPr>
            </a:lvl3pPr>
            <a:lvl4pPr>
              <a:defRPr>
                <a:solidFill>
                  <a:srgbClr val="000000"/>
                </a:solidFill>
                <a:latin typeface="Arial"/>
                <a:cs typeface="Arial"/>
              </a:defRPr>
            </a:lvl4pPr>
            <a:lvl5pPr>
              <a:defRPr>
                <a:solidFill>
                  <a:srgbClr val="000000"/>
                </a:solidFill>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cxnSp>
        <p:nvCxnSpPr>
          <p:cNvPr id="11" name="Straight Connector 10"/>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2" name="Picture 11"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
        <p:nvSpPr>
          <p:cNvPr id="15" name="Rectangle 14"/>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6" name="Straight Connector 15"/>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7" name="Picture 16"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3411653949"/>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cxnSp>
        <p:nvCxnSpPr>
          <p:cNvPr id="16" name="Straight Connector 15"/>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7" name="Picture 16"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1"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
        <p:nvSpPr>
          <p:cNvPr id="13" name="Rectangle 12"/>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4" name="Straight Connector 13"/>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5" name="Picture 14"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3880737579"/>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 Bullets">
    <p:spTree>
      <p:nvGrpSpPr>
        <p:cNvPr id="1" name=""/>
        <p:cNvGrpSpPr/>
        <p:nvPr/>
      </p:nvGrpSpPr>
      <p:grpSpPr>
        <a:xfrm>
          <a:off x="0" y="0"/>
          <a:ext cx="0" cy="0"/>
          <a:chOff x="0" y="0"/>
          <a:chExt cx="0" cy="0"/>
        </a:xfrm>
      </p:grpSpPr>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cxnSp>
        <p:nvCxnSpPr>
          <p:cNvPr id="11" name="Straight Connector 10"/>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5" name="Picture 14"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
        <p:nvSpPr>
          <p:cNvPr id="14" name="Rectangle 13"/>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6" name="Straight Connector 15"/>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7" name="Picture 16"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178250832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pPr/>
              <a:t>‹#›</a:t>
            </a:fld>
            <a:endParaRPr lang="en-US" dirty="0"/>
          </a:p>
        </p:txBody>
      </p:sp>
      <p:cxnSp>
        <p:nvCxnSpPr>
          <p:cNvPr id="15" name="Straight Connector 14"/>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6" name="Picture 15"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
        <p:nvSpPr>
          <p:cNvPr id="14" name="Rectangle 13"/>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7" name="Straight Connector 16"/>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8" name="Picture 17"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3681907827"/>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mparison Dark Heading">
    <p:spTree>
      <p:nvGrpSpPr>
        <p:cNvPr id="1" name=""/>
        <p:cNvGrpSpPr/>
        <p:nvPr/>
      </p:nvGrpSpPr>
      <p:grpSpPr>
        <a:xfrm>
          <a:off x="0" y="0"/>
          <a:ext cx="0" cy="0"/>
          <a:chOff x="0" y="0"/>
          <a:chExt cx="0" cy="0"/>
        </a:xfrm>
      </p:grpSpPr>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pPr/>
              <a:t>‹#›</a:t>
            </a:fld>
            <a:endParaRPr lang="en-US" dirty="0"/>
          </a:p>
        </p:txBody>
      </p:sp>
      <p:cxnSp>
        <p:nvCxnSpPr>
          <p:cNvPr id="15" name="Straight Connector 14"/>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3" name="Picture 12"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
        <p:nvSpPr>
          <p:cNvPr id="16" name="Rectangle 15"/>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7" name="Straight Connector 16"/>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8" name="Picture 17"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2358471333"/>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Image Title Slide 2">
    <p:spTree>
      <p:nvGrpSpPr>
        <p:cNvPr id="1" name=""/>
        <p:cNvGrpSpPr/>
        <p:nvPr/>
      </p:nvGrpSpPr>
      <p:grpSpPr>
        <a:xfrm>
          <a:off x="0" y="0"/>
          <a:ext cx="0" cy="0"/>
          <a:chOff x="0" y="0"/>
          <a:chExt cx="0" cy="0"/>
        </a:xfrm>
      </p:grpSpPr>
      <p:pic>
        <p:nvPicPr>
          <p:cNvPr id="4" name="Picture 3" descr="Title_Image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 name="Picture 2" descr="Title_Image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5" name="Picture 4" descr="Title_Image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0958783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Rectangle 5"/>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12"/>
          </p:nvPr>
        </p:nvSpPr>
        <p:spPr/>
        <p:txBody>
          <a:bodyPr/>
          <a:lstStyle/>
          <a:p>
            <a:fld id="{56061281-BD0D-6F47-BBB8-8F6BE6AA34E7}" type="slidenum">
              <a:rPr lang="en-US" smtClean="0"/>
              <a:pPr/>
              <a:t>‹#›</a:t>
            </a:fld>
            <a:endParaRPr lang="en-US" dirty="0"/>
          </a:p>
        </p:txBody>
      </p:sp>
      <p:cxnSp>
        <p:nvCxnSpPr>
          <p:cNvPr id="11" name="Straight Connector 10"/>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4" name="Picture 13"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5"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8"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
        <p:nvSpPr>
          <p:cNvPr id="9" name="Rectangle 8"/>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0" name="Straight Connector 9"/>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2" name="Picture 11"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2631933727"/>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hoto 1">
    <p:spTree>
      <p:nvGrpSpPr>
        <p:cNvPr id="1" name=""/>
        <p:cNvGrpSpPr/>
        <p:nvPr/>
      </p:nvGrpSpPr>
      <p:grpSpPr>
        <a:xfrm>
          <a:off x="0" y="0"/>
          <a:ext cx="0" cy="0"/>
          <a:chOff x="0" y="0"/>
          <a:chExt cx="0" cy="0"/>
        </a:xfrm>
      </p:grpSpPr>
      <p:pic>
        <p:nvPicPr>
          <p:cNvPr id="11" name="Picture 10"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marL="0" indent="0">
              <a:buFontTx/>
              <a:buNone/>
              <a:defRPr>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smtClean="0"/>
              <a:t>Click to edit Master text styles</a:t>
            </a:r>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8" name="Picture 17"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2"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4" name="Picture 13"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5" name="Rectangle 14"/>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6" name="Picture 15"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1009889871"/>
      </p:ext>
    </p:extLst>
  </p:cSld>
  <p:clrMapOvr>
    <a:masterClrMapping/>
  </p:clrMapOvr>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Bullet Content Photo 1">
    <p:spTree>
      <p:nvGrpSpPr>
        <p:cNvPr id="1" name=""/>
        <p:cNvGrpSpPr/>
        <p:nvPr/>
      </p:nvGrpSpPr>
      <p:grpSpPr>
        <a:xfrm>
          <a:off x="0" y="0"/>
          <a:ext cx="0" cy="0"/>
          <a:chOff x="0" y="0"/>
          <a:chExt cx="0" cy="0"/>
        </a:xfrm>
      </p:grpSpPr>
      <p:pic>
        <p:nvPicPr>
          <p:cNvPr id="15" name="Picture 14"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a:defRPr>
                <a:solidFill>
                  <a:srgbClr val="000000"/>
                </a:solidFill>
                <a:latin typeface="Arial"/>
                <a:cs typeface="Arial"/>
              </a:defRPr>
            </a:lvl1pPr>
            <a:lvl2pPr>
              <a:defRPr>
                <a:solidFill>
                  <a:srgbClr val="000000"/>
                </a:solidFill>
                <a:latin typeface="Arial"/>
                <a:cs typeface="Arial"/>
              </a:defRPr>
            </a:lvl2pPr>
            <a:lvl3pPr>
              <a:defRPr>
                <a:solidFill>
                  <a:srgbClr val="000000"/>
                </a:solidFill>
                <a:latin typeface="Arial"/>
                <a:cs typeface="Arial"/>
              </a:defRPr>
            </a:lvl3pPr>
            <a:lvl4pPr>
              <a:defRPr>
                <a:solidFill>
                  <a:srgbClr val="000000"/>
                </a:solidFill>
                <a:latin typeface="Arial"/>
                <a:cs typeface="Arial"/>
              </a:defRPr>
            </a:lvl4pPr>
            <a:lvl5pPr>
              <a:defRPr>
                <a:solidFill>
                  <a:srgbClr val="000000"/>
                </a:solidFill>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2" name="Picture 11"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1"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4" name="Picture 13"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6" name="Rectangle 15"/>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7" name="Picture 16"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2028717068"/>
      </p:ext>
    </p:extLst>
  </p:cSld>
  <p:clrMapOvr>
    <a:masterClrMapping/>
  </p:clrMapOvr>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ntent Photo 1">
    <p:spTree>
      <p:nvGrpSpPr>
        <p:cNvPr id="1" name=""/>
        <p:cNvGrpSpPr/>
        <p:nvPr/>
      </p:nvGrpSpPr>
      <p:grpSpPr>
        <a:xfrm>
          <a:off x="0" y="0"/>
          <a:ext cx="0" cy="0"/>
          <a:chOff x="0" y="0"/>
          <a:chExt cx="0" cy="0"/>
        </a:xfrm>
      </p:grpSpPr>
      <p:pic>
        <p:nvPicPr>
          <p:cNvPr id="10" name="Picture 9"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7" name="Picture 16"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1"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4" name="Picture 13"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5" name="Rectangle 14"/>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6" name="Picture 15"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3893473024"/>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ntent Bullets Photo 1">
    <p:spTree>
      <p:nvGrpSpPr>
        <p:cNvPr id="1" name=""/>
        <p:cNvGrpSpPr/>
        <p:nvPr/>
      </p:nvGrpSpPr>
      <p:grpSpPr>
        <a:xfrm>
          <a:off x="0" y="0"/>
          <a:ext cx="0" cy="0"/>
          <a:chOff x="0" y="0"/>
          <a:chExt cx="0" cy="0"/>
        </a:xfrm>
      </p:grpSpPr>
      <p:pic>
        <p:nvPicPr>
          <p:cNvPr id="10" name="Picture 9"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5" name="Picture 14"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1"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4" name="Picture 13"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6" name="Rectangle 15"/>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7" name="Picture 16"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323213937"/>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mparison Photo 1">
    <p:spTree>
      <p:nvGrpSpPr>
        <p:cNvPr id="1" name=""/>
        <p:cNvGrpSpPr/>
        <p:nvPr/>
      </p:nvGrpSpPr>
      <p:grpSpPr>
        <a:xfrm>
          <a:off x="0" y="0"/>
          <a:ext cx="0" cy="0"/>
          <a:chOff x="0" y="0"/>
          <a:chExt cx="0" cy="0"/>
        </a:xfrm>
      </p:grpSpPr>
      <p:pic>
        <p:nvPicPr>
          <p:cNvPr id="12" name="Picture 11"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6" name="Picture 15"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3"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5" name="Picture 14"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7" name="Rectangle 16"/>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8" name="Picture 17"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795584597"/>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mparison Dark Heading Photo 1">
    <p:spTree>
      <p:nvGrpSpPr>
        <p:cNvPr id="1" name=""/>
        <p:cNvGrpSpPr/>
        <p:nvPr/>
      </p:nvGrpSpPr>
      <p:grpSpPr>
        <a:xfrm>
          <a:off x="0" y="0"/>
          <a:ext cx="0" cy="0"/>
          <a:chOff x="0" y="0"/>
          <a:chExt cx="0" cy="0"/>
        </a:xfrm>
      </p:grpSpPr>
      <p:pic>
        <p:nvPicPr>
          <p:cNvPr id="12" name="Picture 11"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3" name="Picture 12"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5"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6" name="Picture 15"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7" name="Rectangle 16"/>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8" name="Picture 17"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535433872"/>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hoto 1">
    <p:spTree>
      <p:nvGrpSpPr>
        <p:cNvPr id="1" name=""/>
        <p:cNvGrpSpPr/>
        <p:nvPr/>
      </p:nvGrpSpPr>
      <p:grpSpPr>
        <a:xfrm>
          <a:off x="0" y="0"/>
          <a:ext cx="0" cy="0"/>
          <a:chOff x="0" y="0"/>
          <a:chExt cx="0" cy="0"/>
        </a:xfrm>
      </p:grpSpPr>
      <p:pic>
        <p:nvPicPr>
          <p:cNvPr id="8" name="Picture 7"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6" name="Rectangle 5"/>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4" name="Picture 13"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0"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1" name="Picture 10"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2" name="Rectangle 11"/>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817547570"/>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ontent Photo 2">
    <p:spTree>
      <p:nvGrpSpPr>
        <p:cNvPr id="1" name=""/>
        <p:cNvGrpSpPr/>
        <p:nvPr/>
      </p:nvGrpSpPr>
      <p:grpSpPr>
        <a:xfrm>
          <a:off x="0" y="0"/>
          <a:ext cx="0" cy="0"/>
          <a:chOff x="0" y="0"/>
          <a:chExt cx="0" cy="0"/>
        </a:xfrm>
      </p:grpSpPr>
      <p:pic>
        <p:nvPicPr>
          <p:cNvPr id="9" name="Picture 8"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marL="0" indent="0">
              <a:buFontTx/>
              <a:buNone/>
              <a:defRPr>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smtClean="0"/>
              <a:t>Click to edit Master text styles</a:t>
            </a:r>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8" name="Picture 17"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1"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2"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4" name="Picture 13"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5" name="Rectangle 14"/>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6" name="Picture 15"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2990140310"/>
      </p:ext>
    </p:extLst>
  </p:cSld>
  <p:clrMapOvr>
    <a:masterClrMapping/>
  </p:clrMapOvr>
  <p:timing>
    <p:tnLst>
      <p:par>
        <p:cTn id="1" dur="indefinite" restart="never" nodeType="tmRoot"/>
      </p:par>
    </p:tnLst>
  </p:timing>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Bullet Content Photo 2">
    <p:spTree>
      <p:nvGrpSpPr>
        <p:cNvPr id="1" name=""/>
        <p:cNvGrpSpPr/>
        <p:nvPr/>
      </p:nvGrpSpPr>
      <p:grpSpPr>
        <a:xfrm>
          <a:off x="0" y="0"/>
          <a:ext cx="0" cy="0"/>
          <a:chOff x="0" y="0"/>
          <a:chExt cx="0" cy="0"/>
        </a:xfrm>
      </p:grpSpPr>
      <p:pic>
        <p:nvPicPr>
          <p:cNvPr id="9" name="Picture 8"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a:defRPr>
                <a:solidFill>
                  <a:srgbClr val="000000"/>
                </a:solidFill>
                <a:latin typeface="Arial"/>
                <a:cs typeface="Arial"/>
              </a:defRPr>
            </a:lvl1pPr>
            <a:lvl2pPr>
              <a:defRPr>
                <a:solidFill>
                  <a:srgbClr val="000000"/>
                </a:solidFill>
                <a:latin typeface="Arial"/>
                <a:cs typeface="Arial"/>
              </a:defRPr>
            </a:lvl2pPr>
            <a:lvl3pPr>
              <a:defRPr>
                <a:solidFill>
                  <a:srgbClr val="000000"/>
                </a:solidFill>
                <a:latin typeface="Arial"/>
                <a:cs typeface="Arial"/>
              </a:defRPr>
            </a:lvl3pPr>
            <a:lvl4pPr>
              <a:defRPr>
                <a:solidFill>
                  <a:srgbClr val="000000"/>
                </a:solidFill>
                <a:latin typeface="Arial"/>
                <a:cs typeface="Arial"/>
              </a:defRPr>
            </a:lvl4pPr>
            <a:lvl5pPr>
              <a:defRPr>
                <a:solidFill>
                  <a:srgbClr val="000000"/>
                </a:solidFill>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2" name="Picture 11"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1"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5" name="Picture 14"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6" name="Rectangle 15"/>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7" name="Picture 16"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2334876825"/>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Multiple Logos">
    <p:spTree>
      <p:nvGrpSpPr>
        <p:cNvPr id="1" name=""/>
        <p:cNvGrpSpPr/>
        <p:nvPr/>
      </p:nvGrpSpPr>
      <p:grpSpPr>
        <a:xfrm>
          <a:off x="0" y="0"/>
          <a:ext cx="0" cy="0"/>
          <a:chOff x="0" y="0"/>
          <a:chExt cx="0" cy="0"/>
        </a:xfrm>
      </p:grpSpPr>
      <p:sp>
        <p:nvSpPr>
          <p:cNvPr id="4" name="Rectangle 3"/>
          <p:cNvSpPr/>
          <p:nvPr/>
        </p:nvSpPr>
        <p:spPr>
          <a:xfrm>
            <a:off x="0" y="1830388"/>
            <a:ext cx="9144000" cy="18288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5" name="Picture 4" descr="arc_light 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7" name="Picture 6" descr="taglin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2650" y="6139180"/>
            <a:ext cx="4827710" cy="219441"/>
          </a:xfrm>
          <a:prstGeom prst="rect">
            <a:avLst/>
          </a:prstGeom>
        </p:spPr>
      </p:pic>
      <p:sp>
        <p:nvSpPr>
          <p:cNvPr id="12" name="Text Placeholder 2"/>
          <p:cNvSpPr>
            <a:spLocks noGrp="1"/>
          </p:cNvSpPr>
          <p:nvPr>
            <p:ph type="body" idx="1" hasCustomPrompt="1"/>
          </p:nvPr>
        </p:nvSpPr>
        <p:spPr>
          <a:xfrm>
            <a:off x="3251200" y="5608320"/>
            <a:ext cx="2621280" cy="406400"/>
          </a:xfrm>
        </p:spPr>
        <p:txBody>
          <a:bodyPr anchor="t">
            <a:normAutofit/>
          </a:bodyPr>
          <a:lstStyle>
            <a:lvl1pPr marL="0" indent="0" algn="ctr">
              <a:buNone/>
              <a:defRPr sz="1400">
                <a:solidFill>
                  <a:schemeClr val="accent2">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date</a:t>
            </a:r>
          </a:p>
        </p:txBody>
      </p:sp>
      <p:sp>
        <p:nvSpPr>
          <p:cNvPr id="9" name="Content Placeholder 2"/>
          <p:cNvSpPr>
            <a:spLocks noGrp="1"/>
          </p:cNvSpPr>
          <p:nvPr>
            <p:ph idx="14" hasCustomPrompt="1"/>
          </p:nvPr>
        </p:nvSpPr>
        <p:spPr>
          <a:xfrm>
            <a:off x="685800" y="1830388"/>
            <a:ext cx="7772400" cy="1828800"/>
          </a:xfrm>
        </p:spPr>
        <p:txBody>
          <a:bodyPr anchor="ctr">
            <a:normAutofit/>
          </a:bodyPr>
          <a:lstStyle>
            <a:lvl1pPr marL="0" indent="0" algn="ctr">
              <a:buFontTx/>
              <a:buNone/>
              <a:defRPr sz="3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
        <p:nvSpPr>
          <p:cNvPr id="8" name="Rectangle 7"/>
          <p:cNvSpPr/>
          <p:nvPr/>
        </p:nvSpPr>
        <p:spPr>
          <a:xfrm>
            <a:off x="0" y="1830388"/>
            <a:ext cx="9144000" cy="18288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10" name="Picture 9" descr="arc_light 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11" name="Picture 10" descr="taglin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2650" y="6139180"/>
            <a:ext cx="4827710" cy="219441"/>
          </a:xfrm>
          <a:prstGeom prst="rect">
            <a:avLst/>
          </a:prstGeom>
        </p:spPr>
      </p:pic>
      <p:sp>
        <p:nvSpPr>
          <p:cNvPr id="13" name="Rectangle 12"/>
          <p:cNvSpPr/>
          <p:nvPr userDrawn="1"/>
        </p:nvSpPr>
        <p:spPr>
          <a:xfrm>
            <a:off x="0" y="1830388"/>
            <a:ext cx="9144000" cy="18288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14" name="Picture 13" descr="arc_light blu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15" name="Picture 14" descr="tag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52650" y="6139180"/>
            <a:ext cx="4827710" cy="219441"/>
          </a:xfrm>
          <a:prstGeom prst="rect">
            <a:avLst/>
          </a:prstGeom>
        </p:spPr>
      </p:pic>
    </p:spTree>
    <p:extLst>
      <p:ext uri="{BB962C8B-B14F-4D97-AF65-F5344CB8AC3E}">
        <p14:creationId xmlns:p14="http://schemas.microsoft.com/office/powerpoint/2010/main" val="4273300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ntent Photo 2">
    <p:spTree>
      <p:nvGrpSpPr>
        <p:cNvPr id="1" name=""/>
        <p:cNvGrpSpPr/>
        <p:nvPr/>
      </p:nvGrpSpPr>
      <p:grpSpPr>
        <a:xfrm>
          <a:off x="0" y="0"/>
          <a:ext cx="0" cy="0"/>
          <a:chOff x="0" y="0"/>
          <a:chExt cx="0" cy="0"/>
        </a:xfrm>
      </p:grpSpPr>
      <p:pic>
        <p:nvPicPr>
          <p:cNvPr id="13" name="Picture 12"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7" name="Picture 16"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1"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4" name="Picture 13"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5" name="Rectangle 14"/>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6" name="Picture 15"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428016893"/>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ntent Bullets Photo 2">
    <p:spTree>
      <p:nvGrpSpPr>
        <p:cNvPr id="1" name=""/>
        <p:cNvGrpSpPr/>
        <p:nvPr/>
      </p:nvGrpSpPr>
      <p:grpSpPr>
        <a:xfrm>
          <a:off x="0" y="0"/>
          <a:ext cx="0" cy="0"/>
          <a:chOff x="0" y="0"/>
          <a:chExt cx="0" cy="0"/>
        </a:xfrm>
      </p:grpSpPr>
      <p:pic>
        <p:nvPicPr>
          <p:cNvPr id="11" name="Picture 10"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5" name="Picture 14"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4" name="Picture 13"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6" name="Rectangle 15"/>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7" name="Picture 16"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3623191528"/>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mparison Photo 2">
    <p:spTree>
      <p:nvGrpSpPr>
        <p:cNvPr id="1" name=""/>
        <p:cNvGrpSpPr/>
        <p:nvPr/>
      </p:nvGrpSpPr>
      <p:grpSpPr>
        <a:xfrm>
          <a:off x="0" y="0"/>
          <a:ext cx="0" cy="0"/>
          <a:chOff x="0" y="0"/>
          <a:chExt cx="0" cy="0"/>
        </a:xfrm>
      </p:grpSpPr>
      <p:pic>
        <p:nvPicPr>
          <p:cNvPr id="13" name="Picture 12"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6" name="Picture 15"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5" name="Picture 14"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7" name="Rectangle 16"/>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8" name="Picture 17"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4027112233"/>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mparison Dark Heading Photo 2">
    <p:spTree>
      <p:nvGrpSpPr>
        <p:cNvPr id="1" name=""/>
        <p:cNvGrpSpPr/>
        <p:nvPr/>
      </p:nvGrpSpPr>
      <p:grpSpPr>
        <a:xfrm>
          <a:off x="0" y="0"/>
          <a:ext cx="0" cy="0"/>
          <a:chOff x="0" y="0"/>
          <a:chExt cx="0" cy="0"/>
        </a:xfrm>
      </p:grpSpPr>
      <p:pic>
        <p:nvPicPr>
          <p:cNvPr id="15" name="Picture 14"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3" name="Picture 12"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6" name="Picture 15"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7" name="Rectangle 16"/>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8" name="Picture 17"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3745649615"/>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hoto 2">
    <p:spTree>
      <p:nvGrpSpPr>
        <p:cNvPr id="1" name=""/>
        <p:cNvGrpSpPr/>
        <p:nvPr/>
      </p:nvGrpSpPr>
      <p:grpSpPr>
        <a:xfrm>
          <a:off x="0" y="0"/>
          <a:ext cx="0" cy="0"/>
          <a:chOff x="0" y="0"/>
          <a:chExt cx="0" cy="0"/>
        </a:xfrm>
      </p:grpSpPr>
      <p:pic>
        <p:nvPicPr>
          <p:cNvPr id="9" name="Picture 8"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6" name="Rectangle 5"/>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4" name="Picture 13"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8"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0"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1" name="Picture 10"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2" name="Rectangle 11"/>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1996226320"/>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Content Photo 3">
    <p:spTree>
      <p:nvGrpSpPr>
        <p:cNvPr id="1" name=""/>
        <p:cNvGrpSpPr/>
        <p:nvPr/>
      </p:nvGrpSpPr>
      <p:grpSpPr>
        <a:xfrm>
          <a:off x="0" y="0"/>
          <a:ext cx="0" cy="0"/>
          <a:chOff x="0" y="0"/>
          <a:chExt cx="0" cy="0"/>
        </a:xfrm>
      </p:grpSpPr>
      <p:pic>
        <p:nvPicPr>
          <p:cNvPr id="11" name="Picture 10"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marL="0" indent="0">
              <a:buFontTx/>
              <a:buNone/>
              <a:defRPr>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smtClean="0"/>
              <a:t>Click to edit Master text styles</a:t>
            </a:r>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8" name="Picture 17"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2"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4" name="Picture 13"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5" name="Rectangle 14"/>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6" name="Picture 15"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492288645"/>
      </p:ext>
    </p:extLst>
  </p:cSld>
  <p:clrMapOvr>
    <a:masterClrMapping/>
  </p:clrMapOvr>
  <p:timing>
    <p:tnLst>
      <p:par>
        <p:cTn id="1" dur="indefinite" restart="never" nodeType="tmRoot"/>
      </p:par>
    </p:tnLst>
  </p:timing>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Bullet Content Photo 3">
    <p:spTree>
      <p:nvGrpSpPr>
        <p:cNvPr id="1" name=""/>
        <p:cNvGrpSpPr/>
        <p:nvPr/>
      </p:nvGrpSpPr>
      <p:grpSpPr>
        <a:xfrm>
          <a:off x="0" y="0"/>
          <a:ext cx="0" cy="0"/>
          <a:chOff x="0" y="0"/>
          <a:chExt cx="0" cy="0"/>
        </a:xfrm>
      </p:grpSpPr>
      <p:pic>
        <p:nvPicPr>
          <p:cNvPr id="11" name="Picture 10"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a:defRPr>
                <a:solidFill>
                  <a:srgbClr val="000000"/>
                </a:solidFill>
                <a:latin typeface="Arial"/>
                <a:cs typeface="Arial"/>
              </a:defRPr>
            </a:lvl1pPr>
            <a:lvl2pPr>
              <a:defRPr>
                <a:solidFill>
                  <a:srgbClr val="000000"/>
                </a:solidFill>
                <a:latin typeface="Arial"/>
                <a:cs typeface="Arial"/>
              </a:defRPr>
            </a:lvl2pPr>
            <a:lvl3pPr>
              <a:defRPr>
                <a:solidFill>
                  <a:srgbClr val="000000"/>
                </a:solidFill>
                <a:latin typeface="Arial"/>
                <a:cs typeface="Arial"/>
              </a:defRPr>
            </a:lvl3pPr>
            <a:lvl4pPr>
              <a:defRPr>
                <a:solidFill>
                  <a:srgbClr val="000000"/>
                </a:solidFill>
                <a:latin typeface="Arial"/>
                <a:cs typeface="Arial"/>
              </a:defRPr>
            </a:lvl4pPr>
            <a:lvl5pPr>
              <a:defRPr>
                <a:solidFill>
                  <a:srgbClr val="000000"/>
                </a:solidFill>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2" name="Picture 11"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5" name="Picture 14"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6" name="Rectangle 15"/>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7" name="Picture 16"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622199982"/>
      </p:ext>
    </p:extLst>
  </p:cSld>
  <p:clrMapOvr>
    <a:masterClrMapping/>
  </p:clrMapOvr>
  <p:timing>
    <p:tnLst>
      <p:par>
        <p:cTn id="1" dur="indefinite" restart="never" nodeType="tmRoot"/>
      </p:par>
    </p:tnLst>
  </p:timing>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Content Photo 3">
    <p:spTree>
      <p:nvGrpSpPr>
        <p:cNvPr id="1" name=""/>
        <p:cNvGrpSpPr/>
        <p:nvPr/>
      </p:nvGrpSpPr>
      <p:grpSpPr>
        <a:xfrm>
          <a:off x="0" y="0"/>
          <a:ext cx="0" cy="0"/>
          <a:chOff x="0" y="0"/>
          <a:chExt cx="0" cy="0"/>
        </a:xfrm>
      </p:grpSpPr>
      <p:pic>
        <p:nvPicPr>
          <p:cNvPr id="11" name="Picture 10"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7" name="Picture 16"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4" name="Picture 13"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5" name="Rectangle 14"/>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6" name="Picture 15"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1917950253"/>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Content Bullets Photo 3">
    <p:spTree>
      <p:nvGrpSpPr>
        <p:cNvPr id="1" name=""/>
        <p:cNvGrpSpPr/>
        <p:nvPr/>
      </p:nvGrpSpPr>
      <p:grpSpPr>
        <a:xfrm>
          <a:off x="0" y="0"/>
          <a:ext cx="0" cy="0"/>
          <a:chOff x="0" y="0"/>
          <a:chExt cx="0" cy="0"/>
        </a:xfrm>
      </p:grpSpPr>
      <p:pic>
        <p:nvPicPr>
          <p:cNvPr id="11" name="Picture 10"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5" name="Picture 14"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4" name="Picture 13"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6" name="Rectangle 15"/>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7" name="Picture 16"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2617374164"/>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mparison Photo 3">
    <p:spTree>
      <p:nvGrpSpPr>
        <p:cNvPr id="1" name=""/>
        <p:cNvGrpSpPr/>
        <p:nvPr/>
      </p:nvGrpSpPr>
      <p:grpSpPr>
        <a:xfrm>
          <a:off x="0" y="0"/>
          <a:ext cx="0" cy="0"/>
          <a:chOff x="0" y="0"/>
          <a:chExt cx="0" cy="0"/>
        </a:xfrm>
      </p:grpSpPr>
      <p:pic>
        <p:nvPicPr>
          <p:cNvPr id="13" name="Picture 12"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6" name="Picture 15"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5" name="Picture 14"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7" name="Rectangle 16"/>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8" name="Picture 17"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3333730113"/>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Only Tyton Logo">
    <p:spTree>
      <p:nvGrpSpPr>
        <p:cNvPr id="1" name=""/>
        <p:cNvGrpSpPr/>
        <p:nvPr/>
      </p:nvGrpSpPr>
      <p:grpSpPr>
        <a:xfrm>
          <a:off x="0" y="0"/>
          <a:ext cx="0" cy="0"/>
          <a:chOff x="0" y="0"/>
          <a:chExt cx="0" cy="0"/>
        </a:xfrm>
      </p:grpSpPr>
      <p:sp>
        <p:nvSpPr>
          <p:cNvPr id="4" name="Rectangle 3"/>
          <p:cNvSpPr/>
          <p:nvPr/>
        </p:nvSpPr>
        <p:spPr>
          <a:xfrm>
            <a:off x="0" y="1830388"/>
            <a:ext cx="9144000" cy="18288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5" name="Picture 4" descr="arc_light 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7" name="Picture 6" descr="taglin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2650" y="6139180"/>
            <a:ext cx="4827710" cy="219441"/>
          </a:xfrm>
          <a:prstGeom prst="rect">
            <a:avLst/>
          </a:prstGeom>
        </p:spPr>
      </p:pic>
      <p:pic>
        <p:nvPicPr>
          <p:cNvPr id="6" name="Picture 5" descr="Tyton Logo.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21100" y="4564380"/>
            <a:ext cx="1700671" cy="816810"/>
          </a:xfrm>
          <a:prstGeom prst="rect">
            <a:avLst/>
          </a:prstGeom>
        </p:spPr>
      </p:pic>
      <p:sp>
        <p:nvSpPr>
          <p:cNvPr id="9" name="Content Placeholder 2"/>
          <p:cNvSpPr>
            <a:spLocks noGrp="1"/>
          </p:cNvSpPr>
          <p:nvPr>
            <p:ph idx="14" hasCustomPrompt="1"/>
          </p:nvPr>
        </p:nvSpPr>
        <p:spPr>
          <a:xfrm>
            <a:off x="685800" y="1830388"/>
            <a:ext cx="7772400" cy="1828800"/>
          </a:xfrm>
        </p:spPr>
        <p:txBody>
          <a:bodyPr anchor="ctr">
            <a:normAutofit/>
          </a:bodyPr>
          <a:lstStyle>
            <a:lvl1pPr marL="0" indent="0" algn="ctr">
              <a:buFontTx/>
              <a:buNone/>
              <a:defRPr sz="3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
        <p:nvSpPr>
          <p:cNvPr id="10" name="Text Placeholder 2"/>
          <p:cNvSpPr>
            <a:spLocks noGrp="1"/>
          </p:cNvSpPr>
          <p:nvPr>
            <p:ph type="body" idx="1" hasCustomPrompt="1"/>
          </p:nvPr>
        </p:nvSpPr>
        <p:spPr>
          <a:xfrm>
            <a:off x="3251200" y="5608320"/>
            <a:ext cx="2621280" cy="406400"/>
          </a:xfrm>
        </p:spPr>
        <p:txBody>
          <a:bodyPr anchor="t">
            <a:normAutofit/>
          </a:bodyPr>
          <a:lstStyle>
            <a:lvl1pPr marL="0" indent="0" algn="ctr">
              <a:buNone/>
              <a:defRPr sz="1400">
                <a:solidFill>
                  <a:schemeClr val="accent2">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date</a:t>
            </a:r>
          </a:p>
        </p:txBody>
      </p:sp>
      <p:sp>
        <p:nvSpPr>
          <p:cNvPr id="8" name="Rectangle 7"/>
          <p:cNvSpPr/>
          <p:nvPr/>
        </p:nvSpPr>
        <p:spPr>
          <a:xfrm>
            <a:off x="0" y="1830388"/>
            <a:ext cx="9144000" cy="18288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11" name="Picture 10" descr="arc_light 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12" name="Picture 11" descr="taglin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2650" y="6139180"/>
            <a:ext cx="4827710" cy="219441"/>
          </a:xfrm>
          <a:prstGeom prst="rect">
            <a:avLst/>
          </a:prstGeom>
        </p:spPr>
      </p:pic>
      <p:pic>
        <p:nvPicPr>
          <p:cNvPr id="13" name="Picture 12" descr="Tyton Logo.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21100" y="4564380"/>
            <a:ext cx="1700671" cy="816810"/>
          </a:xfrm>
          <a:prstGeom prst="rect">
            <a:avLst/>
          </a:prstGeom>
        </p:spPr>
      </p:pic>
      <p:sp>
        <p:nvSpPr>
          <p:cNvPr id="14" name="Rectangle 13"/>
          <p:cNvSpPr/>
          <p:nvPr userDrawn="1"/>
        </p:nvSpPr>
        <p:spPr>
          <a:xfrm>
            <a:off x="0" y="1830388"/>
            <a:ext cx="9144000" cy="18288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15" name="Picture 14" descr="arc_light blu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16" name="Picture 15" descr="tag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52650" y="6139180"/>
            <a:ext cx="4827710" cy="219441"/>
          </a:xfrm>
          <a:prstGeom prst="rect">
            <a:avLst/>
          </a:prstGeom>
        </p:spPr>
      </p:pic>
      <p:pic>
        <p:nvPicPr>
          <p:cNvPr id="17" name="Picture 16" descr="Tyton Logo.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21100" y="4564380"/>
            <a:ext cx="1700671" cy="816810"/>
          </a:xfrm>
          <a:prstGeom prst="rect">
            <a:avLst/>
          </a:prstGeom>
        </p:spPr>
      </p:pic>
    </p:spTree>
    <p:extLst>
      <p:ext uri="{BB962C8B-B14F-4D97-AF65-F5344CB8AC3E}">
        <p14:creationId xmlns:p14="http://schemas.microsoft.com/office/powerpoint/2010/main" val="28473826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mparison Dark Heading Photo 3">
    <p:spTree>
      <p:nvGrpSpPr>
        <p:cNvPr id="1" name=""/>
        <p:cNvGrpSpPr/>
        <p:nvPr/>
      </p:nvGrpSpPr>
      <p:grpSpPr>
        <a:xfrm>
          <a:off x="0" y="0"/>
          <a:ext cx="0" cy="0"/>
          <a:chOff x="0" y="0"/>
          <a:chExt cx="0" cy="0"/>
        </a:xfrm>
      </p:grpSpPr>
      <p:pic>
        <p:nvPicPr>
          <p:cNvPr id="15" name="Picture 14"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3" name="Picture 12"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6" name="Picture 15"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7" name="Rectangle 16"/>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8" name="Picture 17"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2261210686"/>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Only Photo 3">
    <p:spTree>
      <p:nvGrpSpPr>
        <p:cNvPr id="1" name=""/>
        <p:cNvGrpSpPr/>
        <p:nvPr/>
      </p:nvGrpSpPr>
      <p:grpSpPr>
        <a:xfrm>
          <a:off x="0" y="0"/>
          <a:ext cx="0" cy="0"/>
          <a:chOff x="0" y="0"/>
          <a:chExt cx="0" cy="0"/>
        </a:xfrm>
      </p:grpSpPr>
      <p:pic>
        <p:nvPicPr>
          <p:cNvPr id="9" name="Picture 8"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6" name="Rectangle 5"/>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4" name="Picture 13"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8"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0"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pic>
        <p:nvPicPr>
          <p:cNvPr id="11" name="Picture 10"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2" name="Rectangle 11"/>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3112837469"/>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p>
            <a:fld id="{56061281-BD0D-6F47-BBB8-8F6BE6AA34E7}" type="slidenum">
              <a:rPr lang="en-US" smtClean="0"/>
              <a:pPr/>
              <a:t>‹#›</a:t>
            </a:fld>
            <a:endParaRPr lang="en-US" dirty="0"/>
          </a:p>
        </p:txBody>
      </p:sp>
      <p:pic>
        <p:nvPicPr>
          <p:cNvPr id="8" name="Picture 7"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6"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7" name="Rectangle 6"/>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8"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1567461971"/>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57200" y="273050"/>
            <a:ext cx="3008313" cy="1162050"/>
          </a:xfrm>
        </p:spPr>
        <p:txBody>
          <a:bodyPr anchor="b">
            <a:normAutofit/>
          </a:bodyPr>
          <a:lstStyle>
            <a:lvl1pPr algn="l">
              <a:defRPr sz="2400" b="1">
                <a:solidFill>
                  <a:srgbClr val="00000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1" name="Picture 10"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2750210877"/>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792288" y="4800600"/>
            <a:ext cx="5486400" cy="566738"/>
          </a:xfrm>
        </p:spPr>
        <p:txBody>
          <a:bodyPr anchor="b">
            <a:normAutofit/>
          </a:bodyPr>
          <a:lstStyle>
            <a:lvl1pPr algn="l">
              <a:defRPr sz="2400" b="1">
                <a:solidFill>
                  <a:srgbClr val="000000"/>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1" name="Picture 10"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1792287" y="6172200"/>
            <a:ext cx="5025073" cy="597066"/>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1319671831"/>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7" name="Rectangle 6"/>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Vertical Text Placeholder 2"/>
          <p:cNvSpPr>
            <a:spLocks noGrp="1"/>
          </p:cNvSpPr>
          <p:nvPr>
            <p:ph type="body" orient="vert" idx="1"/>
          </p:nvPr>
        </p:nvSpPr>
        <p:spPr/>
        <p:txBody>
          <a:bodyPr vert="eaVert"/>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0" name="Picture 9"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8"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9"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
        <p:nvSpPr>
          <p:cNvPr id="11" name="Rectangle 10"/>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2985393885"/>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7" name="Rectangle 6"/>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Vertical Title 1"/>
          <p:cNvSpPr>
            <a:spLocks noGrp="1"/>
          </p:cNvSpPr>
          <p:nvPr>
            <p:ph type="title" orient="vert"/>
          </p:nvPr>
        </p:nvSpPr>
        <p:spPr>
          <a:xfrm>
            <a:off x="6629400" y="274638"/>
            <a:ext cx="2057400" cy="5851525"/>
          </a:xfrm>
        </p:spPr>
        <p:txBody>
          <a:bodyPr vert="eaVert"/>
          <a:lstStyle>
            <a:lvl1pPr>
              <a:defRPr>
                <a:solidFill>
                  <a:srgbClr val="000000"/>
                </a:solidFill>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0" name="Picture 9"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8"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9" name="Rectangle 8"/>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77726560"/>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Image Title Slide 1">
    <p:spTree>
      <p:nvGrpSpPr>
        <p:cNvPr id="1" name=""/>
        <p:cNvGrpSpPr/>
        <p:nvPr/>
      </p:nvGrpSpPr>
      <p:grpSpPr>
        <a:xfrm>
          <a:off x="0" y="0"/>
          <a:ext cx="0" cy="0"/>
          <a:chOff x="0" y="0"/>
          <a:chExt cx="0" cy="0"/>
        </a:xfrm>
      </p:grpSpPr>
      <p:pic>
        <p:nvPicPr>
          <p:cNvPr id="12" name="Picture 11" descr="Title_Image1.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4080551144"/>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Image Title Slide 2">
    <p:spTree>
      <p:nvGrpSpPr>
        <p:cNvPr id="1" name=""/>
        <p:cNvGrpSpPr/>
        <p:nvPr/>
      </p:nvGrpSpPr>
      <p:grpSpPr>
        <a:xfrm>
          <a:off x="0" y="0"/>
          <a:ext cx="0" cy="0"/>
          <a:chOff x="0" y="0"/>
          <a:chExt cx="0" cy="0"/>
        </a:xfrm>
      </p:grpSpPr>
      <p:pic>
        <p:nvPicPr>
          <p:cNvPr id="4" name="Picture 3" descr="Title_Image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095878334"/>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Title Slide Multiple Logos">
    <p:spTree>
      <p:nvGrpSpPr>
        <p:cNvPr id="1" name=""/>
        <p:cNvGrpSpPr/>
        <p:nvPr/>
      </p:nvGrpSpPr>
      <p:grpSpPr>
        <a:xfrm>
          <a:off x="0" y="0"/>
          <a:ext cx="0" cy="0"/>
          <a:chOff x="0" y="0"/>
          <a:chExt cx="0" cy="0"/>
        </a:xfrm>
      </p:grpSpPr>
      <p:sp>
        <p:nvSpPr>
          <p:cNvPr id="4" name="Rectangle 3"/>
          <p:cNvSpPr/>
          <p:nvPr/>
        </p:nvSpPr>
        <p:spPr>
          <a:xfrm>
            <a:off x="0" y="1830388"/>
            <a:ext cx="9144000" cy="18288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5" name="Picture 4" descr="arc_light 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7" name="Picture 6" descr="taglin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2650" y="6139180"/>
            <a:ext cx="4827710" cy="219441"/>
          </a:xfrm>
          <a:prstGeom prst="rect">
            <a:avLst/>
          </a:prstGeom>
        </p:spPr>
      </p:pic>
      <p:sp>
        <p:nvSpPr>
          <p:cNvPr id="12" name="Text Placeholder 2"/>
          <p:cNvSpPr>
            <a:spLocks noGrp="1"/>
          </p:cNvSpPr>
          <p:nvPr>
            <p:ph type="body" idx="1" hasCustomPrompt="1"/>
          </p:nvPr>
        </p:nvSpPr>
        <p:spPr>
          <a:xfrm>
            <a:off x="3251200" y="5608320"/>
            <a:ext cx="2621280" cy="406400"/>
          </a:xfrm>
        </p:spPr>
        <p:txBody>
          <a:bodyPr anchor="t">
            <a:normAutofit/>
          </a:bodyPr>
          <a:lstStyle>
            <a:lvl1pPr marL="0" indent="0" algn="ctr">
              <a:buNone/>
              <a:defRPr sz="1400">
                <a:solidFill>
                  <a:schemeClr val="accent2">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date</a:t>
            </a:r>
          </a:p>
        </p:txBody>
      </p:sp>
      <p:sp>
        <p:nvSpPr>
          <p:cNvPr id="9" name="Content Placeholder 2"/>
          <p:cNvSpPr>
            <a:spLocks noGrp="1"/>
          </p:cNvSpPr>
          <p:nvPr>
            <p:ph idx="14" hasCustomPrompt="1"/>
          </p:nvPr>
        </p:nvSpPr>
        <p:spPr>
          <a:xfrm>
            <a:off x="685800" y="1830388"/>
            <a:ext cx="7772400" cy="1828800"/>
          </a:xfrm>
        </p:spPr>
        <p:txBody>
          <a:bodyPr anchor="ctr">
            <a:normAutofit/>
          </a:bodyPr>
          <a:lstStyle>
            <a:lvl1pPr marL="0" indent="0" algn="ctr">
              <a:buFontTx/>
              <a:buNone/>
              <a:defRPr sz="3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427330072"/>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0" name="Rectangle 9"/>
          <p:cNvSpPr/>
          <p:nvPr/>
        </p:nvSpPr>
        <p:spPr>
          <a:xfrm>
            <a:off x="8306858" y="6420487"/>
            <a:ext cx="285280" cy="28528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168400" y="1139826"/>
            <a:ext cx="7413171" cy="4986338"/>
          </a:xfrm>
        </p:spPr>
        <p:txBody>
          <a:bodyPr>
            <a:normAutofit/>
          </a:bodyPr>
          <a:lstStyle>
            <a:lvl1pPr marL="0" indent="0">
              <a:lnSpc>
                <a:spcPct val="100000"/>
              </a:lnSpc>
              <a:spcBef>
                <a:spcPts val="1400"/>
              </a:spcBef>
              <a:buFontTx/>
              <a:buNone/>
              <a:tabLst>
                <a:tab pos="568325" algn="l"/>
              </a:tabLst>
              <a:defRPr sz="2400" i="0">
                <a:solidFill>
                  <a:schemeClr val="tx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smtClean="0"/>
              <a:t>Click to edit Master text styles</a:t>
            </a:r>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cxnSp>
        <p:nvCxnSpPr>
          <p:cNvPr id="11" name="Straight Connector 10"/>
          <p:cNvCxnSpPr/>
          <p:nvPr/>
        </p:nvCxnSpPr>
        <p:spPr>
          <a:xfrm flipV="1">
            <a:off x="560677" y="1037196"/>
            <a:ext cx="8020894" cy="21494"/>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12" name="Picture 11"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4"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9"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
        <p:nvSpPr>
          <p:cNvPr id="15" name="Content Placeholder 2"/>
          <p:cNvSpPr>
            <a:spLocks noGrp="1"/>
          </p:cNvSpPr>
          <p:nvPr>
            <p:ph idx="15" hasCustomPrompt="1"/>
          </p:nvPr>
        </p:nvSpPr>
        <p:spPr>
          <a:xfrm>
            <a:off x="526143" y="1139826"/>
            <a:ext cx="642257" cy="4986338"/>
          </a:xfrm>
        </p:spPr>
        <p:txBody>
          <a:bodyPr>
            <a:normAutofit/>
          </a:bodyPr>
          <a:lstStyle>
            <a:lvl1pPr marL="0" indent="0">
              <a:lnSpc>
                <a:spcPct val="100000"/>
              </a:lnSpc>
              <a:spcBef>
                <a:spcPts val="1400"/>
              </a:spcBef>
              <a:buFontTx/>
              <a:buNone/>
              <a:tabLst>
                <a:tab pos="568325" algn="l"/>
              </a:tabLst>
              <a:defRPr sz="2400" i="0">
                <a:solidFill>
                  <a:schemeClr val="accent3"/>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s</a:t>
            </a:r>
          </a:p>
        </p:txBody>
      </p:sp>
      <p:sp>
        <p:nvSpPr>
          <p:cNvPr id="16" name="Rectangle 15"/>
          <p:cNvSpPr/>
          <p:nvPr/>
        </p:nvSpPr>
        <p:spPr>
          <a:xfrm>
            <a:off x="8306858" y="6420487"/>
            <a:ext cx="285280" cy="28528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7" name="Straight Connector 16"/>
          <p:cNvCxnSpPr/>
          <p:nvPr/>
        </p:nvCxnSpPr>
        <p:spPr>
          <a:xfrm flipV="1">
            <a:off x="560677" y="1037196"/>
            <a:ext cx="8020894" cy="21494"/>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18" name="Picture 17"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Tree>
    <p:extLst>
      <p:ext uri="{BB962C8B-B14F-4D97-AF65-F5344CB8AC3E}">
        <p14:creationId xmlns:p14="http://schemas.microsoft.com/office/powerpoint/2010/main" val="3592922435"/>
      </p:ext>
    </p:extLst>
  </p:cSld>
  <p:clrMapOvr>
    <a:masterClrMapping/>
  </p:clrMapOvr>
  <p:timing>
    <p:tnLst>
      <p:par>
        <p:cTn id="1" dur="indefinite" restart="never" nodeType="tmRoot"/>
      </p:par>
    </p:tnLst>
  </p:timing>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Only Tyton Logo">
    <p:spTree>
      <p:nvGrpSpPr>
        <p:cNvPr id="1" name=""/>
        <p:cNvGrpSpPr/>
        <p:nvPr/>
      </p:nvGrpSpPr>
      <p:grpSpPr>
        <a:xfrm>
          <a:off x="0" y="0"/>
          <a:ext cx="0" cy="0"/>
          <a:chOff x="0" y="0"/>
          <a:chExt cx="0" cy="0"/>
        </a:xfrm>
      </p:grpSpPr>
      <p:sp>
        <p:nvSpPr>
          <p:cNvPr id="4" name="Rectangle 3"/>
          <p:cNvSpPr/>
          <p:nvPr/>
        </p:nvSpPr>
        <p:spPr>
          <a:xfrm>
            <a:off x="0" y="1830388"/>
            <a:ext cx="9144000" cy="18288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5" name="Picture 4" descr="arc_light 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7" name="Picture 6" descr="taglin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2650" y="6139180"/>
            <a:ext cx="4827710" cy="219441"/>
          </a:xfrm>
          <a:prstGeom prst="rect">
            <a:avLst/>
          </a:prstGeom>
        </p:spPr>
      </p:pic>
      <p:pic>
        <p:nvPicPr>
          <p:cNvPr id="6" name="Picture 5" descr="Tyton Logo.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21100" y="4564380"/>
            <a:ext cx="1700671" cy="816810"/>
          </a:xfrm>
          <a:prstGeom prst="rect">
            <a:avLst/>
          </a:prstGeom>
        </p:spPr>
      </p:pic>
      <p:sp>
        <p:nvSpPr>
          <p:cNvPr id="9" name="Content Placeholder 2"/>
          <p:cNvSpPr>
            <a:spLocks noGrp="1"/>
          </p:cNvSpPr>
          <p:nvPr>
            <p:ph idx="14" hasCustomPrompt="1"/>
          </p:nvPr>
        </p:nvSpPr>
        <p:spPr>
          <a:xfrm>
            <a:off x="685800" y="1830388"/>
            <a:ext cx="7772400" cy="1828800"/>
          </a:xfrm>
        </p:spPr>
        <p:txBody>
          <a:bodyPr anchor="ctr">
            <a:normAutofit/>
          </a:bodyPr>
          <a:lstStyle>
            <a:lvl1pPr marL="0" indent="0" algn="ctr">
              <a:buFontTx/>
              <a:buNone/>
              <a:defRPr sz="3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
        <p:nvSpPr>
          <p:cNvPr id="10" name="Text Placeholder 2"/>
          <p:cNvSpPr>
            <a:spLocks noGrp="1"/>
          </p:cNvSpPr>
          <p:nvPr>
            <p:ph type="body" idx="1" hasCustomPrompt="1"/>
          </p:nvPr>
        </p:nvSpPr>
        <p:spPr>
          <a:xfrm>
            <a:off x="3251200" y="5608320"/>
            <a:ext cx="2621280" cy="406400"/>
          </a:xfrm>
        </p:spPr>
        <p:txBody>
          <a:bodyPr anchor="t">
            <a:normAutofit/>
          </a:bodyPr>
          <a:lstStyle>
            <a:lvl1pPr marL="0" indent="0" algn="ctr">
              <a:buNone/>
              <a:defRPr sz="1400">
                <a:solidFill>
                  <a:schemeClr val="accent2">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date</a:t>
            </a:r>
          </a:p>
        </p:txBody>
      </p:sp>
    </p:spTree>
    <p:extLst>
      <p:ext uri="{BB962C8B-B14F-4D97-AF65-F5344CB8AC3E}">
        <p14:creationId xmlns:p14="http://schemas.microsoft.com/office/powerpoint/2010/main" val="2847382607"/>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10" name="Rectangle 9"/>
          <p:cNvSpPr/>
          <p:nvPr/>
        </p:nvSpPr>
        <p:spPr>
          <a:xfrm>
            <a:off x="8306858" y="6420487"/>
            <a:ext cx="285280" cy="28528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168400" y="1139826"/>
            <a:ext cx="7413171" cy="4986338"/>
          </a:xfrm>
        </p:spPr>
        <p:txBody>
          <a:bodyPr>
            <a:normAutofit/>
          </a:bodyPr>
          <a:lstStyle>
            <a:lvl1pPr marL="0" indent="0">
              <a:lnSpc>
                <a:spcPct val="100000"/>
              </a:lnSpc>
              <a:spcBef>
                <a:spcPts val="1400"/>
              </a:spcBef>
              <a:buFontTx/>
              <a:buNone/>
              <a:tabLst>
                <a:tab pos="568325" algn="l"/>
              </a:tabLst>
              <a:defRPr sz="2400" i="0">
                <a:solidFill>
                  <a:schemeClr val="tx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smtClean="0"/>
              <a:t>Click to edit Master text styles</a:t>
            </a:r>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cxnSp>
        <p:nvCxnSpPr>
          <p:cNvPr id="11" name="Straight Connector 10"/>
          <p:cNvCxnSpPr/>
          <p:nvPr/>
        </p:nvCxnSpPr>
        <p:spPr>
          <a:xfrm flipV="1">
            <a:off x="560677" y="1037196"/>
            <a:ext cx="8020894" cy="21494"/>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12" name="Picture 11"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4"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9"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
        <p:nvSpPr>
          <p:cNvPr id="15" name="Content Placeholder 2"/>
          <p:cNvSpPr>
            <a:spLocks noGrp="1"/>
          </p:cNvSpPr>
          <p:nvPr>
            <p:ph idx="15" hasCustomPrompt="1"/>
          </p:nvPr>
        </p:nvSpPr>
        <p:spPr>
          <a:xfrm>
            <a:off x="526143" y="1139826"/>
            <a:ext cx="642257" cy="4986338"/>
          </a:xfrm>
        </p:spPr>
        <p:txBody>
          <a:bodyPr>
            <a:normAutofit/>
          </a:bodyPr>
          <a:lstStyle>
            <a:lvl1pPr marL="0" indent="0">
              <a:lnSpc>
                <a:spcPct val="100000"/>
              </a:lnSpc>
              <a:spcBef>
                <a:spcPts val="1400"/>
              </a:spcBef>
              <a:buFontTx/>
              <a:buNone/>
              <a:tabLst>
                <a:tab pos="568325" algn="l"/>
              </a:tabLst>
              <a:defRPr sz="2400" i="0">
                <a:solidFill>
                  <a:schemeClr val="accent3"/>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s</a:t>
            </a:r>
          </a:p>
        </p:txBody>
      </p:sp>
    </p:spTree>
    <p:extLst>
      <p:ext uri="{BB962C8B-B14F-4D97-AF65-F5344CB8AC3E}">
        <p14:creationId xmlns:p14="http://schemas.microsoft.com/office/powerpoint/2010/main" val="3592922435"/>
      </p:ext>
    </p:extLst>
  </p:cSld>
  <p:clrMapOvr>
    <a:masterClrMapping/>
  </p:clrMapOvr>
  <p:timing>
    <p:tnLst>
      <p:par>
        <p:cTn id="1" dur="indefinite" restart="never" nodeType="tmRoot"/>
      </p:par>
    </p:tnLst>
  </p:timing>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Section Header Circle DrkBrown">
    <p:spTree>
      <p:nvGrpSpPr>
        <p:cNvPr id="1" name=""/>
        <p:cNvGrpSpPr/>
        <p:nvPr/>
      </p:nvGrpSpPr>
      <p:grpSpPr>
        <a:xfrm>
          <a:off x="0" y="0"/>
          <a:ext cx="0" cy="0"/>
          <a:chOff x="0" y="0"/>
          <a:chExt cx="0" cy="0"/>
        </a:xfrm>
      </p:grpSpPr>
      <p:pic>
        <p:nvPicPr>
          <p:cNvPr id="9" name="Picture 8" descr="circle graphic.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84580"/>
            <a:ext cx="4632651" cy="4224247"/>
          </a:xfrm>
          <a:prstGeom prst="rect">
            <a:avLst/>
          </a:prstGeom>
        </p:spPr>
      </p:pic>
      <p:sp>
        <p:nvSpPr>
          <p:cNvPr id="2" name="Title 1"/>
          <p:cNvSpPr>
            <a:spLocks noGrp="1"/>
          </p:cNvSpPr>
          <p:nvPr>
            <p:ph type="title" hasCustomPrompt="1"/>
          </p:nvPr>
        </p:nvSpPr>
        <p:spPr>
          <a:xfrm>
            <a:off x="2200275" y="2866073"/>
            <a:ext cx="735965" cy="679767"/>
          </a:xfrm>
        </p:spPr>
        <p:txBody>
          <a:bodyPr anchor="t">
            <a:normAutofit/>
          </a:bodyPr>
          <a:lstStyle>
            <a:lvl1pPr algn="l">
              <a:defRPr sz="3400" b="0" cap="all">
                <a:solidFill>
                  <a:srgbClr val="ED2125"/>
                </a:solidFill>
              </a:defRPr>
            </a:lvl1pPr>
          </a:lstStyle>
          <a:p>
            <a:r>
              <a:rPr lang="en-US" dirty="0" smtClean="0"/>
              <a:t>#</a:t>
            </a:r>
            <a:endParaRPr lang="en-US" dirty="0"/>
          </a:p>
        </p:txBody>
      </p:sp>
      <p:pic>
        <p:nvPicPr>
          <p:cNvPr id="4" name="Picture 3" descr="arc_dark brown.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sp>
        <p:nvSpPr>
          <p:cNvPr id="7" name="Text Placeholder 2"/>
          <p:cNvSpPr>
            <a:spLocks noGrp="1"/>
          </p:cNvSpPr>
          <p:nvPr>
            <p:ph type="body" idx="1" hasCustomPrompt="1"/>
          </p:nvPr>
        </p:nvSpPr>
        <p:spPr>
          <a:xfrm>
            <a:off x="2915920" y="2866073"/>
            <a:ext cx="5628640" cy="2874327"/>
          </a:xfrm>
        </p:spPr>
        <p:txBody>
          <a:bodyPr anchor="t">
            <a:normAutofit/>
          </a:bodyPr>
          <a:lstStyle>
            <a:lvl1pPr marL="0" indent="0">
              <a:buNone/>
              <a:defRPr sz="3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section title</a:t>
            </a:r>
          </a:p>
        </p:txBody>
      </p:sp>
    </p:spTree>
    <p:extLst>
      <p:ext uri="{BB962C8B-B14F-4D97-AF65-F5344CB8AC3E}">
        <p14:creationId xmlns:p14="http://schemas.microsoft.com/office/powerpoint/2010/main" val="2378683504"/>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marL="0" indent="0">
              <a:buFontTx/>
              <a:buNone/>
              <a:defRPr>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smtClean="0"/>
              <a:t>Click to edit Master text styles</a:t>
            </a:r>
          </a:p>
        </p:txBody>
      </p:sp>
      <p:cxnSp>
        <p:nvCxnSpPr>
          <p:cNvPr id="8" name="Straight Connector 7"/>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8" name="Picture 17"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1"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50177772"/>
      </p:ext>
    </p:extLst>
  </p:cSld>
  <p:clrMapOvr>
    <a:masterClrMapping/>
  </p:clrMapOvr>
  <p:timing>
    <p:tnLst>
      <p:par>
        <p:cTn id="1" dur="indefinite" restart="never" nodeType="tmRoot"/>
      </p:par>
    </p:tnLst>
  </p:timing>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Title and Bullet Content">
    <p:spTree>
      <p:nvGrpSpPr>
        <p:cNvPr id="1" name=""/>
        <p:cNvGrpSpPr/>
        <p:nvPr/>
      </p:nvGrpSpPr>
      <p:grpSpPr>
        <a:xfrm>
          <a:off x="0" y="0"/>
          <a:ext cx="0" cy="0"/>
          <a:chOff x="0" y="0"/>
          <a:chExt cx="0" cy="0"/>
        </a:xfrm>
      </p:grpSpPr>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a:defRPr>
                <a:solidFill>
                  <a:srgbClr val="000000"/>
                </a:solidFill>
                <a:latin typeface="Arial"/>
                <a:cs typeface="Arial"/>
              </a:defRPr>
            </a:lvl1pPr>
            <a:lvl2pPr>
              <a:defRPr>
                <a:solidFill>
                  <a:srgbClr val="000000"/>
                </a:solidFill>
                <a:latin typeface="Arial"/>
                <a:cs typeface="Arial"/>
              </a:defRPr>
            </a:lvl2pPr>
            <a:lvl3pPr>
              <a:defRPr>
                <a:solidFill>
                  <a:srgbClr val="000000"/>
                </a:solidFill>
                <a:latin typeface="Arial"/>
                <a:cs typeface="Arial"/>
              </a:defRPr>
            </a:lvl3pPr>
            <a:lvl4pPr>
              <a:defRPr>
                <a:solidFill>
                  <a:srgbClr val="000000"/>
                </a:solidFill>
                <a:latin typeface="Arial"/>
                <a:cs typeface="Arial"/>
              </a:defRPr>
            </a:lvl4pPr>
            <a:lvl5pPr>
              <a:defRPr>
                <a:solidFill>
                  <a:srgbClr val="000000"/>
                </a:solidFill>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cxnSp>
        <p:nvCxnSpPr>
          <p:cNvPr id="11" name="Straight Connector 10"/>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2" name="Picture 11"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411653949"/>
      </p:ext>
    </p:extLst>
  </p:cSld>
  <p:clrMapOvr>
    <a:masterClrMapping/>
  </p:clrMapOvr>
  <p:timing>
    <p:tnLst>
      <p:par>
        <p:cTn id="1" dur="indefinite" restart="never" nodeType="tmRoot"/>
      </p:par>
    </p:tnLst>
  </p:timing>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cxnSp>
        <p:nvCxnSpPr>
          <p:cNvPr id="16" name="Straight Connector 15"/>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7" name="Picture 16"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1"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880737579"/>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wo Content Bullets">
    <p:spTree>
      <p:nvGrpSpPr>
        <p:cNvPr id="1" name=""/>
        <p:cNvGrpSpPr/>
        <p:nvPr/>
      </p:nvGrpSpPr>
      <p:grpSpPr>
        <a:xfrm>
          <a:off x="0" y="0"/>
          <a:ext cx="0" cy="0"/>
          <a:chOff x="0" y="0"/>
          <a:chExt cx="0" cy="0"/>
        </a:xfrm>
      </p:grpSpPr>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cxnSp>
        <p:nvCxnSpPr>
          <p:cNvPr id="11" name="Straight Connector 10"/>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5" name="Picture 14"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1782508325"/>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pPr/>
              <a:t>‹#›</a:t>
            </a:fld>
            <a:endParaRPr lang="en-US" dirty="0"/>
          </a:p>
        </p:txBody>
      </p:sp>
      <p:cxnSp>
        <p:nvCxnSpPr>
          <p:cNvPr id="15" name="Straight Connector 14"/>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6" name="Picture 15"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681907827"/>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Comparison Dark Heading">
    <p:spTree>
      <p:nvGrpSpPr>
        <p:cNvPr id="1" name=""/>
        <p:cNvGrpSpPr/>
        <p:nvPr/>
      </p:nvGrpSpPr>
      <p:grpSpPr>
        <a:xfrm>
          <a:off x="0" y="0"/>
          <a:ext cx="0" cy="0"/>
          <a:chOff x="0" y="0"/>
          <a:chExt cx="0" cy="0"/>
        </a:xfrm>
      </p:grpSpPr>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pPr/>
              <a:t>‹#›</a:t>
            </a:fld>
            <a:endParaRPr lang="en-US" dirty="0"/>
          </a:p>
        </p:txBody>
      </p:sp>
      <p:cxnSp>
        <p:nvCxnSpPr>
          <p:cNvPr id="15" name="Straight Connector 14"/>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3" name="Picture 12"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358471333"/>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6" name="Rectangle 5"/>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12"/>
          </p:nvPr>
        </p:nvSpPr>
        <p:spPr/>
        <p:txBody>
          <a:bodyPr/>
          <a:lstStyle/>
          <a:p>
            <a:fld id="{56061281-BD0D-6F47-BBB8-8F6BE6AA34E7}" type="slidenum">
              <a:rPr lang="en-US" smtClean="0"/>
              <a:pPr/>
              <a:t>‹#›</a:t>
            </a:fld>
            <a:endParaRPr lang="en-US" dirty="0"/>
          </a:p>
        </p:txBody>
      </p:sp>
      <p:cxnSp>
        <p:nvCxnSpPr>
          <p:cNvPr id="11" name="Straight Connector 10"/>
          <p:cNvCxnSpPr/>
          <p:nvPr/>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4" name="Picture 13"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5"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8"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631933727"/>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Circle LtBlue">
    <p:spTree>
      <p:nvGrpSpPr>
        <p:cNvPr id="1" name=""/>
        <p:cNvGrpSpPr/>
        <p:nvPr/>
      </p:nvGrpSpPr>
      <p:grpSpPr>
        <a:xfrm>
          <a:off x="0" y="0"/>
          <a:ext cx="0" cy="0"/>
          <a:chOff x="0" y="0"/>
          <a:chExt cx="0" cy="0"/>
        </a:xfrm>
      </p:grpSpPr>
      <p:pic>
        <p:nvPicPr>
          <p:cNvPr id="9" name="Picture 8" descr="circle graphic.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84580"/>
            <a:ext cx="4632651" cy="4224247"/>
          </a:xfrm>
          <a:prstGeom prst="rect">
            <a:avLst/>
          </a:prstGeom>
        </p:spPr>
      </p:pic>
      <p:sp>
        <p:nvSpPr>
          <p:cNvPr id="2" name="Title 1"/>
          <p:cNvSpPr>
            <a:spLocks noGrp="1"/>
          </p:cNvSpPr>
          <p:nvPr>
            <p:ph type="title" hasCustomPrompt="1"/>
          </p:nvPr>
        </p:nvSpPr>
        <p:spPr>
          <a:xfrm>
            <a:off x="2200275" y="2866073"/>
            <a:ext cx="735965" cy="679767"/>
          </a:xfrm>
        </p:spPr>
        <p:txBody>
          <a:bodyPr anchor="t">
            <a:normAutofit/>
          </a:bodyPr>
          <a:lstStyle>
            <a:lvl1pPr algn="l">
              <a:defRPr sz="3400" b="0" cap="all">
                <a:solidFill>
                  <a:srgbClr val="ED2125"/>
                </a:solidFill>
              </a:defRPr>
            </a:lvl1pPr>
          </a:lstStyle>
          <a:p>
            <a:r>
              <a:rPr lang="en-US" dirty="0" smtClean="0"/>
              <a:t>#</a:t>
            </a:r>
            <a:endParaRPr lang="en-US" dirty="0"/>
          </a:p>
        </p:txBody>
      </p:sp>
      <p:sp>
        <p:nvSpPr>
          <p:cNvPr id="3" name="Text Placeholder 2"/>
          <p:cNvSpPr>
            <a:spLocks noGrp="1"/>
          </p:cNvSpPr>
          <p:nvPr>
            <p:ph type="body" idx="1" hasCustomPrompt="1"/>
          </p:nvPr>
        </p:nvSpPr>
        <p:spPr>
          <a:xfrm>
            <a:off x="2915920" y="2866073"/>
            <a:ext cx="5628640" cy="2874327"/>
          </a:xfrm>
        </p:spPr>
        <p:txBody>
          <a:bodyPr anchor="t">
            <a:normAutofit/>
          </a:bodyPr>
          <a:lstStyle>
            <a:lvl1pPr marL="0" indent="0">
              <a:buNone/>
              <a:defRPr sz="3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section title</a:t>
            </a:r>
          </a:p>
        </p:txBody>
      </p:sp>
      <p:pic>
        <p:nvPicPr>
          <p:cNvPr id="7" name="Picture 6" descr="arc_light blu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6" name="Picture 5" descr="circle graphic.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84580"/>
            <a:ext cx="4632651" cy="4224247"/>
          </a:xfrm>
          <a:prstGeom prst="rect">
            <a:avLst/>
          </a:prstGeom>
        </p:spPr>
      </p:pic>
      <p:pic>
        <p:nvPicPr>
          <p:cNvPr id="8" name="Picture 7" descr="arc_light blu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spTree>
    <p:extLst>
      <p:ext uri="{BB962C8B-B14F-4D97-AF65-F5344CB8AC3E}">
        <p14:creationId xmlns:p14="http://schemas.microsoft.com/office/powerpoint/2010/main" val="2638500482"/>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and Content Photo 1">
    <p:spTree>
      <p:nvGrpSpPr>
        <p:cNvPr id="1" name=""/>
        <p:cNvGrpSpPr/>
        <p:nvPr/>
      </p:nvGrpSpPr>
      <p:grpSpPr>
        <a:xfrm>
          <a:off x="0" y="0"/>
          <a:ext cx="0" cy="0"/>
          <a:chOff x="0" y="0"/>
          <a:chExt cx="0" cy="0"/>
        </a:xfrm>
      </p:grpSpPr>
      <p:pic>
        <p:nvPicPr>
          <p:cNvPr id="11" name="Picture 10"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marL="0" indent="0">
              <a:buFontTx/>
              <a:buNone/>
              <a:defRPr>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smtClean="0"/>
              <a:t>Click to edit Master text styles</a:t>
            </a:r>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8" name="Picture 17"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2"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1009889871"/>
      </p:ext>
    </p:extLst>
  </p:cSld>
  <p:clrMapOvr>
    <a:masterClrMapping/>
  </p:clrMapOvr>
  <p:timing>
    <p:tnLst>
      <p:par>
        <p:cTn id="1" dur="indefinite" restart="never" nodeType="tmRoot"/>
      </p:par>
    </p:tnLst>
  </p:timing>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and Bullet Content Photo 1">
    <p:spTree>
      <p:nvGrpSpPr>
        <p:cNvPr id="1" name=""/>
        <p:cNvGrpSpPr/>
        <p:nvPr/>
      </p:nvGrpSpPr>
      <p:grpSpPr>
        <a:xfrm>
          <a:off x="0" y="0"/>
          <a:ext cx="0" cy="0"/>
          <a:chOff x="0" y="0"/>
          <a:chExt cx="0" cy="0"/>
        </a:xfrm>
      </p:grpSpPr>
      <p:pic>
        <p:nvPicPr>
          <p:cNvPr id="15" name="Picture 14"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a:defRPr>
                <a:solidFill>
                  <a:srgbClr val="000000"/>
                </a:solidFill>
                <a:latin typeface="Arial"/>
                <a:cs typeface="Arial"/>
              </a:defRPr>
            </a:lvl1pPr>
            <a:lvl2pPr>
              <a:defRPr>
                <a:solidFill>
                  <a:srgbClr val="000000"/>
                </a:solidFill>
                <a:latin typeface="Arial"/>
                <a:cs typeface="Arial"/>
              </a:defRPr>
            </a:lvl2pPr>
            <a:lvl3pPr>
              <a:defRPr>
                <a:solidFill>
                  <a:srgbClr val="000000"/>
                </a:solidFill>
                <a:latin typeface="Arial"/>
                <a:cs typeface="Arial"/>
              </a:defRPr>
            </a:lvl3pPr>
            <a:lvl4pPr>
              <a:defRPr>
                <a:solidFill>
                  <a:srgbClr val="000000"/>
                </a:solidFill>
                <a:latin typeface="Arial"/>
                <a:cs typeface="Arial"/>
              </a:defRPr>
            </a:lvl4pPr>
            <a:lvl5pPr>
              <a:defRPr>
                <a:solidFill>
                  <a:srgbClr val="000000"/>
                </a:solidFill>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2" name="Picture 11"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1"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028717068"/>
      </p:ext>
    </p:extLst>
  </p:cSld>
  <p:clrMapOvr>
    <a:masterClrMapping/>
  </p:clrMapOvr>
  <p:timing>
    <p:tnLst>
      <p:par>
        <p:cTn id="1" dur="indefinite" restart="never" nodeType="tmRoot"/>
      </p:par>
    </p:tnLst>
  </p:timing>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wo Content Photo 1">
    <p:spTree>
      <p:nvGrpSpPr>
        <p:cNvPr id="1" name=""/>
        <p:cNvGrpSpPr/>
        <p:nvPr/>
      </p:nvGrpSpPr>
      <p:grpSpPr>
        <a:xfrm>
          <a:off x="0" y="0"/>
          <a:ext cx="0" cy="0"/>
          <a:chOff x="0" y="0"/>
          <a:chExt cx="0" cy="0"/>
        </a:xfrm>
      </p:grpSpPr>
      <p:pic>
        <p:nvPicPr>
          <p:cNvPr id="10" name="Picture 9"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7" name="Picture 16"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1"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893473024"/>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wo Content Bullets Photo 1">
    <p:spTree>
      <p:nvGrpSpPr>
        <p:cNvPr id="1" name=""/>
        <p:cNvGrpSpPr/>
        <p:nvPr/>
      </p:nvGrpSpPr>
      <p:grpSpPr>
        <a:xfrm>
          <a:off x="0" y="0"/>
          <a:ext cx="0" cy="0"/>
          <a:chOff x="0" y="0"/>
          <a:chExt cx="0" cy="0"/>
        </a:xfrm>
      </p:grpSpPr>
      <p:pic>
        <p:nvPicPr>
          <p:cNvPr id="10" name="Picture 9"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5" name="Picture 14"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1"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23213937"/>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Comparison Photo 1">
    <p:spTree>
      <p:nvGrpSpPr>
        <p:cNvPr id="1" name=""/>
        <p:cNvGrpSpPr/>
        <p:nvPr/>
      </p:nvGrpSpPr>
      <p:grpSpPr>
        <a:xfrm>
          <a:off x="0" y="0"/>
          <a:ext cx="0" cy="0"/>
          <a:chOff x="0" y="0"/>
          <a:chExt cx="0" cy="0"/>
        </a:xfrm>
      </p:grpSpPr>
      <p:pic>
        <p:nvPicPr>
          <p:cNvPr id="12" name="Picture 11"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6" name="Picture 15"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3"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795584597"/>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Comparison Dark Heading Photo 1">
    <p:spTree>
      <p:nvGrpSpPr>
        <p:cNvPr id="1" name=""/>
        <p:cNvGrpSpPr/>
        <p:nvPr/>
      </p:nvGrpSpPr>
      <p:grpSpPr>
        <a:xfrm>
          <a:off x="0" y="0"/>
          <a:ext cx="0" cy="0"/>
          <a:chOff x="0" y="0"/>
          <a:chExt cx="0" cy="0"/>
        </a:xfrm>
      </p:grpSpPr>
      <p:pic>
        <p:nvPicPr>
          <p:cNvPr id="12" name="Picture 11"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3" name="Picture 12"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5"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535433872"/>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Title Only Photo 1">
    <p:spTree>
      <p:nvGrpSpPr>
        <p:cNvPr id="1" name=""/>
        <p:cNvGrpSpPr/>
        <p:nvPr/>
      </p:nvGrpSpPr>
      <p:grpSpPr>
        <a:xfrm>
          <a:off x="0" y="0"/>
          <a:ext cx="0" cy="0"/>
          <a:chOff x="0" y="0"/>
          <a:chExt cx="0" cy="0"/>
        </a:xfrm>
      </p:grpSpPr>
      <p:pic>
        <p:nvPicPr>
          <p:cNvPr id="8" name="Picture 7" descr="TYT_PPHeader_0000_186049192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6" name="Rectangle 5"/>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4" name="Picture 13"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0"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817547570"/>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Title and Content Photo 2">
    <p:spTree>
      <p:nvGrpSpPr>
        <p:cNvPr id="1" name=""/>
        <p:cNvGrpSpPr/>
        <p:nvPr/>
      </p:nvGrpSpPr>
      <p:grpSpPr>
        <a:xfrm>
          <a:off x="0" y="0"/>
          <a:ext cx="0" cy="0"/>
          <a:chOff x="0" y="0"/>
          <a:chExt cx="0" cy="0"/>
        </a:xfrm>
      </p:grpSpPr>
      <p:pic>
        <p:nvPicPr>
          <p:cNvPr id="9" name="Picture 8"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marL="0" indent="0">
              <a:buFontTx/>
              <a:buNone/>
              <a:defRPr>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smtClean="0"/>
              <a:t>Click to edit Master text styles</a:t>
            </a:r>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8" name="Picture 17"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1"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2"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990140310"/>
      </p:ext>
    </p:extLst>
  </p:cSld>
  <p:clrMapOvr>
    <a:masterClrMapping/>
  </p:clrMapOvr>
  <p:timing>
    <p:tnLst>
      <p:par>
        <p:cTn id="1" dur="indefinite" restart="never" nodeType="tmRoot"/>
      </p:par>
    </p:tnLst>
  </p:timing>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Title and Bullet Content Photo 2">
    <p:spTree>
      <p:nvGrpSpPr>
        <p:cNvPr id="1" name=""/>
        <p:cNvGrpSpPr/>
        <p:nvPr/>
      </p:nvGrpSpPr>
      <p:grpSpPr>
        <a:xfrm>
          <a:off x="0" y="0"/>
          <a:ext cx="0" cy="0"/>
          <a:chOff x="0" y="0"/>
          <a:chExt cx="0" cy="0"/>
        </a:xfrm>
      </p:grpSpPr>
      <p:pic>
        <p:nvPicPr>
          <p:cNvPr id="9" name="Picture 8"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a:defRPr>
                <a:solidFill>
                  <a:srgbClr val="000000"/>
                </a:solidFill>
                <a:latin typeface="Arial"/>
                <a:cs typeface="Arial"/>
              </a:defRPr>
            </a:lvl1pPr>
            <a:lvl2pPr>
              <a:defRPr>
                <a:solidFill>
                  <a:srgbClr val="000000"/>
                </a:solidFill>
                <a:latin typeface="Arial"/>
                <a:cs typeface="Arial"/>
              </a:defRPr>
            </a:lvl2pPr>
            <a:lvl3pPr>
              <a:defRPr>
                <a:solidFill>
                  <a:srgbClr val="000000"/>
                </a:solidFill>
                <a:latin typeface="Arial"/>
                <a:cs typeface="Arial"/>
              </a:defRPr>
            </a:lvl3pPr>
            <a:lvl4pPr>
              <a:defRPr>
                <a:solidFill>
                  <a:srgbClr val="000000"/>
                </a:solidFill>
                <a:latin typeface="Arial"/>
                <a:cs typeface="Arial"/>
              </a:defRPr>
            </a:lvl4pPr>
            <a:lvl5pPr>
              <a:defRPr>
                <a:solidFill>
                  <a:srgbClr val="000000"/>
                </a:solidFill>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2" name="Picture 11"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1"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334876825"/>
      </p:ext>
    </p:extLst>
  </p:cSld>
  <p:clrMapOvr>
    <a:masterClrMapping/>
  </p:clrMapOvr>
  <p:timing>
    <p:tnLst>
      <p:par>
        <p:cTn id="1" dur="indefinite" restart="never" nodeType="tmRoot"/>
      </p:par>
    </p:tnLst>
  </p:timing>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wo Content Photo 2">
    <p:spTree>
      <p:nvGrpSpPr>
        <p:cNvPr id="1" name=""/>
        <p:cNvGrpSpPr/>
        <p:nvPr/>
      </p:nvGrpSpPr>
      <p:grpSpPr>
        <a:xfrm>
          <a:off x="0" y="0"/>
          <a:ext cx="0" cy="0"/>
          <a:chOff x="0" y="0"/>
          <a:chExt cx="0" cy="0"/>
        </a:xfrm>
      </p:grpSpPr>
      <p:pic>
        <p:nvPicPr>
          <p:cNvPr id="13" name="Picture 12"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7" name="Picture 16"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1"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428016893"/>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Circle DrkBrown">
    <p:spTree>
      <p:nvGrpSpPr>
        <p:cNvPr id="1" name=""/>
        <p:cNvGrpSpPr/>
        <p:nvPr/>
      </p:nvGrpSpPr>
      <p:grpSpPr>
        <a:xfrm>
          <a:off x="0" y="0"/>
          <a:ext cx="0" cy="0"/>
          <a:chOff x="0" y="0"/>
          <a:chExt cx="0" cy="0"/>
        </a:xfrm>
      </p:grpSpPr>
      <p:pic>
        <p:nvPicPr>
          <p:cNvPr id="9" name="Picture 8" descr="circle graphic.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84580"/>
            <a:ext cx="4632651" cy="4224247"/>
          </a:xfrm>
          <a:prstGeom prst="rect">
            <a:avLst/>
          </a:prstGeom>
        </p:spPr>
      </p:pic>
      <p:sp>
        <p:nvSpPr>
          <p:cNvPr id="2" name="Title 1"/>
          <p:cNvSpPr>
            <a:spLocks noGrp="1"/>
          </p:cNvSpPr>
          <p:nvPr>
            <p:ph type="title" hasCustomPrompt="1"/>
          </p:nvPr>
        </p:nvSpPr>
        <p:spPr>
          <a:xfrm>
            <a:off x="2200275" y="2866073"/>
            <a:ext cx="735965" cy="679767"/>
          </a:xfrm>
        </p:spPr>
        <p:txBody>
          <a:bodyPr anchor="t">
            <a:normAutofit/>
          </a:bodyPr>
          <a:lstStyle>
            <a:lvl1pPr algn="l">
              <a:defRPr sz="3400" b="0" cap="all">
                <a:solidFill>
                  <a:srgbClr val="ED2125"/>
                </a:solidFill>
              </a:defRPr>
            </a:lvl1pPr>
          </a:lstStyle>
          <a:p>
            <a:r>
              <a:rPr lang="en-US" dirty="0" smtClean="0"/>
              <a:t>#</a:t>
            </a:r>
            <a:endParaRPr lang="en-US" dirty="0"/>
          </a:p>
        </p:txBody>
      </p:sp>
      <p:pic>
        <p:nvPicPr>
          <p:cNvPr id="4" name="Picture 3" descr="arc_dark brown.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sp>
        <p:nvSpPr>
          <p:cNvPr id="7" name="Text Placeholder 2"/>
          <p:cNvSpPr>
            <a:spLocks noGrp="1"/>
          </p:cNvSpPr>
          <p:nvPr>
            <p:ph type="body" idx="1" hasCustomPrompt="1"/>
          </p:nvPr>
        </p:nvSpPr>
        <p:spPr>
          <a:xfrm>
            <a:off x="2915920" y="2866073"/>
            <a:ext cx="5628640" cy="2874327"/>
          </a:xfrm>
        </p:spPr>
        <p:txBody>
          <a:bodyPr anchor="t">
            <a:normAutofit/>
          </a:bodyPr>
          <a:lstStyle>
            <a:lvl1pPr marL="0" indent="0">
              <a:buNone/>
              <a:defRPr sz="3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section title</a:t>
            </a:r>
          </a:p>
        </p:txBody>
      </p:sp>
      <p:pic>
        <p:nvPicPr>
          <p:cNvPr id="6" name="Picture 5" descr="circle graphic.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84580"/>
            <a:ext cx="4632651" cy="4224247"/>
          </a:xfrm>
          <a:prstGeom prst="rect">
            <a:avLst/>
          </a:prstGeom>
        </p:spPr>
      </p:pic>
      <p:pic>
        <p:nvPicPr>
          <p:cNvPr id="8" name="Picture 7" descr="arc_dark brown.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spTree>
    <p:extLst>
      <p:ext uri="{BB962C8B-B14F-4D97-AF65-F5344CB8AC3E}">
        <p14:creationId xmlns:p14="http://schemas.microsoft.com/office/powerpoint/2010/main" val="2378683504"/>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Two Content Bullets Photo 2">
    <p:spTree>
      <p:nvGrpSpPr>
        <p:cNvPr id="1" name=""/>
        <p:cNvGrpSpPr/>
        <p:nvPr/>
      </p:nvGrpSpPr>
      <p:grpSpPr>
        <a:xfrm>
          <a:off x="0" y="0"/>
          <a:ext cx="0" cy="0"/>
          <a:chOff x="0" y="0"/>
          <a:chExt cx="0" cy="0"/>
        </a:xfrm>
      </p:grpSpPr>
      <p:pic>
        <p:nvPicPr>
          <p:cNvPr id="11" name="Picture 10"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5" name="Picture 14"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623191528"/>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Comparison Photo 2">
    <p:spTree>
      <p:nvGrpSpPr>
        <p:cNvPr id="1" name=""/>
        <p:cNvGrpSpPr/>
        <p:nvPr/>
      </p:nvGrpSpPr>
      <p:grpSpPr>
        <a:xfrm>
          <a:off x="0" y="0"/>
          <a:ext cx="0" cy="0"/>
          <a:chOff x="0" y="0"/>
          <a:chExt cx="0" cy="0"/>
        </a:xfrm>
      </p:grpSpPr>
      <p:pic>
        <p:nvPicPr>
          <p:cNvPr id="13" name="Picture 12"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6" name="Picture 15"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4027112233"/>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Comparison Dark Heading Photo 2">
    <p:spTree>
      <p:nvGrpSpPr>
        <p:cNvPr id="1" name=""/>
        <p:cNvGrpSpPr/>
        <p:nvPr/>
      </p:nvGrpSpPr>
      <p:grpSpPr>
        <a:xfrm>
          <a:off x="0" y="0"/>
          <a:ext cx="0" cy="0"/>
          <a:chOff x="0" y="0"/>
          <a:chExt cx="0" cy="0"/>
        </a:xfrm>
      </p:grpSpPr>
      <p:pic>
        <p:nvPicPr>
          <p:cNvPr id="15" name="Picture 14"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3" name="Picture 12"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745649615"/>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Title Only Photo 2">
    <p:spTree>
      <p:nvGrpSpPr>
        <p:cNvPr id="1" name=""/>
        <p:cNvGrpSpPr/>
        <p:nvPr/>
      </p:nvGrpSpPr>
      <p:grpSpPr>
        <a:xfrm>
          <a:off x="0" y="0"/>
          <a:ext cx="0" cy="0"/>
          <a:chOff x="0" y="0"/>
          <a:chExt cx="0" cy="0"/>
        </a:xfrm>
      </p:grpSpPr>
      <p:pic>
        <p:nvPicPr>
          <p:cNvPr id="9" name="Picture 8" descr="TYT_PPHeader_0001_159268989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6" name="Rectangle 5"/>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4" name="Picture 13"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8"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0"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1996226320"/>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Title and Content Photo 3">
    <p:spTree>
      <p:nvGrpSpPr>
        <p:cNvPr id="1" name=""/>
        <p:cNvGrpSpPr/>
        <p:nvPr/>
      </p:nvGrpSpPr>
      <p:grpSpPr>
        <a:xfrm>
          <a:off x="0" y="0"/>
          <a:ext cx="0" cy="0"/>
          <a:chOff x="0" y="0"/>
          <a:chExt cx="0" cy="0"/>
        </a:xfrm>
      </p:grpSpPr>
      <p:pic>
        <p:nvPicPr>
          <p:cNvPr id="11" name="Picture 10"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marL="0" indent="0">
              <a:buFontTx/>
              <a:buNone/>
              <a:defRPr>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smtClean="0"/>
              <a:t>Click to edit Master text styles</a:t>
            </a:r>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8" name="Picture 17"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2"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492288645"/>
      </p:ext>
    </p:extLst>
  </p:cSld>
  <p:clrMapOvr>
    <a:masterClrMapping/>
  </p:clrMapOvr>
  <p:timing>
    <p:tnLst>
      <p:par>
        <p:cTn id="1" dur="indefinite" restart="never" nodeType="tmRoot"/>
      </p:par>
    </p:tnLst>
  </p:timing>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le and Bullet Content Photo 3">
    <p:spTree>
      <p:nvGrpSpPr>
        <p:cNvPr id="1" name=""/>
        <p:cNvGrpSpPr/>
        <p:nvPr/>
      </p:nvGrpSpPr>
      <p:grpSpPr>
        <a:xfrm>
          <a:off x="0" y="0"/>
          <a:ext cx="0" cy="0"/>
          <a:chOff x="0" y="0"/>
          <a:chExt cx="0" cy="0"/>
        </a:xfrm>
      </p:grpSpPr>
      <p:pic>
        <p:nvPicPr>
          <p:cNvPr id="11" name="Picture 10"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a:defRPr>
                <a:solidFill>
                  <a:srgbClr val="000000"/>
                </a:solidFill>
                <a:latin typeface="Arial"/>
                <a:cs typeface="Arial"/>
              </a:defRPr>
            </a:lvl1pPr>
            <a:lvl2pPr>
              <a:defRPr>
                <a:solidFill>
                  <a:srgbClr val="000000"/>
                </a:solidFill>
                <a:latin typeface="Arial"/>
                <a:cs typeface="Arial"/>
              </a:defRPr>
            </a:lvl2pPr>
            <a:lvl3pPr>
              <a:defRPr>
                <a:solidFill>
                  <a:srgbClr val="000000"/>
                </a:solidFill>
                <a:latin typeface="Arial"/>
                <a:cs typeface="Arial"/>
              </a:defRPr>
            </a:lvl3pPr>
            <a:lvl4pPr>
              <a:defRPr>
                <a:solidFill>
                  <a:srgbClr val="000000"/>
                </a:solidFill>
                <a:latin typeface="Arial"/>
                <a:cs typeface="Arial"/>
              </a:defRPr>
            </a:lvl4pPr>
            <a:lvl5pPr>
              <a:defRPr>
                <a:solidFill>
                  <a:srgbClr val="000000"/>
                </a:solidFill>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2" name="Picture 11"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622199982"/>
      </p:ext>
    </p:extLst>
  </p:cSld>
  <p:clrMapOvr>
    <a:masterClrMapping/>
  </p:clrMapOvr>
  <p:timing>
    <p:tnLst>
      <p:par>
        <p:cTn id="1" dur="indefinite" restart="never" nodeType="tmRoot"/>
      </p:par>
    </p:tnLst>
  </p:timing>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wo Content Photo 3">
    <p:spTree>
      <p:nvGrpSpPr>
        <p:cNvPr id="1" name=""/>
        <p:cNvGrpSpPr/>
        <p:nvPr/>
      </p:nvGrpSpPr>
      <p:grpSpPr>
        <a:xfrm>
          <a:off x="0" y="0"/>
          <a:ext cx="0" cy="0"/>
          <a:chOff x="0" y="0"/>
          <a:chExt cx="0" cy="0"/>
        </a:xfrm>
      </p:grpSpPr>
      <p:pic>
        <p:nvPicPr>
          <p:cNvPr id="11" name="Picture 10"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7" name="Picture 16"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1917950253"/>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Two Content Bullets Photo 3">
    <p:spTree>
      <p:nvGrpSpPr>
        <p:cNvPr id="1" name=""/>
        <p:cNvGrpSpPr/>
        <p:nvPr/>
      </p:nvGrpSpPr>
      <p:grpSpPr>
        <a:xfrm>
          <a:off x="0" y="0"/>
          <a:ext cx="0" cy="0"/>
          <a:chOff x="0" y="0"/>
          <a:chExt cx="0" cy="0"/>
        </a:xfrm>
      </p:grpSpPr>
      <p:pic>
        <p:nvPicPr>
          <p:cNvPr id="11" name="Picture 10"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5" name="Picture 14"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617374164"/>
      </p:ext>
    </p:extLst>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Comparison Photo 3">
    <p:spTree>
      <p:nvGrpSpPr>
        <p:cNvPr id="1" name=""/>
        <p:cNvGrpSpPr/>
        <p:nvPr/>
      </p:nvGrpSpPr>
      <p:grpSpPr>
        <a:xfrm>
          <a:off x="0" y="0"/>
          <a:ext cx="0" cy="0"/>
          <a:chOff x="0" y="0"/>
          <a:chExt cx="0" cy="0"/>
        </a:xfrm>
      </p:grpSpPr>
      <p:pic>
        <p:nvPicPr>
          <p:cNvPr id="13" name="Picture 12"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6" name="Picture 15"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333730113"/>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Comparison Dark Heading Photo 3">
    <p:spTree>
      <p:nvGrpSpPr>
        <p:cNvPr id="1" name=""/>
        <p:cNvGrpSpPr/>
        <p:nvPr/>
      </p:nvGrpSpPr>
      <p:grpSpPr>
        <a:xfrm>
          <a:off x="0" y="0"/>
          <a:ext cx="0" cy="0"/>
          <a:chOff x="0" y="0"/>
          <a:chExt cx="0" cy="0"/>
        </a:xfrm>
      </p:grpSpPr>
      <p:pic>
        <p:nvPicPr>
          <p:cNvPr id="15" name="Picture 14"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3" name="Picture 12"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261210686"/>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Circle LtBrown">
    <p:spTree>
      <p:nvGrpSpPr>
        <p:cNvPr id="1" name=""/>
        <p:cNvGrpSpPr/>
        <p:nvPr/>
      </p:nvGrpSpPr>
      <p:grpSpPr>
        <a:xfrm>
          <a:off x="0" y="0"/>
          <a:ext cx="0" cy="0"/>
          <a:chOff x="0" y="0"/>
          <a:chExt cx="0" cy="0"/>
        </a:xfrm>
      </p:grpSpPr>
      <p:pic>
        <p:nvPicPr>
          <p:cNvPr id="9" name="Picture 8" descr="circle graphic.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84580"/>
            <a:ext cx="4632651" cy="4224247"/>
          </a:xfrm>
          <a:prstGeom prst="rect">
            <a:avLst/>
          </a:prstGeom>
        </p:spPr>
      </p:pic>
      <p:sp>
        <p:nvSpPr>
          <p:cNvPr id="2" name="Title 1"/>
          <p:cNvSpPr>
            <a:spLocks noGrp="1"/>
          </p:cNvSpPr>
          <p:nvPr>
            <p:ph type="title" hasCustomPrompt="1"/>
          </p:nvPr>
        </p:nvSpPr>
        <p:spPr>
          <a:xfrm>
            <a:off x="2200275" y="2866073"/>
            <a:ext cx="735965" cy="679767"/>
          </a:xfrm>
        </p:spPr>
        <p:txBody>
          <a:bodyPr anchor="t">
            <a:normAutofit/>
          </a:bodyPr>
          <a:lstStyle>
            <a:lvl1pPr algn="l">
              <a:defRPr sz="3400" b="0" cap="all">
                <a:solidFill>
                  <a:srgbClr val="ED2125"/>
                </a:solidFill>
              </a:defRPr>
            </a:lvl1pPr>
          </a:lstStyle>
          <a:p>
            <a:r>
              <a:rPr lang="en-US" dirty="0" smtClean="0"/>
              <a:t>#</a:t>
            </a:r>
            <a:endParaRPr lang="en-US" dirty="0"/>
          </a:p>
        </p:txBody>
      </p:sp>
      <p:sp>
        <p:nvSpPr>
          <p:cNvPr id="3" name="Text Placeholder 2"/>
          <p:cNvSpPr>
            <a:spLocks noGrp="1"/>
          </p:cNvSpPr>
          <p:nvPr>
            <p:ph type="body" idx="1" hasCustomPrompt="1"/>
          </p:nvPr>
        </p:nvSpPr>
        <p:spPr>
          <a:xfrm>
            <a:off x="2915920" y="2866073"/>
            <a:ext cx="5628640" cy="2874327"/>
          </a:xfrm>
        </p:spPr>
        <p:txBody>
          <a:bodyPr anchor="t">
            <a:normAutofit/>
          </a:bodyPr>
          <a:lstStyle>
            <a:lvl1pPr marL="0" indent="0">
              <a:buNone/>
              <a:defRPr sz="3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section title</a:t>
            </a:r>
          </a:p>
        </p:txBody>
      </p:sp>
      <p:pic>
        <p:nvPicPr>
          <p:cNvPr id="4" name="Picture 3" descr="arc_light brown.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6" name="Picture 5" descr="circle graphic.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84580"/>
            <a:ext cx="4632651" cy="4224247"/>
          </a:xfrm>
          <a:prstGeom prst="rect">
            <a:avLst/>
          </a:prstGeom>
        </p:spPr>
      </p:pic>
      <p:pic>
        <p:nvPicPr>
          <p:cNvPr id="7" name="Picture 6" descr="arc_light brown.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spTree>
    <p:extLst>
      <p:ext uri="{BB962C8B-B14F-4D97-AF65-F5344CB8AC3E}">
        <p14:creationId xmlns:p14="http://schemas.microsoft.com/office/powerpoint/2010/main" val="2378683504"/>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Title Only Photo 3">
    <p:spTree>
      <p:nvGrpSpPr>
        <p:cNvPr id="1" name=""/>
        <p:cNvGrpSpPr/>
        <p:nvPr/>
      </p:nvGrpSpPr>
      <p:grpSpPr>
        <a:xfrm>
          <a:off x="0" y="0"/>
          <a:ext cx="0" cy="0"/>
          <a:chOff x="0" y="0"/>
          <a:chExt cx="0" cy="0"/>
        </a:xfrm>
      </p:grpSpPr>
      <p:pic>
        <p:nvPicPr>
          <p:cNvPr id="9" name="Picture 8" descr="TYT_PPHeader_0002_145038825_small.jpg"/>
          <p:cNvPicPr>
            <a:picLocks noChangeAspect="1"/>
          </p:cNvPicPr>
          <p:nvPr/>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6" name="Rectangle 5"/>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4" name="Picture 13" descr="footer.png"/>
          <p:cNvPicPr>
            <a:picLocks noChangeAspect="1"/>
          </p:cNvPicPr>
          <p:nvPr/>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8"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0"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112837469"/>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5" name="Rectangle 4"/>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p>
            <a:fld id="{56061281-BD0D-6F47-BBB8-8F6BE6AA34E7}" type="slidenum">
              <a:rPr lang="en-US" smtClean="0"/>
              <a:pPr/>
              <a:t>‹#›</a:t>
            </a:fld>
            <a:endParaRPr lang="en-US" dirty="0"/>
          </a:p>
        </p:txBody>
      </p:sp>
      <p:pic>
        <p:nvPicPr>
          <p:cNvPr id="8" name="Picture 7"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6"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Tree>
    <p:extLst>
      <p:ext uri="{BB962C8B-B14F-4D97-AF65-F5344CB8AC3E}">
        <p14:creationId xmlns:p14="http://schemas.microsoft.com/office/powerpoint/2010/main" val="1567461971"/>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Content with Caption">
    <p:spTree>
      <p:nvGrpSpPr>
        <p:cNvPr id="1" name=""/>
        <p:cNvGrpSpPr/>
        <p:nvPr/>
      </p:nvGrpSpPr>
      <p:grpSpPr>
        <a:xfrm>
          <a:off x="0" y="0"/>
          <a:ext cx="0" cy="0"/>
          <a:chOff x="0" y="0"/>
          <a:chExt cx="0" cy="0"/>
        </a:xfrm>
      </p:grpSpPr>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57200" y="273050"/>
            <a:ext cx="3008313" cy="1162050"/>
          </a:xfrm>
        </p:spPr>
        <p:txBody>
          <a:bodyPr anchor="b">
            <a:normAutofit/>
          </a:bodyPr>
          <a:lstStyle>
            <a:lvl1pPr algn="l">
              <a:defRPr sz="2400" b="1">
                <a:solidFill>
                  <a:srgbClr val="00000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1" name="Picture 10"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Tree>
    <p:extLst>
      <p:ext uri="{BB962C8B-B14F-4D97-AF65-F5344CB8AC3E}">
        <p14:creationId xmlns:p14="http://schemas.microsoft.com/office/powerpoint/2010/main" val="2750210877"/>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Picture with Caption">
    <p:spTree>
      <p:nvGrpSpPr>
        <p:cNvPr id="1" name=""/>
        <p:cNvGrpSpPr/>
        <p:nvPr/>
      </p:nvGrpSpPr>
      <p:grpSpPr>
        <a:xfrm>
          <a:off x="0" y="0"/>
          <a:ext cx="0" cy="0"/>
          <a:chOff x="0" y="0"/>
          <a:chExt cx="0" cy="0"/>
        </a:xfrm>
      </p:grpSpPr>
      <p:sp>
        <p:nvSpPr>
          <p:cNvPr id="8" name="Rectangle 7"/>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792288" y="4800600"/>
            <a:ext cx="5486400" cy="566738"/>
          </a:xfrm>
        </p:spPr>
        <p:txBody>
          <a:bodyPr anchor="b">
            <a:normAutofit/>
          </a:bodyPr>
          <a:lstStyle>
            <a:lvl1pPr algn="l">
              <a:defRPr sz="2400" b="1">
                <a:solidFill>
                  <a:srgbClr val="000000"/>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1" name="Picture 10"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1792287" y="6172200"/>
            <a:ext cx="5025073" cy="597066"/>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Tree>
    <p:extLst>
      <p:ext uri="{BB962C8B-B14F-4D97-AF65-F5344CB8AC3E}">
        <p14:creationId xmlns:p14="http://schemas.microsoft.com/office/powerpoint/2010/main" val="1319671831"/>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Title and Vertical Text">
    <p:spTree>
      <p:nvGrpSpPr>
        <p:cNvPr id="1" name=""/>
        <p:cNvGrpSpPr/>
        <p:nvPr/>
      </p:nvGrpSpPr>
      <p:grpSpPr>
        <a:xfrm>
          <a:off x="0" y="0"/>
          <a:ext cx="0" cy="0"/>
          <a:chOff x="0" y="0"/>
          <a:chExt cx="0" cy="0"/>
        </a:xfrm>
      </p:grpSpPr>
      <p:sp>
        <p:nvSpPr>
          <p:cNvPr id="7" name="Rectangle 6"/>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Vertical Text Placeholder 2"/>
          <p:cNvSpPr>
            <a:spLocks noGrp="1"/>
          </p:cNvSpPr>
          <p:nvPr>
            <p:ph type="body" orient="vert" idx="1"/>
          </p:nvPr>
        </p:nvSpPr>
        <p:spPr/>
        <p:txBody>
          <a:bodyPr vert="eaVert"/>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0" name="Picture 9"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8"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9"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985393885"/>
      </p:ext>
    </p:extLst>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Vertical Title and Text">
    <p:spTree>
      <p:nvGrpSpPr>
        <p:cNvPr id="1" name=""/>
        <p:cNvGrpSpPr/>
        <p:nvPr/>
      </p:nvGrpSpPr>
      <p:grpSpPr>
        <a:xfrm>
          <a:off x="0" y="0"/>
          <a:ext cx="0" cy="0"/>
          <a:chOff x="0" y="0"/>
          <a:chExt cx="0" cy="0"/>
        </a:xfrm>
      </p:grpSpPr>
      <p:sp>
        <p:nvSpPr>
          <p:cNvPr id="7" name="Rectangle 6"/>
          <p:cNvSpPr/>
          <p:nvPr/>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Vertical Title 1"/>
          <p:cNvSpPr>
            <a:spLocks noGrp="1"/>
          </p:cNvSpPr>
          <p:nvPr>
            <p:ph type="title" orient="vert"/>
          </p:nvPr>
        </p:nvSpPr>
        <p:spPr>
          <a:xfrm>
            <a:off x="6629400" y="274638"/>
            <a:ext cx="2057400" cy="5851525"/>
          </a:xfrm>
        </p:spPr>
        <p:txBody>
          <a:bodyPr vert="eaVert"/>
          <a:lstStyle>
            <a:lvl1pPr>
              <a:defRPr>
                <a:solidFill>
                  <a:srgbClr val="000000"/>
                </a:solidFill>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p>
            <a:fld id="{56061281-BD0D-6F47-BBB8-8F6BE6AA34E7}" type="slidenum">
              <a:rPr lang="en-US" smtClean="0"/>
              <a:pPr/>
              <a:t>‹#›</a:t>
            </a:fld>
            <a:endParaRPr lang="en-US" dirty="0"/>
          </a:p>
        </p:txBody>
      </p:sp>
      <p:pic>
        <p:nvPicPr>
          <p:cNvPr id="10" name="Picture 9" descr="footer.png"/>
          <p:cNvPicPr>
            <a:picLocks noChangeAspect="1"/>
          </p:cNvPicPr>
          <p:nvPr/>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8"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Tree>
    <p:extLst>
      <p:ext uri="{BB962C8B-B14F-4D97-AF65-F5344CB8AC3E}">
        <p14:creationId xmlns:p14="http://schemas.microsoft.com/office/powerpoint/2010/main" val="77726560"/>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Image Title Slide 1">
    <p:spTree>
      <p:nvGrpSpPr>
        <p:cNvPr id="1" name=""/>
        <p:cNvGrpSpPr/>
        <p:nvPr/>
      </p:nvGrpSpPr>
      <p:grpSpPr>
        <a:xfrm>
          <a:off x="0" y="0"/>
          <a:ext cx="0" cy="0"/>
          <a:chOff x="0" y="0"/>
          <a:chExt cx="0" cy="0"/>
        </a:xfrm>
      </p:grpSpPr>
      <p:pic>
        <p:nvPicPr>
          <p:cNvPr id="12" name="Picture 11" descr="Title_Image1.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40805511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Image Title Slide 2">
    <p:spTree>
      <p:nvGrpSpPr>
        <p:cNvPr id="1" name=""/>
        <p:cNvGrpSpPr/>
        <p:nvPr/>
      </p:nvGrpSpPr>
      <p:grpSpPr>
        <a:xfrm>
          <a:off x="0" y="0"/>
          <a:ext cx="0" cy="0"/>
          <a:chOff x="0" y="0"/>
          <a:chExt cx="0" cy="0"/>
        </a:xfrm>
      </p:grpSpPr>
      <p:pic>
        <p:nvPicPr>
          <p:cNvPr id="4" name="Picture 3" descr="Title_Image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09587833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Title Slide Multiple Logos">
    <p:spTree>
      <p:nvGrpSpPr>
        <p:cNvPr id="1" name=""/>
        <p:cNvGrpSpPr/>
        <p:nvPr/>
      </p:nvGrpSpPr>
      <p:grpSpPr>
        <a:xfrm>
          <a:off x="0" y="0"/>
          <a:ext cx="0" cy="0"/>
          <a:chOff x="0" y="0"/>
          <a:chExt cx="0" cy="0"/>
        </a:xfrm>
      </p:grpSpPr>
      <p:sp>
        <p:nvSpPr>
          <p:cNvPr id="4" name="Rectangle 3"/>
          <p:cNvSpPr/>
          <p:nvPr userDrawn="1"/>
        </p:nvSpPr>
        <p:spPr>
          <a:xfrm>
            <a:off x="0" y="1830388"/>
            <a:ext cx="9144000" cy="18288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5" name="Picture 4" descr="arc_light blu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7" name="Picture 6" descr="tag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52650" y="6139180"/>
            <a:ext cx="4827710" cy="219441"/>
          </a:xfrm>
          <a:prstGeom prst="rect">
            <a:avLst/>
          </a:prstGeom>
        </p:spPr>
      </p:pic>
      <p:sp>
        <p:nvSpPr>
          <p:cNvPr id="12" name="Text Placeholder 2"/>
          <p:cNvSpPr>
            <a:spLocks noGrp="1"/>
          </p:cNvSpPr>
          <p:nvPr>
            <p:ph type="body" idx="1" hasCustomPrompt="1"/>
          </p:nvPr>
        </p:nvSpPr>
        <p:spPr>
          <a:xfrm>
            <a:off x="3251200" y="5608320"/>
            <a:ext cx="2621280" cy="406400"/>
          </a:xfrm>
        </p:spPr>
        <p:txBody>
          <a:bodyPr anchor="t">
            <a:normAutofit/>
          </a:bodyPr>
          <a:lstStyle>
            <a:lvl1pPr marL="0" indent="0" algn="ctr">
              <a:buNone/>
              <a:defRPr sz="1400">
                <a:solidFill>
                  <a:schemeClr val="accent2">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date</a:t>
            </a:r>
          </a:p>
        </p:txBody>
      </p:sp>
      <p:sp>
        <p:nvSpPr>
          <p:cNvPr id="9" name="Content Placeholder 2"/>
          <p:cNvSpPr>
            <a:spLocks noGrp="1"/>
          </p:cNvSpPr>
          <p:nvPr>
            <p:ph idx="14" hasCustomPrompt="1"/>
          </p:nvPr>
        </p:nvSpPr>
        <p:spPr>
          <a:xfrm>
            <a:off x="685800" y="1830388"/>
            <a:ext cx="7772400" cy="1828800"/>
          </a:xfrm>
        </p:spPr>
        <p:txBody>
          <a:bodyPr anchor="ctr">
            <a:normAutofit/>
          </a:bodyPr>
          <a:lstStyle>
            <a:lvl1pPr marL="0" indent="0" algn="ctr">
              <a:buFontTx/>
              <a:buNone/>
              <a:defRPr sz="3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4273300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Title Slide Only Tyton Logo">
    <p:spTree>
      <p:nvGrpSpPr>
        <p:cNvPr id="1" name=""/>
        <p:cNvGrpSpPr/>
        <p:nvPr/>
      </p:nvGrpSpPr>
      <p:grpSpPr>
        <a:xfrm>
          <a:off x="0" y="0"/>
          <a:ext cx="0" cy="0"/>
          <a:chOff x="0" y="0"/>
          <a:chExt cx="0" cy="0"/>
        </a:xfrm>
      </p:grpSpPr>
      <p:sp>
        <p:nvSpPr>
          <p:cNvPr id="4" name="Rectangle 3"/>
          <p:cNvSpPr/>
          <p:nvPr userDrawn="1"/>
        </p:nvSpPr>
        <p:spPr>
          <a:xfrm>
            <a:off x="0" y="1830388"/>
            <a:ext cx="9144000" cy="18288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5" name="Picture 4" descr="arc_light blu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7" name="Picture 6" descr="tag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52650" y="6139180"/>
            <a:ext cx="4827710" cy="219441"/>
          </a:xfrm>
          <a:prstGeom prst="rect">
            <a:avLst/>
          </a:prstGeom>
        </p:spPr>
      </p:pic>
      <p:pic>
        <p:nvPicPr>
          <p:cNvPr id="6" name="Picture 5" descr="Tyton Logo.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21100" y="4564380"/>
            <a:ext cx="1700671" cy="816810"/>
          </a:xfrm>
          <a:prstGeom prst="rect">
            <a:avLst/>
          </a:prstGeom>
        </p:spPr>
      </p:pic>
      <p:sp>
        <p:nvSpPr>
          <p:cNvPr id="9" name="Content Placeholder 2"/>
          <p:cNvSpPr>
            <a:spLocks noGrp="1"/>
          </p:cNvSpPr>
          <p:nvPr>
            <p:ph idx="14" hasCustomPrompt="1"/>
          </p:nvPr>
        </p:nvSpPr>
        <p:spPr>
          <a:xfrm>
            <a:off x="685800" y="1830388"/>
            <a:ext cx="7772400" cy="1828800"/>
          </a:xfrm>
        </p:spPr>
        <p:txBody>
          <a:bodyPr anchor="ctr">
            <a:normAutofit/>
          </a:bodyPr>
          <a:lstStyle>
            <a:lvl1pPr marL="0" indent="0" algn="ctr">
              <a:buFontTx/>
              <a:buNone/>
              <a:defRPr sz="3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
        <p:nvSpPr>
          <p:cNvPr id="10" name="Text Placeholder 2"/>
          <p:cNvSpPr>
            <a:spLocks noGrp="1"/>
          </p:cNvSpPr>
          <p:nvPr>
            <p:ph type="body" idx="1" hasCustomPrompt="1"/>
          </p:nvPr>
        </p:nvSpPr>
        <p:spPr>
          <a:xfrm>
            <a:off x="3251200" y="5608320"/>
            <a:ext cx="2621280" cy="406400"/>
          </a:xfrm>
        </p:spPr>
        <p:txBody>
          <a:bodyPr anchor="t">
            <a:normAutofit/>
          </a:bodyPr>
          <a:lstStyle>
            <a:lvl1pPr marL="0" indent="0" algn="ctr">
              <a:buNone/>
              <a:defRPr sz="1400">
                <a:solidFill>
                  <a:schemeClr val="accent2">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date</a:t>
            </a:r>
          </a:p>
        </p:txBody>
      </p:sp>
    </p:spTree>
    <p:extLst>
      <p:ext uri="{BB962C8B-B14F-4D97-AF65-F5344CB8AC3E}">
        <p14:creationId xmlns:p14="http://schemas.microsoft.com/office/powerpoint/2010/main" val="28473826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Circle DrkBlue">
    <p:spTree>
      <p:nvGrpSpPr>
        <p:cNvPr id="1" name=""/>
        <p:cNvGrpSpPr/>
        <p:nvPr/>
      </p:nvGrpSpPr>
      <p:grpSpPr>
        <a:xfrm>
          <a:off x="0" y="0"/>
          <a:ext cx="0" cy="0"/>
          <a:chOff x="0" y="0"/>
          <a:chExt cx="0" cy="0"/>
        </a:xfrm>
      </p:grpSpPr>
      <p:pic>
        <p:nvPicPr>
          <p:cNvPr id="9" name="Picture 8" descr="circle graphic.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84580"/>
            <a:ext cx="4632651" cy="4224247"/>
          </a:xfrm>
          <a:prstGeom prst="rect">
            <a:avLst/>
          </a:prstGeom>
        </p:spPr>
      </p:pic>
      <p:sp>
        <p:nvSpPr>
          <p:cNvPr id="2" name="Title 1"/>
          <p:cNvSpPr>
            <a:spLocks noGrp="1"/>
          </p:cNvSpPr>
          <p:nvPr>
            <p:ph type="title" hasCustomPrompt="1"/>
          </p:nvPr>
        </p:nvSpPr>
        <p:spPr>
          <a:xfrm>
            <a:off x="2200275" y="2866073"/>
            <a:ext cx="735965" cy="679767"/>
          </a:xfrm>
        </p:spPr>
        <p:txBody>
          <a:bodyPr anchor="t">
            <a:normAutofit/>
          </a:bodyPr>
          <a:lstStyle>
            <a:lvl1pPr algn="l">
              <a:defRPr sz="3400" b="0" cap="all">
                <a:solidFill>
                  <a:srgbClr val="ED2125"/>
                </a:solidFill>
              </a:defRPr>
            </a:lvl1pPr>
          </a:lstStyle>
          <a:p>
            <a:r>
              <a:rPr lang="en-US" dirty="0" smtClean="0"/>
              <a:t>#</a:t>
            </a:r>
            <a:endParaRPr lang="en-US" dirty="0"/>
          </a:p>
        </p:txBody>
      </p:sp>
      <p:sp>
        <p:nvSpPr>
          <p:cNvPr id="3" name="Text Placeholder 2"/>
          <p:cNvSpPr>
            <a:spLocks noGrp="1"/>
          </p:cNvSpPr>
          <p:nvPr>
            <p:ph type="body" idx="1" hasCustomPrompt="1"/>
          </p:nvPr>
        </p:nvSpPr>
        <p:spPr>
          <a:xfrm>
            <a:off x="2915920" y="2866073"/>
            <a:ext cx="5628640" cy="2874327"/>
          </a:xfrm>
        </p:spPr>
        <p:txBody>
          <a:bodyPr anchor="t">
            <a:normAutofit/>
          </a:bodyPr>
          <a:lstStyle>
            <a:lvl1pPr marL="0" indent="0">
              <a:buNone/>
              <a:defRPr sz="3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section title</a:t>
            </a:r>
          </a:p>
        </p:txBody>
      </p:sp>
      <p:pic>
        <p:nvPicPr>
          <p:cNvPr id="4" name="Picture 3" descr="arc_dark blu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pic>
        <p:nvPicPr>
          <p:cNvPr id="6" name="Picture 5" descr="circle graphic.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84580"/>
            <a:ext cx="4632651" cy="4224247"/>
          </a:xfrm>
          <a:prstGeom prst="rect">
            <a:avLst/>
          </a:prstGeom>
        </p:spPr>
      </p:pic>
      <p:pic>
        <p:nvPicPr>
          <p:cNvPr id="7" name="Picture 6" descr="arc_dark blu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spTree>
    <p:extLst>
      <p:ext uri="{BB962C8B-B14F-4D97-AF65-F5344CB8AC3E}">
        <p14:creationId xmlns:p14="http://schemas.microsoft.com/office/powerpoint/2010/main" val="2378683504"/>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10" name="Rectangle 9"/>
          <p:cNvSpPr/>
          <p:nvPr userDrawn="1"/>
        </p:nvSpPr>
        <p:spPr>
          <a:xfrm>
            <a:off x="8306858" y="6420487"/>
            <a:ext cx="285280" cy="28528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168400" y="1139826"/>
            <a:ext cx="7413171" cy="4986338"/>
          </a:xfrm>
        </p:spPr>
        <p:txBody>
          <a:bodyPr>
            <a:normAutofit/>
          </a:bodyPr>
          <a:lstStyle>
            <a:lvl1pPr marL="0" indent="0">
              <a:lnSpc>
                <a:spcPct val="100000"/>
              </a:lnSpc>
              <a:spcBef>
                <a:spcPts val="1400"/>
              </a:spcBef>
              <a:buFontTx/>
              <a:buNone/>
              <a:tabLst>
                <a:tab pos="568325" algn="l"/>
              </a:tabLst>
              <a:defRPr sz="2400" i="0">
                <a:solidFill>
                  <a:schemeClr val="tx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smtClean="0"/>
              <a:t>Click to edit Master text styles</a:t>
            </a:r>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cxnSp>
        <p:nvCxnSpPr>
          <p:cNvPr id="11" name="Straight Connector 10"/>
          <p:cNvCxnSpPr/>
          <p:nvPr userDrawn="1"/>
        </p:nvCxnSpPr>
        <p:spPr>
          <a:xfrm flipV="1">
            <a:off x="560677" y="1037196"/>
            <a:ext cx="8020894" cy="21494"/>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12" name="Picture 11" descr="footer.png"/>
          <p:cNvPicPr>
            <a:picLocks noChangeAspect="1"/>
          </p:cNvPicPr>
          <p:nvPr userDrawn="1"/>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4"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9"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
        <p:nvSpPr>
          <p:cNvPr id="15" name="Content Placeholder 2"/>
          <p:cNvSpPr>
            <a:spLocks noGrp="1"/>
          </p:cNvSpPr>
          <p:nvPr>
            <p:ph idx="15" hasCustomPrompt="1"/>
          </p:nvPr>
        </p:nvSpPr>
        <p:spPr>
          <a:xfrm>
            <a:off x="526143" y="1139826"/>
            <a:ext cx="642257" cy="4986338"/>
          </a:xfrm>
        </p:spPr>
        <p:txBody>
          <a:bodyPr>
            <a:normAutofit/>
          </a:bodyPr>
          <a:lstStyle>
            <a:lvl1pPr marL="0" indent="0">
              <a:lnSpc>
                <a:spcPct val="100000"/>
              </a:lnSpc>
              <a:spcBef>
                <a:spcPts val="1400"/>
              </a:spcBef>
              <a:buFontTx/>
              <a:buNone/>
              <a:tabLst>
                <a:tab pos="568325" algn="l"/>
              </a:tabLst>
              <a:defRPr sz="2400" i="0">
                <a:solidFill>
                  <a:schemeClr val="accent3"/>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s</a:t>
            </a:r>
          </a:p>
        </p:txBody>
      </p:sp>
    </p:spTree>
    <p:extLst>
      <p:ext uri="{BB962C8B-B14F-4D97-AF65-F5344CB8AC3E}">
        <p14:creationId xmlns:p14="http://schemas.microsoft.com/office/powerpoint/2010/main" val="3592922435"/>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Section Header Circle DrkBrown">
    <p:spTree>
      <p:nvGrpSpPr>
        <p:cNvPr id="1" name=""/>
        <p:cNvGrpSpPr/>
        <p:nvPr/>
      </p:nvGrpSpPr>
      <p:grpSpPr>
        <a:xfrm>
          <a:off x="0" y="0"/>
          <a:ext cx="0" cy="0"/>
          <a:chOff x="0" y="0"/>
          <a:chExt cx="0" cy="0"/>
        </a:xfrm>
      </p:grpSpPr>
      <p:pic>
        <p:nvPicPr>
          <p:cNvPr id="9" name="Picture 8" descr="circle graphi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84580"/>
            <a:ext cx="4632651" cy="4224247"/>
          </a:xfrm>
          <a:prstGeom prst="rect">
            <a:avLst/>
          </a:prstGeom>
        </p:spPr>
      </p:pic>
      <p:sp>
        <p:nvSpPr>
          <p:cNvPr id="2" name="Title 1"/>
          <p:cNvSpPr>
            <a:spLocks noGrp="1"/>
          </p:cNvSpPr>
          <p:nvPr>
            <p:ph type="title" hasCustomPrompt="1"/>
          </p:nvPr>
        </p:nvSpPr>
        <p:spPr>
          <a:xfrm>
            <a:off x="2200275" y="2866073"/>
            <a:ext cx="735965" cy="679767"/>
          </a:xfrm>
        </p:spPr>
        <p:txBody>
          <a:bodyPr anchor="t">
            <a:normAutofit/>
          </a:bodyPr>
          <a:lstStyle>
            <a:lvl1pPr algn="l">
              <a:defRPr sz="3400" b="0" cap="all">
                <a:solidFill>
                  <a:srgbClr val="ED2125"/>
                </a:solidFill>
              </a:defRPr>
            </a:lvl1pPr>
          </a:lstStyle>
          <a:p>
            <a:r>
              <a:rPr lang="en-US" dirty="0" smtClean="0"/>
              <a:t>#</a:t>
            </a:r>
            <a:endParaRPr lang="en-US" dirty="0"/>
          </a:p>
        </p:txBody>
      </p:sp>
      <p:pic>
        <p:nvPicPr>
          <p:cNvPr id="4" name="Picture 3" descr="arc_dark brown.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49475" y="6620272"/>
            <a:ext cx="4827710" cy="237728"/>
          </a:xfrm>
          <a:prstGeom prst="rect">
            <a:avLst/>
          </a:prstGeom>
        </p:spPr>
      </p:pic>
      <p:sp>
        <p:nvSpPr>
          <p:cNvPr id="7" name="Text Placeholder 2"/>
          <p:cNvSpPr>
            <a:spLocks noGrp="1"/>
          </p:cNvSpPr>
          <p:nvPr>
            <p:ph type="body" idx="1" hasCustomPrompt="1"/>
          </p:nvPr>
        </p:nvSpPr>
        <p:spPr>
          <a:xfrm>
            <a:off x="2915920" y="2866073"/>
            <a:ext cx="5628640" cy="2874327"/>
          </a:xfrm>
        </p:spPr>
        <p:txBody>
          <a:bodyPr anchor="t">
            <a:normAutofit/>
          </a:bodyPr>
          <a:lstStyle>
            <a:lvl1pPr marL="0" indent="0">
              <a:buNone/>
              <a:defRPr sz="3400">
                <a:solidFill>
                  <a:srgbClr val="0000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section title</a:t>
            </a:r>
          </a:p>
        </p:txBody>
      </p:sp>
    </p:spTree>
    <p:extLst>
      <p:ext uri="{BB962C8B-B14F-4D97-AF65-F5344CB8AC3E}">
        <p14:creationId xmlns:p14="http://schemas.microsoft.com/office/powerpoint/2010/main" val="237868350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0" name="Rectangle 9"/>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marL="0" indent="0">
              <a:buFontTx/>
              <a:buNone/>
              <a:defRPr>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smtClean="0"/>
              <a:t>Click to edit Master text styles</a:t>
            </a:r>
          </a:p>
        </p:txBody>
      </p:sp>
      <p:cxnSp>
        <p:nvCxnSpPr>
          <p:cNvPr id="8" name="Straight Connector 7"/>
          <p:cNvCxnSpPr/>
          <p:nvPr userDrawn="1"/>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8" name="Picture 17" descr="footer.png"/>
          <p:cNvPicPr>
            <a:picLocks noChangeAspect="1"/>
          </p:cNvPicPr>
          <p:nvPr userDrawn="1"/>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1"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50177772"/>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itle and Bullet Content">
    <p:spTree>
      <p:nvGrpSpPr>
        <p:cNvPr id="1" name=""/>
        <p:cNvGrpSpPr/>
        <p:nvPr/>
      </p:nvGrpSpPr>
      <p:grpSpPr>
        <a:xfrm>
          <a:off x="0" y="0"/>
          <a:ext cx="0" cy="0"/>
          <a:chOff x="0" y="0"/>
          <a:chExt cx="0" cy="0"/>
        </a:xfrm>
      </p:grpSpPr>
      <p:sp>
        <p:nvSpPr>
          <p:cNvPr id="10" name="Rectangle 9"/>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a:defRPr>
                <a:solidFill>
                  <a:srgbClr val="000000"/>
                </a:solidFill>
                <a:latin typeface="Arial"/>
                <a:cs typeface="Arial"/>
              </a:defRPr>
            </a:lvl1pPr>
            <a:lvl2pPr>
              <a:defRPr>
                <a:solidFill>
                  <a:srgbClr val="000000"/>
                </a:solidFill>
                <a:latin typeface="Arial"/>
                <a:cs typeface="Arial"/>
              </a:defRPr>
            </a:lvl2pPr>
            <a:lvl3pPr>
              <a:defRPr>
                <a:solidFill>
                  <a:srgbClr val="000000"/>
                </a:solidFill>
                <a:latin typeface="Arial"/>
                <a:cs typeface="Arial"/>
              </a:defRPr>
            </a:lvl3pPr>
            <a:lvl4pPr>
              <a:defRPr>
                <a:solidFill>
                  <a:srgbClr val="000000"/>
                </a:solidFill>
                <a:latin typeface="Arial"/>
                <a:cs typeface="Arial"/>
              </a:defRPr>
            </a:lvl4pPr>
            <a:lvl5pPr>
              <a:defRPr>
                <a:solidFill>
                  <a:srgbClr val="000000"/>
                </a:solidFill>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cxnSp>
        <p:nvCxnSpPr>
          <p:cNvPr id="11" name="Straight Connector 10"/>
          <p:cNvCxnSpPr/>
          <p:nvPr userDrawn="1"/>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2" name="Picture 11" descr="footer.png"/>
          <p:cNvPicPr>
            <a:picLocks noChangeAspect="1"/>
          </p:cNvPicPr>
          <p:nvPr userDrawn="1"/>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411653949"/>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8" name="Rectangle 7"/>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marL="0" indent="0">
              <a:buClr>
                <a:srgbClr val="ED2125"/>
              </a:buClr>
              <a:buFontTx/>
              <a:buNone/>
              <a:tabLst>
                <a:tab pos="568325" algn="l"/>
              </a:tabLst>
              <a:defRPr sz="1400">
                <a:solidFill>
                  <a:srgbClr val="000000"/>
                </a:solidFill>
                <a:latin typeface="Arial"/>
                <a:cs typeface="Arial"/>
              </a:defRPr>
            </a:lvl1pPr>
            <a:lvl2pPr marL="173037" indent="0">
              <a:buClr>
                <a:srgbClr val="ED2125"/>
              </a:buClr>
              <a:buFontTx/>
              <a:buNone/>
              <a:tabLst>
                <a:tab pos="568325" algn="l"/>
              </a:tabLst>
              <a:defRPr sz="1400">
                <a:solidFill>
                  <a:srgbClr val="000000"/>
                </a:solidFill>
                <a:latin typeface="Arial"/>
                <a:cs typeface="Arial"/>
              </a:defRPr>
            </a:lvl2pPr>
            <a:lvl3pPr marL="346075" indent="0">
              <a:buClr>
                <a:srgbClr val="ED2125"/>
              </a:buClr>
              <a:buFontTx/>
              <a:buNone/>
              <a:tabLst>
                <a:tab pos="568325" algn="l"/>
              </a:tabLst>
              <a:defRPr sz="1400">
                <a:solidFill>
                  <a:srgbClr val="000000"/>
                </a:solidFill>
                <a:latin typeface="Arial"/>
                <a:cs typeface="Arial"/>
              </a:defRPr>
            </a:lvl3pPr>
            <a:lvl4pPr marL="517525" indent="0">
              <a:buClr>
                <a:srgbClr val="ED2125"/>
              </a:buClr>
              <a:buFontTx/>
              <a:buNone/>
              <a:tabLst>
                <a:tab pos="568325" algn="l"/>
              </a:tabLst>
              <a:defRPr sz="1400">
                <a:solidFill>
                  <a:srgbClr val="000000"/>
                </a:solidFill>
                <a:latin typeface="Arial"/>
                <a:cs typeface="Arial"/>
              </a:defRPr>
            </a:lvl4pPr>
            <a:lvl5pPr marL="690562" indent="0">
              <a:buClr>
                <a:srgbClr val="ED2125"/>
              </a:buClr>
              <a:buFontTx/>
              <a:buNone/>
              <a:tabLst>
                <a:tab pos="568325" algn="l"/>
              </a:tabLst>
              <a:defRPr sz="1400">
                <a:solidFill>
                  <a:srgbClr val="000000"/>
                </a:solidFill>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cxnSp>
        <p:nvCxnSpPr>
          <p:cNvPr id="16" name="Straight Connector 15"/>
          <p:cNvCxnSpPr/>
          <p:nvPr userDrawn="1"/>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7" name="Picture 16" descr="footer.png"/>
          <p:cNvPicPr>
            <a:picLocks noChangeAspect="1"/>
          </p:cNvPicPr>
          <p:nvPr userDrawn="1"/>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1"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88073757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wo Content Bullets">
    <p:spTree>
      <p:nvGrpSpPr>
        <p:cNvPr id="1" name=""/>
        <p:cNvGrpSpPr/>
        <p:nvPr/>
      </p:nvGrpSpPr>
      <p:grpSpPr>
        <a:xfrm>
          <a:off x="0" y="0"/>
          <a:ext cx="0" cy="0"/>
          <a:chOff x="0" y="0"/>
          <a:chExt cx="0" cy="0"/>
        </a:xfrm>
      </p:grpSpPr>
      <p:sp>
        <p:nvSpPr>
          <p:cNvPr id="8" name="Rectangle 7"/>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26142" y="1139826"/>
            <a:ext cx="3969657"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9826"/>
            <a:ext cx="3933371" cy="4986338"/>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11"/>
          <p:cNvSpPr>
            <a:spLocks noGrp="1"/>
          </p:cNvSpPr>
          <p:nvPr>
            <p:ph type="sldNum" sz="quarter" idx="12"/>
          </p:nvPr>
        </p:nvSpPr>
        <p:spPr/>
        <p:txBody>
          <a:bodyPr/>
          <a:lstStyle/>
          <a:p>
            <a:fld id="{56061281-BD0D-6F47-BBB8-8F6BE6AA34E7}" type="slidenum">
              <a:rPr lang="en-US" smtClean="0"/>
              <a:pPr/>
              <a:t>‹#›</a:t>
            </a:fld>
            <a:endParaRPr lang="en-US" dirty="0"/>
          </a:p>
        </p:txBody>
      </p:sp>
      <p:cxnSp>
        <p:nvCxnSpPr>
          <p:cNvPr id="11" name="Straight Connector 10"/>
          <p:cNvCxnSpPr/>
          <p:nvPr userDrawn="1"/>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5" name="Picture 14" descr="footer.png"/>
          <p:cNvPicPr>
            <a:picLocks noChangeAspect="1"/>
          </p:cNvPicPr>
          <p:nvPr userDrawn="1"/>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0"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178250832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0" name="Rectangle 9"/>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p:spPr>
        <p:txBody>
          <a:bodyPr anchor="b">
            <a:normAutofit/>
          </a:bodyPr>
          <a:lstStyle>
            <a:lvl1pPr marL="0" indent="0">
              <a:buNone/>
              <a:defRPr sz="18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t>‹#›</a:t>
            </a:fld>
            <a:endParaRPr lang="en-US"/>
          </a:p>
        </p:txBody>
      </p:sp>
      <p:cxnSp>
        <p:nvCxnSpPr>
          <p:cNvPr id="15" name="Straight Connector 14"/>
          <p:cNvCxnSpPr/>
          <p:nvPr userDrawn="1"/>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6" name="Picture 15" descr="footer.png"/>
          <p:cNvPicPr>
            <a:picLocks noChangeAspect="1"/>
          </p:cNvPicPr>
          <p:nvPr userDrawn="1"/>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3"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368190782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Comparison Dark Heading">
    <p:spTree>
      <p:nvGrpSpPr>
        <p:cNvPr id="1" name=""/>
        <p:cNvGrpSpPr/>
        <p:nvPr/>
      </p:nvGrpSpPr>
      <p:grpSpPr>
        <a:xfrm>
          <a:off x="0" y="0"/>
          <a:ext cx="0" cy="0"/>
          <a:chOff x="0" y="0"/>
          <a:chExt cx="0" cy="0"/>
        </a:xfrm>
      </p:grpSpPr>
      <p:sp>
        <p:nvSpPr>
          <p:cNvPr id="10" name="Rectangle 9"/>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526142" y="1139825"/>
            <a:ext cx="3971245"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26142" y="1779587"/>
            <a:ext cx="3971245"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6" y="1139825"/>
            <a:ext cx="3936546" cy="639762"/>
          </a:xfrm>
          <a:solidFill>
            <a:schemeClr val="tx2"/>
          </a:solidFill>
        </p:spPr>
        <p:txBody>
          <a:bodyPr anchor="b">
            <a:normAutofit/>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779587"/>
            <a:ext cx="3936546" cy="4346576"/>
          </a:xfrm>
        </p:spPr>
        <p:txBody>
          <a:bodyPr>
            <a:normAutofit/>
          </a:bodyPr>
          <a:lstStyle>
            <a:lvl1pPr>
              <a:defRPr sz="14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p:txBody>
          <a:bodyPr/>
          <a:lstStyle/>
          <a:p>
            <a:fld id="{56061281-BD0D-6F47-BBB8-8F6BE6AA34E7}" type="slidenum">
              <a:rPr lang="en-US" smtClean="0"/>
              <a:t>‹#›</a:t>
            </a:fld>
            <a:endParaRPr lang="en-US"/>
          </a:p>
        </p:txBody>
      </p:sp>
      <p:cxnSp>
        <p:nvCxnSpPr>
          <p:cNvPr id="15" name="Straight Connector 14"/>
          <p:cNvCxnSpPr/>
          <p:nvPr userDrawn="1"/>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3" name="Picture 12" descr="footer.png"/>
          <p:cNvPicPr>
            <a:picLocks noChangeAspect="1"/>
          </p:cNvPicPr>
          <p:nvPr userDrawn="1"/>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2"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4"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35847133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Rectangle 5"/>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12"/>
          </p:nvPr>
        </p:nvSpPr>
        <p:spPr/>
        <p:txBody>
          <a:bodyPr/>
          <a:lstStyle/>
          <a:p>
            <a:fld id="{56061281-BD0D-6F47-BBB8-8F6BE6AA34E7}" type="slidenum">
              <a:rPr lang="en-US" smtClean="0"/>
              <a:t>‹#›</a:t>
            </a:fld>
            <a:endParaRPr lang="en-US"/>
          </a:p>
        </p:txBody>
      </p:sp>
      <p:cxnSp>
        <p:nvCxnSpPr>
          <p:cNvPr id="11" name="Straight Connector 10"/>
          <p:cNvCxnSpPr/>
          <p:nvPr userDrawn="1"/>
        </p:nvCxnSpPr>
        <p:spPr>
          <a:xfrm flipV="1">
            <a:off x="560677" y="1037196"/>
            <a:ext cx="8020894" cy="21494"/>
          </a:xfrm>
          <a:prstGeom prst="line">
            <a:avLst/>
          </a:prstGeom>
          <a:ln w="12700" cmpd="sng"/>
          <a:effectLst/>
        </p:spPr>
        <p:style>
          <a:lnRef idx="2">
            <a:schemeClr val="accent1"/>
          </a:lnRef>
          <a:fillRef idx="0">
            <a:schemeClr val="accent1"/>
          </a:fillRef>
          <a:effectRef idx="1">
            <a:schemeClr val="accent1"/>
          </a:effectRef>
          <a:fontRef idx="minor">
            <a:schemeClr val="tx1"/>
          </a:fontRef>
        </p:style>
      </p:cxnSp>
      <p:pic>
        <p:nvPicPr>
          <p:cNvPr id="14" name="Picture 13" descr="footer.png"/>
          <p:cNvPicPr>
            <a:picLocks noChangeAspect="1"/>
          </p:cNvPicPr>
          <p:nvPr userDrawn="1"/>
        </p:nvPicPr>
        <p:blipFill rotWithShape="1">
          <a:blip r:embed="rId2">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15"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8"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263193372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and Content Photo 1">
    <p:spTree>
      <p:nvGrpSpPr>
        <p:cNvPr id="1" name=""/>
        <p:cNvGrpSpPr/>
        <p:nvPr/>
      </p:nvGrpSpPr>
      <p:grpSpPr>
        <a:xfrm>
          <a:off x="0" y="0"/>
          <a:ext cx="0" cy="0"/>
          <a:chOff x="0" y="0"/>
          <a:chExt cx="0" cy="0"/>
        </a:xfrm>
      </p:grpSpPr>
      <p:pic>
        <p:nvPicPr>
          <p:cNvPr id="11" name="Picture 10" descr="TYT_PPHeader_0000_186049192_small.jpg"/>
          <p:cNvPicPr>
            <a:picLocks noChangeAspect="1"/>
          </p:cNvPicPr>
          <p:nvPr userDrawn="1"/>
        </p:nvPicPr>
        <p:blipFill rotWithShape="1">
          <a:blip r:embed="rId2">
            <a:extLst>
              <a:ext uri="{28A0092B-C50C-407E-A947-70E740481C1C}">
                <a14:useLocalDpi xmlns:a14="http://schemas.microsoft.com/office/drawing/2010/main" val="0"/>
              </a:ext>
            </a:extLst>
          </a:blip>
          <a:srcRect b="8351"/>
          <a:stretch/>
        </p:blipFill>
        <p:spPr>
          <a:xfrm>
            <a:off x="0" y="0"/>
            <a:ext cx="9144000" cy="1094106"/>
          </a:xfrm>
          <a:prstGeom prst="rect">
            <a:avLst/>
          </a:prstGeom>
        </p:spPr>
      </p:pic>
      <p:sp>
        <p:nvSpPr>
          <p:cNvPr id="10" name="Rectangle 9"/>
          <p:cNvSpPr/>
          <p:nvPr userDrawn="1"/>
        </p:nvSpPr>
        <p:spPr>
          <a:xfrm>
            <a:off x="8306858" y="6420487"/>
            <a:ext cx="285280" cy="285280"/>
          </a:xfrm>
          <a:prstGeom prst="rect">
            <a:avLst/>
          </a:prstGeom>
          <a:solidFill>
            <a:srgbClr val="C398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lvl1pPr marL="0" indent="0">
              <a:buFontTx/>
              <a:buNone/>
              <a:defRPr>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smtClean="0"/>
              <a:t>Click to edit Master text styles</a:t>
            </a:r>
          </a:p>
        </p:txBody>
      </p:sp>
      <p:sp>
        <p:nvSpPr>
          <p:cNvPr id="13" name="Slide Number Placeholder 12"/>
          <p:cNvSpPr>
            <a:spLocks noGrp="1"/>
          </p:cNvSpPr>
          <p:nvPr>
            <p:ph type="sldNum" sz="quarter" idx="12"/>
          </p:nvPr>
        </p:nvSpPr>
        <p:spPr>
          <a:xfrm>
            <a:off x="8204905" y="6373452"/>
            <a:ext cx="489186" cy="365125"/>
          </a:xfrm>
        </p:spPr>
        <p:txBody>
          <a:bodyPr/>
          <a:lstStyle/>
          <a:p>
            <a:fld id="{56061281-BD0D-6F47-BBB8-8F6BE6AA34E7}" type="slidenum">
              <a:rPr lang="en-US" smtClean="0"/>
              <a:pPr/>
              <a:t>‹#›</a:t>
            </a:fld>
            <a:endParaRPr lang="en-US" dirty="0"/>
          </a:p>
        </p:txBody>
      </p:sp>
      <p:pic>
        <p:nvPicPr>
          <p:cNvPr id="18" name="Picture 17" descr="footer.png"/>
          <p:cNvPicPr>
            <a:picLocks noChangeAspect="1"/>
          </p:cNvPicPr>
          <p:nvPr userDrawn="1"/>
        </p:nvPicPr>
        <p:blipFill rotWithShape="1">
          <a:blip r:embed="rId3">
            <a:extLst>
              <a:ext uri="{28A0092B-C50C-407E-A947-70E740481C1C}">
                <a14:useLocalDpi xmlns:a14="http://schemas.microsoft.com/office/drawing/2010/main" val="0"/>
              </a:ext>
            </a:extLst>
          </a:blip>
          <a:srcRect l="27736"/>
          <a:stretch/>
        </p:blipFill>
        <p:spPr>
          <a:xfrm>
            <a:off x="6817361" y="6285014"/>
            <a:ext cx="1387544" cy="572986"/>
          </a:xfrm>
          <a:prstGeom prst="rect">
            <a:avLst/>
          </a:prstGeom>
        </p:spPr>
      </p:pic>
      <p:sp>
        <p:nvSpPr>
          <p:cNvPr id="9" name="Content Placeholder 2"/>
          <p:cNvSpPr>
            <a:spLocks noGrp="1"/>
          </p:cNvSpPr>
          <p:nvPr>
            <p:ph idx="13" hasCustomPrompt="1"/>
          </p:nvPr>
        </p:nvSpPr>
        <p:spPr>
          <a:xfrm>
            <a:off x="526143" y="6126165"/>
            <a:ext cx="6291218" cy="643102"/>
          </a:xfrm>
        </p:spPr>
        <p:txBody>
          <a:bodyPr anchor="b">
            <a:normAutofit/>
          </a:bodyPr>
          <a:lstStyle>
            <a:lvl1pPr marL="0" indent="0">
              <a:buFontTx/>
              <a:buNone/>
              <a:defRPr sz="1000" i="1">
                <a:solidFill>
                  <a:srgbClr val="000000"/>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add sources and notes.</a:t>
            </a:r>
          </a:p>
        </p:txBody>
      </p:sp>
      <p:sp>
        <p:nvSpPr>
          <p:cNvPr id="12" name="Content Placeholder 2"/>
          <p:cNvSpPr>
            <a:spLocks noGrp="1"/>
          </p:cNvSpPr>
          <p:nvPr>
            <p:ph idx="14" hasCustomPrompt="1"/>
          </p:nvPr>
        </p:nvSpPr>
        <p:spPr>
          <a:xfrm>
            <a:off x="526142" y="101600"/>
            <a:ext cx="8065996" cy="946615"/>
          </a:xfrm>
        </p:spPr>
        <p:txBody>
          <a:bodyPr anchor="b">
            <a:normAutofit/>
          </a:bodyPr>
          <a:lstStyle>
            <a:lvl1pPr marL="0" indent="0">
              <a:buFontTx/>
              <a:buNone/>
              <a:defRPr sz="2400" i="0" baseline="0">
                <a:solidFill>
                  <a:schemeClr val="bg1"/>
                </a:solidFill>
                <a:latin typeface="Arial"/>
                <a:cs typeface="Arial"/>
              </a:defRPr>
            </a:lvl1pPr>
            <a:lvl2pPr marL="173037" indent="0">
              <a:buFontTx/>
              <a:buNone/>
              <a:defRPr/>
            </a:lvl2pPr>
            <a:lvl3pPr marL="346075" indent="0">
              <a:buFontTx/>
              <a:buNone/>
              <a:defRPr/>
            </a:lvl3pPr>
            <a:lvl4pPr marL="517525" indent="0">
              <a:buFontTx/>
              <a:buNone/>
              <a:defRPr/>
            </a:lvl4pPr>
            <a:lvl5pPr marL="690562" indent="0">
              <a:buFontTx/>
              <a:buNone/>
              <a:defRPr/>
            </a:lvl5pPr>
          </a:lstStyle>
          <a:p>
            <a:pPr lvl="0"/>
            <a:r>
              <a:rPr lang="en-US" dirty="0" smtClean="0"/>
              <a:t>Click to edit Master title style</a:t>
            </a:r>
          </a:p>
        </p:txBody>
      </p:sp>
    </p:spTree>
    <p:extLst>
      <p:ext uri="{BB962C8B-B14F-4D97-AF65-F5344CB8AC3E}">
        <p14:creationId xmlns:p14="http://schemas.microsoft.com/office/powerpoint/2010/main" val="100988987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26" Type="http://schemas.openxmlformats.org/officeDocument/2006/relationships/slideLayout" Target="../slideLayouts/slideLayout12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16" Type="http://schemas.openxmlformats.org/officeDocument/2006/relationships/slideLayout" Target="../slideLayouts/slideLayout116.xml"/><Relationship Id="rId124" Type="http://schemas.openxmlformats.org/officeDocument/2006/relationships/slideLayout" Target="../slideLayouts/slideLayout12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11" Type="http://schemas.openxmlformats.org/officeDocument/2006/relationships/slideLayout" Target="../slideLayouts/slideLayout11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12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6143" y="202071"/>
            <a:ext cx="8055428" cy="844409"/>
          </a:xfrm>
          <a:prstGeom prst="rect">
            <a:avLst/>
          </a:prstGeom>
          <a:effectLst/>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526142" y="1139826"/>
            <a:ext cx="8055429" cy="4986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3CD7FE-E24F-9245-903B-520C8F0EEAC6}" type="datetime1">
              <a:rPr lang="en-US" smtClean="0"/>
              <a:t>4/6/201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205094" y="6373510"/>
            <a:ext cx="489186" cy="365125"/>
          </a:xfrm>
          <a:prstGeom prst="rect">
            <a:avLst/>
          </a:prstGeom>
        </p:spPr>
        <p:txBody>
          <a:bodyPr vert="horz" lIns="91440" tIns="45720" rIns="91440" bIns="45720" rtlCol="0" anchor="ctr"/>
          <a:lstStyle>
            <a:lvl1pPr algn="ctr">
              <a:defRPr sz="1000">
                <a:solidFill>
                  <a:schemeClr val="bg1"/>
                </a:solidFill>
                <a:latin typeface="Arial"/>
                <a:cs typeface="Arial"/>
              </a:defRPr>
            </a:lvl1pPr>
          </a:lstStyle>
          <a:p>
            <a:fld id="{56061281-BD0D-6F47-BBB8-8F6BE6AA34E7}" type="slidenum">
              <a:rPr lang="en-US" smtClean="0"/>
              <a:pPr/>
              <a:t>‹#›</a:t>
            </a:fld>
            <a:endParaRPr lang="en-US" dirty="0"/>
          </a:p>
        </p:txBody>
      </p:sp>
    </p:spTree>
    <p:extLst>
      <p:ext uri="{BB962C8B-B14F-4D97-AF65-F5344CB8AC3E}">
        <p14:creationId xmlns:p14="http://schemas.microsoft.com/office/powerpoint/2010/main" val="1388603404"/>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 id="2147483928" r:id="rId12"/>
    <p:sldLayoutId id="2147483929" r:id="rId13"/>
    <p:sldLayoutId id="2147483930" r:id="rId14"/>
    <p:sldLayoutId id="2147483931" r:id="rId15"/>
    <p:sldLayoutId id="2147483932" r:id="rId16"/>
    <p:sldLayoutId id="2147483933" r:id="rId17"/>
    <p:sldLayoutId id="2147483934" r:id="rId18"/>
    <p:sldLayoutId id="2147483935" r:id="rId19"/>
    <p:sldLayoutId id="2147483936" r:id="rId20"/>
    <p:sldLayoutId id="2147483937" r:id="rId21"/>
    <p:sldLayoutId id="2147483938" r:id="rId22"/>
    <p:sldLayoutId id="2147483939" r:id="rId23"/>
    <p:sldLayoutId id="2147483940" r:id="rId24"/>
    <p:sldLayoutId id="2147483941" r:id="rId25"/>
    <p:sldLayoutId id="2147483942" r:id="rId26"/>
    <p:sldLayoutId id="2147483943" r:id="rId27"/>
    <p:sldLayoutId id="2147483944" r:id="rId28"/>
    <p:sldLayoutId id="2147483945" r:id="rId29"/>
    <p:sldLayoutId id="2147483946" r:id="rId30"/>
    <p:sldLayoutId id="2147483947" r:id="rId31"/>
    <p:sldLayoutId id="2147483948" r:id="rId32"/>
    <p:sldLayoutId id="2147483949" r:id="rId33"/>
    <p:sldLayoutId id="2147483950" r:id="rId34"/>
    <p:sldLayoutId id="2147483951" r:id="rId35"/>
    <p:sldLayoutId id="2147483952" r:id="rId36"/>
    <p:sldLayoutId id="2147483953" r:id="rId37"/>
    <p:sldLayoutId id="2147483954" r:id="rId38"/>
    <p:sldLayoutId id="2147483955" r:id="rId39"/>
    <p:sldLayoutId id="2147483956" r:id="rId40"/>
    <p:sldLayoutId id="2147483957" r:id="rId41"/>
    <p:sldLayoutId id="2147483958" r:id="rId42"/>
    <p:sldLayoutId id="2147483959" r:id="rId43"/>
    <p:sldLayoutId id="2147483960" r:id="rId44"/>
    <p:sldLayoutId id="2147483961" r:id="rId45"/>
    <p:sldLayoutId id="2147483962" r:id="rId46"/>
    <p:sldLayoutId id="2147483963" r:id="rId47"/>
    <p:sldLayoutId id="2147483964" r:id="rId48"/>
    <p:sldLayoutId id="2147483965" r:id="rId49"/>
    <p:sldLayoutId id="2147483966" r:id="rId50"/>
    <p:sldLayoutId id="2147483967" r:id="rId51"/>
    <p:sldLayoutId id="2147483968" r:id="rId52"/>
    <p:sldLayoutId id="2147483969" r:id="rId53"/>
    <p:sldLayoutId id="2147483970" r:id="rId54"/>
    <p:sldLayoutId id="2147483971" r:id="rId55"/>
    <p:sldLayoutId id="2147483972" r:id="rId56"/>
    <p:sldLayoutId id="2147483973" r:id="rId57"/>
    <p:sldLayoutId id="2147483974" r:id="rId58"/>
    <p:sldLayoutId id="2147483975" r:id="rId59"/>
    <p:sldLayoutId id="2147483976" r:id="rId60"/>
    <p:sldLayoutId id="2147483977" r:id="rId61"/>
    <p:sldLayoutId id="2147483978" r:id="rId62"/>
    <p:sldLayoutId id="2147483979" r:id="rId63"/>
    <p:sldLayoutId id="2147483980" r:id="rId64"/>
    <p:sldLayoutId id="2147483981" r:id="rId65"/>
    <p:sldLayoutId id="2147483982" r:id="rId66"/>
    <p:sldLayoutId id="2147483983" r:id="rId67"/>
    <p:sldLayoutId id="2147483984" r:id="rId68"/>
    <p:sldLayoutId id="2147483985" r:id="rId69"/>
    <p:sldLayoutId id="2147483986" r:id="rId70"/>
    <p:sldLayoutId id="2147483987" r:id="rId71"/>
    <p:sldLayoutId id="2147483988" r:id="rId72"/>
    <p:sldLayoutId id="2147483989" r:id="rId73"/>
    <p:sldLayoutId id="2147483990" r:id="rId74"/>
    <p:sldLayoutId id="2147483991" r:id="rId75"/>
    <p:sldLayoutId id="2147483992" r:id="rId76"/>
    <p:sldLayoutId id="2147483993" r:id="rId77"/>
    <p:sldLayoutId id="2147483994" r:id="rId78"/>
    <p:sldLayoutId id="2147483995" r:id="rId79"/>
    <p:sldLayoutId id="2147483996" r:id="rId80"/>
    <p:sldLayoutId id="2147483997" r:id="rId81"/>
    <p:sldLayoutId id="2147483998" r:id="rId82"/>
    <p:sldLayoutId id="2147483999" r:id="rId83"/>
    <p:sldLayoutId id="2147484000" r:id="rId84"/>
    <p:sldLayoutId id="2147484001" r:id="rId85"/>
    <p:sldLayoutId id="2147483649" r:id="rId86"/>
    <p:sldLayoutId id="2147483661" r:id="rId87"/>
    <p:sldLayoutId id="2147483662" r:id="rId88"/>
    <p:sldLayoutId id="2147483663" r:id="rId89"/>
    <p:sldLayoutId id="2147483674" r:id="rId90"/>
    <p:sldLayoutId id="2147483665" r:id="rId91"/>
    <p:sldLayoutId id="2147483650" r:id="rId92"/>
    <p:sldLayoutId id="2147483660" r:id="rId93"/>
    <p:sldLayoutId id="2147483652" r:id="rId94"/>
    <p:sldLayoutId id="2147483664" r:id="rId95"/>
    <p:sldLayoutId id="2147483653" r:id="rId96"/>
    <p:sldLayoutId id="2147483675" r:id="rId97"/>
    <p:sldLayoutId id="2147483654" r:id="rId98"/>
    <p:sldLayoutId id="2147483676" r:id="rId99"/>
    <p:sldLayoutId id="2147483677" r:id="rId100"/>
    <p:sldLayoutId id="2147483685" r:id="rId101"/>
    <p:sldLayoutId id="2147483686" r:id="rId102"/>
    <p:sldLayoutId id="2147483687" r:id="rId103"/>
    <p:sldLayoutId id="2147483688" r:id="rId104"/>
    <p:sldLayoutId id="2147483689" r:id="rId105"/>
    <p:sldLayoutId id="2147483679" r:id="rId106"/>
    <p:sldLayoutId id="2147483680" r:id="rId107"/>
    <p:sldLayoutId id="2147483690" r:id="rId108"/>
    <p:sldLayoutId id="2147483691" r:id="rId109"/>
    <p:sldLayoutId id="2147483692" r:id="rId110"/>
    <p:sldLayoutId id="2147483693" r:id="rId111"/>
    <p:sldLayoutId id="2147483694" r:id="rId112"/>
    <p:sldLayoutId id="2147483682" r:id="rId113"/>
    <p:sldLayoutId id="2147483683" r:id="rId114"/>
    <p:sldLayoutId id="2147483695" r:id="rId115"/>
    <p:sldLayoutId id="2147483696" r:id="rId116"/>
    <p:sldLayoutId id="2147483697" r:id="rId117"/>
    <p:sldLayoutId id="2147483698" r:id="rId118"/>
    <p:sldLayoutId id="2147483699" r:id="rId119"/>
    <p:sldLayoutId id="2147483655" r:id="rId120"/>
    <p:sldLayoutId id="2147483656" r:id="rId121"/>
    <p:sldLayoutId id="2147483657" r:id="rId122"/>
    <p:sldLayoutId id="2147483658" r:id="rId123"/>
    <p:sldLayoutId id="2147483659" r:id="rId124"/>
    <p:sldLayoutId id="2147484003" r:id="rId125"/>
    <p:sldLayoutId id="2147484004" r:id="rId126"/>
  </p:sldLayoutIdLst>
  <p:hf hdr="0" ftr="0" dt="0"/>
  <p:txStyles>
    <p:titleStyle>
      <a:lvl1pPr algn="l" defTabSz="457200" rtl="0" eaLnBrk="1" latinLnBrk="0" hangingPunct="1">
        <a:spcBef>
          <a:spcPct val="0"/>
        </a:spcBef>
        <a:buNone/>
        <a:defRPr sz="2400" kern="1200" baseline="0">
          <a:solidFill>
            <a:schemeClr val="tx1"/>
          </a:solidFill>
          <a:latin typeface="Arial"/>
          <a:ea typeface="+mj-ea"/>
          <a:cs typeface="Arial"/>
        </a:defRPr>
      </a:lvl1pPr>
    </p:titleStyle>
    <p:bodyStyle>
      <a:lvl1pPr marL="173038" indent="-173038" algn="l" defTabSz="457200" rtl="0" eaLnBrk="1" latinLnBrk="0" hangingPunct="1">
        <a:spcBef>
          <a:spcPct val="20000"/>
        </a:spcBef>
        <a:buClrTx/>
        <a:buFont typeface="Arial"/>
        <a:buChar char="•"/>
        <a:defRPr sz="1400" kern="1200">
          <a:solidFill>
            <a:schemeClr val="tx1"/>
          </a:solidFill>
          <a:latin typeface="Arial"/>
          <a:ea typeface="+mn-ea"/>
          <a:cs typeface="Arial"/>
        </a:defRPr>
      </a:lvl1pPr>
      <a:lvl2pPr marL="344488" indent="-173038" algn="l" defTabSz="457200" rtl="0" eaLnBrk="1" latinLnBrk="0" hangingPunct="1">
        <a:spcBef>
          <a:spcPct val="20000"/>
        </a:spcBef>
        <a:buFont typeface="Lucida Grande"/>
        <a:buChar char="-"/>
        <a:defRPr sz="1400" kern="1200">
          <a:solidFill>
            <a:schemeClr val="tx1"/>
          </a:solidFill>
          <a:latin typeface="Arial"/>
          <a:ea typeface="+mn-ea"/>
          <a:cs typeface="Arial"/>
        </a:defRPr>
      </a:lvl2pPr>
      <a:lvl3pPr marL="517525" indent="-171450" algn="l" defTabSz="457200" rtl="0" eaLnBrk="1" latinLnBrk="0" hangingPunct="1">
        <a:spcBef>
          <a:spcPct val="20000"/>
        </a:spcBef>
        <a:buFont typeface="Lucida Grande"/>
        <a:buChar char="-"/>
        <a:defRPr sz="1400" kern="1200">
          <a:solidFill>
            <a:schemeClr val="tx1"/>
          </a:solidFill>
          <a:latin typeface="Arial"/>
          <a:ea typeface="+mn-ea"/>
          <a:cs typeface="Arial"/>
        </a:defRPr>
      </a:lvl3pPr>
      <a:lvl4pPr marL="688975" indent="-171450" algn="l" defTabSz="457200" rtl="0" eaLnBrk="1" latinLnBrk="0" hangingPunct="1">
        <a:spcBef>
          <a:spcPct val="20000"/>
        </a:spcBef>
        <a:buFont typeface="Lucida Grande"/>
        <a:buChar char="-"/>
        <a:defRPr sz="1400" kern="1200">
          <a:solidFill>
            <a:schemeClr val="tx1"/>
          </a:solidFill>
          <a:latin typeface="Arial"/>
          <a:ea typeface="+mn-ea"/>
          <a:cs typeface="Arial"/>
        </a:defRPr>
      </a:lvl4pPr>
      <a:lvl5pPr marL="862013" indent="-173038" algn="l" defTabSz="457200" rtl="0" eaLnBrk="1" latinLnBrk="0" hangingPunct="1">
        <a:spcBef>
          <a:spcPct val="20000"/>
        </a:spcBef>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tags" Target="../tags/tag152.xml"/><Relationship Id="rId3" Type="http://schemas.openxmlformats.org/officeDocument/2006/relationships/tags" Target="../tags/tag129.xml"/><Relationship Id="rId21" Type="http://schemas.openxmlformats.org/officeDocument/2006/relationships/tags" Target="../tags/tag147.xml"/><Relationship Id="rId34" Type="http://schemas.openxmlformats.org/officeDocument/2006/relationships/slideLayout" Target="../slideLayouts/slideLayout20.xml"/><Relationship Id="rId7" Type="http://schemas.openxmlformats.org/officeDocument/2006/relationships/tags" Target="../tags/tag133.x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tags" Target="../tags/tag151.xml"/><Relationship Id="rId33" Type="http://schemas.openxmlformats.org/officeDocument/2006/relationships/tags" Target="../tags/tag159.xml"/><Relationship Id="rId2" Type="http://schemas.openxmlformats.org/officeDocument/2006/relationships/tags" Target="../tags/tag128.xml"/><Relationship Id="rId16" Type="http://schemas.openxmlformats.org/officeDocument/2006/relationships/tags" Target="../tags/tag142.xml"/><Relationship Id="rId20" Type="http://schemas.openxmlformats.org/officeDocument/2006/relationships/tags" Target="../tags/tag146.xml"/><Relationship Id="rId29" Type="http://schemas.openxmlformats.org/officeDocument/2006/relationships/tags" Target="../tags/tag155.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tags" Target="../tags/tag137.xml"/><Relationship Id="rId24" Type="http://schemas.openxmlformats.org/officeDocument/2006/relationships/tags" Target="../tags/tag150.xml"/><Relationship Id="rId32" Type="http://schemas.openxmlformats.org/officeDocument/2006/relationships/tags" Target="../tags/tag158.xml"/><Relationship Id="rId5" Type="http://schemas.openxmlformats.org/officeDocument/2006/relationships/tags" Target="../tags/tag131.xml"/><Relationship Id="rId15" Type="http://schemas.openxmlformats.org/officeDocument/2006/relationships/tags" Target="../tags/tag141.xml"/><Relationship Id="rId23" Type="http://schemas.openxmlformats.org/officeDocument/2006/relationships/tags" Target="../tags/tag149.xml"/><Relationship Id="rId28" Type="http://schemas.openxmlformats.org/officeDocument/2006/relationships/tags" Target="../tags/tag154.xml"/><Relationship Id="rId10" Type="http://schemas.openxmlformats.org/officeDocument/2006/relationships/tags" Target="../tags/tag136.xml"/><Relationship Id="rId19" Type="http://schemas.openxmlformats.org/officeDocument/2006/relationships/tags" Target="../tags/tag145.xml"/><Relationship Id="rId31" Type="http://schemas.openxmlformats.org/officeDocument/2006/relationships/tags" Target="../tags/tag157.xml"/><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tags" Target="../tags/tag140.xml"/><Relationship Id="rId22" Type="http://schemas.openxmlformats.org/officeDocument/2006/relationships/tags" Target="../tags/tag148.xml"/><Relationship Id="rId27" Type="http://schemas.openxmlformats.org/officeDocument/2006/relationships/tags" Target="../tags/tag153.xml"/><Relationship Id="rId30" Type="http://schemas.openxmlformats.org/officeDocument/2006/relationships/tags" Target="../tags/tag156.xml"/></Relationships>
</file>

<file path=ppt/slides/_rels/slide12.xml.rels><?xml version="1.0" encoding="UTF-8" standalone="yes"?>
<Relationships xmlns="http://schemas.openxmlformats.org/package/2006/relationships"><Relationship Id="rId13" Type="http://schemas.openxmlformats.org/officeDocument/2006/relationships/tags" Target="../tags/tag172.xml"/><Relationship Id="rId18" Type="http://schemas.openxmlformats.org/officeDocument/2006/relationships/tags" Target="../tags/tag177.xml"/><Relationship Id="rId26" Type="http://schemas.openxmlformats.org/officeDocument/2006/relationships/tags" Target="../tags/tag185.xml"/><Relationship Id="rId39" Type="http://schemas.openxmlformats.org/officeDocument/2006/relationships/tags" Target="../tags/tag198.xml"/><Relationship Id="rId3" Type="http://schemas.openxmlformats.org/officeDocument/2006/relationships/tags" Target="../tags/tag162.xml"/><Relationship Id="rId21" Type="http://schemas.openxmlformats.org/officeDocument/2006/relationships/tags" Target="../tags/tag180.xml"/><Relationship Id="rId34" Type="http://schemas.openxmlformats.org/officeDocument/2006/relationships/tags" Target="../tags/tag193.xml"/><Relationship Id="rId42" Type="http://schemas.openxmlformats.org/officeDocument/2006/relationships/tags" Target="../tags/tag201.xml"/><Relationship Id="rId47" Type="http://schemas.openxmlformats.org/officeDocument/2006/relationships/tags" Target="../tags/tag206.xml"/><Relationship Id="rId50" Type="http://schemas.openxmlformats.org/officeDocument/2006/relationships/tags" Target="../tags/tag209.xml"/><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tags" Target="../tags/tag176.xml"/><Relationship Id="rId25" Type="http://schemas.openxmlformats.org/officeDocument/2006/relationships/tags" Target="../tags/tag184.xml"/><Relationship Id="rId33" Type="http://schemas.openxmlformats.org/officeDocument/2006/relationships/tags" Target="../tags/tag192.xml"/><Relationship Id="rId38" Type="http://schemas.openxmlformats.org/officeDocument/2006/relationships/tags" Target="../tags/tag197.xml"/><Relationship Id="rId46" Type="http://schemas.openxmlformats.org/officeDocument/2006/relationships/tags" Target="../tags/tag205.xml"/><Relationship Id="rId2" Type="http://schemas.openxmlformats.org/officeDocument/2006/relationships/tags" Target="../tags/tag161.xml"/><Relationship Id="rId16" Type="http://schemas.openxmlformats.org/officeDocument/2006/relationships/tags" Target="../tags/tag175.xml"/><Relationship Id="rId20" Type="http://schemas.openxmlformats.org/officeDocument/2006/relationships/tags" Target="../tags/tag179.xml"/><Relationship Id="rId29" Type="http://schemas.openxmlformats.org/officeDocument/2006/relationships/tags" Target="../tags/tag188.xml"/><Relationship Id="rId41" Type="http://schemas.openxmlformats.org/officeDocument/2006/relationships/tags" Target="../tags/tag200.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24" Type="http://schemas.openxmlformats.org/officeDocument/2006/relationships/tags" Target="../tags/tag183.xml"/><Relationship Id="rId32" Type="http://schemas.openxmlformats.org/officeDocument/2006/relationships/tags" Target="../tags/tag191.xml"/><Relationship Id="rId37" Type="http://schemas.openxmlformats.org/officeDocument/2006/relationships/tags" Target="../tags/tag196.xml"/><Relationship Id="rId40" Type="http://schemas.openxmlformats.org/officeDocument/2006/relationships/tags" Target="../tags/tag199.xml"/><Relationship Id="rId45" Type="http://schemas.openxmlformats.org/officeDocument/2006/relationships/tags" Target="../tags/tag204.xml"/><Relationship Id="rId5" Type="http://schemas.openxmlformats.org/officeDocument/2006/relationships/tags" Target="../tags/tag164.xml"/><Relationship Id="rId15" Type="http://schemas.openxmlformats.org/officeDocument/2006/relationships/tags" Target="../tags/tag174.xml"/><Relationship Id="rId23" Type="http://schemas.openxmlformats.org/officeDocument/2006/relationships/tags" Target="../tags/tag182.xml"/><Relationship Id="rId28" Type="http://schemas.openxmlformats.org/officeDocument/2006/relationships/tags" Target="../tags/tag187.xml"/><Relationship Id="rId36" Type="http://schemas.openxmlformats.org/officeDocument/2006/relationships/tags" Target="../tags/tag195.xml"/><Relationship Id="rId49" Type="http://schemas.openxmlformats.org/officeDocument/2006/relationships/tags" Target="../tags/tag208.xml"/><Relationship Id="rId10" Type="http://schemas.openxmlformats.org/officeDocument/2006/relationships/tags" Target="../tags/tag169.xml"/><Relationship Id="rId19" Type="http://schemas.openxmlformats.org/officeDocument/2006/relationships/tags" Target="../tags/tag178.xml"/><Relationship Id="rId31" Type="http://schemas.openxmlformats.org/officeDocument/2006/relationships/tags" Target="../tags/tag190.xml"/><Relationship Id="rId44" Type="http://schemas.openxmlformats.org/officeDocument/2006/relationships/tags" Target="../tags/tag203.xml"/><Relationship Id="rId52" Type="http://schemas.openxmlformats.org/officeDocument/2006/relationships/slideLayout" Target="../slideLayouts/slideLayout15.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 Id="rId22" Type="http://schemas.openxmlformats.org/officeDocument/2006/relationships/tags" Target="../tags/tag181.xml"/><Relationship Id="rId27" Type="http://schemas.openxmlformats.org/officeDocument/2006/relationships/tags" Target="../tags/tag186.xml"/><Relationship Id="rId30" Type="http://schemas.openxmlformats.org/officeDocument/2006/relationships/tags" Target="../tags/tag189.xml"/><Relationship Id="rId35" Type="http://schemas.openxmlformats.org/officeDocument/2006/relationships/tags" Target="../tags/tag194.xml"/><Relationship Id="rId43" Type="http://schemas.openxmlformats.org/officeDocument/2006/relationships/tags" Target="../tags/tag202.xml"/><Relationship Id="rId48" Type="http://schemas.openxmlformats.org/officeDocument/2006/relationships/tags" Target="../tags/tag207.xml"/><Relationship Id="rId8" Type="http://schemas.openxmlformats.org/officeDocument/2006/relationships/tags" Target="../tags/tag167.xml"/><Relationship Id="rId51" Type="http://schemas.openxmlformats.org/officeDocument/2006/relationships/tags" Target="../tags/tag210.xml"/></Relationships>
</file>

<file path=ppt/slides/_rels/slide13.xml.rels><?xml version="1.0" encoding="UTF-8" standalone="yes"?>
<Relationships xmlns="http://schemas.openxmlformats.org/package/2006/relationships"><Relationship Id="rId8" Type="http://schemas.openxmlformats.org/officeDocument/2006/relationships/tags" Target="../tags/tag218.xml"/><Relationship Id="rId13" Type="http://schemas.openxmlformats.org/officeDocument/2006/relationships/tags" Target="../tags/tag223.xml"/><Relationship Id="rId18" Type="http://schemas.openxmlformats.org/officeDocument/2006/relationships/tags" Target="../tags/tag228.xml"/><Relationship Id="rId26" Type="http://schemas.openxmlformats.org/officeDocument/2006/relationships/tags" Target="../tags/tag236.xml"/><Relationship Id="rId39" Type="http://schemas.openxmlformats.org/officeDocument/2006/relationships/tags" Target="../tags/tag249.xml"/><Relationship Id="rId3" Type="http://schemas.openxmlformats.org/officeDocument/2006/relationships/tags" Target="../tags/tag213.xml"/><Relationship Id="rId21" Type="http://schemas.openxmlformats.org/officeDocument/2006/relationships/tags" Target="../tags/tag231.xml"/><Relationship Id="rId34" Type="http://schemas.openxmlformats.org/officeDocument/2006/relationships/tags" Target="../tags/tag244.xml"/><Relationship Id="rId42" Type="http://schemas.openxmlformats.org/officeDocument/2006/relationships/tags" Target="../tags/tag252.xml"/><Relationship Id="rId7" Type="http://schemas.openxmlformats.org/officeDocument/2006/relationships/tags" Target="../tags/tag217.xml"/><Relationship Id="rId12" Type="http://schemas.openxmlformats.org/officeDocument/2006/relationships/tags" Target="../tags/tag222.xml"/><Relationship Id="rId17" Type="http://schemas.openxmlformats.org/officeDocument/2006/relationships/tags" Target="../tags/tag227.xml"/><Relationship Id="rId25" Type="http://schemas.openxmlformats.org/officeDocument/2006/relationships/tags" Target="../tags/tag235.xml"/><Relationship Id="rId33" Type="http://schemas.openxmlformats.org/officeDocument/2006/relationships/tags" Target="../tags/tag243.xml"/><Relationship Id="rId38" Type="http://schemas.openxmlformats.org/officeDocument/2006/relationships/tags" Target="../tags/tag248.xml"/><Relationship Id="rId46" Type="http://schemas.openxmlformats.org/officeDocument/2006/relationships/slideLayout" Target="../slideLayouts/slideLayout15.xml"/><Relationship Id="rId2" Type="http://schemas.openxmlformats.org/officeDocument/2006/relationships/tags" Target="../tags/tag212.xml"/><Relationship Id="rId16" Type="http://schemas.openxmlformats.org/officeDocument/2006/relationships/tags" Target="../tags/tag226.xml"/><Relationship Id="rId20" Type="http://schemas.openxmlformats.org/officeDocument/2006/relationships/tags" Target="../tags/tag230.xml"/><Relationship Id="rId29" Type="http://schemas.openxmlformats.org/officeDocument/2006/relationships/tags" Target="../tags/tag239.xml"/><Relationship Id="rId41" Type="http://schemas.openxmlformats.org/officeDocument/2006/relationships/tags" Target="../tags/tag251.xml"/><Relationship Id="rId1" Type="http://schemas.openxmlformats.org/officeDocument/2006/relationships/tags" Target="../tags/tag211.xml"/><Relationship Id="rId6" Type="http://schemas.openxmlformats.org/officeDocument/2006/relationships/tags" Target="../tags/tag216.xml"/><Relationship Id="rId11" Type="http://schemas.openxmlformats.org/officeDocument/2006/relationships/tags" Target="../tags/tag221.xml"/><Relationship Id="rId24" Type="http://schemas.openxmlformats.org/officeDocument/2006/relationships/tags" Target="../tags/tag234.xml"/><Relationship Id="rId32" Type="http://schemas.openxmlformats.org/officeDocument/2006/relationships/tags" Target="../tags/tag242.xml"/><Relationship Id="rId37" Type="http://schemas.openxmlformats.org/officeDocument/2006/relationships/tags" Target="../tags/tag247.xml"/><Relationship Id="rId40" Type="http://schemas.openxmlformats.org/officeDocument/2006/relationships/tags" Target="../tags/tag250.xml"/><Relationship Id="rId45" Type="http://schemas.openxmlformats.org/officeDocument/2006/relationships/tags" Target="../tags/tag255.xml"/><Relationship Id="rId5" Type="http://schemas.openxmlformats.org/officeDocument/2006/relationships/tags" Target="../tags/tag215.xml"/><Relationship Id="rId15" Type="http://schemas.openxmlformats.org/officeDocument/2006/relationships/tags" Target="../tags/tag225.xml"/><Relationship Id="rId23" Type="http://schemas.openxmlformats.org/officeDocument/2006/relationships/tags" Target="../tags/tag233.xml"/><Relationship Id="rId28" Type="http://schemas.openxmlformats.org/officeDocument/2006/relationships/tags" Target="../tags/tag238.xml"/><Relationship Id="rId36" Type="http://schemas.openxmlformats.org/officeDocument/2006/relationships/tags" Target="../tags/tag246.xml"/><Relationship Id="rId10" Type="http://schemas.openxmlformats.org/officeDocument/2006/relationships/tags" Target="../tags/tag220.xml"/><Relationship Id="rId19" Type="http://schemas.openxmlformats.org/officeDocument/2006/relationships/tags" Target="../tags/tag229.xml"/><Relationship Id="rId31" Type="http://schemas.openxmlformats.org/officeDocument/2006/relationships/tags" Target="../tags/tag241.xml"/><Relationship Id="rId44" Type="http://schemas.openxmlformats.org/officeDocument/2006/relationships/tags" Target="../tags/tag254.xml"/><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tags" Target="../tags/tag224.xml"/><Relationship Id="rId22" Type="http://schemas.openxmlformats.org/officeDocument/2006/relationships/tags" Target="../tags/tag232.xml"/><Relationship Id="rId27" Type="http://schemas.openxmlformats.org/officeDocument/2006/relationships/tags" Target="../tags/tag237.xml"/><Relationship Id="rId30" Type="http://schemas.openxmlformats.org/officeDocument/2006/relationships/tags" Target="../tags/tag240.xml"/><Relationship Id="rId35" Type="http://schemas.openxmlformats.org/officeDocument/2006/relationships/tags" Target="../tags/tag245.xml"/><Relationship Id="rId43" Type="http://schemas.openxmlformats.org/officeDocument/2006/relationships/tags" Target="../tags/tag253.xml"/></Relationships>
</file>

<file path=ppt/slides/_rels/slide14.xml.rels><?xml version="1.0" encoding="UTF-8" standalone="yes"?>
<Relationships xmlns="http://schemas.openxmlformats.org/package/2006/relationships"><Relationship Id="rId13" Type="http://schemas.openxmlformats.org/officeDocument/2006/relationships/tags" Target="../tags/tag268.xml"/><Relationship Id="rId18" Type="http://schemas.openxmlformats.org/officeDocument/2006/relationships/tags" Target="../tags/tag273.xml"/><Relationship Id="rId26" Type="http://schemas.openxmlformats.org/officeDocument/2006/relationships/tags" Target="../tags/tag281.xml"/><Relationship Id="rId39" Type="http://schemas.openxmlformats.org/officeDocument/2006/relationships/tags" Target="../tags/tag294.xml"/><Relationship Id="rId21" Type="http://schemas.openxmlformats.org/officeDocument/2006/relationships/tags" Target="../tags/tag276.xml"/><Relationship Id="rId34" Type="http://schemas.openxmlformats.org/officeDocument/2006/relationships/tags" Target="../tags/tag289.xml"/><Relationship Id="rId42" Type="http://schemas.openxmlformats.org/officeDocument/2006/relationships/tags" Target="../tags/tag297.xml"/><Relationship Id="rId47" Type="http://schemas.openxmlformats.org/officeDocument/2006/relationships/tags" Target="../tags/tag302.xml"/><Relationship Id="rId50" Type="http://schemas.openxmlformats.org/officeDocument/2006/relationships/tags" Target="../tags/tag305.xml"/><Relationship Id="rId55" Type="http://schemas.openxmlformats.org/officeDocument/2006/relationships/tags" Target="../tags/tag310.xml"/><Relationship Id="rId63" Type="http://schemas.openxmlformats.org/officeDocument/2006/relationships/tags" Target="../tags/tag318.xml"/><Relationship Id="rId68" Type="http://schemas.openxmlformats.org/officeDocument/2006/relationships/tags" Target="../tags/tag323.xml"/><Relationship Id="rId76" Type="http://schemas.openxmlformats.org/officeDocument/2006/relationships/tags" Target="../tags/tag331.xml"/><Relationship Id="rId84" Type="http://schemas.openxmlformats.org/officeDocument/2006/relationships/tags" Target="../tags/tag339.xml"/><Relationship Id="rId7" Type="http://schemas.openxmlformats.org/officeDocument/2006/relationships/tags" Target="../tags/tag262.xml"/><Relationship Id="rId71" Type="http://schemas.openxmlformats.org/officeDocument/2006/relationships/tags" Target="../tags/tag326.xml"/><Relationship Id="rId2" Type="http://schemas.openxmlformats.org/officeDocument/2006/relationships/tags" Target="../tags/tag257.xml"/><Relationship Id="rId16" Type="http://schemas.openxmlformats.org/officeDocument/2006/relationships/tags" Target="../tags/tag271.xml"/><Relationship Id="rId29" Type="http://schemas.openxmlformats.org/officeDocument/2006/relationships/tags" Target="../tags/tag284.xml"/><Relationship Id="rId11" Type="http://schemas.openxmlformats.org/officeDocument/2006/relationships/tags" Target="../tags/tag266.xml"/><Relationship Id="rId24" Type="http://schemas.openxmlformats.org/officeDocument/2006/relationships/tags" Target="../tags/tag279.xml"/><Relationship Id="rId32" Type="http://schemas.openxmlformats.org/officeDocument/2006/relationships/tags" Target="../tags/tag287.xml"/><Relationship Id="rId37" Type="http://schemas.openxmlformats.org/officeDocument/2006/relationships/tags" Target="../tags/tag292.xml"/><Relationship Id="rId40" Type="http://schemas.openxmlformats.org/officeDocument/2006/relationships/tags" Target="../tags/tag295.xml"/><Relationship Id="rId45" Type="http://schemas.openxmlformats.org/officeDocument/2006/relationships/tags" Target="../tags/tag300.xml"/><Relationship Id="rId53" Type="http://schemas.openxmlformats.org/officeDocument/2006/relationships/tags" Target="../tags/tag308.xml"/><Relationship Id="rId58" Type="http://schemas.openxmlformats.org/officeDocument/2006/relationships/tags" Target="../tags/tag313.xml"/><Relationship Id="rId66" Type="http://schemas.openxmlformats.org/officeDocument/2006/relationships/tags" Target="../tags/tag321.xml"/><Relationship Id="rId74" Type="http://schemas.openxmlformats.org/officeDocument/2006/relationships/tags" Target="../tags/tag329.xml"/><Relationship Id="rId79" Type="http://schemas.openxmlformats.org/officeDocument/2006/relationships/tags" Target="../tags/tag334.xml"/><Relationship Id="rId87" Type="http://schemas.openxmlformats.org/officeDocument/2006/relationships/tags" Target="../tags/tag342.xml"/><Relationship Id="rId5" Type="http://schemas.openxmlformats.org/officeDocument/2006/relationships/tags" Target="../tags/tag260.xml"/><Relationship Id="rId61" Type="http://schemas.openxmlformats.org/officeDocument/2006/relationships/tags" Target="../tags/tag316.xml"/><Relationship Id="rId82" Type="http://schemas.openxmlformats.org/officeDocument/2006/relationships/tags" Target="../tags/tag337.xml"/><Relationship Id="rId19" Type="http://schemas.openxmlformats.org/officeDocument/2006/relationships/tags" Target="../tags/tag274.xml"/><Relationship Id="rId4" Type="http://schemas.openxmlformats.org/officeDocument/2006/relationships/tags" Target="../tags/tag259.xml"/><Relationship Id="rId9" Type="http://schemas.openxmlformats.org/officeDocument/2006/relationships/tags" Target="../tags/tag264.xml"/><Relationship Id="rId14" Type="http://schemas.openxmlformats.org/officeDocument/2006/relationships/tags" Target="../tags/tag269.xml"/><Relationship Id="rId22" Type="http://schemas.openxmlformats.org/officeDocument/2006/relationships/tags" Target="../tags/tag277.xml"/><Relationship Id="rId27" Type="http://schemas.openxmlformats.org/officeDocument/2006/relationships/tags" Target="../tags/tag282.xml"/><Relationship Id="rId30" Type="http://schemas.openxmlformats.org/officeDocument/2006/relationships/tags" Target="../tags/tag285.xml"/><Relationship Id="rId35" Type="http://schemas.openxmlformats.org/officeDocument/2006/relationships/tags" Target="../tags/tag290.xml"/><Relationship Id="rId43" Type="http://schemas.openxmlformats.org/officeDocument/2006/relationships/tags" Target="../tags/tag298.xml"/><Relationship Id="rId48" Type="http://schemas.openxmlformats.org/officeDocument/2006/relationships/tags" Target="../tags/tag303.xml"/><Relationship Id="rId56" Type="http://schemas.openxmlformats.org/officeDocument/2006/relationships/tags" Target="../tags/tag311.xml"/><Relationship Id="rId64" Type="http://schemas.openxmlformats.org/officeDocument/2006/relationships/tags" Target="../tags/tag319.xml"/><Relationship Id="rId69" Type="http://schemas.openxmlformats.org/officeDocument/2006/relationships/tags" Target="../tags/tag324.xml"/><Relationship Id="rId77" Type="http://schemas.openxmlformats.org/officeDocument/2006/relationships/tags" Target="../tags/tag332.xml"/><Relationship Id="rId8" Type="http://schemas.openxmlformats.org/officeDocument/2006/relationships/tags" Target="../tags/tag263.xml"/><Relationship Id="rId51" Type="http://schemas.openxmlformats.org/officeDocument/2006/relationships/tags" Target="../tags/tag306.xml"/><Relationship Id="rId72" Type="http://schemas.openxmlformats.org/officeDocument/2006/relationships/tags" Target="../tags/tag327.xml"/><Relationship Id="rId80" Type="http://schemas.openxmlformats.org/officeDocument/2006/relationships/tags" Target="../tags/tag335.xml"/><Relationship Id="rId85" Type="http://schemas.openxmlformats.org/officeDocument/2006/relationships/tags" Target="../tags/tag340.xml"/><Relationship Id="rId3" Type="http://schemas.openxmlformats.org/officeDocument/2006/relationships/tags" Target="../tags/tag258.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tags" Target="../tags/tag280.xml"/><Relationship Id="rId33" Type="http://schemas.openxmlformats.org/officeDocument/2006/relationships/tags" Target="../tags/tag288.xml"/><Relationship Id="rId38" Type="http://schemas.openxmlformats.org/officeDocument/2006/relationships/tags" Target="../tags/tag293.xml"/><Relationship Id="rId46" Type="http://schemas.openxmlformats.org/officeDocument/2006/relationships/tags" Target="../tags/tag301.xml"/><Relationship Id="rId59" Type="http://schemas.openxmlformats.org/officeDocument/2006/relationships/tags" Target="../tags/tag314.xml"/><Relationship Id="rId67" Type="http://schemas.openxmlformats.org/officeDocument/2006/relationships/tags" Target="../tags/tag322.xml"/><Relationship Id="rId20" Type="http://schemas.openxmlformats.org/officeDocument/2006/relationships/tags" Target="../tags/tag275.xml"/><Relationship Id="rId41" Type="http://schemas.openxmlformats.org/officeDocument/2006/relationships/tags" Target="../tags/tag296.xml"/><Relationship Id="rId54" Type="http://schemas.openxmlformats.org/officeDocument/2006/relationships/tags" Target="../tags/tag309.xml"/><Relationship Id="rId62" Type="http://schemas.openxmlformats.org/officeDocument/2006/relationships/tags" Target="../tags/tag317.xml"/><Relationship Id="rId70" Type="http://schemas.openxmlformats.org/officeDocument/2006/relationships/tags" Target="../tags/tag325.xml"/><Relationship Id="rId75" Type="http://schemas.openxmlformats.org/officeDocument/2006/relationships/tags" Target="../tags/tag330.xml"/><Relationship Id="rId83" Type="http://schemas.openxmlformats.org/officeDocument/2006/relationships/tags" Target="../tags/tag338.xml"/><Relationship Id="rId88" Type="http://schemas.openxmlformats.org/officeDocument/2006/relationships/slideLayout" Target="../slideLayouts/slideLayout15.xml"/><Relationship Id="rId1" Type="http://schemas.openxmlformats.org/officeDocument/2006/relationships/tags" Target="../tags/tag256.xml"/><Relationship Id="rId6" Type="http://schemas.openxmlformats.org/officeDocument/2006/relationships/tags" Target="../tags/tag261.xml"/><Relationship Id="rId15" Type="http://schemas.openxmlformats.org/officeDocument/2006/relationships/tags" Target="../tags/tag270.xml"/><Relationship Id="rId23" Type="http://schemas.openxmlformats.org/officeDocument/2006/relationships/tags" Target="../tags/tag278.xml"/><Relationship Id="rId28" Type="http://schemas.openxmlformats.org/officeDocument/2006/relationships/tags" Target="../tags/tag283.xml"/><Relationship Id="rId36" Type="http://schemas.openxmlformats.org/officeDocument/2006/relationships/tags" Target="../tags/tag291.xml"/><Relationship Id="rId49" Type="http://schemas.openxmlformats.org/officeDocument/2006/relationships/tags" Target="../tags/tag304.xml"/><Relationship Id="rId57" Type="http://schemas.openxmlformats.org/officeDocument/2006/relationships/tags" Target="../tags/tag312.xml"/><Relationship Id="rId10" Type="http://schemas.openxmlformats.org/officeDocument/2006/relationships/tags" Target="../tags/tag265.xml"/><Relationship Id="rId31" Type="http://schemas.openxmlformats.org/officeDocument/2006/relationships/tags" Target="../tags/tag286.xml"/><Relationship Id="rId44" Type="http://schemas.openxmlformats.org/officeDocument/2006/relationships/tags" Target="../tags/tag299.xml"/><Relationship Id="rId52" Type="http://schemas.openxmlformats.org/officeDocument/2006/relationships/tags" Target="../tags/tag307.xml"/><Relationship Id="rId60" Type="http://schemas.openxmlformats.org/officeDocument/2006/relationships/tags" Target="../tags/tag315.xml"/><Relationship Id="rId65" Type="http://schemas.openxmlformats.org/officeDocument/2006/relationships/tags" Target="../tags/tag320.xml"/><Relationship Id="rId73" Type="http://schemas.openxmlformats.org/officeDocument/2006/relationships/tags" Target="../tags/tag328.xml"/><Relationship Id="rId78" Type="http://schemas.openxmlformats.org/officeDocument/2006/relationships/tags" Target="../tags/tag333.xml"/><Relationship Id="rId81" Type="http://schemas.openxmlformats.org/officeDocument/2006/relationships/tags" Target="../tags/tag336.xml"/><Relationship Id="rId86" Type="http://schemas.openxmlformats.org/officeDocument/2006/relationships/tags" Target="../tags/tag341.xml"/></Relationships>
</file>

<file path=ppt/slides/_rels/slide15.xml.rels><?xml version="1.0" encoding="UTF-8" standalone="yes"?>
<Relationships xmlns="http://schemas.openxmlformats.org/package/2006/relationships"><Relationship Id="rId13" Type="http://schemas.openxmlformats.org/officeDocument/2006/relationships/tags" Target="../tags/tag355.xml"/><Relationship Id="rId18" Type="http://schemas.openxmlformats.org/officeDocument/2006/relationships/tags" Target="../tags/tag360.xml"/><Relationship Id="rId26" Type="http://schemas.openxmlformats.org/officeDocument/2006/relationships/tags" Target="../tags/tag368.xml"/><Relationship Id="rId39" Type="http://schemas.openxmlformats.org/officeDocument/2006/relationships/tags" Target="../tags/tag381.xml"/><Relationship Id="rId21" Type="http://schemas.openxmlformats.org/officeDocument/2006/relationships/tags" Target="../tags/tag363.xml"/><Relationship Id="rId34" Type="http://schemas.openxmlformats.org/officeDocument/2006/relationships/tags" Target="../tags/tag376.xml"/><Relationship Id="rId42" Type="http://schemas.openxmlformats.org/officeDocument/2006/relationships/tags" Target="../tags/tag384.xml"/><Relationship Id="rId47" Type="http://schemas.openxmlformats.org/officeDocument/2006/relationships/tags" Target="../tags/tag389.xml"/><Relationship Id="rId50" Type="http://schemas.openxmlformats.org/officeDocument/2006/relationships/tags" Target="../tags/tag392.xml"/><Relationship Id="rId55" Type="http://schemas.openxmlformats.org/officeDocument/2006/relationships/tags" Target="../tags/tag397.xml"/><Relationship Id="rId63" Type="http://schemas.openxmlformats.org/officeDocument/2006/relationships/tags" Target="../tags/tag405.xml"/><Relationship Id="rId68" Type="http://schemas.openxmlformats.org/officeDocument/2006/relationships/tags" Target="../tags/tag410.xml"/><Relationship Id="rId7" Type="http://schemas.openxmlformats.org/officeDocument/2006/relationships/tags" Target="../tags/tag349.xml"/><Relationship Id="rId71" Type="http://schemas.openxmlformats.org/officeDocument/2006/relationships/tags" Target="../tags/tag413.xml"/><Relationship Id="rId2" Type="http://schemas.openxmlformats.org/officeDocument/2006/relationships/tags" Target="../tags/tag344.xml"/><Relationship Id="rId16" Type="http://schemas.openxmlformats.org/officeDocument/2006/relationships/tags" Target="../tags/tag358.xml"/><Relationship Id="rId29" Type="http://schemas.openxmlformats.org/officeDocument/2006/relationships/tags" Target="../tags/tag371.xml"/><Relationship Id="rId1" Type="http://schemas.openxmlformats.org/officeDocument/2006/relationships/tags" Target="../tags/tag343.xml"/><Relationship Id="rId6" Type="http://schemas.openxmlformats.org/officeDocument/2006/relationships/tags" Target="../tags/tag348.xml"/><Relationship Id="rId11" Type="http://schemas.openxmlformats.org/officeDocument/2006/relationships/tags" Target="../tags/tag353.xml"/><Relationship Id="rId24" Type="http://schemas.openxmlformats.org/officeDocument/2006/relationships/tags" Target="../tags/tag366.xml"/><Relationship Id="rId32" Type="http://schemas.openxmlformats.org/officeDocument/2006/relationships/tags" Target="../tags/tag374.xml"/><Relationship Id="rId37" Type="http://schemas.openxmlformats.org/officeDocument/2006/relationships/tags" Target="../tags/tag379.xml"/><Relationship Id="rId40" Type="http://schemas.openxmlformats.org/officeDocument/2006/relationships/tags" Target="../tags/tag382.xml"/><Relationship Id="rId45" Type="http://schemas.openxmlformats.org/officeDocument/2006/relationships/tags" Target="../tags/tag387.xml"/><Relationship Id="rId53" Type="http://schemas.openxmlformats.org/officeDocument/2006/relationships/tags" Target="../tags/tag395.xml"/><Relationship Id="rId58" Type="http://schemas.openxmlformats.org/officeDocument/2006/relationships/tags" Target="../tags/tag400.xml"/><Relationship Id="rId66" Type="http://schemas.openxmlformats.org/officeDocument/2006/relationships/tags" Target="../tags/tag408.xml"/><Relationship Id="rId5" Type="http://schemas.openxmlformats.org/officeDocument/2006/relationships/tags" Target="../tags/tag347.xml"/><Relationship Id="rId15" Type="http://schemas.openxmlformats.org/officeDocument/2006/relationships/tags" Target="../tags/tag357.xml"/><Relationship Id="rId23" Type="http://schemas.openxmlformats.org/officeDocument/2006/relationships/tags" Target="../tags/tag365.xml"/><Relationship Id="rId28" Type="http://schemas.openxmlformats.org/officeDocument/2006/relationships/tags" Target="../tags/tag370.xml"/><Relationship Id="rId36" Type="http://schemas.openxmlformats.org/officeDocument/2006/relationships/tags" Target="../tags/tag378.xml"/><Relationship Id="rId49" Type="http://schemas.openxmlformats.org/officeDocument/2006/relationships/tags" Target="../tags/tag391.xml"/><Relationship Id="rId57" Type="http://schemas.openxmlformats.org/officeDocument/2006/relationships/tags" Target="../tags/tag399.xml"/><Relationship Id="rId61" Type="http://schemas.openxmlformats.org/officeDocument/2006/relationships/tags" Target="../tags/tag403.xml"/><Relationship Id="rId10" Type="http://schemas.openxmlformats.org/officeDocument/2006/relationships/tags" Target="../tags/tag352.xml"/><Relationship Id="rId19" Type="http://schemas.openxmlformats.org/officeDocument/2006/relationships/tags" Target="../tags/tag361.xml"/><Relationship Id="rId31" Type="http://schemas.openxmlformats.org/officeDocument/2006/relationships/tags" Target="../tags/tag373.xml"/><Relationship Id="rId44" Type="http://schemas.openxmlformats.org/officeDocument/2006/relationships/tags" Target="../tags/tag386.xml"/><Relationship Id="rId52" Type="http://schemas.openxmlformats.org/officeDocument/2006/relationships/tags" Target="../tags/tag394.xml"/><Relationship Id="rId60" Type="http://schemas.openxmlformats.org/officeDocument/2006/relationships/tags" Target="../tags/tag402.xml"/><Relationship Id="rId65" Type="http://schemas.openxmlformats.org/officeDocument/2006/relationships/tags" Target="../tags/tag407.xml"/><Relationship Id="rId4" Type="http://schemas.openxmlformats.org/officeDocument/2006/relationships/tags" Target="../tags/tag346.xml"/><Relationship Id="rId9" Type="http://schemas.openxmlformats.org/officeDocument/2006/relationships/tags" Target="../tags/tag351.xml"/><Relationship Id="rId14" Type="http://schemas.openxmlformats.org/officeDocument/2006/relationships/tags" Target="../tags/tag356.xml"/><Relationship Id="rId22" Type="http://schemas.openxmlformats.org/officeDocument/2006/relationships/tags" Target="../tags/tag364.xml"/><Relationship Id="rId27" Type="http://schemas.openxmlformats.org/officeDocument/2006/relationships/tags" Target="../tags/tag369.xml"/><Relationship Id="rId30" Type="http://schemas.openxmlformats.org/officeDocument/2006/relationships/tags" Target="../tags/tag372.xml"/><Relationship Id="rId35" Type="http://schemas.openxmlformats.org/officeDocument/2006/relationships/tags" Target="../tags/tag377.xml"/><Relationship Id="rId43" Type="http://schemas.openxmlformats.org/officeDocument/2006/relationships/tags" Target="../tags/tag385.xml"/><Relationship Id="rId48" Type="http://schemas.openxmlformats.org/officeDocument/2006/relationships/tags" Target="../tags/tag390.xml"/><Relationship Id="rId56" Type="http://schemas.openxmlformats.org/officeDocument/2006/relationships/tags" Target="../tags/tag398.xml"/><Relationship Id="rId64" Type="http://schemas.openxmlformats.org/officeDocument/2006/relationships/tags" Target="../tags/tag406.xml"/><Relationship Id="rId69" Type="http://schemas.openxmlformats.org/officeDocument/2006/relationships/tags" Target="../tags/tag411.xml"/><Relationship Id="rId8" Type="http://schemas.openxmlformats.org/officeDocument/2006/relationships/tags" Target="../tags/tag350.xml"/><Relationship Id="rId51" Type="http://schemas.openxmlformats.org/officeDocument/2006/relationships/tags" Target="../tags/tag393.xml"/><Relationship Id="rId72" Type="http://schemas.openxmlformats.org/officeDocument/2006/relationships/slideLayout" Target="../slideLayouts/slideLayout20.xml"/><Relationship Id="rId3" Type="http://schemas.openxmlformats.org/officeDocument/2006/relationships/tags" Target="../tags/tag345.xml"/><Relationship Id="rId12" Type="http://schemas.openxmlformats.org/officeDocument/2006/relationships/tags" Target="../tags/tag354.xml"/><Relationship Id="rId17" Type="http://schemas.openxmlformats.org/officeDocument/2006/relationships/tags" Target="../tags/tag359.xml"/><Relationship Id="rId25" Type="http://schemas.openxmlformats.org/officeDocument/2006/relationships/tags" Target="../tags/tag367.xml"/><Relationship Id="rId33" Type="http://schemas.openxmlformats.org/officeDocument/2006/relationships/tags" Target="../tags/tag375.xml"/><Relationship Id="rId38" Type="http://schemas.openxmlformats.org/officeDocument/2006/relationships/tags" Target="../tags/tag380.xml"/><Relationship Id="rId46" Type="http://schemas.openxmlformats.org/officeDocument/2006/relationships/tags" Target="../tags/tag388.xml"/><Relationship Id="rId59" Type="http://schemas.openxmlformats.org/officeDocument/2006/relationships/tags" Target="../tags/tag401.xml"/><Relationship Id="rId67" Type="http://schemas.openxmlformats.org/officeDocument/2006/relationships/tags" Target="../tags/tag409.xml"/><Relationship Id="rId20" Type="http://schemas.openxmlformats.org/officeDocument/2006/relationships/tags" Target="../tags/tag362.xml"/><Relationship Id="rId41" Type="http://schemas.openxmlformats.org/officeDocument/2006/relationships/tags" Target="../tags/tag383.xml"/><Relationship Id="rId54" Type="http://schemas.openxmlformats.org/officeDocument/2006/relationships/tags" Target="../tags/tag396.xml"/><Relationship Id="rId62" Type="http://schemas.openxmlformats.org/officeDocument/2006/relationships/tags" Target="../tags/tag404.xml"/><Relationship Id="rId70" Type="http://schemas.openxmlformats.org/officeDocument/2006/relationships/tags" Target="../tags/tag412.xml"/></Relationships>
</file>

<file path=ppt/slides/_rels/slide16.xml.rels><?xml version="1.0" encoding="UTF-8" standalone="yes"?>
<Relationships xmlns="http://schemas.openxmlformats.org/package/2006/relationships"><Relationship Id="rId13" Type="http://schemas.openxmlformats.org/officeDocument/2006/relationships/tags" Target="../tags/tag426.xml"/><Relationship Id="rId18" Type="http://schemas.openxmlformats.org/officeDocument/2006/relationships/tags" Target="../tags/tag431.xml"/><Relationship Id="rId26" Type="http://schemas.openxmlformats.org/officeDocument/2006/relationships/tags" Target="../tags/tag439.xml"/><Relationship Id="rId39" Type="http://schemas.openxmlformats.org/officeDocument/2006/relationships/tags" Target="../tags/tag452.xml"/><Relationship Id="rId21" Type="http://schemas.openxmlformats.org/officeDocument/2006/relationships/tags" Target="../tags/tag434.xml"/><Relationship Id="rId34" Type="http://schemas.openxmlformats.org/officeDocument/2006/relationships/tags" Target="../tags/tag447.xml"/><Relationship Id="rId42" Type="http://schemas.openxmlformats.org/officeDocument/2006/relationships/tags" Target="../tags/tag455.xml"/><Relationship Id="rId47" Type="http://schemas.openxmlformats.org/officeDocument/2006/relationships/tags" Target="../tags/tag460.xml"/><Relationship Id="rId50" Type="http://schemas.openxmlformats.org/officeDocument/2006/relationships/tags" Target="../tags/tag463.xml"/><Relationship Id="rId55" Type="http://schemas.openxmlformats.org/officeDocument/2006/relationships/tags" Target="../tags/tag468.xml"/><Relationship Id="rId63" Type="http://schemas.openxmlformats.org/officeDocument/2006/relationships/tags" Target="../tags/tag476.xml"/><Relationship Id="rId7" Type="http://schemas.openxmlformats.org/officeDocument/2006/relationships/tags" Target="../tags/tag420.xml"/><Relationship Id="rId2" Type="http://schemas.openxmlformats.org/officeDocument/2006/relationships/tags" Target="../tags/tag415.xml"/><Relationship Id="rId16" Type="http://schemas.openxmlformats.org/officeDocument/2006/relationships/tags" Target="../tags/tag429.xml"/><Relationship Id="rId20" Type="http://schemas.openxmlformats.org/officeDocument/2006/relationships/tags" Target="../tags/tag433.xml"/><Relationship Id="rId29" Type="http://schemas.openxmlformats.org/officeDocument/2006/relationships/tags" Target="../tags/tag442.xml"/><Relationship Id="rId41" Type="http://schemas.openxmlformats.org/officeDocument/2006/relationships/tags" Target="../tags/tag454.xml"/><Relationship Id="rId54" Type="http://schemas.openxmlformats.org/officeDocument/2006/relationships/tags" Target="../tags/tag467.xml"/><Relationship Id="rId62" Type="http://schemas.openxmlformats.org/officeDocument/2006/relationships/tags" Target="../tags/tag475.xml"/><Relationship Id="rId1" Type="http://schemas.openxmlformats.org/officeDocument/2006/relationships/tags" Target="../tags/tag414.xml"/><Relationship Id="rId6" Type="http://schemas.openxmlformats.org/officeDocument/2006/relationships/tags" Target="../tags/tag419.xml"/><Relationship Id="rId11" Type="http://schemas.openxmlformats.org/officeDocument/2006/relationships/tags" Target="../tags/tag424.xml"/><Relationship Id="rId24" Type="http://schemas.openxmlformats.org/officeDocument/2006/relationships/tags" Target="../tags/tag437.xml"/><Relationship Id="rId32" Type="http://schemas.openxmlformats.org/officeDocument/2006/relationships/tags" Target="../tags/tag445.xml"/><Relationship Id="rId37" Type="http://schemas.openxmlformats.org/officeDocument/2006/relationships/tags" Target="../tags/tag450.xml"/><Relationship Id="rId40" Type="http://schemas.openxmlformats.org/officeDocument/2006/relationships/tags" Target="../tags/tag453.xml"/><Relationship Id="rId45" Type="http://schemas.openxmlformats.org/officeDocument/2006/relationships/tags" Target="../tags/tag458.xml"/><Relationship Id="rId53" Type="http://schemas.openxmlformats.org/officeDocument/2006/relationships/tags" Target="../tags/tag466.xml"/><Relationship Id="rId58" Type="http://schemas.openxmlformats.org/officeDocument/2006/relationships/tags" Target="../tags/tag471.xml"/><Relationship Id="rId66" Type="http://schemas.openxmlformats.org/officeDocument/2006/relationships/slideLayout" Target="../slideLayouts/slideLayout20.xml"/><Relationship Id="rId5" Type="http://schemas.openxmlformats.org/officeDocument/2006/relationships/tags" Target="../tags/tag418.xml"/><Relationship Id="rId15" Type="http://schemas.openxmlformats.org/officeDocument/2006/relationships/tags" Target="../tags/tag428.xml"/><Relationship Id="rId23" Type="http://schemas.openxmlformats.org/officeDocument/2006/relationships/tags" Target="../tags/tag436.xml"/><Relationship Id="rId28" Type="http://schemas.openxmlformats.org/officeDocument/2006/relationships/tags" Target="../tags/tag441.xml"/><Relationship Id="rId36" Type="http://schemas.openxmlformats.org/officeDocument/2006/relationships/tags" Target="../tags/tag449.xml"/><Relationship Id="rId49" Type="http://schemas.openxmlformats.org/officeDocument/2006/relationships/tags" Target="../tags/tag462.xml"/><Relationship Id="rId57" Type="http://schemas.openxmlformats.org/officeDocument/2006/relationships/tags" Target="../tags/tag470.xml"/><Relationship Id="rId61" Type="http://schemas.openxmlformats.org/officeDocument/2006/relationships/tags" Target="../tags/tag474.xml"/><Relationship Id="rId10" Type="http://schemas.openxmlformats.org/officeDocument/2006/relationships/tags" Target="../tags/tag423.xml"/><Relationship Id="rId19" Type="http://schemas.openxmlformats.org/officeDocument/2006/relationships/tags" Target="../tags/tag432.xml"/><Relationship Id="rId31" Type="http://schemas.openxmlformats.org/officeDocument/2006/relationships/tags" Target="../tags/tag444.xml"/><Relationship Id="rId44" Type="http://schemas.openxmlformats.org/officeDocument/2006/relationships/tags" Target="../tags/tag457.xml"/><Relationship Id="rId52" Type="http://schemas.openxmlformats.org/officeDocument/2006/relationships/tags" Target="../tags/tag465.xml"/><Relationship Id="rId60" Type="http://schemas.openxmlformats.org/officeDocument/2006/relationships/tags" Target="../tags/tag473.xml"/><Relationship Id="rId65" Type="http://schemas.openxmlformats.org/officeDocument/2006/relationships/tags" Target="../tags/tag478.xml"/><Relationship Id="rId4" Type="http://schemas.openxmlformats.org/officeDocument/2006/relationships/tags" Target="../tags/tag417.xml"/><Relationship Id="rId9" Type="http://schemas.openxmlformats.org/officeDocument/2006/relationships/tags" Target="../tags/tag422.xml"/><Relationship Id="rId14" Type="http://schemas.openxmlformats.org/officeDocument/2006/relationships/tags" Target="../tags/tag427.xml"/><Relationship Id="rId22" Type="http://schemas.openxmlformats.org/officeDocument/2006/relationships/tags" Target="../tags/tag435.xml"/><Relationship Id="rId27" Type="http://schemas.openxmlformats.org/officeDocument/2006/relationships/tags" Target="../tags/tag440.xml"/><Relationship Id="rId30" Type="http://schemas.openxmlformats.org/officeDocument/2006/relationships/tags" Target="../tags/tag443.xml"/><Relationship Id="rId35" Type="http://schemas.openxmlformats.org/officeDocument/2006/relationships/tags" Target="../tags/tag448.xml"/><Relationship Id="rId43" Type="http://schemas.openxmlformats.org/officeDocument/2006/relationships/tags" Target="../tags/tag456.xml"/><Relationship Id="rId48" Type="http://schemas.openxmlformats.org/officeDocument/2006/relationships/tags" Target="../tags/tag461.xml"/><Relationship Id="rId56" Type="http://schemas.openxmlformats.org/officeDocument/2006/relationships/tags" Target="../tags/tag469.xml"/><Relationship Id="rId64" Type="http://schemas.openxmlformats.org/officeDocument/2006/relationships/tags" Target="../tags/tag477.xml"/><Relationship Id="rId8" Type="http://schemas.openxmlformats.org/officeDocument/2006/relationships/tags" Target="../tags/tag421.xml"/><Relationship Id="rId51" Type="http://schemas.openxmlformats.org/officeDocument/2006/relationships/tags" Target="../tags/tag464.xml"/><Relationship Id="rId3" Type="http://schemas.openxmlformats.org/officeDocument/2006/relationships/tags" Target="../tags/tag416.xml"/><Relationship Id="rId12" Type="http://schemas.openxmlformats.org/officeDocument/2006/relationships/tags" Target="../tags/tag425.xml"/><Relationship Id="rId17" Type="http://schemas.openxmlformats.org/officeDocument/2006/relationships/tags" Target="../tags/tag430.xml"/><Relationship Id="rId25" Type="http://schemas.openxmlformats.org/officeDocument/2006/relationships/tags" Target="../tags/tag438.xml"/><Relationship Id="rId33" Type="http://schemas.openxmlformats.org/officeDocument/2006/relationships/tags" Target="../tags/tag446.xml"/><Relationship Id="rId38" Type="http://schemas.openxmlformats.org/officeDocument/2006/relationships/tags" Target="../tags/tag451.xml"/><Relationship Id="rId46" Type="http://schemas.openxmlformats.org/officeDocument/2006/relationships/tags" Target="../tags/tag459.xml"/><Relationship Id="rId59" Type="http://schemas.openxmlformats.org/officeDocument/2006/relationships/tags" Target="../tags/tag472.xml"/></Relationships>
</file>

<file path=ppt/slides/_rels/slide17.xml.rels><?xml version="1.0" encoding="UTF-8" standalone="yes"?>
<Relationships xmlns="http://schemas.openxmlformats.org/package/2006/relationships"><Relationship Id="rId8" Type="http://schemas.openxmlformats.org/officeDocument/2006/relationships/tags" Target="../tags/tag486.xml"/><Relationship Id="rId13" Type="http://schemas.openxmlformats.org/officeDocument/2006/relationships/tags" Target="../tags/tag491.xml"/><Relationship Id="rId18" Type="http://schemas.openxmlformats.org/officeDocument/2006/relationships/tags" Target="../tags/tag496.xml"/><Relationship Id="rId26" Type="http://schemas.openxmlformats.org/officeDocument/2006/relationships/tags" Target="../tags/tag504.xml"/><Relationship Id="rId39" Type="http://schemas.openxmlformats.org/officeDocument/2006/relationships/tags" Target="../tags/tag517.xml"/><Relationship Id="rId3" Type="http://schemas.openxmlformats.org/officeDocument/2006/relationships/tags" Target="../tags/tag481.xml"/><Relationship Id="rId21" Type="http://schemas.openxmlformats.org/officeDocument/2006/relationships/tags" Target="../tags/tag499.xml"/><Relationship Id="rId34" Type="http://schemas.openxmlformats.org/officeDocument/2006/relationships/tags" Target="../tags/tag512.xml"/><Relationship Id="rId42" Type="http://schemas.openxmlformats.org/officeDocument/2006/relationships/tags" Target="../tags/tag520.xml"/><Relationship Id="rId47" Type="http://schemas.openxmlformats.org/officeDocument/2006/relationships/tags" Target="../tags/tag525.xml"/><Relationship Id="rId7" Type="http://schemas.openxmlformats.org/officeDocument/2006/relationships/tags" Target="../tags/tag485.xml"/><Relationship Id="rId12" Type="http://schemas.openxmlformats.org/officeDocument/2006/relationships/tags" Target="../tags/tag490.xml"/><Relationship Id="rId17" Type="http://schemas.openxmlformats.org/officeDocument/2006/relationships/tags" Target="../tags/tag495.xml"/><Relationship Id="rId25" Type="http://schemas.openxmlformats.org/officeDocument/2006/relationships/tags" Target="../tags/tag503.xml"/><Relationship Id="rId33" Type="http://schemas.openxmlformats.org/officeDocument/2006/relationships/tags" Target="../tags/tag511.xml"/><Relationship Id="rId38" Type="http://schemas.openxmlformats.org/officeDocument/2006/relationships/tags" Target="../tags/tag516.xml"/><Relationship Id="rId46" Type="http://schemas.openxmlformats.org/officeDocument/2006/relationships/tags" Target="../tags/tag524.xml"/><Relationship Id="rId2" Type="http://schemas.openxmlformats.org/officeDocument/2006/relationships/tags" Target="../tags/tag480.xml"/><Relationship Id="rId16" Type="http://schemas.openxmlformats.org/officeDocument/2006/relationships/tags" Target="../tags/tag494.xml"/><Relationship Id="rId20" Type="http://schemas.openxmlformats.org/officeDocument/2006/relationships/tags" Target="../tags/tag498.xml"/><Relationship Id="rId29" Type="http://schemas.openxmlformats.org/officeDocument/2006/relationships/tags" Target="../tags/tag507.xml"/><Relationship Id="rId41" Type="http://schemas.openxmlformats.org/officeDocument/2006/relationships/tags" Target="../tags/tag519.xml"/><Relationship Id="rId1" Type="http://schemas.openxmlformats.org/officeDocument/2006/relationships/tags" Target="../tags/tag479.xml"/><Relationship Id="rId6" Type="http://schemas.openxmlformats.org/officeDocument/2006/relationships/tags" Target="../tags/tag484.xml"/><Relationship Id="rId11" Type="http://schemas.openxmlformats.org/officeDocument/2006/relationships/tags" Target="../tags/tag489.xml"/><Relationship Id="rId24" Type="http://schemas.openxmlformats.org/officeDocument/2006/relationships/tags" Target="../tags/tag502.xml"/><Relationship Id="rId32" Type="http://schemas.openxmlformats.org/officeDocument/2006/relationships/tags" Target="../tags/tag510.xml"/><Relationship Id="rId37" Type="http://schemas.openxmlformats.org/officeDocument/2006/relationships/tags" Target="../tags/tag515.xml"/><Relationship Id="rId40" Type="http://schemas.openxmlformats.org/officeDocument/2006/relationships/tags" Target="../tags/tag518.xml"/><Relationship Id="rId45" Type="http://schemas.openxmlformats.org/officeDocument/2006/relationships/tags" Target="../tags/tag523.xml"/><Relationship Id="rId5" Type="http://schemas.openxmlformats.org/officeDocument/2006/relationships/tags" Target="../tags/tag483.xml"/><Relationship Id="rId15" Type="http://schemas.openxmlformats.org/officeDocument/2006/relationships/tags" Target="../tags/tag493.xml"/><Relationship Id="rId23" Type="http://schemas.openxmlformats.org/officeDocument/2006/relationships/tags" Target="../tags/tag501.xml"/><Relationship Id="rId28" Type="http://schemas.openxmlformats.org/officeDocument/2006/relationships/tags" Target="../tags/tag506.xml"/><Relationship Id="rId36" Type="http://schemas.openxmlformats.org/officeDocument/2006/relationships/tags" Target="../tags/tag514.xml"/><Relationship Id="rId10" Type="http://schemas.openxmlformats.org/officeDocument/2006/relationships/tags" Target="../tags/tag488.xml"/><Relationship Id="rId19" Type="http://schemas.openxmlformats.org/officeDocument/2006/relationships/tags" Target="../tags/tag497.xml"/><Relationship Id="rId31" Type="http://schemas.openxmlformats.org/officeDocument/2006/relationships/tags" Target="../tags/tag509.xml"/><Relationship Id="rId44" Type="http://schemas.openxmlformats.org/officeDocument/2006/relationships/tags" Target="../tags/tag522.xml"/><Relationship Id="rId4" Type="http://schemas.openxmlformats.org/officeDocument/2006/relationships/tags" Target="../tags/tag482.xml"/><Relationship Id="rId9" Type="http://schemas.openxmlformats.org/officeDocument/2006/relationships/tags" Target="../tags/tag487.xml"/><Relationship Id="rId14" Type="http://schemas.openxmlformats.org/officeDocument/2006/relationships/tags" Target="../tags/tag492.xml"/><Relationship Id="rId22" Type="http://schemas.openxmlformats.org/officeDocument/2006/relationships/tags" Target="../tags/tag500.xml"/><Relationship Id="rId27" Type="http://schemas.openxmlformats.org/officeDocument/2006/relationships/tags" Target="../tags/tag505.xml"/><Relationship Id="rId30" Type="http://schemas.openxmlformats.org/officeDocument/2006/relationships/tags" Target="../tags/tag508.xml"/><Relationship Id="rId35" Type="http://schemas.openxmlformats.org/officeDocument/2006/relationships/tags" Target="../tags/tag513.xml"/><Relationship Id="rId43" Type="http://schemas.openxmlformats.org/officeDocument/2006/relationships/tags" Target="../tags/tag521.xml"/><Relationship Id="rId48"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tags" Target="../tags/tag533.xml"/><Relationship Id="rId13" Type="http://schemas.openxmlformats.org/officeDocument/2006/relationships/tags" Target="../tags/tag538.xml"/><Relationship Id="rId18" Type="http://schemas.openxmlformats.org/officeDocument/2006/relationships/tags" Target="../tags/tag543.xml"/><Relationship Id="rId26" Type="http://schemas.openxmlformats.org/officeDocument/2006/relationships/tags" Target="../tags/tag551.xml"/><Relationship Id="rId3" Type="http://schemas.openxmlformats.org/officeDocument/2006/relationships/tags" Target="../tags/tag528.xml"/><Relationship Id="rId21" Type="http://schemas.openxmlformats.org/officeDocument/2006/relationships/tags" Target="../tags/tag546.xml"/><Relationship Id="rId34" Type="http://schemas.openxmlformats.org/officeDocument/2006/relationships/slideLayout" Target="../slideLayouts/slideLayout20.xml"/><Relationship Id="rId7" Type="http://schemas.openxmlformats.org/officeDocument/2006/relationships/tags" Target="../tags/tag532.xml"/><Relationship Id="rId12" Type="http://schemas.openxmlformats.org/officeDocument/2006/relationships/tags" Target="../tags/tag537.xml"/><Relationship Id="rId17" Type="http://schemas.openxmlformats.org/officeDocument/2006/relationships/tags" Target="../tags/tag542.xml"/><Relationship Id="rId25" Type="http://schemas.openxmlformats.org/officeDocument/2006/relationships/tags" Target="../tags/tag550.xml"/><Relationship Id="rId33" Type="http://schemas.openxmlformats.org/officeDocument/2006/relationships/tags" Target="../tags/tag558.xml"/><Relationship Id="rId2" Type="http://schemas.openxmlformats.org/officeDocument/2006/relationships/tags" Target="../tags/tag527.xml"/><Relationship Id="rId16" Type="http://schemas.openxmlformats.org/officeDocument/2006/relationships/tags" Target="../tags/tag541.xml"/><Relationship Id="rId20" Type="http://schemas.openxmlformats.org/officeDocument/2006/relationships/tags" Target="../tags/tag545.xml"/><Relationship Id="rId29" Type="http://schemas.openxmlformats.org/officeDocument/2006/relationships/tags" Target="../tags/tag554.xml"/><Relationship Id="rId1" Type="http://schemas.openxmlformats.org/officeDocument/2006/relationships/tags" Target="../tags/tag526.xml"/><Relationship Id="rId6" Type="http://schemas.openxmlformats.org/officeDocument/2006/relationships/tags" Target="../tags/tag531.xml"/><Relationship Id="rId11" Type="http://schemas.openxmlformats.org/officeDocument/2006/relationships/tags" Target="../tags/tag536.xml"/><Relationship Id="rId24" Type="http://schemas.openxmlformats.org/officeDocument/2006/relationships/tags" Target="../tags/tag549.xml"/><Relationship Id="rId32" Type="http://schemas.openxmlformats.org/officeDocument/2006/relationships/tags" Target="../tags/tag557.xml"/><Relationship Id="rId5" Type="http://schemas.openxmlformats.org/officeDocument/2006/relationships/tags" Target="../tags/tag530.xml"/><Relationship Id="rId15" Type="http://schemas.openxmlformats.org/officeDocument/2006/relationships/tags" Target="../tags/tag540.xml"/><Relationship Id="rId23" Type="http://schemas.openxmlformats.org/officeDocument/2006/relationships/tags" Target="../tags/tag548.xml"/><Relationship Id="rId28" Type="http://schemas.openxmlformats.org/officeDocument/2006/relationships/tags" Target="../tags/tag553.xml"/><Relationship Id="rId10" Type="http://schemas.openxmlformats.org/officeDocument/2006/relationships/tags" Target="../tags/tag535.xml"/><Relationship Id="rId19" Type="http://schemas.openxmlformats.org/officeDocument/2006/relationships/tags" Target="../tags/tag544.xml"/><Relationship Id="rId31" Type="http://schemas.openxmlformats.org/officeDocument/2006/relationships/tags" Target="../tags/tag556.xml"/><Relationship Id="rId4" Type="http://schemas.openxmlformats.org/officeDocument/2006/relationships/tags" Target="../tags/tag529.xml"/><Relationship Id="rId9" Type="http://schemas.openxmlformats.org/officeDocument/2006/relationships/tags" Target="../tags/tag534.xml"/><Relationship Id="rId14" Type="http://schemas.openxmlformats.org/officeDocument/2006/relationships/tags" Target="../tags/tag539.xml"/><Relationship Id="rId22" Type="http://schemas.openxmlformats.org/officeDocument/2006/relationships/tags" Target="../tags/tag547.xml"/><Relationship Id="rId27" Type="http://schemas.openxmlformats.org/officeDocument/2006/relationships/tags" Target="../tags/tag552.xml"/><Relationship Id="rId30" Type="http://schemas.openxmlformats.org/officeDocument/2006/relationships/tags" Target="../tags/tag555.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8.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3" Type="http://schemas.openxmlformats.org/officeDocument/2006/relationships/tags" Target="../tags/tag571.xml"/><Relationship Id="rId18" Type="http://schemas.openxmlformats.org/officeDocument/2006/relationships/tags" Target="../tags/tag576.xml"/><Relationship Id="rId26" Type="http://schemas.openxmlformats.org/officeDocument/2006/relationships/tags" Target="../tags/tag584.xml"/><Relationship Id="rId39" Type="http://schemas.openxmlformats.org/officeDocument/2006/relationships/tags" Target="../tags/tag597.xml"/><Relationship Id="rId21" Type="http://schemas.openxmlformats.org/officeDocument/2006/relationships/tags" Target="../tags/tag579.xml"/><Relationship Id="rId34" Type="http://schemas.openxmlformats.org/officeDocument/2006/relationships/tags" Target="../tags/tag592.xml"/><Relationship Id="rId42" Type="http://schemas.openxmlformats.org/officeDocument/2006/relationships/tags" Target="../tags/tag600.xml"/><Relationship Id="rId47" Type="http://schemas.openxmlformats.org/officeDocument/2006/relationships/tags" Target="../tags/tag605.xml"/><Relationship Id="rId50" Type="http://schemas.openxmlformats.org/officeDocument/2006/relationships/tags" Target="../tags/tag608.xml"/><Relationship Id="rId55" Type="http://schemas.openxmlformats.org/officeDocument/2006/relationships/tags" Target="../tags/tag613.xml"/><Relationship Id="rId63" Type="http://schemas.openxmlformats.org/officeDocument/2006/relationships/tags" Target="../tags/tag621.xml"/><Relationship Id="rId68" Type="http://schemas.openxmlformats.org/officeDocument/2006/relationships/tags" Target="../tags/tag626.xml"/><Relationship Id="rId76" Type="http://schemas.openxmlformats.org/officeDocument/2006/relationships/tags" Target="../tags/tag634.xml"/><Relationship Id="rId84" Type="http://schemas.openxmlformats.org/officeDocument/2006/relationships/tags" Target="../tags/tag642.xml"/><Relationship Id="rId7" Type="http://schemas.openxmlformats.org/officeDocument/2006/relationships/tags" Target="../tags/tag565.xml"/><Relationship Id="rId71" Type="http://schemas.openxmlformats.org/officeDocument/2006/relationships/tags" Target="../tags/tag629.xml"/><Relationship Id="rId2" Type="http://schemas.openxmlformats.org/officeDocument/2006/relationships/tags" Target="../tags/tag560.xml"/><Relationship Id="rId16" Type="http://schemas.openxmlformats.org/officeDocument/2006/relationships/tags" Target="../tags/tag574.xml"/><Relationship Id="rId29" Type="http://schemas.openxmlformats.org/officeDocument/2006/relationships/tags" Target="../tags/tag587.xml"/><Relationship Id="rId11" Type="http://schemas.openxmlformats.org/officeDocument/2006/relationships/tags" Target="../tags/tag569.xml"/><Relationship Id="rId24" Type="http://schemas.openxmlformats.org/officeDocument/2006/relationships/tags" Target="../tags/tag582.xml"/><Relationship Id="rId32" Type="http://schemas.openxmlformats.org/officeDocument/2006/relationships/tags" Target="../tags/tag590.xml"/><Relationship Id="rId37" Type="http://schemas.openxmlformats.org/officeDocument/2006/relationships/tags" Target="../tags/tag595.xml"/><Relationship Id="rId40" Type="http://schemas.openxmlformats.org/officeDocument/2006/relationships/tags" Target="../tags/tag598.xml"/><Relationship Id="rId45" Type="http://schemas.openxmlformats.org/officeDocument/2006/relationships/tags" Target="../tags/tag603.xml"/><Relationship Id="rId53" Type="http://schemas.openxmlformats.org/officeDocument/2006/relationships/tags" Target="../tags/tag611.xml"/><Relationship Id="rId58" Type="http://schemas.openxmlformats.org/officeDocument/2006/relationships/tags" Target="../tags/tag616.xml"/><Relationship Id="rId66" Type="http://schemas.openxmlformats.org/officeDocument/2006/relationships/tags" Target="../tags/tag624.xml"/><Relationship Id="rId74" Type="http://schemas.openxmlformats.org/officeDocument/2006/relationships/tags" Target="../tags/tag632.xml"/><Relationship Id="rId79" Type="http://schemas.openxmlformats.org/officeDocument/2006/relationships/tags" Target="../tags/tag637.xml"/><Relationship Id="rId5" Type="http://schemas.openxmlformats.org/officeDocument/2006/relationships/tags" Target="../tags/tag563.xml"/><Relationship Id="rId61" Type="http://schemas.openxmlformats.org/officeDocument/2006/relationships/tags" Target="../tags/tag619.xml"/><Relationship Id="rId82" Type="http://schemas.openxmlformats.org/officeDocument/2006/relationships/tags" Target="../tags/tag640.xml"/><Relationship Id="rId19" Type="http://schemas.openxmlformats.org/officeDocument/2006/relationships/tags" Target="../tags/tag577.xml"/><Relationship Id="rId4" Type="http://schemas.openxmlformats.org/officeDocument/2006/relationships/tags" Target="../tags/tag562.xml"/><Relationship Id="rId9" Type="http://schemas.openxmlformats.org/officeDocument/2006/relationships/tags" Target="../tags/tag567.xml"/><Relationship Id="rId14" Type="http://schemas.openxmlformats.org/officeDocument/2006/relationships/tags" Target="../tags/tag572.xml"/><Relationship Id="rId22" Type="http://schemas.openxmlformats.org/officeDocument/2006/relationships/tags" Target="../tags/tag580.xml"/><Relationship Id="rId27" Type="http://schemas.openxmlformats.org/officeDocument/2006/relationships/tags" Target="../tags/tag585.xml"/><Relationship Id="rId30" Type="http://schemas.openxmlformats.org/officeDocument/2006/relationships/tags" Target="../tags/tag588.xml"/><Relationship Id="rId35" Type="http://schemas.openxmlformats.org/officeDocument/2006/relationships/tags" Target="../tags/tag593.xml"/><Relationship Id="rId43" Type="http://schemas.openxmlformats.org/officeDocument/2006/relationships/tags" Target="../tags/tag601.xml"/><Relationship Id="rId48" Type="http://schemas.openxmlformats.org/officeDocument/2006/relationships/tags" Target="../tags/tag606.xml"/><Relationship Id="rId56" Type="http://schemas.openxmlformats.org/officeDocument/2006/relationships/tags" Target="../tags/tag614.xml"/><Relationship Id="rId64" Type="http://schemas.openxmlformats.org/officeDocument/2006/relationships/tags" Target="../tags/tag622.xml"/><Relationship Id="rId69" Type="http://schemas.openxmlformats.org/officeDocument/2006/relationships/tags" Target="../tags/tag627.xml"/><Relationship Id="rId77" Type="http://schemas.openxmlformats.org/officeDocument/2006/relationships/tags" Target="../tags/tag635.xml"/><Relationship Id="rId8" Type="http://schemas.openxmlformats.org/officeDocument/2006/relationships/tags" Target="../tags/tag566.xml"/><Relationship Id="rId51" Type="http://schemas.openxmlformats.org/officeDocument/2006/relationships/tags" Target="../tags/tag609.xml"/><Relationship Id="rId72" Type="http://schemas.openxmlformats.org/officeDocument/2006/relationships/tags" Target="../tags/tag630.xml"/><Relationship Id="rId80" Type="http://schemas.openxmlformats.org/officeDocument/2006/relationships/tags" Target="../tags/tag638.xml"/><Relationship Id="rId85" Type="http://schemas.openxmlformats.org/officeDocument/2006/relationships/slideLayout" Target="../slideLayouts/slideLayout15.xml"/><Relationship Id="rId3" Type="http://schemas.openxmlformats.org/officeDocument/2006/relationships/tags" Target="../tags/tag561.xml"/><Relationship Id="rId12" Type="http://schemas.openxmlformats.org/officeDocument/2006/relationships/tags" Target="../tags/tag570.xml"/><Relationship Id="rId17" Type="http://schemas.openxmlformats.org/officeDocument/2006/relationships/tags" Target="../tags/tag575.xml"/><Relationship Id="rId25" Type="http://schemas.openxmlformats.org/officeDocument/2006/relationships/tags" Target="../tags/tag583.xml"/><Relationship Id="rId33" Type="http://schemas.openxmlformats.org/officeDocument/2006/relationships/tags" Target="../tags/tag591.xml"/><Relationship Id="rId38" Type="http://schemas.openxmlformats.org/officeDocument/2006/relationships/tags" Target="../tags/tag596.xml"/><Relationship Id="rId46" Type="http://schemas.openxmlformats.org/officeDocument/2006/relationships/tags" Target="../tags/tag604.xml"/><Relationship Id="rId59" Type="http://schemas.openxmlformats.org/officeDocument/2006/relationships/tags" Target="../tags/tag617.xml"/><Relationship Id="rId67" Type="http://schemas.openxmlformats.org/officeDocument/2006/relationships/tags" Target="../tags/tag625.xml"/><Relationship Id="rId20" Type="http://schemas.openxmlformats.org/officeDocument/2006/relationships/tags" Target="../tags/tag578.xml"/><Relationship Id="rId41" Type="http://schemas.openxmlformats.org/officeDocument/2006/relationships/tags" Target="../tags/tag599.xml"/><Relationship Id="rId54" Type="http://schemas.openxmlformats.org/officeDocument/2006/relationships/tags" Target="../tags/tag612.xml"/><Relationship Id="rId62" Type="http://schemas.openxmlformats.org/officeDocument/2006/relationships/tags" Target="../tags/tag620.xml"/><Relationship Id="rId70" Type="http://schemas.openxmlformats.org/officeDocument/2006/relationships/tags" Target="../tags/tag628.xml"/><Relationship Id="rId75" Type="http://schemas.openxmlformats.org/officeDocument/2006/relationships/tags" Target="../tags/tag633.xml"/><Relationship Id="rId83" Type="http://schemas.openxmlformats.org/officeDocument/2006/relationships/tags" Target="../tags/tag641.xml"/><Relationship Id="rId1" Type="http://schemas.openxmlformats.org/officeDocument/2006/relationships/tags" Target="../tags/tag559.xml"/><Relationship Id="rId6" Type="http://schemas.openxmlformats.org/officeDocument/2006/relationships/tags" Target="../tags/tag564.xml"/><Relationship Id="rId15" Type="http://schemas.openxmlformats.org/officeDocument/2006/relationships/tags" Target="../tags/tag573.xml"/><Relationship Id="rId23" Type="http://schemas.openxmlformats.org/officeDocument/2006/relationships/tags" Target="../tags/tag581.xml"/><Relationship Id="rId28" Type="http://schemas.openxmlformats.org/officeDocument/2006/relationships/tags" Target="../tags/tag586.xml"/><Relationship Id="rId36" Type="http://schemas.openxmlformats.org/officeDocument/2006/relationships/tags" Target="../tags/tag594.xml"/><Relationship Id="rId49" Type="http://schemas.openxmlformats.org/officeDocument/2006/relationships/tags" Target="../tags/tag607.xml"/><Relationship Id="rId57" Type="http://schemas.openxmlformats.org/officeDocument/2006/relationships/tags" Target="../tags/tag615.xml"/><Relationship Id="rId10" Type="http://schemas.openxmlformats.org/officeDocument/2006/relationships/tags" Target="../tags/tag568.xml"/><Relationship Id="rId31" Type="http://schemas.openxmlformats.org/officeDocument/2006/relationships/tags" Target="../tags/tag589.xml"/><Relationship Id="rId44" Type="http://schemas.openxmlformats.org/officeDocument/2006/relationships/tags" Target="../tags/tag602.xml"/><Relationship Id="rId52" Type="http://schemas.openxmlformats.org/officeDocument/2006/relationships/tags" Target="../tags/tag610.xml"/><Relationship Id="rId60" Type="http://schemas.openxmlformats.org/officeDocument/2006/relationships/tags" Target="../tags/tag618.xml"/><Relationship Id="rId65" Type="http://schemas.openxmlformats.org/officeDocument/2006/relationships/tags" Target="../tags/tag623.xml"/><Relationship Id="rId73" Type="http://schemas.openxmlformats.org/officeDocument/2006/relationships/tags" Target="../tags/tag631.xml"/><Relationship Id="rId78" Type="http://schemas.openxmlformats.org/officeDocument/2006/relationships/tags" Target="../tags/tag636.xml"/><Relationship Id="rId81" Type="http://schemas.openxmlformats.org/officeDocument/2006/relationships/tags" Target="../tags/tag639.xml"/></Relationships>
</file>

<file path=ppt/slides/_rels/slide2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tags" Target="../tags/tag645.xml"/><Relationship Id="rId7" Type="http://schemas.openxmlformats.org/officeDocument/2006/relationships/tags" Target="../tags/tag649.xml"/><Relationship Id="rId2" Type="http://schemas.openxmlformats.org/officeDocument/2006/relationships/tags" Target="../tags/tag644.xml"/><Relationship Id="rId1" Type="http://schemas.openxmlformats.org/officeDocument/2006/relationships/tags" Target="../tags/tag643.xml"/><Relationship Id="rId6" Type="http://schemas.openxmlformats.org/officeDocument/2006/relationships/tags" Target="../tags/tag648.xml"/><Relationship Id="rId5" Type="http://schemas.openxmlformats.org/officeDocument/2006/relationships/tags" Target="../tags/tag647.xml"/><Relationship Id="rId4" Type="http://schemas.openxmlformats.org/officeDocument/2006/relationships/tags" Target="../tags/tag64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13" Type="http://schemas.openxmlformats.org/officeDocument/2006/relationships/tags" Target="../tags/tag662.xml"/><Relationship Id="rId18" Type="http://schemas.openxmlformats.org/officeDocument/2006/relationships/tags" Target="../tags/tag667.xml"/><Relationship Id="rId26" Type="http://schemas.openxmlformats.org/officeDocument/2006/relationships/tags" Target="../tags/tag675.xml"/><Relationship Id="rId39" Type="http://schemas.openxmlformats.org/officeDocument/2006/relationships/tags" Target="../tags/tag688.xml"/><Relationship Id="rId21" Type="http://schemas.openxmlformats.org/officeDocument/2006/relationships/tags" Target="../tags/tag670.xml"/><Relationship Id="rId34" Type="http://schemas.openxmlformats.org/officeDocument/2006/relationships/tags" Target="../tags/tag683.xml"/><Relationship Id="rId42" Type="http://schemas.openxmlformats.org/officeDocument/2006/relationships/tags" Target="../tags/tag691.xml"/><Relationship Id="rId47" Type="http://schemas.openxmlformats.org/officeDocument/2006/relationships/tags" Target="../tags/tag696.xml"/><Relationship Id="rId50" Type="http://schemas.openxmlformats.org/officeDocument/2006/relationships/tags" Target="../tags/tag699.xml"/><Relationship Id="rId55" Type="http://schemas.openxmlformats.org/officeDocument/2006/relationships/tags" Target="../tags/tag704.xml"/><Relationship Id="rId63" Type="http://schemas.openxmlformats.org/officeDocument/2006/relationships/tags" Target="../tags/tag712.xml"/><Relationship Id="rId7" Type="http://schemas.openxmlformats.org/officeDocument/2006/relationships/tags" Target="../tags/tag656.xml"/><Relationship Id="rId2" Type="http://schemas.openxmlformats.org/officeDocument/2006/relationships/tags" Target="../tags/tag651.xml"/><Relationship Id="rId16" Type="http://schemas.openxmlformats.org/officeDocument/2006/relationships/tags" Target="../tags/tag665.xml"/><Relationship Id="rId20" Type="http://schemas.openxmlformats.org/officeDocument/2006/relationships/tags" Target="../tags/tag669.xml"/><Relationship Id="rId29" Type="http://schemas.openxmlformats.org/officeDocument/2006/relationships/tags" Target="../tags/tag678.xml"/><Relationship Id="rId41" Type="http://schemas.openxmlformats.org/officeDocument/2006/relationships/tags" Target="../tags/tag690.xml"/><Relationship Id="rId54" Type="http://schemas.openxmlformats.org/officeDocument/2006/relationships/tags" Target="../tags/tag703.xml"/><Relationship Id="rId62" Type="http://schemas.openxmlformats.org/officeDocument/2006/relationships/tags" Target="../tags/tag711.xml"/><Relationship Id="rId1" Type="http://schemas.openxmlformats.org/officeDocument/2006/relationships/tags" Target="../tags/tag650.xml"/><Relationship Id="rId6" Type="http://schemas.openxmlformats.org/officeDocument/2006/relationships/tags" Target="../tags/tag655.xml"/><Relationship Id="rId11" Type="http://schemas.openxmlformats.org/officeDocument/2006/relationships/tags" Target="../tags/tag660.xml"/><Relationship Id="rId24" Type="http://schemas.openxmlformats.org/officeDocument/2006/relationships/tags" Target="../tags/tag673.xml"/><Relationship Id="rId32" Type="http://schemas.openxmlformats.org/officeDocument/2006/relationships/tags" Target="../tags/tag681.xml"/><Relationship Id="rId37" Type="http://schemas.openxmlformats.org/officeDocument/2006/relationships/tags" Target="../tags/tag686.xml"/><Relationship Id="rId40" Type="http://schemas.openxmlformats.org/officeDocument/2006/relationships/tags" Target="../tags/tag689.xml"/><Relationship Id="rId45" Type="http://schemas.openxmlformats.org/officeDocument/2006/relationships/tags" Target="../tags/tag694.xml"/><Relationship Id="rId53" Type="http://schemas.openxmlformats.org/officeDocument/2006/relationships/tags" Target="../tags/tag702.xml"/><Relationship Id="rId58" Type="http://schemas.openxmlformats.org/officeDocument/2006/relationships/tags" Target="../tags/tag707.xml"/><Relationship Id="rId5" Type="http://schemas.openxmlformats.org/officeDocument/2006/relationships/tags" Target="../tags/tag654.xml"/><Relationship Id="rId15" Type="http://schemas.openxmlformats.org/officeDocument/2006/relationships/tags" Target="../tags/tag664.xml"/><Relationship Id="rId23" Type="http://schemas.openxmlformats.org/officeDocument/2006/relationships/tags" Target="../tags/tag672.xml"/><Relationship Id="rId28" Type="http://schemas.openxmlformats.org/officeDocument/2006/relationships/tags" Target="../tags/tag677.xml"/><Relationship Id="rId36" Type="http://schemas.openxmlformats.org/officeDocument/2006/relationships/tags" Target="../tags/tag685.xml"/><Relationship Id="rId49" Type="http://schemas.openxmlformats.org/officeDocument/2006/relationships/tags" Target="../tags/tag698.xml"/><Relationship Id="rId57" Type="http://schemas.openxmlformats.org/officeDocument/2006/relationships/tags" Target="../tags/tag706.xml"/><Relationship Id="rId61" Type="http://schemas.openxmlformats.org/officeDocument/2006/relationships/tags" Target="../tags/tag710.xml"/><Relationship Id="rId10" Type="http://schemas.openxmlformats.org/officeDocument/2006/relationships/tags" Target="../tags/tag659.xml"/><Relationship Id="rId19" Type="http://schemas.openxmlformats.org/officeDocument/2006/relationships/tags" Target="../tags/tag668.xml"/><Relationship Id="rId31" Type="http://schemas.openxmlformats.org/officeDocument/2006/relationships/tags" Target="../tags/tag680.xml"/><Relationship Id="rId44" Type="http://schemas.openxmlformats.org/officeDocument/2006/relationships/tags" Target="../tags/tag693.xml"/><Relationship Id="rId52" Type="http://schemas.openxmlformats.org/officeDocument/2006/relationships/tags" Target="../tags/tag701.xml"/><Relationship Id="rId60" Type="http://schemas.openxmlformats.org/officeDocument/2006/relationships/tags" Target="../tags/tag709.xml"/><Relationship Id="rId65" Type="http://schemas.openxmlformats.org/officeDocument/2006/relationships/slideLayout" Target="../slideLayouts/slideLayout20.xml"/><Relationship Id="rId4" Type="http://schemas.openxmlformats.org/officeDocument/2006/relationships/tags" Target="../tags/tag653.xml"/><Relationship Id="rId9" Type="http://schemas.openxmlformats.org/officeDocument/2006/relationships/tags" Target="../tags/tag658.xml"/><Relationship Id="rId14" Type="http://schemas.openxmlformats.org/officeDocument/2006/relationships/tags" Target="../tags/tag663.xml"/><Relationship Id="rId22" Type="http://schemas.openxmlformats.org/officeDocument/2006/relationships/tags" Target="../tags/tag671.xml"/><Relationship Id="rId27" Type="http://schemas.openxmlformats.org/officeDocument/2006/relationships/tags" Target="../tags/tag676.xml"/><Relationship Id="rId30" Type="http://schemas.openxmlformats.org/officeDocument/2006/relationships/tags" Target="../tags/tag679.xml"/><Relationship Id="rId35" Type="http://schemas.openxmlformats.org/officeDocument/2006/relationships/tags" Target="../tags/tag684.xml"/><Relationship Id="rId43" Type="http://schemas.openxmlformats.org/officeDocument/2006/relationships/tags" Target="../tags/tag692.xml"/><Relationship Id="rId48" Type="http://schemas.openxmlformats.org/officeDocument/2006/relationships/tags" Target="../tags/tag697.xml"/><Relationship Id="rId56" Type="http://schemas.openxmlformats.org/officeDocument/2006/relationships/tags" Target="../tags/tag705.xml"/><Relationship Id="rId64" Type="http://schemas.openxmlformats.org/officeDocument/2006/relationships/tags" Target="../tags/tag713.xml"/><Relationship Id="rId8" Type="http://schemas.openxmlformats.org/officeDocument/2006/relationships/tags" Target="../tags/tag657.xml"/><Relationship Id="rId51" Type="http://schemas.openxmlformats.org/officeDocument/2006/relationships/tags" Target="../tags/tag700.xml"/><Relationship Id="rId3" Type="http://schemas.openxmlformats.org/officeDocument/2006/relationships/tags" Target="../tags/tag652.xml"/><Relationship Id="rId12" Type="http://schemas.openxmlformats.org/officeDocument/2006/relationships/tags" Target="../tags/tag661.xml"/><Relationship Id="rId17" Type="http://schemas.openxmlformats.org/officeDocument/2006/relationships/tags" Target="../tags/tag666.xml"/><Relationship Id="rId25" Type="http://schemas.openxmlformats.org/officeDocument/2006/relationships/tags" Target="../tags/tag674.xml"/><Relationship Id="rId33" Type="http://schemas.openxmlformats.org/officeDocument/2006/relationships/tags" Target="../tags/tag682.xml"/><Relationship Id="rId38" Type="http://schemas.openxmlformats.org/officeDocument/2006/relationships/tags" Target="../tags/tag687.xml"/><Relationship Id="rId46" Type="http://schemas.openxmlformats.org/officeDocument/2006/relationships/tags" Target="../tags/tag695.xml"/><Relationship Id="rId59" Type="http://schemas.openxmlformats.org/officeDocument/2006/relationships/tags" Target="../tags/tag70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3" Type="http://schemas.openxmlformats.org/officeDocument/2006/relationships/tags" Target="../tags/tag726.xml"/><Relationship Id="rId18" Type="http://schemas.openxmlformats.org/officeDocument/2006/relationships/tags" Target="../tags/tag731.xml"/><Relationship Id="rId26" Type="http://schemas.openxmlformats.org/officeDocument/2006/relationships/tags" Target="../tags/tag739.xml"/><Relationship Id="rId39" Type="http://schemas.openxmlformats.org/officeDocument/2006/relationships/tags" Target="../tags/tag752.xml"/><Relationship Id="rId21" Type="http://schemas.openxmlformats.org/officeDocument/2006/relationships/tags" Target="../tags/tag734.xml"/><Relationship Id="rId34" Type="http://schemas.openxmlformats.org/officeDocument/2006/relationships/tags" Target="../tags/tag747.xml"/><Relationship Id="rId42" Type="http://schemas.openxmlformats.org/officeDocument/2006/relationships/tags" Target="../tags/tag755.xml"/><Relationship Id="rId47" Type="http://schemas.openxmlformats.org/officeDocument/2006/relationships/tags" Target="../tags/tag760.xml"/><Relationship Id="rId50" Type="http://schemas.openxmlformats.org/officeDocument/2006/relationships/tags" Target="../tags/tag763.xml"/><Relationship Id="rId55" Type="http://schemas.openxmlformats.org/officeDocument/2006/relationships/tags" Target="../tags/tag768.xml"/><Relationship Id="rId7" Type="http://schemas.openxmlformats.org/officeDocument/2006/relationships/tags" Target="../tags/tag720.xml"/><Relationship Id="rId12" Type="http://schemas.openxmlformats.org/officeDocument/2006/relationships/tags" Target="../tags/tag725.xml"/><Relationship Id="rId17" Type="http://schemas.openxmlformats.org/officeDocument/2006/relationships/tags" Target="../tags/tag730.xml"/><Relationship Id="rId25" Type="http://schemas.openxmlformats.org/officeDocument/2006/relationships/tags" Target="../tags/tag738.xml"/><Relationship Id="rId33" Type="http://schemas.openxmlformats.org/officeDocument/2006/relationships/tags" Target="../tags/tag746.xml"/><Relationship Id="rId38" Type="http://schemas.openxmlformats.org/officeDocument/2006/relationships/tags" Target="../tags/tag751.xml"/><Relationship Id="rId46" Type="http://schemas.openxmlformats.org/officeDocument/2006/relationships/tags" Target="../tags/tag759.xml"/><Relationship Id="rId59" Type="http://schemas.openxmlformats.org/officeDocument/2006/relationships/tags" Target="../tags/tag772.xml"/><Relationship Id="rId2" Type="http://schemas.openxmlformats.org/officeDocument/2006/relationships/tags" Target="../tags/tag715.xml"/><Relationship Id="rId16" Type="http://schemas.openxmlformats.org/officeDocument/2006/relationships/tags" Target="../tags/tag729.xml"/><Relationship Id="rId20" Type="http://schemas.openxmlformats.org/officeDocument/2006/relationships/tags" Target="../tags/tag733.xml"/><Relationship Id="rId29" Type="http://schemas.openxmlformats.org/officeDocument/2006/relationships/tags" Target="../tags/tag742.xml"/><Relationship Id="rId41" Type="http://schemas.openxmlformats.org/officeDocument/2006/relationships/tags" Target="../tags/tag754.xml"/><Relationship Id="rId54" Type="http://schemas.openxmlformats.org/officeDocument/2006/relationships/tags" Target="../tags/tag767.xml"/><Relationship Id="rId1" Type="http://schemas.openxmlformats.org/officeDocument/2006/relationships/tags" Target="../tags/tag714.xml"/><Relationship Id="rId6" Type="http://schemas.openxmlformats.org/officeDocument/2006/relationships/tags" Target="../tags/tag719.xml"/><Relationship Id="rId11" Type="http://schemas.openxmlformats.org/officeDocument/2006/relationships/tags" Target="../tags/tag724.xml"/><Relationship Id="rId24" Type="http://schemas.openxmlformats.org/officeDocument/2006/relationships/tags" Target="../tags/tag737.xml"/><Relationship Id="rId32" Type="http://schemas.openxmlformats.org/officeDocument/2006/relationships/tags" Target="../tags/tag745.xml"/><Relationship Id="rId37" Type="http://schemas.openxmlformats.org/officeDocument/2006/relationships/tags" Target="../tags/tag750.xml"/><Relationship Id="rId40" Type="http://schemas.openxmlformats.org/officeDocument/2006/relationships/tags" Target="../tags/tag753.xml"/><Relationship Id="rId45" Type="http://schemas.openxmlformats.org/officeDocument/2006/relationships/tags" Target="../tags/tag758.xml"/><Relationship Id="rId53" Type="http://schemas.openxmlformats.org/officeDocument/2006/relationships/tags" Target="../tags/tag766.xml"/><Relationship Id="rId58" Type="http://schemas.openxmlformats.org/officeDocument/2006/relationships/tags" Target="../tags/tag771.xml"/><Relationship Id="rId5" Type="http://schemas.openxmlformats.org/officeDocument/2006/relationships/tags" Target="../tags/tag718.xml"/><Relationship Id="rId15" Type="http://schemas.openxmlformats.org/officeDocument/2006/relationships/tags" Target="../tags/tag728.xml"/><Relationship Id="rId23" Type="http://schemas.openxmlformats.org/officeDocument/2006/relationships/tags" Target="../tags/tag736.xml"/><Relationship Id="rId28" Type="http://schemas.openxmlformats.org/officeDocument/2006/relationships/tags" Target="../tags/tag741.xml"/><Relationship Id="rId36" Type="http://schemas.openxmlformats.org/officeDocument/2006/relationships/tags" Target="../tags/tag749.xml"/><Relationship Id="rId49" Type="http://schemas.openxmlformats.org/officeDocument/2006/relationships/tags" Target="../tags/tag762.xml"/><Relationship Id="rId57" Type="http://schemas.openxmlformats.org/officeDocument/2006/relationships/tags" Target="../tags/tag770.xml"/><Relationship Id="rId10" Type="http://schemas.openxmlformats.org/officeDocument/2006/relationships/tags" Target="../tags/tag723.xml"/><Relationship Id="rId19" Type="http://schemas.openxmlformats.org/officeDocument/2006/relationships/tags" Target="../tags/tag732.xml"/><Relationship Id="rId31" Type="http://schemas.openxmlformats.org/officeDocument/2006/relationships/tags" Target="../tags/tag744.xml"/><Relationship Id="rId44" Type="http://schemas.openxmlformats.org/officeDocument/2006/relationships/tags" Target="../tags/tag757.xml"/><Relationship Id="rId52" Type="http://schemas.openxmlformats.org/officeDocument/2006/relationships/tags" Target="../tags/tag765.xml"/><Relationship Id="rId60" Type="http://schemas.openxmlformats.org/officeDocument/2006/relationships/slideLayout" Target="../slideLayouts/slideLayout20.xml"/><Relationship Id="rId4" Type="http://schemas.openxmlformats.org/officeDocument/2006/relationships/tags" Target="../tags/tag717.xml"/><Relationship Id="rId9" Type="http://schemas.openxmlformats.org/officeDocument/2006/relationships/tags" Target="../tags/tag722.xml"/><Relationship Id="rId14" Type="http://schemas.openxmlformats.org/officeDocument/2006/relationships/tags" Target="../tags/tag727.xml"/><Relationship Id="rId22" Type="http://schemas.openxmlformats.org/officeDocument/2006/relationships/tags" Target="../tags/tag735.xml"/><Relationship Id="rId27" Type="http://schemas.openxmlformats.org/officeDocument/2006/relationships/tags" Target="../tags/tag740.xml"/><Relationship Id="rId30" Type="http://schemas.openxmlformats.org/officeDocument/2006/relationships/tags" Target="../tags/tag743.xml"/><Relationship Id="rId35" Type="http://schemas.openxmlformats.org/officeDocument/2006/relationships/tags" Target="../tags/tag748.xml"/><Relationship Id="rId43" Type="http://schemas.openxmlformats.org/officeDocument/2006/relationships/tags" Target="../tags/tag756.xml"/><Relationship Id="rId48" Type="http://schemas.openxmlformats.org/officeDocument/2006/relationships/tags" Target="../tags/tag761.xml"/><Relationship Id="rId56" Type="http://schemas.openxmlformats.org/officeDocument/2006/relationships/tags" Target="../tags/tag769.xml"/><Relationship Id="rId8" Type="http://schemas.openxmlformats.org/officeDocument/2006/relationships/tags" Target="../tags/tag721.xml"/><Relationship Id="rId51" Type="http://schemas.openxmlformats.org/officeDocument/2006/relationships/tags" Target="../tags/tag764.xml"/><Relationship Id="rId3" Type="http://schemas.openxmlformats.org/officeDocument/2006/relationships/tags" Target="../tags/tag716.xml"/></Relationships>
</file>

<file path=ppt/slides/_rels/slide28.xml.rels><?xml version="1.0" encoding="UTF-8" standalone="yes"?>
<Relationships xmlns="http://schemas.openxmlformats.org/package/2006/relationships"><Relationship Id="rId13" Type="http://schemas.openxmlformats.org/officeDocument/2006/relationships/tags" Target="../tags/tag785.xml"/><Relationship Id="rId18" Type="http://schemas.openxmlformats.org/officeDocument/2006/relationships/tags" Target="../tags/tag790.xml"/><Relationship Id="rId26" Type="http://schemas.openxmlformats.org/officeDocument/2006/relationships/tags" Target="../tags/tag798.xml"/><Relationship Id="rId39" Type="http://schemas.openxmlformats.org/officeDocument/2006/relationships/tags" Target="../tags/tag811.xml"/><Relationship Id="rId21" Type="http://schemas.openxmlformats.org/officeDocument/2006/relationships/tags" Target="../tags/tag793.xml"/><Relationship Id="rId34" Type="http://schemas.openxmlformats.org/officeDocument/2006/relationships/tags" Target="../tags/tag806.xml"/><Relationship Id="rId42" Type="http://schemas.openxmlformats.org/officeDocument/2006/relationships/tags" Target="../tags/tag814.xml"/><Relationship Id="rId47" Type="http://schemas.openxmlformats.org/officeDocument/2006/relationships/tags" Target="../tags/tag819.xml"/><Relationship Id="rId50" Type="http://schemas.openxmlformats.org/officeDocument/2006/relationships/tags" Target="../tags/tag822.xml"/><Relationship Id="rId55" Type="http://schemas.openxmlformats.org/officeDocument/2006/relationships/tags" Target="../tags/tag827.xml"/><Relationship Id="rId7" Type="http://schemas.openxmlformats.org/officeDocument/2006/relationships/tags" Target="../tags/tag779.xml"/><Relationship Id="rId12" Type="http://schemas.openxmlformats.org/officeDocument/2006/relationships/tags" Target="../tags/tag784.xml"/><Relationship Id="rId17" Type="http://schemas.openxmlformats.org/officeDocument/2006/relationships/tags" Target="../tags/tag789.xml"/><Relationship Id="rId25" Type="http://schemas.openxmlformats.org/officeDocument/2006/relationships/tags" Target="../tags/tag797.xml"/><Relationship Id="rId33" Type="http://schemas.openxmlformats.org/officeDocument/2006/relationships/tags" Target="../tags/tag805.xml"/><Relationship Id="rId38" Type="http://schemas.openxmlformats.org/officeDocument/2006/relationships/tags" Target="../tags/tag810.xml"/><Relationship Id="rId46" Type="http://schemas.openxmlformats.org/officeDocument/2006/relationships/tags" Target="../tags/tag818.xml"/><Relationship Id="rId59" Type="http://schemas.openxmlformats.org/officeDocument/2006/relationships/tags" Target="../tags/tag831.xml"/><Relationship Id="rId2" Type="http://schemas.openxmlformats.org/officeDocument/2006/relationships/tags" Target="../tags/tag774.xml"/><Relationship Id="rId16" Type="http://schemas.openxmlformats.org/officeDocument/2006/relationships/tags" Target="../tags/tag788.xml"/><Relationship Id="rId20" Type="http://schemas.openxmlformats.org/officeDocument/2006/relationships/tags" Target="../tags/tag792.xml"/><Relationship Id="rId29" Type="http://schemas.openxmlformats.org/officeDocument/2006/relationships/tags" Target="../tags/tag801.xml"/><Relationship Id="rId41" Type="http://schemas.openxmlformats.org/officeDocument/2006/relationships/tags" Target="../tags/tag813.xml"/><Relationship Id="rId54" Type="http://schemas.openxmlformats.org/officeDocument/2006/relationships/tags" Target="../tags/tag826.xml"/><Relationship Id="rId1" Type="http://schemas.openxmlformats.org/officeDocument/2006/relationships/tags" Target="../tags/tag773.xml"/><Relationship Id="rId6" Type="http://schemas.openxmlformats.org/officeDocument/2006/relationships/tags" Target="../tags/tag778.xml"/><Relationship Id="rId11" Type="http://schemas.openxmlformats.org/officeDocument/2006/relationships/tags" Target="../tags/tag783.xml"/><Relationship Id="rId24" Type="http://schemas.openxmlformats.org/officeDocument/2006/relationships/tags" Target="../tags/tag796.xml"/><Relationship Id="rId32" Type="http://schemas.openxmlformats.org/officeDocument/2006/relationships/tags" Target="../tags/tag804.xml"/><Relationship Id="rId37" Type="http://schemas.openxmlformats.org/officeDocument/2006/relationships/tags" Target="../tags/tag809.xml"/><Relationship Id="rId40" Type="http://schemas.openxmlformats.org/officeDocument/2006/relationships/tags" Target="../tags/tag812.xml"/><Relationship Id="rId45" Type="http://schemas.openxmlformats.org/officeDocument/2006/relationships/tags" Target="../tags/tag817.xml"/><Relationship Id="rId53" Type="http://schemas.openxmlformats.org/officeDocument/2006/relationships/tags" Target="../tags/tag825.xml"/><Relationship Id="rId58" Type="http://schemas.openxmlformats.org/officeDocument/2006/relationships/tags" Target="../tags/tag830.xml"/><Relationship Id="rId5" Type="http://schemas.openxmlformats.org/officeDocument/2006/relationships/tags" Target="../tags/tag777.xml"/><Relationship Id="rId15" Type="http://schemas.openxmlformats.org/officeDocument/2006/relationships/tags" Target="../tags/tag787.xml"/><Relationship Id="rId23" Type="http://schemas.openxmlformats.org/officeDocument/2006/relationships/tags" Target="../tags/tag795.xml"/><Relationship Id="rId28" Type="http://schemas.openxmlformats.org/officeDocument/2006/relationships/tags" Target="../tags/tag800.xml"/><Relationship Id="rId36" Type="http://schemas.openxmlformats.org/officeDocument/2006/relationships/tags" Target="../tags/tag808.xml"/><Relationship Id="rId49" Type="http://schemas.openxmlformats.org/officeDocument/2006/relationships/tags" Target="../tags/tag821.xml"/><Relationship Id="rId57" Type="http://schemas.openxmlformats.org/officeDocument/2006/relationships/tags" Target="../tags/tag829.xml"/><Relationship Id="rId10" Type="http://schemas.openxmlformats.org/officeDocument/2006/relationships/tags" Target="../tags/tag782.xml"/><Relationship Id="rId19" Type="http://schemas.openxmlformats.org/officeDocument/2006/relationships/tags" Target="../tags/tag791.xml"/><Relationship Id="rId31" Type="http://schemas.openxmlformats.org/officeDocument/2006/relationships/tags" Target="../tags/tag803.xml"/><Relationship Id="rId44" Type="http://schemas.openxmlformats.org/officeDocument/2006/relationships/tags" Target="../tags/tag816.xml"/><Relationship Id="rId52" Type="http://schemas.openxmlformats.org/officeDocument/2006/relationships/tags" Target="../tags/tag824.xml"/><Relationship Id="rId60" Type="http://schemas.openxmlformats.org/officeDocument/2006/relationships/slideLayout" Target="../slideLayouts/slideLayout20.xml"/><Relationship Id="rId4" Type="http://schemas.openxmlformats.org/officeDocument/2006/relationships/tags" Target="../tags/tag776.xml"/><Relationship Id="rId9" Type="http://schemas.openxmlformats.org/officeDocument/2006/relationships/tags" Target="../tags/tag781.xml"/><Relationship Id="rId14" Type="http://schemas.openxmlformats.org/officeDocument/2006/relationships/tags" Target="../tags/tag786.xml"/><Relationship Id="rId22" Type="http://schemas.openxmlformats.org/officeDocument/2006/relationships/tags" Target="../tags/tag794.xml"/><Relationship Id="rId27" Type="http://schemas.openxmlformats.org/officeDocument/2006/relationships/tags" Target="../tags/tag799.xml"/><Relationship Id="rId30" Type="http://schemas.openxmlformats.org/officeDocument/2006/relationships/tags" Target="../tags/tag802.xml"/><Relationship Id="rId35" Type="http://schemas.openxmlformats.org/officeDocument/2006/relationships/tags" Target="../tags/tag807.xml"/><Relationship Id="rId43" Type="http://schemas.openxmlformats.org/officeDocument/2006/relationships/tags" Target="../tags/tag815.xml"/><Relationship Id="rId48" Type="http://schemas.openxmlformats.org/officeDocument/2006/relationships/tags" Target="../tags/tag820.xml"/><Relationship Id="rId56" Type="http://schemas.openxmlformats.org/officeDocument/2006/relationships/tags" Target="../tags/tag828.xml"/><Relationship Id="rId8" Type="http://schemas.openxmlformats.org/officeDocument/2006/relationships/tags" Target="../tags/tag780.xml"/><Relationship Id="rId51" Type="http://schemas.openxmlformats.org/officeDocument/2006/relationships/tags" Target="../tags/tag823.xml"/><Relationship Id="rId3" Type="http://schemas.openxmlformats.org/officeDocument/2006/relationships/tags" Target="../tags/tag775.xml"/></Relationships>
</file>

<file path=ppt/slides/_rels/slide29.xml.rels><?xml version="1.0" encoding="UTF-8" standalone="yes"?>
<Relationships xmlns="http://schemas.openxmlformats.org/package/2006/relationships"><Relationship Id="rId13" Type="http://schemas.openxmlformats.org/officeDocument/2006/relationships/tags" Target="../tags/tag844.xml"/><Relationship Id="rId18" Type="http://schemas.openxmlformats.org/officeDocument/2006/relationships/tags" Target="../tags/tag849.xml"/><Relationship Id="rId26" Type="http://schemas.openxmlformats.org/officeDocument/2006/relationships/tags" Target="../tags/tag857.xml"/><Relationship Id="rId39" Type="http://schemas.openxmlformats.org/officeDocument/2006/relationships/tags" Target="../tags/tag870.xml"/><Relationship Id="rId21" Type="http://schemas.openxmlformats.org/officeDocument/2006/relationships/tags" Target="../tags/tag852.xml"/><Relationship Id="rId34" Type="http://schemas.openxmlformats.org/officeDocument/2006/relationships/tags" Target="../tags/tag865.xml"/><Relationship Id="rId42" Type="http://schemas.openxmlformats.org/officeDocument/2006/relationships/tags" Target="../tags/tag873.xml"/><Relationship Id="rId47" Type="http://schemas.openxmlformats.org/officeDocument/2006/relationships/tags" Target="../tags/tag878.xml"/><Relationship Id="rId50" Type="http://schemas.openxmlformats.org/officeDocument/2006/relationships/tags" Target="../tags/tag881.xml"/><Relationship Id="rId55" Type="http://schemas.openxmlformats.org/officeDocument/2006/relationships/tags" Target="../tags/tag886.xml"/><Relationship Id="rId7" Type="http://schemas.openxmlformats.org/officeDocument/2006/relationships/tags" Target="../tags/tag838.xml"/><Relationship Id="rId12" Type="http://schemas.openxmlformats.org/officeDocument/2006/relationships/tags" Target="../tags/tag843.xml"/><Relationship Id="rId17" Type="http://schemas.openxmlformats.org/officeDocument/2006/relationships/tags" Target="../tags/tag848.xml"/><Relationship Id="rId25" Type="http://schemas.openxmlformats.org/officeDocument/2006/relationships/tags" Target="../tags/tag856.xml"/><Relationship Id="rId33" Type="http://schemas.openxmlformats.org/officeDocument/2006/relationships/tags" Target="../tags/tag864.xml"/><Relationship Id="rId38" Type="http://schemas.openxmlformats.org/officeDocument/2006/relationships/tags" Target="../tags/tag869.xml"/><Relationship Id="rId46" Type="http://schemas.openxmlformats.org/officeDocument/2006/relationships/tags" Target="../tags/tag877.xml"/><Relationship Id="rId59" Type="http://schemas.openxmlformats.org/officeDocument/2006/relationships/tags" Target="../tags/tag890.xml"/><Relationship Id="rId2" Type="http://schemas.openxmlformats.org/officeDocument/2006/relationships/tags" Target="../tags/tag833.xml"/><Relationship Id="rId16" Type="http://schemas.openxmlformats.org/officeDocument/2006/relationships/tags" Target="../tags/tag847.xml"/><Relationship Id="rId20" Type="http://schemas.openxmlformats.org/officeDocument/2006/relationships/tags" Target="../tags/tag851.xml"/><Relationship Id="rId29" Type="http://schemas.openxmlformats.org/officeDocument/2006/relationships/tags" Target="../tags/tag860.xml"/><Relationship Id="rId41" Type="http://schemas.openxmlformats.org/officeDocument/2006/relationships/tags" Target="../tags/tag872.xml"/><Relationship Id="rId54" Type="http://schemas.openxmlformats.org/officeDocument/2006/relationships/tags" Target="../tags/tag885.xml"/><Relationship Id="rId1" Type="http://schemas.openxmlformats.org/officeDocument/2006/relationships/tags" Target="../tags/tag832.xml"/><Relationship Id="rId6" Type="http://schemas.openxmlformats.org/officeDocument/2006/relationships/tags" Target="../tags/tag837.xml"/><Relationship Id="rId11" Type="http://schemas.openxmlformats.org/officeDocument/2006/relationships/tags" Target="../tags/tag842.xml"/><Relationship Id="rId24" Type="http://schemas.openxmlformats.org/officeDocument/2006/relationships/tags" Target="../tags/tag855.xml"/><Relationship Id="rId32" Type="http://schemas.openxmlformats.org/officeDocument/2006/relationships/tags" Target="../tags/tag863.xml"/><Relationship Id="rId37" Type="http://schemas.openxmlformats.org/officeDocument/2006/relationships/tags" Target="../tags/tag868.xml"/><Relationship Id="rId40" Type="http://schemas.openxmlformats.org/officeDocument/2006/relationships/tags" Target="../tags/tag871.xml"/><Relationship Id="rId45" Type="http://schemas.openxmlformats.org/officeDocument/2006/relationships/tags" Target="../tags/tag876.xml"/><Relationship Id="rId53" Type="http://schemas.openxmlformats.org/officeDocument/2006/relationships/tags" Target="../tags/tag884.xml"/><Relationship Id="rId58" Type="http://schemas.openxmlformats.org/officeDocument/2006/relationships/tags" Target="../tags/tag889.xml"/><Relationship Id="rId5" Type="http://schemas.openxmlformats.org/officeDocument/2006/relationships/tags" Target="../tags/tag836.xml"/><Relationship Id="rId15" Type="http://schemas.openxmlformats.org/officeDocument/2006/relationships/tags" Target="../tags/tag846.xml"/><Relationship Id="rId23" Type="http://schemas.openxmlformats.org/officeDocument/2006/relationships/tags" Target="../tags/tag854.xml"/><Relationship Id="rId28" Type="http://schemas.openxmlformats.org/officeDocument/2006/relationships/tags" Target="../tags/tag859.xml"/><Relationship Id="rId36" Type="http://schemas.openxmlformats.org/officeDocument/2006/relationships/tags" Target="../tags/tag867.xml"/><Relationship Id="rId49" Type="http://schemas.openxmlformats.org/officeDocument/2006/relationships/tags" Target="../tags/tag880.xml"/><Relationship Id="rId57" Type="http://schemas.openxmlformats.org/officeDocument/2006/relationships/tags" Target="../tags/tag888.xml"/><Relationship Id="rId10" Type="http://schemas.openxmlformats.org/officeDocument/2006/relationships/tags" Target="../tags/tag841.xml"/><Relationship Id="rId19" Type="http://schemas.openxmlformats.org/officeDocument/2006/relationships/tags" Target="../tags/tag850.xml"/><Relationship Id="rId31" Type="http://schemas.openxmlformats.org/officeDocument/2006/relationships/tags" Target="../tags/tag862.xml"/><Relationship Id="rId44" Type="http://schemas.openxmlformats.org/officeDocument/2006/relationships/tags" Target="../tags/tag875.xml"/><Relationship Id="rId52" Type="http://schemas.openxmlformats.org/officeDocument/2006/relationships/tags" Target="../tags/tag883.xml"/><Relationship Id="rId60" Type="http://schemas.openxmlformats.org/officeDocument/2006/relationships/slideLayout" Target="../slideLayouts/slideLayout20.xml"/><Relationship Id="rId4" Type="http://schemas.openxmlformats.org/officeDocument/2006/relationships/tags" Target="../tags/tag835.xml"/><Relationship Id="rId9" Type="http://schemas.openxmlformats.org/officeDocument/2006/relationships/tags" Target="../tags/tag840.xml"/><Relationship Id="rId14" Type="http://schemas.openxmlformats.org/officeDocument/2006/relationships/tags" Target="../tags/tag845.xml"/><Relationship Id="rId22" Type="http://schemas.openxmlformats.org/officeDocument/2006/relationships/tags" Target="../tags/tag853.xml"/><Relationship Id="rId27" Type="http://schemas.openxmlformats.org/officeDocument/2006/relationships/tags" Target="../tags/tag858.xml"/><Relationship Id="rId30" Type="http://schemas.openxmlformats.org/officeDocument/2006/relationships/tags" Target="../tags/tag861.xml"/><Relationship Id="rId35" Type="http://schemas.openxmlformats.org/officeDocument/2006/relationships/tags" Target="../tags/tag866.xml"/><Relationship Id="rId43" Type="http://schemas.openxmlformats.org/officeDocument/2006/relationships/tags" Target="../tags/tag874.xml"/><Relationship Id="rId48" Type="http://schemas.openxmlformats.org/officeDocument/2006/relationships/tags" Target="../tags/tag879.xml"/><Relationship Id="rId56" Type="http://schemas.openxmlformats.org/officeDocument/2006/relationships/tags" Target="../tags/tag887.xml"/><Relationship Id="rId8" Type="http://schemas.openxmlformats.org/officeDocument/2006/relationships/tags" Target="../tags/tag839.xml"/><Relationship Id="rId51" Type="http://schemas.openxmlformats.org/officeDocument/2006/relationships/tags" Target="../tags/tag882.xml"/><Relationship Id="rId3" Type="http://schemas.openxmlformats.org/officeDocument/2006/relationships/tags" Target="../tags/tag8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13" Type="http://schemas.openxmlformats.org/officeDocument/2006/relationships/tags" Target="../tags/tag903.xml"/><Relationship Id="rId18" Type="http://schemas.openxmlformats.org/officeDocument/2006/relationships/tags" Target="../tags/tag908.xml"/><Relationship Id="rId26" Type="http://schemas.openxmlformats.org/officeDocument/2006/relationships/tags" Target="../tags/tag916.xml"/><Relationship Id="rId39" Type="http://schemas.openxmlformats.org/officeDocument/2006/relationships/tags" Target="../tags/tag929.xml"/><Relationship Id="rId21" Type="http://schemas.openxmlformats.org/officeDocument/2006/relationships/tags" Target="../tags/tag911.xml"/><Relationship Id="rId34" Type="http://schemas.openxmlformats.org/officeDocument/2006/relationships/tags" Target="../tags/tag924.xml"/><Relationship Id="rId42" Type="http://schemas.openxmlformats.org/officeDocument/2006/relationships/tags" Target="../tags/tag932.xml"/><Relationship Id="rId47" Type="http://schemas.openxmlformats.org/officeDocument/2006/relationships/tags" Target="../tags/tag937.xml"/><Relationship Id="rId50" Type="http://schemas.openxmlformats.org/officeDocument/2006/relationships/tags" Target="../tags/tag940.xml"/><Relationship Id="rId55" Type="http://schemas.openxmlformats.org/officeDocument/2006/relationships/tags" Target="../tags/tag945.xml"/><Relationship Id="rId63" Type="http://schemas.openxmlformats.org/officeDocument/2006/relationships/tags" Target="../tags/tag953.xml"/><Relationship Id="rId68" Type="http://schemas.openxmlformats.org/officeDocument/2006/relationships/tags" Target="../tags/tag958.xml"/><Relationship Id="rId76" Type="http://schemas.openxmlformats.org/officeDocument/2006/relationships/tags" Target="../tags/tag966.xml"/><Relationship Id="rId84" Type="http://schemas.openxmlformats.org/officeDocument/2006/relationships/tags" Target="../tags/tag974.xml"/><Relationship Id="rId89" Type="http://schemas.openxmlformats.org/officeDocument/2006/relationships/tags" Target="../tags/tag979.xml"/><Relationship Id="rId7" Type="http://schemas.openxmlformats.org/officeDocument/2006/relationships/tags" Target="../tags/tag897.xml"/><Relationship Id="rId71" Type="http://schemas.openxmlformats.org/officeDocument/2006/relationships/tags" Target="../tags/tag961.xml"/><Relationship Id="rId2" Type="http://schemas.openxmlformats.org/officeDocument/2006/relationships/tags" Target="../tags/tag892.xml"/><Relationship Id="rId16" Type="http://schemas.openxmlformats.org/officeDocument/2006/relationships/tags" Target="../tags/tag906.xml"/><Relationship Id="rId29" Type="http://schemas.openxmlformats.org/officeDocument/2006/relationships/tags" Target="../tags/tag919.xml"/><Relationship Id="rId11" Type="http://schemas.openxmlformats.org/officeDocument/2006/relationships/tags" Target="../tags/tag901.xml"/><Relationship Id="rId24" Type="http://schemas.openxmlformats.org/officeDocument/2006/relationships/tags" Target="../tags/tag914.xml"/><Relationship Id="rId32" Type="http://schemas.openxmlformats.org/officeDocument/2006/relationships/tags" Target="../tags/tag922.xml"/><Relationship Id="rId37" Type="http://schemas.openxmlformats.org/officeDocument/2006/relationships/tags" Target="../tags/tag927.xml"/><Relationship Id="rId40" Type="http://schemas.openxmlformats.org/officeDocument/2006/relationships/tags" Target="../tags/tag930.xml"/><Relationship Id="rId45" Type="http://schemas.openxmlformats.org/officeDocument/2006/relationships/tags" Target="../tags/tag935.xml"/><Relationship Id="rId53" Type="http://schemas.openxmlformats.org/officeDocument/2006/relationships/tags" Target="../tags/tag943.xml"/><Relationship Id="rId58" Type="http://schemas.openxmlformats.org/officeDocument/2006/relationships/tags" Target="../tags/tag948.xml"/><Relationship Id="rId66" Type="http://schemas.openxmlformats.org/officeDocument/2006/relationships/tags" Target="../tags/tag956.xml"/><Relationship Id="rId74" Type="http://schemas.openxmlformats.org/officeDocument/2006/relationships/tags" Target="../tags/tag964.xml"/><Relationship Id="rId79" Type="http://schemas.openxmlformats.org/officeDocument/2006/relationships/tags" Target="../tags/tag969.xml"/><Relationship Id="rId87" Type="http://schemas.openxmlformats.org/officeDocument/2006/relationships/tags" Target="../tags/tag977.xml"/><Relationship Id="rId5" Type="http://schemas.openxmlformats.org/officeDocument/2006/relationships/tags" Target="../tags/tag895.xml"/><Relationship Id="rId61" Type="http://schemas.openxmlformats.org/officeDocument/2006/relationships/tags" Target="../tags/tag951.xml"/><Relationship Id="rId82" Type="http://schemas.openxmlformats.org/officeDocument/2006/relationships/tags" Target="../tags/tag972.xml"/><Relationship Id="rId90" Type="http://schemas.openxmlformats.org/officeDocument/2006/relationships/tags" Target="../tags/tag980.xml"/><Relationship Id="rId19" Type="http://schemas.openxmlformats.org/officeDocument/2006/relationships/tags" Target="../tags/tag909.xml"/><Relationship Id="rId14" Type="http://schemas.openxmlformats.org/officeDocument/2006/relationships/tags" Target="../tags/tag904.xml"/><Relationship Id="rId22" Type="http://schemas.openxmlformats.org/officeDocument/2006/relationships/tags" Target="../tags/tag912.xml"/><Relationship Id="rId27" Type="http://schemas.openxmlformats.org/officeDocument/2006/relationships/tags" Target="../tags/tag917.xml"/><Relationship Id="rId30" Type="http://schemas.openxmlformats.org/officeDocument/2006/relationships/tags" Target="../tags/tag920.xml"/><Relationship Id="rId35" Type="http://schemas.openxmlformats.org/officeDocument/2006/relationships/tags" Target="../tags/tag925.xml"/><Relationship Id="rId43" Type="http://schemas.openxmlformats.org/officeDocument/2006/relationships/tags" Target="../tags/tag933.xml"/><Relationship Id="rId48" Type="http://schemas.openxmlformats.org/officeDocument/2006/relationships/tags" Target="../tags/tag938.xml"/><Relationship Id="rId56" Type="http://schemas.openxmlformats.org/officeDocument/2006/relationships/tags" Target="../tags/tag946.xml"/><Relationship Id="rId64" Type="http://schemas.openxmlformats.org/officeDocument/2006/relationships/tags" Target="../tags/tag954.xml"/><Relationship Id="rId69" Type="http://schemas.openxmlformats.org/officeDocument/2006/relationships/tags" Target="../tags/tag959.xml"/><Relationship Id="rId77" Type="http://schemas.openxmlformats.org/officeDocument/2006/relationships/tags" Target="../tags/tag967.xml"/><Relationship Id="rId8" Type="http://schemas.openxmlformats.org/officeDocument/2006/relationships/tags" Target="../tags/tag898.xml"/><Relationship Id="rId51" Type="http://schemas.openxmlformats.org/officeDocument/2006/relationships/tags" Target="../tags/tag941.xml"/><Relationship Id="rId72" Type="http://schemas.openxmlformats.org/officeDocument/2006/relationships/tags" Target="../tags/tag962.xml"/><Relationship Id="rId80" Type="http://schemas.openxmlformats.org/officeDocument/2006/relationships/tags" Target="../tags/tag970.xml"/><Relationship Id="rId85" Type="http://schemas.openxmlformats.org/officeDocument/2006/relationships/tags" Target="../tags/tag975.xml"/><Relationship Id="rId3" Type="http://schemas.openxmlformats.org/officeDocument/2006/relationships/tags" Target="../tags/tag893.xml"/><Relationship Id="rId12" Type="http://schemas.openxmlformats.org/officeDocument/2006/relationships/tags" Target="../tags/tag902.xml"/><Relationship Id="rId17" Type="http://schemas.openxmlformats.org/officeDocument/2006/relationships/tags" Target="../tags/tag907.xml"/><Relationship Id="rId25" Type="http://schemas.openxmlformats.org/officeDocument/2006/relationships/tags" Target="../tags/tag915.xml"/><Relationship Id="rId33" Type="http://schemas.openxmlformats.org/officeDocument/2006/relationships/tags" Target="../tags/tag923.xml"/><Relationship Id="rId38" Type="http://schemas.openxmlformats.org/officeDocument/2006/relationships/tags" Target="../tags/tag928.xml"/><Relationship Id="rId46" Type="http://schemas.openxmlformats.org/officeDocument/2006/relationships/tags" Target="../tags/tag936.xml"/><Relationship Id="rId59" Type="http://schemas.openxmlformats.org/officeDocument/2006/relationships/tags" Target="../tags/tag949.xml"/><Relationship Id="rId67" Type="http://schemas.openxmlformats.org/officeDocument/2006/relationships/tags" Target="../tags/tag957.xml"/><Relationship Id="rId20" Type="http://schemas.openxmlformats.org/officeDocument/2006/relationships/tags" Target="../tags/tag910.xml"/><Relationship Id="rId41" Type="http://schemas.openxmlformats.org/officeDocument/2006/relationships/tags" Target="../tags/tag931.xml"/><Relationship Id="rId54" Type="http://schemas.openxmlformats.org/officeDocument/2006/relationships/tags" Target="../tags/tag944.xml"/><Relationship Id="rId62" Type="http://schemas.openxmlformats.org/officeDocument/2006/relationships/tags" Target="../tags/tag952.xml"/><Relationship Id="rId70" Type="http://schemas.openxmlformats.org/officeDocument/2006/relationships/tags" Target="../tags/tag960.xml"/><Relationship Id="rId75" Type="http://schemas.openxmlformats.org/officeDocument/2006/relationships/tags" Target="../tags/tag965.xml"/><Relationship Id="rId83" Type="http://schemas.openxmlformats.org/officeDocument/2006/relationships/tags" Target="../tags/tag973.xml"/><Relationship Id="rId88" Type="http://schemas.openxmlformats.org/officeDocument/2006/relationships/tags" Target="../tags/tag978.xml"/><Relationship Id="rId91" Type="http://schemas.openxmlformats.org/officeDocument/2006/relationships/slideLayout" Target="../slideLayouts/slideLayout20.xml"/><Relationship Id="rId1" Type="http://schemas.openxmlformats.org/officeDocument/2006/relationships/tags" Target="../tags/tag891.xml"/><Relationship Id="rId6" Type="http://schemas.openxmlformats.org/officeDocument/2006/relationships/tags" Target="../tags/tag896.xml"/><Relationship Id="rId15" Type="http://schemas.openxmlformats.org/officeDocument/2006/relationships/tags" Target="../tags/tag905.xml"/><Relationship Id="rId23" Type="http://schemas.openxmlformats.org/officeDocument/2006/relationships/tags" Target="../tags/tag913.xml"/><Relationship Id="rId28" Type="http://schemas.openxmlformats.org/officeDocument/2006/relationships/tags" Target="../tags/tag918.xml"/><Relationship Id="rId36" Type="http://schemas.openxmlformats.org/officeDocument/2006/relationships/tags" Target="../tags/tag926.xml"/><Relationship Id="rId49" Type="http://schemas.openxmlformats.org/officeDocument/2006/relationships/tags" Target="../tags/tag939.xml"/><Relationship Id="rId57" Type="http://schemas.openxmlformats.org/officeDocument/2006/relationships/tags" Target="../tags/tag947.xml"/><Relationship Id="rId10" Type="http://schemas.openxmlformats.org/officeDocument/2006/relationships/tags" Target="../tags/tag900.xml"/><Relationship Id="rId31" Type="http://schemas.openxmlformats.org/officeDocument/2006/relationships/tags" Target="../tags/tag921.xml"/><Relationship Id="rId44" Type="http://schemas.openxmlformats.org/officeDocument/2006/relationships/tags" Target="../tags/tag934.xml"/><Relationship Id="rId52" Type="http://schemas.openxmlformats.org/officeDocument/2006/relationships/tags" Target="../tags/tag942.xml"/><Relationship Id="rId60" Type="http://schemas.openxmlformats.org/officeDocument/2006/relationships/tags" Target="../tags/tag950.xml"/><Relationship Id="rId65" Type="http://schemas.openxmlformats.org/officeDocument/2006/relationships/tags" Target="../tags/tag955.xml"/><Relationship Id="rId73" Type="http://schemas.openxmlformats.org/officeDocument/2006/relationships/tags" Target="../tags/tag963.xml"/><Relationship Id="rId78" Type="http://schemas.openxmlformats.org/officeDocument/2006/relationships/tags" Target="../tags/tag968.xml"/><Relationship Id="rId81" Type="http://schemas.openxmlformats.org/officeDocument/2006/relationships/tags" Target="../tags/tag971.xml"/><Relationship Id="rId86" Type="http://schemas.openxmlformats.org/officeDocument/2006/relationships/tags" Target="../tags/tag976.xml"/><Relationship Id="rId4" Type="http://schemas.openxmlformats.org/officeDocument/2006/relationships/tags" Target="../tags/tag894.xml"/><Relationship Id="rId9" Type="http://schemas.openxmlformats.org/officeDocument/2006/relationships/tags" Target="../tags/tag899.xml"/></Relationships>
</file>

<file path=ppt/slides/_rels/slide31.xml.rels><?xml version="1.0" encoding="UTF-8" standalone="yes"?>
<Relationships xmlns="http://schemas.openxmlformats.org/package/2006/relationships"><Relationship Id="rId8" Type="http://schemas.openxmlformats.org/officeDocument/2006/relationships/tags" Target="../tags/tag988.xml"/><Relationship Id="rId13" Type="http://schemas.openxmlformats.org/officeDocument/2006/relationships/tags" Target="../tags/tag993.xml"/><Relationship Id="rId18" Type="http://schemas.openxmlformats.org/officeDocument/2006/relationships/tags" Target="../tags/tag998.xml"/><Relationship Id="rId26" Type="http://schemas.openxmlformats.org/officeDocument/2006/relationships/tags" Target="../tags/tag1006.xml"/><Relationship Id="rId39" Type="http://schemas.openxmlformats.org/officeDocument/2006/relationships/tags" Target="../tags/tag1019.xml"/><Relationship Id="rId3" Type="http://schemas.openxmlformats.org/officeDocument/2006/relationships/tags" Target="../tags/tag983.xml"/><Relationship Id="rId21" Type="http://schemas.openxmlformats.org/officeDocument/2006/relationships/tags" Target="../tags/tag1001.xml"/><Relationship Id="rId34" Type="http://schemas.openxmlformats.org/officeDocument/2006/relationships/tags" Target="../tags/tag1014.xml"/><Relationship Id="rId7" Type="http://schemas.openxmlformats.org/officeDocument/2006/relationships/tags" Target="../tags/tag987.xml"/><Relationship Id="rId12" Type="http://schemas.openxmlformats.org/officeDocument/2006/relationships/tags" Target="../tags/tag992.xml"/><Relationship Id="rId17" Type="http://schemas.openxmlformats.org/officeDocument/2006/relationships/tags" Target="../tags/tag997.xml"/><Relationship Id="rId25" Type="http://schemas.openxmlformats.org/officeDocument/2006/relationships/tags" Target="../tags/tag1005.xml"/><Relationship Id="rId33" Type="http://schemas.openxmlformats.org/officeDocument/2006/relationships/tags" Target="../tags/tag1013.xml"/><Relationship Id="rId38" Type="http://schemas.openxmlformats.org/officeDocument/2006/relationships/tags" Target="../tags/tag1018.xml"/><Relationship Id="rId2" Type="http://schemas.openxmlformats.org/officeDocument/2006/relationships/tags" Target="../tags/tag982.xml"/><Relationship Id="rId16" Type="http://schemas.openxmlformats.org/officeDocument/2006/relationships/tags" Target="../tags/tag996.xml"/><Relationship Id="rId20" Type="http://schemas.openxmlformats.org/officeDocument/2006/relationships/tags" Target="../tags/tag1000.xml"/><Relationship Id="rId29" Type="http://schemas.openxmlformats.org/officeDocument/2006/relationships/tags" Target="../tags/tag1009.xml"/><Relationship Id="rId1" Type="http://schemas.openxmlformats.org/officeDocument/2006/relationships/tags" Target="../tags/tag981.xml"/><Relationship Id="rId6" Type="http://schemas.openxmlformats.org/officeDocument/2006/relationships/tags" Target="../tags/tag986.xml"/><Relationship Id="rId11" Type="http://schemas.openxmlformats.org/officeDocument/2006/relationships/tags" Target="../tags/tag991.xml"/><Relationship Id="rId24" Type="http://schemas.openxmlformats.org/officeDocument/2006/relationships/tags" Target="../tags/tag1004.xml"/><Relationship Id="rId32" Type="http://schemas.openxmlformats.org/officeDocument/2006/relationships/tags" Target="../tags/tag1012.xml"/><Relationship Id="rId37" Type="http://schemas.openxmlformats.org/officeDocument/2006/relationships/tags" Target="../tags/tag1017.xml"/><Relationship Id="rId40" Type="http://schemas.openxmlformats.org/officeDocument/2006/relationships/slideLayout" Target="../slideLayouts/slideLayout20.xml"/><Relationship Id="rId5" Type="http://schemas.openxmlformats.org/officeDocument/2006/relationships/tags" Target="../tags/tag985.xml"/><Relationship Id="rId15" Type="http://schemas.openxmlformats.org/officeDocument/2006/relationships/tags" Target="../tags/tag995.xml"/><Relationship Id="rId23" Type="http://schemas.openxmlformats.org/officeDocument/2006/relationships/tags" Target="../tags/tag1003.xml"/><Relationship Id="rId28" Type="http://schemas.openxmlformats.org/officeDocument/2006/relationships/tags" Target="../tags/tag1008.xml"/><Relationship Id="rId36" Type="http://schemas.openxmlformats.org/officeDocument/2006/relationships/tags" Target="../tags/tag1016.xml"/><Relationship Id="rId10" Type="http://schemas.openxmlformats.org/officeDocument/2006/relationships/tags" Target="../tags/tag990.xml"/><Relationship Id="rId19" Type="http://schemas.openxmlformats.org/officeDocument/2006/relationships/tags" Target="../tags/tag999.xml"/><Relationship Id="rId31" Type="http://schemas.openxmlformats.org/officeDocument/2006/relationships/tags" Target="../tags/tag1011.xml"/><Relationship Id="rId4" Type="http://schemas.openxmlformats.org/officeDocument/2006/relationships/tags" Target="../tags/tag984.xml"/><Relationship Id="rId9" Type="http://schemas.openxmlformats.org/officeDocument/2006/relationships/tags" Target="../tags/tag989.xml"/><Relationship Id="rId14" Type="http://schemas.openxmlformats.org/officeDocument/2006/relationships/tags" Target="../tags/tag994.xml"/><Relationship Id="rId22" Type="http://schemas.openxmlformats.org/officeDocument/2006/relationships/tags" Target="../tags/tag1002.xml"/><Relationship Id="rId27" Type="http://schemas.openxmlformats.org/officeDocument/2006/relationships/tags" Target="../tags/tag1007.xml"/><Relationship Id="rId30" Type="http://schemas.openxmlformats.org/officeDocument/2006/relationships/tags" Target="../tags/tag1010.xml"/><Relationship Id="rId35" Type="http://schemas.openxmlformats.org/officeDocument/2006/relationships/tags" Target="../tags/tag1015.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0.xml"/><Relationship Id="rId5" Type="http://schemas.openxmlformats.org/officeDocument/2006/relationships/image" Target="../media/image23.png"/><Relationship Id="rId4" Type="http://schemas.openxmlformats.org/officeDocument/2006/relationships/image" Target="../media/image22.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slideLayout" Target="../slideLayouts/slideLayout15.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8" Type="http://schemas.openxmlformats.org/officeDocument/2006/relationships/tags" Target="../tags/tag8.xml"/><Relationship Id="rId51" Type="http://schemas.openxmlformats.org/officeDocument/2006/relationships/tags" Target="../tags/tag51.xml"/></Relationships>
</file>

<file path=ppt/slides/_rels/slide9.xml.rels><?xml version="1.0" encoding="UTF-8" standalone="yes"?>
<Relationships xmlns="http://schemas.openxmlformats.org/package/2006/relationships"><Relationship Id="rId13" Type="http://schemas.openxmlformats.org/officeDocument/2006/relationships/tags" Target="../tags/tag65.xml"/><Relationship Id="rId18" Type="http://schemas.openxmlformats.org/officeDocument/2006/relationships/tags" Target="../tags/tag70.xml"/><Relationship Id="rId26" Type="http://schemas.openxmlformats.org/officeDocument/2006/relationships/tags" Target="../tags/tag78.xml"/><Relationship Id="rId39" Type="http://schemas.openxmlformats.org/officeDocument/2006/relationships/tags" Target="../tags/tag91.xml"/><Relationship Id="rId21" Type="http://schemas.openxmlformats.org/officeDocument/2006/relationships/tags" Target="../tags/tag73.xml"/><Relationship Id="rId34" Type="http://schemas.openxmlformats.org/officeDocument/2006/relationships/tags" Target="../tags/tag86.xml"/><Relationship Id="rId42" Type="http://schemas.openxmlformats.org/officeDocument/2006/relationships/tags" Target="../tags/tag94.xml"/><Relationship Id="rId47" Type="http://schemas.openxmlformats.org/officeDocument/2006/relationships/tags" Target="../tags/tag99.xml"/><Relationship Id="rId50" Type="http://schemas.openxmlformats.org/officeDocument/2006/relationships/tags" Target="../tags/tag102.xml"/><Relationship Id="rId55" Type="http://schemas.openxmlformats.org/officeDocument/2006/relationships/tags" Target="../tags/tag107.xml"/><Relationship Id="rId63" Type="http://schemas.openxmlformats.org/officeDocument/2006/relationships/tags" Target="../tags/tag115.xml"/><Relationship Id="rId68" Type="http://schemas.openxmlformats.org/officeDocument/2006/relationships/tags" Target="../tags/tag120.xml"/><Relationship Id="rId7" Type="http://schemas.openxmlformats.org/officeDocument/2006/relationships/tags" Target="../tags/tag59.xml"/><Relationship Id="rId71" Type="http://schemas.openxmlformats.org/officeDocument/2006/relationships/tags" Target="../tags/tag123.xml"/><Relationship Id="rId2" Type="http://schemas.openxmlformats.org/officeDocument/2006/relationships/tags" Target="../tags/tag54.xml"/><Relationship Id="rId16" Type="http://schemas.openxmlformats.org/officeDocument/2006/relationships/tags" Target="../tags/tag68.xml"/><Relationship Id="rId29" Type="http://schemas.openxmlformats.org/officeDocument/2006/relationships/tags" Target="../tags/tag81.xml"/><Relationship Id="rId11" Type="http://schemas.openxmlformats.org/officeDocument/2006/relationships/tags" Target="../tags/tag63.xml"/><Relationship Id="rId24" Type="http://schemas.openxmlformats.org/officeDocument/2006/relationships/tags" Target="../tags/tag76.xml"/><Relationship Id="rId32" Type="http://schemas.openxmlformats.org/officeDocument/2006/relationships/tags" Target="../tags/tag84.xml"/><Relationship Id="rId37" Type="http://schemas.openxmlformats.org/officeDocument/2006/relationships/tags" Target="../tags/tag89.xml"/><Relationship Id="rId40" Type="http://schemas.openxmlformats.org/officeDocument/2006/relationships/tags" Target="../tags/tag92.xml"/><Relationship Id="rId45" Type="http://schemas.openxmlformats.org/officeDocument/2006/relationships/tags" Target="../tags/tag97.xml"/><Relationship Id="rId53" Type="http://schemas.openxmlformats.org/officeDocument/2006/relationships/tags" Target="../tags/tag105.xml"/><Relationship Id="rId58" Type="http://schemas.openxmlformats.org/officeDocument/2006/relationships/tags" Target="../tags/tag110.xml"/><Relationship Id="rId66" Type="http://schemas.openxmlformats.org/officeDocument/2006/relationships/tags" Target="../tags/tag118.xml"/><Relationship Id="rId74" Type="http://schemas.openxmlformats.org/officeDocument/2006/relationships/tags" Target="../tags/tag126.xml"/><Relationship Id="rId5" Type="http://schemas.openxmlformats.org/officeDocument/2006/relationships/tags" Target="../tags/tag57.xml"/><Relationship Id="rId15" Type="http://schemas.openxmlformats.org/officeDocument/2006/relationships/tags" Target="../tags/tag67.xml"/><Relationship Id="rId23" Type="http://schemas.openxmlformats.org/officeDocument/2006/relationships/tags" Target="../tags/tag75.xml"/><Relationship Id="rId28" Type="http://schemas.openxmlformats.org/officeDocument/2006/relationships/tags" Target="../tags/tag80.xml"/><Relationship Id="rId36" Type="http://schemas.openxmlformats.org/officeDocument/2006/relationships/tags" Target="../tags/tag88.xml"/><Relationship Id="rId49" Type="http://schemas.openxmlformats.org/officeDocument/2006/relationships/tags" Target="../tags/tag101.xml"/><Relationship Id="rId57" Type="http://schemas.openxmlformats.org/officeDocument/2006/relationships/tags" Target="../tags/tag109.xml"/><Relationship Id="rId61" Type="http://schemas.openxmlformats.org/officeDocument/2006/relationships/tags" Target="../tags/tag113.xml"/><Relationship Id="rId10" Type="http://schemas.openxmlformats.org/officeDocument/2006/relationships/tags" Target="../tags/tag62.xml"/><Relationship Id="rId19" Type="http://schemas.openxmlformats.org/officeDocument/2006/relationships/tags" Target="../tags/tag71.xml"/><Relationship Id="rId31" Type="http://schemas.openxmlformats.org/officeDocument/2006/relationships/tags" Target="../tags/tag83.xml"/><Relationship Id="rId44" Type="http://schemas.openxmlformats.org/officeDocument/2006/relationships/tags" Target="../tags/tag96.xml"/><Relationship Id="rId52" Type="http://schemas.openxmlformats.org/officeDocument/2006/relationships/tags" Target="../tags/tag104.xml"/><Relationship Id="rId60" Type="http://schemas.openxmlformats.org/officeDocument/2006/relationships/tags" Target="../tags/tag112.xml"/><Relationship Id="rId65" Type="http://schemas.openxmlformats.org/officeDocument/2006/relationships/tags" Target="../tags/tag117.xml"/><Relationship Id="rId73" Type="http://schemas.openxmlformats.org/officeDocument/2006/relationships/tags" Target="../tags/tag125.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tags" Target="../tags/tag74.xml"/><Relationship Id="rId27" Type="http://schemas.openxmlformats.org/officeDocument/2006/relationships/tags" Target="../tags/tag79.xml"/><Relationship Id="rId30" Type="http://schemas.openxmlformats.org/officeDocument/2006/relationships/tags" Target="../tags/tag82.xml"/><Relationship Id="rId35" Type="http://schemas.openxmlformats.org/officeDocument/2006/relationships/tags" Target="../tags/tag87.xml"/><Relationship Id="rId43" Type="http://schemas.openxmlformats.org/officeDocument/2006/relationships/tags" Target="../tags/tag95.xml"/><Relationship Id="rId48" Type="http://schemas.openxmlformats.org/officeDocument/2006/relationships/tags" Target="../tags/tag100.xml"/><Relationship Id="rId56" Type="http://schemas.openxmlformats.org/officeDocument/2006/relationships/tags" Target="../tags/tag108.xml"/><Relationship Id="rId64" Type="http://schemas.openxmlformats.org/officeDocument/2006/relationships/tags" Target="../tags/tag116.xml"/><Relationship Id="rId69" Type="http://schemas.openxmlformats.org/officeDocument/2006/relationships/tags" Target="../tags/tag121.xml"/><Relationship Id="rId8" Type="http://schemas.openxmlformats.org/officeDocument/2006/relationships/tags" Target="../tags/tag60.xml"/><Relationship Id="rId51" Type="http://schemas.openxmlformats.org/officeDocument/2006/relationships/tags" Target="../tags/tag103.xml"/><Relationship Id="rId72" Type="http://schemas.openxmlformats.org/officeDocument/2006/relationships/tags" Target="../tags/tag124.xml"/><Relationship Id="rId3" Type="http://schemas.openxmlformats.org/officeDocument/2006/relationships/tags" Target="../tags/tag55.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tags" Target="../tags/tag77.xml"/><Relationship Id="rId33" Type="http://schemas.openxmlformats.org/officeDocument/2006/relationships/tags" Target="../tags/tag85.xml"/><Relationship Id="rId38" Type="http://schemas.openxmlformats.org/officeDocument/2006/relationships/tags" Target="../tags/tag90.xml"/><Relationship Id="rId46" Type="http://schemas.openxmlformats.org/officeDocument/2006/relationships/tags" Target="../tags/tag98.xml"/><Relationship Id="rId59" Type="http://schemas.openxmlformats.org/officeDocument/2006/relationships/tags" Target="../tags/tag111.xml"/><Relationship Id="rId67" Type="http://schemas.openxmlformats.org/officeDocument/2006/relationships/tags" Target="../tags/tag119.xml"/><Relationship Id="rId20" Type="http://schemas.openxmlformats.org/officeDocument/2006/relationships/tags" Target="../tags/tag72.xml"/><Relationship Id="rId41" Type="http://schemas.openxmlformats.org/officeDocument/2006/relationships/tags" Target="../tags/tag93.xml"/><Relationship Id="rId54" Type="http://schemas.openxmlformats.org/officeDocument/2006/relationships/tags" Target="../tags/tag106.xml"/><Relationship Id="rId62" Type="http://schemas.openxmlformats.org/officeDocument/2006/relationships/tags" Target="../tags/tag114.xml"/><Relationship Id="rId70" Type="http://schemas.openxmlformats.org/officeDocument/2006/relationships/tags" Target="../tags/tag122.xml"/><Relationship Id="rId75" Type="http://schemas.openxmlformats.org/officeDocument/2006/relationships/slideLayout" Target="../slideLayouts/slideLayout15.xml"/><Relationship Id="rId1" Type="http://schemas.openxmlformats.org/officeDocument/2006/relationships/tags" Target="../tags/tag53.xml"/><Relationship Id="rId6" Type="http://schemas.openxmlformats.org/officeDocument/2006/relationships/tags" Target="../tags/tag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en-US" dirty="0" smtClean="0"/>
              <a:t>April 6, 2016</a:t>
            </a:r>
            <a:endParaRPr lang="en-US" dirty="0"/>
          </a:p>
        </p:txBody>
      </p:sp>
      <p:sp>
        <p:nvSpPr>
          <p:cNvPr id="3" name="Content Placeholder 2"/>
          <p:cNvSpPr>
            <a:spLocks noGrp="1"/>
          </p:cNvSpPr>
          <p:nvPr>
            <p:ph idx="14"/>
          </p:nvPr>
        </p:nvSpPr>
        <p:spPr/>
        <p:txBody>
          <a:bodyPr>
            <a:normAutofit/>
          </a:bodyPr>
          <a:lstStyle/>
          <a:p>
            <a:r>
              <a:rPr lang="en-US" dirty="0"/>
              <a:t>Driving Toward a </a:t>
            </a:r>
            <a:r>
              <a:rPr lang="en-US" dirty="0" smtClean="0"/>
              <a:t>Degree: Market </a:t>
            </a:r>
            <a:r>
              <a:rPr lang="en-US" dirty="0"/>
              <a:t>Perspectives on the Adoption of IPASS as a Mechanism for Advising </a:t>
            </a:r>
            <a:r>
              <a:rPr lang="en-US" dirty="0" smtClean="0"/>
              <a:t>Reform</a:t>
            </a:r>
            <a:endParaRPr lang="en-US" dirty="0"/>
          </a:p>
        </p:txBody>
      </p:sp>
      <p:grpSp>
        <p:nvGrpSpPr>
          <p:cNvPr id="5" name="Group 4"/>
          <p:cNvGrpSpPr/>
          <p:nvPr/>
        </p:nvGrpSpPr>
        <p:grpSpPr>
          <a:xfrm>
            <a:off x="2143098" y="4612005"/>
            <a:ext cx="4863656" cy="816810"/>
            <a:chOff x="1909172" y="4612005"/>
            <a:chExt cx="4863656" cy="816810"/>
          </a:xfrm>
        </p:grpSpPr>
        <p:pic>
          <p:nvPicPr>
            <p:cNvPr id="6" name="Picture 5" descr="Tyton Logo.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9172" y="4612005"/>
              <a:ext cx="1700671" cy="816810"/>
            </a:xfrm>
            <a:prstGeom prst="rect">
              <a:avLst/>
            </a:prstGeom>
          </p:spPr>
        </p:pic>
        <p:pic>
          <p:nvPicPr>
            <p:cNvPr id="4" name="Picture 3"/>
            <p:cNvPicPr>
              <a:picLocks noChangeAspect="1"/>
            </p:cNvPicPr>
            <p:nvPr/>
          </p:nvPicPr>
          <p:blipFill>
            <a:blip r:embed="rId3"/>
            <a:stretch>
              <a:fillRect/>
            </a:stretch>
          </p:blipFill>
          <p:spPr>
            <a:xfrm>
              <a:off x="3776933" y="4829636"/>
              <a:ext cx="2995895" cy="599179"/>
            </a:xfrm>
            <a:prstGeom prst="rect">
              <a:avLst/>
            </a:prstGeom>
          </p:spPr>
        </p:pic>
      </p:grpSp>
    </p:spTree>
    <p:extLst>
      <p:ext uri="{BB962C8B-B14F-4D97-AF65-F5344CB8AC3E}">
        <p14:creationId xmlns:p14="http://schemas.microsoft.com/office/powerpoint/2010/main" val="41728045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a:t>
            </a:r>
          </a:p>
        </p:txBody>
      </p:sp>
      <p:sp>
        <p:nvSpPr>
          <p:cNvPr id="3" name="Text Placeholder 2"/>
          <p:cNvSpPr>
            <a:spLocks noGrp="1"/>
          </p:cNvSpPr>
          <p:nvPr>
            <p:ph type="body" idx="1"/>
          </p:nvPr>
        </p:nvSpPr>
        <p:spPr/>
        <p:txBody>
          <a:bodyPr/>
          <a:lstStyle/>
          <a:p>
            <a:r>
              <a:rPr lang="en-US" dirty="0" smtClean="0"/>
              <a:t>Advising Goals and Structure</a:t>
            </a:r>
            <a:endParaRPr lang="en-US" dirty="0"/>
          </a:p>
        </p:txBody>
      </p:sp>
    </p:spTree>
    <p:extLst>
      <p:ext uri="{BB962C8B-B14F-4D97-AF65-F5344CB8AC3E}">
        <p14:creationId xmlns:p14="http://schemas.microsoft.com/office/powerpoint/2010/main" val="39943591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6061281-BD0D-6F47-BBB8-8F6BE6AA34E7}" type="slidenum">
              <a:rPr lang="en-US" smtClean="0"/>
              <a:t>11</a:t>
            </a:fld>
            <a:endParaRPr lang="en-US"/>
          </a:p>
        </p:txBody>
      </p:sp>
      <p:sp>
        <p:nvSpPr>
          <p:cNvPr id="3" name="Content Placeholder 2"/>
          <p:cNvSpPr>
            <a:spLocks noGrp="1"/>
          </p:cNvSpPr>
          <p:nvPr>
            <p:ph idx="13"/>
          </p:nvPr>
        </p:nvSpPr>
        <p:spPr/>
        <p:txBody>
          <a:bodyPr>
            <a:normAutofit/>
          </a:bodyPr>
          <a:lstStyle/>
          <a:p>
            <a:r>
              <a:rPr lang="en-US" sz="900" dirty="0"/>
              <a:t>Sources: </a:t>
            </a:r>
            <a:r>
              <a:rPr lang="en-US" sz="900" dirty="0" smtClean="0"/>
              <a:t>Tyton </a:t>
            </a:r>
            <a:r>
              <a:rPr lang="en-US" sz="900" dirty="0"/>
              <a:t>Partners </a:t>
            </a:r>
            <a:r>
              <a:rPr lang="en-US" sz="900" dirty="0" smtClean="0"/>
              <a:t>Analysis</a:t>
            </a:r>
            <a:endParaRPr lang="en-US" sz="900" dirty="0"/>
          </a:p>
        </p:txBody>
      </p:sp>
      <p:sp>
        <p:nvSpPr>
          <p:cNvPr id="4" name="Content Placeholder 3"/>
          <p:cNvSpPr>
            <a:spLocks noGrp="1"/>
          </p:cNvSpPr>
          <p:nvPr>
            <p:ph idx="14"/>
          </p:nvPr>
        </p:nvSpPr>
        <p:spPr/>
        <p:txBody>
          <a:bodyPr>
            <a:normAutofit/>
          </a:bodyPr>
          <a:lstStyle/>
          <a:p>
            <a:r>
              <a:rPr lang="en-US" dirty="0" smtClean="0"/>
              <a:t>Although Retention Is a Priority, Perception Is that Institutions Do Not Achieve an Ideal Advising Situation</a:t>
            </a:r>
            <a:endParaRPr lang="en-US" dirty="0"/>
          </a:p>
        </p:txBody>
      </p:sp>
      <p:grpSp>
        <p:nvGrpSpPr>
          <p:cNvPr id="261" name="Group 260"/>
          <p:cNvGrpSpPr/>
          <p:nvPr>
            <p:custDataLst>
              <p:tags r:id="rId1"/>
            </p:custDataLst>
          </p:nvPr>
        </p:nvGrpSpPr>
        <p:grpSpPr>
          <a:xfrm>
            <a:off x="941902" y="1869991"/>
            <a:ext cx="7488434" cy="4238298"/>
            <a:chOff x="941902" y="1869991"/>
            <a:chExt cx="7488434" cy="4238298"/>
          </a:xfrm>
        </p:grpSpPr>
        <p:cxnSp>
          <p:nvCxnSpPr>
            <p:cNvPr id="239" name="Straight Connector 238"/>
            <p:cNvCxnSpPr/>
            <p:nvPr>
              <p:custDataLst>
                <p:tags r:id="rId2"/>
              </p:custDataLst>
            </p:nvPr>
          </p:nvCxnSpPr>
          <p:spPr bwMode="gray">
            <a:xfrm>
              <a:off x="4643326" y="1869991"/>
              <a:ext cx="0" cy="3983782"/>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41" name="Straight Connector 240"/>
            <p:cNvCxnSpPr/>
            <p:nvPr>
              <p:custDataLst>
                <p:tags r:id="rId3"/>
              </p:custDataLst>
            </p:nvPr>
          </p:nvCxnSpPr>
          <p:spPr bwMode="gray">
            <a:xfrm>
              <a:off x="1006508" y="5853773"/>
              <a:ext cx="7273635"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42" name="Straight Connector 241"/>
            <p:cNvCxnSpPr/>
            <p:nvPr>
              <p:custDataLst>
                <p:tags r:id="rId4"/>
              </p:custDataLst>
            </p:nvPr>
          </p:nvCxnSpPr>
          <p:spPr bwMode="gray">
            <a:xfrm>
              <a:off x="1006508" y="3197918"/>
              <a:ext cx="7273635"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43" name="Straight Connector 242"/>
            <p:cNvCxnSpPr/>
            <p:nvPr>
              <p:custDataLst>
                <p:tags r:id="rId5"/>
              </p:custDataLst>
            </p:nvPr>
          </p:nvCxnSpPr>
          <p:spPr bwMode="gray">
            <a:xfrm>
              <a:off x="1006508" y="4525846"/>
              <a:ext cx="7273635"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45" name="Straight Connector 244"/>
            <p:cNvCxnSpPr/>
            <p:nvPr>
              <p:custDataLst>
                <p:tags r:id="rId6"/>
              </p:custDataLst>
            </p:nvPr>
          </p:nvCxnSpPr>
          <p:spPr bwMode="gray">
            <a:xfrm>
              <a:off x="1006508" y="5853773"/>
              <a:ext cx="7273635"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46" name="Straight Connector 245"/>
            <p:cNvCxnSpPr/>
            <p:nvPr>
              <p:custDataLst>
                <p:tags r:id="rId7"/>
              </p:custDataLst>
            </p:nvPr>
          </p:nvCxnSpPr>
          <p:spPr bwMode="gray">
            <a:xfrm>
              <a:off x="6825416"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47" name="Straight Connector 246"/>
            <p:cNvCxnSpPr/>
            <p:nvPr>
              <p:custDataLst>
                <p:tags r:id="rId8"/>
              </p:custDataLst>
            </p:nvPr>
          </p:nvCxnSpPr>
          <p:spPr bwMode="gray">
            <a:xfrm>
              <a:off x="7552780"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48" name="Straight Connector 247"/>
            <p:cNvCxnSpPr/>
            <p:nvPr>
              <p:custDataLst>
                <p:tags r:id="rId9"/>
              </p:custDataLst>
            </p:nvPr>
          </p:nvCxnSpPr>
          <p:spPr bwMode="gray">
            <a:xfrm>
              <a:off x="6098054"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49" name="Straight Connector 248"/>
            <p:cNvCxnSpPr/>
            <p:nvPr>
              <p:custDataLst>
                <p:tags r:id="rId10"/>
              </p:custDataLst>
            </p:nvPr>
          </p:nvCxnSpPr>
          <p:spPr bwMode="gray">
            <a:xfrm>
              <a:off x="4643326"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0" name="Straight Connector 249"/>
            <p:cNvCxnSpPr/>
            <p:nvPr>
              <p:custDataLst>
                <p:tags r:id="rId11"/>
              </p:custDataLst>
            </p:nvPr>
          </p:nvCxnSpPr>
          <p:spPr bwMode="gray">
            <a:xfrm>
              <a:off x="5370689"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1" name="Straight Connector 250"/>
            <p:cNvCxnSpPr/>
            <p:nvPr>
              <p:custDataLst>
                <p:tags r:id="rId12"/>
              </p:custDataLst>
            </p:nvPr>
          </p:nvCxnSpPr>
          <p:spPr bwMode="gray">
            <a:xfrm flipH="1">
              <a:off x="955708" y="4525846"/>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2" name="Straight Connector 251"/>
            <p:cNvCxnSpPr/>
            <p:nvPr>
              <p:custDataLst>
                <p:tags r:id="rId13"/>
              </p:custDataLst>
            </p:nvPr>
          </p:nvCxnSpPr>
          <p:spPr bwMode="gray">
            <a:xfrm flipH="1">
              <a:off x="955708" y="3197918"/>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3" name="Straight Connector 252"/>
            <p:cNvCxnSpPr/>
            <p:nvPr>
              <p:custDataLst>
                <p:tags r:id="rId14"/>
              </p:custDataLst>
            </p:nvPr>
          </p:nvCxnSpPr>
          <p:spPr bwMode="gray">
            <a:xfrm flipH="1">
              <a:off x="955708" y="5853773"/>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4" name="Straight Connector 253"/>
            <p:cNvCxnSpPr/>
            <p:nvPr>
              <p:custDataLst>
                <p:tags r:id="rId15"/>
              </p:custDataLst>
            </p:nvPr>
          </p:nvCxnSpPr>
          <p:spPr bwMode="gray">
            <a:xfrm>
              <a:off x="8280143"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6" name="Straight Connector 255"/>
            <p:cNvCxnSpPr/>
            <p:nvPr>
              <p:custDataLst>
                <p:tags r:id="rId16"/>
              </p:custDataLst>
            </p:nvPr>
          </p:nvCxnSpPr>
          <p:spPr bwMode="gray">
            <a:xfrm>
              <a:off x="3915963"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7" name="Straight Connector 256"/>
            <p:cNvCxnSpPr/>
            <p:nvPr>
              <p:custDataLst>
                <p:tags r:id="rId17"/>
              </p:custDataLst>
            </p:nvPr>
          </p:nvCxnSpPr>
          <p:spPr bwMode="gray">
            <a:xfrm>
              <a:off x="1006508"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8" name="Straight Connector 257"/>
            <p:cNvCxnSpPr/>
            <p:nvPr>
              <p:custDataLst>
                <p:tags r:id="rId18"/>
              </p:custDataLst>
            </p:nvPr>
          </p:nvCxnSpPr>
          <p:spPr bwMode="gray">
            <a:xfrm>
              <a:off x="3188599"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9" name="Straight Connector 258"/>
            <p:cNvCxnSpPr/>
            <p:nvPr>
              <p:custDataLst>
                <p:tags r:id="rId19"/>
              </p:custDataLst>
            </p:nvPr>
          </p:nvCxnSpPr>
          <p:spPr bwMode="gray">
            <a:xfrm>
              <a:off x="2461236"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60" name="Straight Connector 259"/>
            <p:cNvCxnSpPr/>
            <p:nvPr>
              <p:custDataLst>
                <p:tags r:id="rId20"/>
              </p:custDataLst>
            </p:nvPr>
          </p:nvCxnSpPr>
          <p:spPr bwMode="gray">
            <a:xfrm>
              <a:off x="1733873"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27" name="TextBox 26"/>
            <p:cNvSpPr txBox="1"/>
            <p:nvPr>
              <p:custDataLst>
                <p:tags r:id="rId21"/>
              </p:custDataLst>
            </p:nvPr>
          </p:nvSpPr>
          <p:spPr bwMode="gray">
            <a:xfrm>
              <a:off x="8129952" y="5923623"/>
              <a:ext cx="300384"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100</a:t>
              </a:r>
              <a:endParaRPr lang="en-US" sz="1200" dirty="0">
                <a:effectLst/>
                <a:latin typeface="Arial"/>
              </a:endParaRPr>
            </a:p>
          </p:txBody>
        </p:sp>
        <p:sp>
          <p:nvSpPr>
            <p:cNvPr id="28" name="TextBox 27"/>
            <p:cNvSpPr txBox="1"/>
            <p:nvPr>
              <p:custDataLst>
                <p:tags r:id="rId22"/>
              </p:custDataLst>
            </p:nvPr>
          </p:nvSpPr>
          <p:spPr bwMode="gray">
            <a:xfrm>
              <a:off x="7445380"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90</a:t>
              </a:r>
              <a:endParaRPr lang="en-US" sz="1200">
                <a:effectLst/>
                <a:latin typeface="Arial"/>
              </a:endParaRPr>
            </a:p>
          </p:txBody>
        </p:sp>
        <p:sp>
          <p:nvSpPr>
            <p:cNvPr id="29" name="TextBox 28"/>
            <p:cNvSpPr txBox="1"/>
            <p:nvPr>
              <p:custDataLst>
                <p:tags r:id="rId23"/>
              </p:custDataLst>
            </p:nvPr>
          </p:nvSpPr>
          <p:spPr bwMode="gray">
            <a:xfrm>
              <a:off x="941902" y="5923623"/>
              <a:ext cx="129213"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0</a:t>
              </a:r>
              <a:endParaRPr lang="en-US" sz="1200">
                <a:effectLst/>
                <a:latin typeface="Arial"/>
              </a:endParaRPr>
            </a:p>
          </p:txBody>
        </p:sp>
        <p:sp>
          <p:nvSpPr>
            <p:cNvPr id="31" name="TextBox 30"/>
            <p:cNvSpPr txBox="1"/>
            <p:nvPr>
              <p:custDataLst>
                <p:tags r:id="rId24"/>
              </p:custDataLst>
            </p:nvPr>
          </p:nvSpPr>
          <p:spPr bwMode="gray">
            <a:xfrm>
              <a:off x="5263289"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60</a:t>
              </a:r>
              <a:endParaRPr lang="en-US" sz="1200">
                <a:effectLst/>
                <a:latin typeface="Arial"/>
              </a:endParaRPr>
            </a:p>
          </p:txBody>
        </p:sp>
        <p:sp>
          <p:nvSpPr>
            <p:cNvPr id="224" name="TextBox 223"/>
            <p:cNvSpPr txBox="1"/>
            <p:nvPr>
              <p:custDataLst>
                <p:tags r:id="rId25"/>
              </p:custDataLst>
            </p:nvPr>
          </p:nvSpPr>
          <p:spPr bwMode="gray">
            <a:xfrm>
              <a:off x="2353836"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20</a:t>
              </a:r>
              <a:endParaRPr lang="en-US" sz="1200">
                <a:effectLst/>
                <a:latin typeface="Arial"/>
              </a:endParaRPr>
            </a:p>
          </p:txBody>
        </p:sp>
        <p:sp>
          <p:nvSpPr>
            <p:cNvPr id="225" name="TextBox 224"/>
            <p:cNvSpPr txBox="1"/>
            <p:nvPr>
              <p:custDataLst>
                <p:tags r:id="rId26"/>
              </p:custDataLst>
            </p:nvPr>
          </p:nvSpPr>
          <p:spPr bwMode="gray">
            <a:xfrm>
              <a:off x="3081200"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30</a:t>
              </a:r>
              <a:endParaRPr lang="en-US" sz="1200">
                <a:effectLst/>
                <a:latin typeface="Arial"/>
              </a:endParaRPr>
            </a:p>
          </p:txBody>
        </p:sp>
        <p:sp>
          <p:nvSpPr>
            <p:cNvPr id="226" name="TextBox 225"/>
            <p:cNvSpPr txBox="1"/>
            <p:nvPr>
              <p:custDataLst>
                <p:tags r:id="rId27"/>
              </p:custDataLst>
            </p:nvPr>
          </p:nvSpPr>
          <p:spPr bwMode="gray">
            <a:xfrm>
              <a:off x="4535926"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50</a:t>
              </a:r>
              <a:endParaRPr lang="en-US" sz="1200">
                <a:effectLst/>
                <a:latin typeface="Arial"/>
              </a:endParaRPr>
            </a:p>
          </p:txBody>
        </p:sp>
        <p:sp>
          <p:nvSpPr>
            <p:cNvPr id="227" name="TextBox 226"/>
            <p:cNvSpPr txBox="1"/>
            <p:nvPr>
              <p:custDataLst>
                <p:tags r:id="rId28"/>
              </p:custDataLst>
            </p:nvPr>
          </p:nvSpPr>
          <p:spPr bwMode="gray">
            <a:xfrm>
              <a:off x="1626473"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10</a:t>
              </a:r>
              <a:endParaRPr lang="en-US" sz="1200">
                <a:effectLst/>
                <a:latin typeface="Arial"/>
              </a:endParaRPr>
            </a:p>
          </p:txBody>
        </p:sp>
        <p:sp>
          <p:nvSpPr>
            <p:cNvPr id="228" name="TextBox 227"/>
            <p:cNvSpPr txBox="1"/>
            <p:nvPr>
              <p:custDataLst>
                <p:tags r:id="rId29"/>
              </p:custDataLst>
            </p:nvPr>
          </p:nvSpPr>
          <p:spPr bwMode="gray">
            <a:xfrm>
              <a:off x="6718016"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80</a:t>
              </a:r>
              <a:endParaRPr lang="en-US" sz="1200">
                <a:effectLst/>
                <a:latin typeface="Arial"/>
              </a:endParaRPr>
            </a:p>
          </p:txBody>
        </p:sp>
        <p:sp>
          <p:nvSpPr>
            <p:cNvPr id="229" name="TextBox 228"/>
            <p:cNvSpPr txBox="1"/>
            <p:nvPr>
              <p:custDataLst>
                <p:tags r:id="rId30"/>
              </p:custDataLst>
            </p:nvPr>
          </p:nvSpPr>
          <p:spPr bwMode="gray">
            <a:xfrm>
              <a:off x="5990654"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70</a:t>
              </a:r>
              <a:endParaRPr lang="en-US" sz="1200">
                <a:effectLst/>
                <a:latin typeface="Arial"/>
              </a:endParaRPr>
            </a:p>
          </p:txBody>
        </p:sp>
        <p:sp>
          <p:nvSpPr>
            <p:cNvPr id="230" name="TextBox 229"/>
            <p:cNvSpPr txBox="1"/>
            <p:nvPr>
              <p:custDataLst>
                <p:tags r:id="rId31"/>
              </p:custDataLst>
            </p:nvPr>
          </p:nvSpPr>
          <p:spPr bwMode="gray">
            <a:xfrm>
              <a:off x="3808563"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40</a:t>
              </a:r>
              <a:endParaRPr lang="en-US" sz="1200">
                <a:effectLst/>
                <a:latin typeface="Arial"/>
              </a:endParaRPr>
            </a:p>
          </p:txBody>
        </p:sp>
        <p:sp>
          <p:nvSpPr>
            <p:cNvPr id="232" name="Rectangle 231"/>
            <p:cNvSpPr/>
            <p:nvPr>
              <p:custDataLst>
                <p:tags r:id="rId32"/>
              </p:custDataLst>
            </p:nvPr>
          </p:nvSpPr>
          <p:spPr bwMode="gray">
            <a:xfrm>
              <a:off x="4440704" y="4468696"/>
              <a:ext cx="114300" cy="114300"/>
            </a:xfrm>
            <a:prstGeom prst="rect">
              <a:avLst/>
            </a:prstGeom>
            <a:solidFill>
              <a:schemeClr val="accent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233" name="Rectangle 232"/>
            <p:cNvSpPr/>
            <p:nvPr>
              <p:custDataLst>
                <p:tags r:id="rId33"/>
              </p:custDataLst>
            </p:nvPr>
          </p:nvSpPr>
          <p:spPr bwMode="gray">
            <a:xfrm>
              <a:off x="6841003" y="3140768"/>
              <a:ext cx="114300" cy="114300"/>
            </a:xfrm>
            <a:prstGeom prst="rect">
              <a:avLst/>
            </a:prstGeom>
            <a:solidFill>
              <a:schemeClr val="accent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grpSp>
      <p:sp>
        <p:nvSpPr>
          <p:cNvPr id="119" name="TextBox 118"/>
          <p:cNvSpPr txBox="1"/>
          <p:nvPr/>
        </p:nvSpPr>
        <p:spPr>
          <a:xfrm>
            <a:off x="6718016" y="2383532"/>
            <a:ext cx="2334658" cy="646331"/>
          </a:xfrm>
          <a:prstGeom prst="rect">
            <a:avLst/>
          </a:prstGeom>
          <a:noFill/>
        </p:spPr>
        <p:txBody>
          <a:bodyPr wrap="square" rtlCol="0">
            <a:spAutoFit/>
          </a:bodyPr>
          <a:lstStyle/>
          <a:p>
            <a:pPr algn="ctr"/>
            <a:r>
              <a:rPr lang="en-US" sz="1200" i="1" dirty="0"/>
              <a:t>Student retention is a primary objective in my institution’s strategic plan </a:t>
            </a:r>
          </a:p>
        </p:txBody>
      </p:sp>
      <p:sp>
        <p:nvSpPr>
          <p:cNvPr id="120" name="TextBox 119"/>
          <p:cNvSpPr txBox="1"/>
          <p:nvPr/>
        </p:nvSpPr>
        <p:spPr>
          <a:xfrm>
            <a:off x="132903" y="2383532"/>
            <a:ext cx="2328333" cy="646331"/>
          </a:xfrm>
          <a:prstGeom prst="rect">
            <a:avLst/>
          </a:prstGeom>
          <a:noFill/>
        </p:spPr>
        <p:txBody>
          <a:bodyPr wrap="square" rtlCol="0">
            <a:spAutoFit/>
          </a:bodyPr>
          <a:lstStyle/>
          <a:p>
            <a:pPr algn="ctr"/>
            <a:r>
              <a:rPr lang="en-US" sz="1200" i="1" dirty="0"/>
              <a:t>Student retention is not included in my institution’s strategic plan </a:t>
            </a:r>
          </a:p>
        </p:txBody>
      </p:sp>
      <p:cxnSp>
        <p:nvCxnSpPr>
          <p:cNvPr id="121" name="Straight Arrow Connector 120"/>
          <p:cNvCxnSpPr/>
          <p:nvPr/>
        </p:nvCxnSpPr>
        <p:spPr>
          <a:xfrm>
            <a:off x="955708" y="3197918"/>
            <a:ext cx="7324435" cy="0"/>
          </a:xfrm>
          <a:prstGeom prst="straightConnector1">
            <a:avLst/>
          </a:prstGeom>
          <a:ln w="9525" cmpd="sng">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64" name="TextBox 163"/>
          <p:cNvSpPr txBox="1"/>
          <p:nvPr/>
        </p:nvSpPr>
        <p:spPr>
          <a:xfrm>
            <a:off x="6718016" y="3713754"/>
            <a:ext cx="2334658" cy="646331"/>
          </a:xfrm>
          <a:prstGeom prst="rect">
            <a:avLst/>
          </a:prstGeom>
          <a:noFill/>
        </p:spPr>
        <p:txBody>
          <a:bodyPr wrap="square" rtlCol="0">
            <a:spAutoFit/>
          </a:bodyPr>
          <a:lstStyle/>
          <a:p>
            <a:pPr algn="ctr"/>
            <a:r>
              <a:rPr lang="en-US" sz="1200" i="1" dirty="0"/>
              <a:t>Overall, my institution successfully achieves an ideal advising situation </a:t>
            </a:r>
          </a:p>
        </p:txBody>
      </p:sp>
      <p:sp>
        <p:nvSpPr>
          <p:cNvPr id="165" name="TextBox 164"/>
          <p:cNvSpPr txBox="1"/>
          <p:nvPr/>
        </p:nvSpPr>
        <p:spPr>
          <a:xfrm>
            <a:off x="213364" y="3890854"/>
            <a:ext cx="2355271" cy="461665"/>
          </a:xfrm>
          <a:prstGeom prst="rect">
            <a:avLst/>
          </a:prstGeom>
          <a:noFill/>
        </p:spPr>
        <p:txBody>
          <a:bodyPr wrap="square" rtlCol="0">
            <a:spAutoFit/>
          </a:bodyPr>
          <a:lstStyle/>
          <a:p>
            <a:pPr algn="ctr"/>
            <a:r>
              <a:rPr lang="en-US" sz="1200" i="1" dirty="0" smtClean="0"/>
              <a:t>My </a:t>
            </a:r>
            <a:r>
              <a:rPr lang="en-US" sz="1200" i="1" dirty="0"/>
              <a:t>institution fails to achieve an ideal advising situation </a:t>
            </a:r>
          </a:p>
        </p:txBody>
      </p:sp>
      <p:cxnSp>
        <p:nvCxnSpPr>
          <p:cNvPr id="166" name="Straight Arrow Connector 165"/>
          <p:cNvCxnSpPr/>
          <p:nvPr/>
        </p:nvCxnSpPr>
        <p:spPr>
          <a:xfrm>
            <a:off x="958261" y="4525846"/>
            <a:ext cx="7321882" cy="0"/>
          </a:xfrm>
          <a:prstGeom prst="straightConnector1">
            <a:avLst/>
          </a:prstGeom>
          <a:ln w="9525" cmpd="sng">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286" name="TextBox 285"/>
          <p:cNvSpPr txBox="1"/>
          <p:nvPr/>
        </p:nvSpPr>
        <p:spPr>
          <a:xfrm>
            <a:off x="409467" y="1176131"/>
            <a:ext cx="8157260" cy="646331"/>
          </a:xfrm>
          <a:prstGeom prst="rect">
            <a:avLst/>
          </a:prstGeom>
          <a:noFill/>
        </p:spPr>
        <p:txBody>
          <a:bodyPr wrap="square" rtlCol="0">
            <a:spAutoFit/>
          </a:bodyPr>
          <a:lstStyle/>
          <a:p>
            <a:pPr algn="ctr"/>
            <a:r>
              <a:rPr lang="en-US" sz="1200" b="1" dirty="0" smtClean="0"/>
              <a:t>Indicate where </a:t>
            </a:r>
            <a:r>
              <a:rPr lang="en-US" sz="1200" b="1" dirty="0"/>
              <a:t>your </a:t>
            </a:r>
            <a:r>
              <a:rPr lang="en-US" sz="1200" b="1" dirty="0" smtClean="0"/>
              <a:t>personal tendencies and preferences (or those of your institution’s) </a:t>
            </a:r>
            <a:r>
              <a:rPr lang="en-US" sz="1200" b="1" dirty="0"/>
              <a:t>fall on these dimensions.</a:t>
            </a:r>
          </a:p>
          <a:p>
            <a:pPr algn="ctr"/>
            <a:r>
              <a:rPr lang="en-US" sz="1200" dirty="0" smtClean="0"/>
              <a:t>n = 1,096</a:t>
            </a:r>
            <a:endParaRPr lang="en-US" sz="1200" dirty="0"/>
          </a:p>
        </p:txBody>
      </p:sp>
      <p:sp>
        <p:nvSpPr>
          <p:cNvPr id="79" name="Sun 78"/>
          <p:cNvSpPr/>
          <p:nvPr/>
        </p:nvSpPr>
        <p:spPr>
          <a:xfrm>
            <a:off x="6692758" y="3029863"/>
            <a:ext cx="375593" cy="348893"/>
          </a:xfrm>
          <a:prstGeom prst="sun">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Sun 79"/>
          <p:cNvSpPr/>
          <p:nvPr/>
        </p:nvSpPr>
        <p:spPr>
          <a:xfrm>
            <a:off x="4304836" y="4351399"/>
            <a:ext cx="375593" cy="348893"/>
          </a:xfrm>
          <a:prstGeom prst="sun">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361045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56061281-BD0D-6F47-BBB8-8F6BE6AA34E7}" type="slidenum">
              <a:rPr lang="en-US" smtClean="0"/>
              <a:pPr/>
              <a:t>12</a:t>
            </a:fld>
            <a:endParaRPr lang="en-US" dirty="0"/>
          </a:p>
        </p:txBody>
      </p:sp>
      <p:sp>
        <p:nvSpPr>
          <p:cNvPr id="5" name="Content Placeholder 4"/>
          <p:cNvSpPr>
            <a:spLocks noGrp="1"/>
          </p:cNvSpPr>
          <p:nvPr>
            <p:ph idx="14"/>
          </p:nvPr>
        </p:nvSpPr>
        <p:spPr/>
        <p:txBody>
          <a:bodyPr>
            <a:normAutofit/>
          </a:bodyPr>
          <a:lstStyle/>
          <a:p>
            <a:r>
              <a:rPr lang="en-US" dirty="0" smtClean="0"/>
              <a:t>Stakeholders Reported Varying Goals for Advising, First Year Retention </a:t>
            </a:r>
            <a:r>
              <a:rPr lang="en-US" dirty="0"/>
              <a:t>&amp; </a:t>
            </a:r>
            <a:r>
              <a:rPr lang="en-US" dirty="0" smtClean="0"/>
              <a:t>On-time Completion Were Most Popular</a:t>
            </a:r>
            <a:endParaRPr lang="en-US" dirty="0"/>
          </a:p>
        </p:txBody>
      </p:sp>
      <p:grpSp>
        <p:nvGrpSpPr>
          <p:cNvPr id="77" name="Group 76"/>
          <p:cNvGrpSpPr/>
          <p:nvPr>
            <p:custDataLst>
              <p:tags r:id="rId1"/>
            </p:custDataLst>
          </p:nvPr>
        </p:nvGrpSpPr>
        <p:grpSpPr>
          <a:xfrm>
            <a:off x="816544" y="2443104"/>
            <a:ext cx="7556231" cy="4101985"/>
            <a:chOff x="816544" y="2443104"/>
            <a:chExt cx="7556231" cy="4101985"/>
          </a:xfrm>
        </p:grpSpPr>
        <p:sp>
          <p:nvSpPr>
            <p:cNvPr id="2" name="Rectangle 1"/>
            <p:cNvSpPr/>
            <p:nvPr>
              <p:custDataLst>
                <p:tags r:id="rId2"/>
              </p:custDataLst>
            </p:nvPr>
          </p:nvSpPr>
          <p:spPr bwMode="gray">
            <a:xfrm>
              <a:off x="2749644" y="4100169"/>
              <a:ext cx="449850" cy="1411924"/>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4" name="Rectangle 3"/>
            <p:cNvSpPr/>
            <p:nvPr>
              <p:custDataLst>
                <p:tags r:id="rId3"/>
              </p:custDataLst>
            </p:nvPr>
          </p:nvSpPr>
          <p:spPr bwMode="gray">
            <a:xfrm>
              <a:off x="6348448" y="5190862"/>
              <a:ext cx="449851" cy="321231"/>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4" name="Rectangle 13"/>
            <p:cNvSpPr/>
            <p:nvPr>
              <p:custDataLst>
                <p:tags r:id="rId4"/>
              </p:custDataLst>
            </p:nvPr>
          </p:nvSpPr>
          <p:spPr bwMode="gray">
            <a:xfrm>
              <a:off x="4908926" y="4518518"/>
              <a:ext cx="449851" cy="993576"/>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6" name="Rectangle 5"/>
            <p:cNvSpPr/>
            <p:nvPr>
              <p:custDataLst>
                <p:tags r:id="rId5"/>
              </p:custDataLst>
            </p:nvPr>
          </p:nvSpPr>
          <p:spPr bwMode="gray">
            <a:xfrm>
              <a:off x="1310122" y="2714393"/>
              <a:ext cx="449850" cy="2797701"/>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7" name="Rectangle 6"/>
            <p:cNvSpPr/>
            <p:nvPr>
              <p:custDataLst>
                <p:tags r:id="rId6"/>
              </p:custDataLst>
            </p:nvPr>
          </p:nvSpPr>
          <p:spPr bwMode="gray">
            <a:xfrm>
              <a:off x="7787970" y="5426183"/>
              <a:ext cx="449850" cy="85911"/>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 name="Rectangle 8"/>
            <p:cNvSpPr/>
            <p:nvPr>
              <p:custDataLst>
                <p:tags r:id="rId7"/>
              </p:custDataLst>
            </p:nvPr>
          </p:nvSpPr>
          <p:spPr bwMode="gray">
            <a:xfrm>
              <a:off x="4189165" y="4283197"/>
              <a:ext cx="449851" cy="1228896"/>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 name="Rectangle 9"/>
            <p:cNvSpPr/>
            <p:nvPr>
              <p:custDataLst>
                <p:tags r:id="rId8"/>
              </p:custDataLst>
            </p:nvPr>
          </p:nvSpPr>
          <p:spPr bwMode="gray">
            <a:xfrm>
              <a:off x="7068208" y="5299184"/>
              <a:ext cx="449850" cy="212909"/>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3" name="Rectangle 12"/>
            <p:cNvSpPr/>
            <p:nvPr>
              <p:custDataLst>
                <p:tags r:id="rId9"/>
              </p:custDataLst>
            </p:nvPr>
          </p:nvSpPr>
          <p:spPr bwMode="gray">
            <a:xfrm>
              <a:off x="2029883" y="3700498"/>
              <a:ext cx="449850" cy="1811595"/>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2" name="Rectangle 11"/>
            <p:cNvSpPr/>
            <p:nvPr>
              <p:custDataLst>
                <p:tags r:id="rId10"/>
              </p:custDataLst>
            </p:nvPr>
          </p:nvSpPr>
          <p:spPr bwMode="gray">
            <a:xfrm>
              <a:off x="3469405" y="4253315"/>
              <a:ext cx="449850" cy="1258778"/>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8" name="Rectangle 7"/>
            <p:cNvSpPr/>
            <p:nvPr>
              <p:custDataLst>
                <p:tags r:id="rId11"/>
              </p:custDataLst>
            </p:nvPr>
          </p:nvSpPr>
          <p:spPr bwMode="gray">
            <a:xfrm>
              <a:off x="5628687" y="4809867"/>
              <a:ext cx="449851" cy="702227"/>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cxnSp>
          <p:nvCxnSpPr>
            <p:cNvPr id="61" name="Straight Connector 60"/>
            <p:cNvCxnSpPr/>
            <p:nvPr>
              <p:custDataLst>
                <p:tags r:id="rId12"/>
              </p:custDataLst>
            </p:nvPr>
          </p:nvCxnSpPr>
          <p:spPr bwMode="gray">
            <a:xfrm flipV="1">
              <a:off x="1175167" y="2523895"/>
              <a:ext cx="0" cy="2988198"/>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custDataLst>
                <p:tags r:id="rId13"/>
              </p:custDataLst>
            </p:nvPr>
          </p:nvCxnSpPr>
          <p:spPr bwMode="gray">
            <a:xfrm>
              <a:off x="1175167" y="5512093"/>
              <a:ext cx="7197608"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custDataLst>
                <p:tags r:id="rId14"/>
              </p:custDataLst>
            </p:nvPr>
          </p:nvCxnSpPr>
          <p:spPr bwMode="gray">
            <a:xfrm flipH="1">
              <a:off x="1124367" y="364446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custDataLst>
                <p:tags r:id="rId15"/>
              </p:custDataLst>
            </p:nvPr>
          </p:nvCxnSpPr>
          <p:spPr bwMode="gray">
            <a:xfrm flipH="1">
              <a:off x="1124367" y="513856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p:custDataLst>
                <p:tags r:id="rId16"/>
              </p:custDataLst>
            </p:nvPr>
          </p:nvCxnSpPr>
          <p:spPr bwMode="gray">
            <a:xfrm flipH="1">
              <a:off x="1124367" y="5512093"/>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custDataLst>
                <p:tags r:id="rId17"/>
              </p:custDataLst>
            </p:nvPr>
          </p:nvCxnSpPr>
          <p:spPr bwMode="gray">
            <a:xfrm flipH="1">
              <a:off x="1124367" y="476504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custDataLst>
                <p:tags r:id="rId18"/>
              </p:custDataLst>
            </p:nvPr>
          </p:nvCxnSpPr>
          <p:spPr bwMode="gray">
            <a:xfrm flipH="1">
              <a:off x="1124367" y="401799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custDataLst>
                <p:tags r:id="rId19"/>
              </p:custDataLst>
            </p:nvPr>
          </p:nvCxnSpPr>
          <p:spPr bwMode="gray">
            <a:xfrm flipH="1">
              <a:off x="1124367" y="439151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custDataLst>
                <p:tags r:id="rId20"/>
              </p:custDataLst>
            </p:nvPr>
          </p:nvCxnSpPr>
          <p:spPr bwMode="gray">
            <a:xfrm flipH="1">
              <a:off x="1124367" y="2897420"/>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custDataLst>
                <p:tags r:id="rId21"/>
              </p:custDataLst>
            </p:nvPr>
          </p:nvCxnSpPr>
          <p:spPr bwMode="gray">
            <a:xfrm flipH="1">
              <a:off x="1124367" y="3270945"/>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p:custDataLst>
                <p:tags r:id="rId22"/>
              </p:custDataLst>
            </p:nvPr>
          </p:nvCxnSpPr>
          <p:spPr bwMode="gray">
            <a:xfrm flipH="1">
              <a:off x="1124367" y="2523895"/>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38" name="TextBox 37"/>
            <p:cNvSpPr txBox="1"/>
            <p:nvPr>
              <p:custDataLst>
                <p:tags r:id="rId23"/>
              </p:custDataLst>
            </p:nvPr>
          </p:nvSpPr>
          <p:spPr bwMode="gray">
            <a:xfrm>
              <a:off x="816544" y="5057777"/>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a:t>
              </a:r>
              <a:endParaRPr lang="en-US" sz="1050">
                <a:effectLst/>
                <a:latin typeface="Arial"/>
              </a:endParaRPr>
            </a:p>
          </p:txBody>
        </p:sp>
        <p:sp>
          <p:nvSpPr>
            <p:cNvPr id="41" name="TextBox 40"/>
            <p:cNvSpPr txBox="1"/>
            <p:nvPr>
              <p:custDataLst>
                <p:tags r:id="rId24"/>
              </p:custDataLst>
            </p:nvPr>
          </p:nvSpPr>
          <p:spPr bwMode="gray">
            <a:xfrm>
              <a:off x="891431" y="5431302"/>
              <a:ext cx="23278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0%</a:t>
              </a:r>
              <a:endParaRPr lang="en-US" sz="1050">
                <a:effectLst/>
                <a:latin typeface="Arial"/>
              </a:endParaRPr>
            </a:p>
          </p:txBody>
        </p:sp>
        <p:sp>
          <p:nvSpPr>
            <p:cNvPr id="26" name="TextBox 25"/>
            <p:cNvSpPr txBox="1"/>
            <p:nvPr>
              <p:custDataLst>
                <p:tags r:id="rId25"/>
              </p:custDataLst>
            </p:nvPr>
          </p:nvSpPr>
          <p:spPr bwMode="gray">
            <a:xfrm>
              <a:off x="816544" y="2816628"/>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70%</a:t>
              </a:r>
              <a:endParaRPr lang="en-US" sz="1050">
                <a:effectLst/>
                <a:latin typeface="Arial"/>
              </a:endParaRPr>
            </a:p>
          </p:txBody>
        </p:sp>
        <p:sp>
          <p:nvSpPr>
            <p:cNvPr id="46" name="TextBox 45"/>
            <p:cNvSpPr txBox="1"/>
            <p:nvPr>
              <p:custDataLst>
                <p:tags r:id="rId26"/>
              </p:custDataLst>
            </p:nvPr>
          </p:nvSpPr>
          <p:spPr bwMode="gray">
            <a:xfrm>
              <a:off x="816544" y="4684252"/>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20%</a:t>
              </a:r>
              <a:endParaRPr lang="en-US" sz="1050">
                <a:effectLst/>
                <a:latin typeface="Arial"/>
              </a:endParaRPr>
            </a:p>
          </p:txBody>
        </p:sp>
        <p:sp>
          <p:nvSpPr>
            <p:cNvPr id="42" name="TextBox 41"/>
            <p:cNvSpPr txBox="1"/>
            <p:nvPr>
              <p:custDataLst>
                <p:tags r:id="rId27"/>
              </p:custDataLst>
            </p:nvPr>
          </p:nvSpPr>
          <p:spPr bwMode="gray">
            <a:xfrm>
              <a:off x="816544" y="3937203"/>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40%</a:t>
              </a:r>
              <a:endParaRPr lang="en-US" sz="1050">
                <a:effectLst/>
                <a:latin typeface="Arial"/>
              </a:endParaRPr>
            </a:p>
          </p:txBody>
        </p:sp>
        <p:sp>
          <p:nvSpPr>
            <p:cNvPr id="27" name="TextBox 26"/>
            <p:cNvSpPr txBox="1"/>
            <p:nvPr>
              <p:custDataLst>
                <p:tags r:id="rId28"/>
              </p:custDataLst>
            </p:nvPr>
          </p:nvSpPr>
          <p:spPr bwMode="gray">
            <a:xfrm>
              <a:off x="816544" y="3563678"/>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50%</a:t>
              </a:r>
              <a:endParaRPr lang="en-US" sz="1050">
                <a:effectLst/>
                <a:latin typeface="Arial"/>
              </a:endParaRPr>
            </a:p>
          </p:txBody>
        </p:sp>
        <p:sp>
          <p:nvSpPr>
            <p:cNvPr id="28" name="TextBox 27"/>
            <p:cNvSpPr txBox="1"/>
            <p:nvPr>
              <p:custDataLst>
                <p:tags r:id="rId29"/>
              </p:custDataLst>
            </p:nvPr>
          </p:nvSpPr>
          <p:spPr bwMode="gray">
            <a:xfrm>
              <a:off x="816544" y="3190153"/>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60%</a:t>
              </a:r>
              <a:endParaRPr lang="en-US" sz="1050">
                <a:effectLst/>
                <a:latin typeface="Arial"/>
              </a:endParaRPr>
            </a:p>
          </p:txBody>
        </p:sp>
        <p:sp>
          <p:nvSpPr>
            <p:cNvPr id="29" name="TextBox 28"/>
            <p:cNvSpPr txBox="1"/>
            <p:nvPr>
              <p:custDataLst>
                <p:tags r:id="rId30"/>
              </p:custDataLst>
            </p:nvPr>
          </p:nvSpPr>
          <p:spPr bwMode="gray">
            <a:xfrm>
              <a:off x="816544" y="244310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80%</a:t>
              </a:r>
              <a:endParaRPr lang="en-US" sz="1050">
                <a:effectLst/>
                <a:latin typeface="Arial"/>
              </a:endParaRPr>
            </a:p>
          </p:txBody>
        </p:sp>
        <p:sp>
          <p:nvSpPr>
            <p:cNvPr id="45" name="TextBox 44"/>
            <p:cNvSpPr txBox="1"/>
            <p:nvPr>
              <p:custDataLst>
                <p:tags r:id="rId31"/>
              </p:custDataLst>
            </p:nvPr>
          </p:nvSpPr>
          <p:spPr bwMode="gray">
            <a:xfrm>
              <a:off x="816544" y="4310728"/>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30%</a:t>
              </a:r>
              <a:endParaRPr lang="en-US" sz="1050">
                <a:effectLst/>
                <a:latin typeface="Arial"/>
              </a:endParaRPr>
            </a:p>
          </p:txBody>
        </p:sp>
        <p:sp>
          <p:nvSpPr>
            <p:cNvPr id="119" name="TextBox 118"/>
            <p:cNvSpPr txBox="1"/>
            <p:nvPr>
              <p:custDataLst>
                <p:tags r:id="rId32"/>
              </p:custDataLst>
            </p:nvPr>
          </p:nvSpPr>
          <p:spPr bwMode="gray">
            <a:xfrm>
              <a:off x="1910136" y="5575593"/>
              <a:ext cx="689343" cy="646331"/>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On-time </a:t>
              </a:r>
            </a:p>
            <a:p>
              <a:pPr algn="ctr"/>
              <a:r>
                <a:rPr lang="en-US" sz="1050" smtClean="0">
                  <a:effectLst/>
                  <a:latin typeface="Arial"/>
                </a:rPr>
                <a:t>4-year </a:t>
              </a:r>
            </a:p>
            <a:p>
              <a:pPr algn="ctr"/>
              <a:r>
                <a:rPr lang="en-US" sz="1050" smtClean="0">
                  <a:effectLst/>
                  <a:latin typeface="Arial"/>
                </a:rPr>
                <a:t>degree </a:t>
              </a:r>
            </a:p>
            <a:p>
              <a:pPr algn="ctr"/>
              <a:r>
                <a:rPr lang="en-US" sz="1050" smtClean="0">
                  <a:effectLst/>
                  <a:latin typeface="Arial"/>
                </a:rPr>
                <a:t>completion</a:t>
              </a:r>
              <a:endParaRPr lang="en-US" sz="1050">
                <a:effectLst/>
                <a:latin typeface="Arial"/>
              </a:endParaRPr>
            </a:p>
          </p:txBody>
        </p:sp>
        <p:sp>
          <p:nvSpPr>
            <p:cNvPr id="118" name="TextBox 117"/>
            <p:cNvSpPr txBox="1"/>
            <p:nvPr>
              <p:custDataLst>
                <p:tags r:id="rId33"/>
              </p:custDataLst>
            </p:nvPr>
          </p:nvSpPr>
          <p:spPr bwMode="gray">
            <a:xfrm>
              <a:off x="4774223" y="5575593"/>
              <a:ext cx="719258"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Declaration</a:t>
              </a:r>
            </a:p>
            <a:p>
              <a:pPr algn="ctr"/>
              <a:r>
                <a:rPr lang="en-US" sz="1050" smtClean="0">
                  <a:effectLst/>
                  <a:latin typeface="Arial"/>
                </a:rPr>
                <a:t>of Major</a:t>
              </a:r>
              <a:endParaRPr lang="en-US" sz="1050">
                <a:effectLst/>
                <a:latin typeface="Arial"/>
              </a:endParaRPr>
            </a:p>
          </p:txBody>
        </p:sp>
        <p:sp>
          <p:nvSpPr>
            <p:cNvPr id="49" name="TextBox 48"/>
            <p:cNvSpPr txBox="1"/>
            <p:nvPr>
              <p:custDataLst>
                <p:tags r:id="rId34"/>
              </p:custDataLst>
            </p:nvPr>
          </p:nvSpPr>
          <p:spPr bwMode="gray">
            <a:xfrm>
              <a:off x="3349658" y="5575593"/>
              <a:ext cx="689343" cy="646331"/>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On-time </a:t>
              </a:r>
            </a:p>
            <a:p>
              <a:pPr algn="ctr"/>
              <a:r>
                <a:rPr lang="en-US" sz="1050" smtClean="0">
                  <a:effectLst/>
                  <a:latin typeface="Arial"/>
                </a:rPr>
                <a:t>2-year </a:t>
              </a:r>
            </a:p>
            <a:p>
              <a:pPr algn="ctr"/>
              <a:r>
                <a:rPr lang="en-US" sz="1050" smtClean="0">
                  <a:effectLst/>
                  <a:latin typeface="Arial"/>
                </a:rPr>
                <a:t>degree </a:t>
              </a:r>
            </a:p>
            <a:p>
              <a:pPr algn="ctr"/>
              <a:r>
                <a:rPr lang="en-US" sz="1050" smtClean="0">
                  <a:effectLst/>
                  <a:latin typeface="Arial"/>
                </a:rPr>
                <a:t>completion</a:t>
              </a:r>
              <a:endParaRPr lang="en-US" sz="1050">
                <a:effectLst/>
                <a:latin typeface="Arial"/>
              </a:endParaRPr>
            </a:p>
          </p:txBody>
        </p:sp>
        <p:sp>
          <p:nvSpPr>
            <p:cNvPr id="33" name="TextBox 32"/>
            <p:cNvSpPr txBox="1"/>
            <p:nvPr>
              <p:custDataLst>
                <p:tags r:id="rId35"/>
              </p:custDataLst>
            </p:nvPr>
          </p:nvSpPr>
          <p:spPr bwMode="gray">
            <a:xfrm>
              <a:off x="5573636" y="5575593"/>
              <a:ext cx="559954"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Career </a:t>
              </a:r>
            </a:p>
            <a:p>
              <a:pPr algn="ctr"/>
              <a:r>
                <a:rPr lang="en-US" sz="1050" smtClean="0">
                  <a:effectLst/>
                  <a:latin typeface="Arial"/>
                </a:rPr>
                <a:t>Advising</a:t>
              </a:r>
              <a:endParaRPr lang="en-US" sz="1050">
                <a:effectLst/>
                <a:latin typeface="Arial"/>
              </a:endParaRPr>
            </a:p>
          </p:txBody>
        </p:sp>
        <p:sp>
          <p:nvSpPr>
            <p:cNvPr id="30" name="TextBox 29"/>
            <p:cNvSpPr txBox="1"/>
            <p:nvPr>
              <p:custDataLst>
                <p:tags r:id="rId36"/>
              </p:custDataLst>
            </p:nvPr>
          </p:nvSpPr>
          <p:spPr bwMode="gray">
            <a:xfrm>
              <a:off x="6228701" y="5575593"/>
              <a:ext cx="689343" cy="96949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On-time </a:t>
              </a:r>
            </a:p>
            <a:p>
              <a:pPr algn="ctr"/>
              <a:r>
                <a:rPr lang="en-US" sz="1050" smtClean="0">
                  <a:effectLst/>
                  <a:latin typeface="Arial"/>
                </a:rPr>
                <a:t>completion </a:t>
              </a:r>
            </a:p>
            <a:p>
              <a:pPr algn="ctr"/>
              <a:r>
                <a:rPr lang="en-US" sz="1050" smtClean="0">
                  <a:effectLst/>
                  <a:latin typeface="Arial"/>
                </a:rPr>
                <a:t>of other </a:t>
              </a:r>
            </a:p>
            <a:p>
              <a:pPr algn="ctr"/>
              <a:r>
                <a:rPr lang="en-US" sz="1050" smtClean="0">
                  <a:effectLst/>
                  <a:latin typeface="Arial"/>
                </a:rPr>
                <a:t>than 2 </a:t>
              </a:r>
            </a:p>
            <a:p>
              <a:pPr algn="ctr"/>
              <a:r>
                <a:rPr lang="en-US" sz="1050" smtClean="0">
                  <a:effectLst/>
                  <a:latin typeface="Arial"/>
                </a:rPr>
                <a:t>or 4 year </a:t>
              </a:r>
            </a:p>
            <a:p>
              <a:pPr algn="ctr"/>
              <a:r>
                <a:rPr lang="en-US" sz="1050" smtClean="0">
                  <a:effectLst/>
                  <a:latin typeface="Arial"/>
                </a:rPr>
                <a:t>degree</a:t>
              </a:r>
              <a:endParaRPr lang="en-US" sz="1050">
                <a:effectLst/>
                <a:latin typeface="Arial"/>
              </a:endParaRPr>
            </a:p>
          </p:txBody>
        </p:sp>
        <p:sp>
          <p:nvSpPr>
            <p:cNvPr id="31" name="TextBox 30"/>
            <p:cNvSpPr txBox="1"/>
            <p:nvPr>
              <p:custDataLst>
                <p:tags r:id="rId37"/>
              </p:custDataLst>
            </p:nvPr>
          </p:nvSpPr>
          <p:spPr bwMode="gray">
            <a:xfrm>
              <a:off x="4109162" y="5575593"/>
              <a:ext cx="609857" cy="646331"/>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Reaching </a:t>
              </a:r>
            </a:p>
            <a:p>
              <a:pPr algn="ctr"/>
              <a:r>
                <a:rPr lang="en-US" sz="1050" smtClean="0">
                  <a:effectLst/>
                  <a:latin typeface="Arial"/>
                </a:rPr>
                <a:t>students </a:t>
              </a:r>
            </a:p>
            <a:p>
              <a:pPr algn="ctr"/>
              <a:r>
                <a:rPr lang="en-US" sz="1050" smtClean="0">
                  <a:effectLst/>
                  <a:latin typeface="Arial"/>
                </a:rPr>
                <a:t>more </a:t>
              </a:r>
            </a:p>
            <a:p>
              <a:pPr algn="ctr"/>
              <a:r>
                <a:rPr lang="en-US" sz="1050" smtClean="0">
                  <a:effectLst/>
                  <a:latin typeface="Arial"/>
                </a:rPr>
                <a:t>efficiently</a:t>
              </a:r>
              <a:endParaRPr lang="en-US" sz="1050" dirty="0">
                <a:effectLst/>
                <a:latin typeface="Arial"/>
              </a:endParaRPr>
            </a:p>
          </p:txBody>
        </p:sp>
        <p:sp>
          <p:nvSpPr>
            <p:cNvPr id="225" name="TextBox 224"/>
            <p:cNvSpPr txBox="1"/>
            <p:nvPr>
              <p:custDataLst>
                <p:tags r:id="rId38"/>
              </p:custDataLst>
            </p:nvPr>
          </p:nvSpPr>
          <p:spPr bwMode="gray">
            <a:xfrm>
              <a:off x="7675718" y="5575593"/>
              <a:ext cx="674352"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Job </a:t>
              </a:r>
            </a:p>
            <a:p>
              <a:pPr algn="ctr"/>
              <a:r>
                <a:rPr lang="en-US" sz="1050" smtClean="0">
                  <a:effectLst/>
                  <a:latin typeface="Arial"/>
                </a:rPr>
                <a:t>Placement</a:t>
              </a:r>
              <a:endParaRPr lang="en-US" sz="1050">
                <a:effectLst/>
                <a:latin typeface="Arial"/>
              </a:endParaRPr>
            </a:p>
          </p:txBody>
        </p:sp>
        <p:sp>
          <p:nvSpPr>
            <p:cNvPr id="227" name="TextBox 226"/>
            <p:cNvSpPr txBox="1"/>
            <p:nvPr>
              <p:custDataLst>
                <p:tags r:id="rId39"/>
              </p:custDataLst>
            </p:nvPr>
          </p:nvSpPr>
          <p:spPr bwMode="gray">
            <a:xfrm>
              <a:off x="6907337" y="5575593"/>
              <a:ext cx="771594"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Reach more</a:t>
              </a:r>
            </a:p>
            <a:p>
              <a:pPr algn="ctr"/>
              <a:r>
                <a:rPr lang="en-US" sz="1050" smtClean="0">
                  <a:effectLst/>
                  <a:latin typeface="Arial"/>
                </a:rPr>
                <a:t>students</a:t>
              </a:r>
            </a:p>
            <a:p>
              <a:pPr algn="ctr"/>
              <a:r>
                <a:rPr lang="en-US" sz="1050" smtClean="0">
                  <a:effectLst/>
                  <a:latin typeface="Arial"/>
                </a:rPr>
                <a:t>than I am</a:t>
              </a:r>
              <a:endParaRPr lang="en-US" sz="1050">
                <a:effectLst/>
                <a:latin typeface="Arial"/>
              </a:endParaRPr>
            </a:p>
          </p:txBody>
        </p:sp>
        <p:sp>
          <p:nvSpPr>
            <p:cNvPr id="230" name="TextBox 229"/>
            <p:cNvSpPr txBox="1"/>
            <p:nvPr>
              <p:custDataLst>
                <p:tags r:id="rId40"/>
              </p:custDataLst>
            </p:nvPr>
          </p:nvSpPr>
          <p:spPr bwMode="gray">
            <a:xfrm>
              <a:off x="2607444" y="5575593"/>
              <a:ext cx="734249"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Student </a:t>
              </a:r>
            </a:p>
            <a:p>
              <a:pPr algn="ctr"/>
              <a:r>
                <a:rPr lang="en-US" sz="1050" smtClean="0">
                  <a:effectLst/>
                  <a:latin typeface="Arial"/>
                </a:rPr>
                <a:t>Satisfaction</a:t>
              </a:r>
              <a:endParaRPr lang="en-US" sz="1050">
                <a:effectLst/>
                <a:latin typeface="Arial"/>
              </a:endParaRPr>
            </a:p>
          </p:txBody>
        </p:sp>
        <p:sp>
          <p:nvSpPr>
            <p:cNvPr id="231" name="TextBox 230"/>
            <p:cNvSpPr txBox="1"/>
            <p:nvPr>
              <p:custDataLst>
                <p:tags r:id="rId41"/>
              </p:custDataLst>
            </p:nvPr>
          </p:nvSpPr>
          <p:spPr bwMode="gray">
            <a:xfrm>
              <a:off x="1225287" y="5575593"/>
              <a:ext cx="619522"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First-year </a:t>
              </a:r>
            </a:p>
            <a:p>
              <a:pPr algn="ctr"/>
              <a:r>
                <a:rPr lang="en-US" sz="1050" smtClean="0">
                  <a:effectLst/>
                  <a:latin typeface="Arial"/>
                </a:rPr>
                <a:t>Retention</a:t>
              </a:r>
              <a:endParaRPr lang="en-US" sz="1050">
                <a:effectLst/>
                <a:latin typeface="Arial"/>
              </a:endParaRPr>
            </a:p>
          </p:txBody>
        </p:sp>
        <p:sp>
          <p:nvSpPr>
            <p:cNvPr id="232" name="TextBox 231"/>
            <p:cNvSpPr txBox="1"/>
            <p:nvPr>
              <p:custDataLst>
                <p:tags r:id="rId42"/>
              </p:custDataLst>
            </p:nvPr>
          </p:nvSpPr>
          <p:spPr bwMode="gray">
            <a:xfrm>
              <a:off x="2100970" y="3500815"/>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49%</a:t>
              </a:r>
              <a:endParaRPr lang="en-US" sz="1050">
                <a:effectLst/>
                <a:latin typeface="Arial"/>
              </a:endParaRPr>
            </a:p>
          </p:txBody>
        </p:sp>
        <p:sp>
          <p:nvSpPr>
            <p:cNvPr id="233" name="TextBox 232"/>
            <p:cNvSpPr txBox="1"/>
            <p:nvPr>
              <p:custDataLst>
                <p:tags r:id="rId43"/>
              </p:custDataLst>
            </p:nvPr>
          </p:nvSpPr>
          <p:spPr bwMode="gray">
            <a:xfrm>
              <a:off x="4980014" y="431883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27%</a:t>
              </a:r>
              <a:endParaRPr lang="en-US" sz="1050">
                <a:effectLst/>
                <a:latin typeface="Arial"/>
              </a:endParaRPr>
            </a:p>
          </p:txBody>
        </p:sp>
        <p:sp>
          <p:nvSpPr>
            <p:cNvPr id="234" name="TextBox 233"/>
            <p:cNvSpPr txBox="1"/>
            <p:nvPr>
              <p:custDataLst>
                <p:tags r:id="rId44"/>
              </p:custDataLst>
            </p:nvPr>
          </p:nvSpPr>
          <p:spPr bwMode="gray">
            <a:xfrm>
              <a:off x="5699774" y="461018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19%</a:t>
              </a:r>
              <a:endParaRPr lang="en-US" sz="1050">
                <a:effectLst/>
                <a:latin typeface="Arial"/>
              </a:endParaRPr>
            </a:p>
          </p:txBody>
        </p:sp>
        <p:sp>
          <p:nvSpPr>
            <p:cNvPr id="235" name="TextBox 234"/>
            <p:cNvSpPr txBox="1"/>
            <p:nvPr>
              <p:custDataLst>
                <p:tags r:id="rId45"/>
              </p:custDataLst>
            </p:nvPr>
          </p:nvSpPr>
          <p:spPr bwMode="gray">
            <a:xfrm>
              <a:off x="3540492" y="4053632"/>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34%</a:t>
              </a:r>
              <a:endParaRPr lang="en-US" sz="1050">
                <a:effectLst/>
                <a:latin typeface="Arial"/>
              </a:endParaRPr>
            </a:p>
          </p:txBody>
        </p:sp>
        <p:sp>
          <p:nvSpPr>
            <p:cNvPr id="236" name="TextBox 235"/>
            <p:cNvSpPr txBox="1"/>
            <p:nvPr>
              <p:custDataLst>
                <p:tags r:id="rId46"/>
              </p:custDataLst>
            </p:nvPr>
          </p:nvSpPr>
          <p:spPr bwMode="gray">
            <a:xfrm>
              <a:off x="6456978" y="4991179"/>
              <a:ext cx="23278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9%</a:t>
              </a:r>
              <a:endParaRPr lang="en-US" sz="1050">
                <a:effectLst/>
                <a:latin typeface="Arial"/>
              </a:endParaRPr>
            </a:p>
          </p:txBody>
        </p:sp>
        <p:sp>
          <p:nvSpPr>
            <p:cNvPr id="237" name="TextBox 236"/>
            <p:cNvSpPr txBox="1"/>
            <p:nvPr>
              <p:custDataLst>
                <p:tags r:id="rId47"/>
              </p:custDataLst>
            </p:nvPr>
          </p:nvSpPr>
          <p:spPr bwMode="gray">
            <a:xfrm>
              <a:off x="4260253" y="408351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33%</a:t>
              </a:r>
              <a:endParaRPr lang="en-US" sz="1050">
                <a:effectLst/>
                <a:latin typeface="Arial"/>
              </a:endParaRPr>
            </a:p>
          </p:txBody>
        </p:sp>
        <p:sp>
          <p:nvSpPr>
            <p:cNvPr id="238" name="TextBox 237"/>
            <p:cNvSpPr txBox="1"/>
            <p:nvPr>
              <p:custDataLst>
                <p:tags r:id="rId48"/>
              </p:custDataLst>
            </p:nvPr>
          </p:nvSpPr>
          <p:spPr bwMode="gray">
            <a:xfrm>
              <a:off x="7896501" y="5226500"/>
              <a:ext cx="23278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2%</a:t>
              </a:r>
              <a:endParaRPr lang="en-US" sz="1050">
                <a:effectLst/>
                <a:latin typeface="Arial"/>
              </a:endParaRPr>
            </a:p>
          </p:txBody>
        </p:sp>
        <p:sp>
          <p:nvSpPr>
            <p:cNvPr id="239" name="TextBox 238"/>
            <p:cNvSpPr txBox="1"/>
            <p:nvPr>
              <p:custDataLst>
                <p:tags r:id="rId49"/>
              </p:custDataLst>
            </p:nvPr>
          </p:nvSpPr>
          <p:spPr bwMode="gray">
            <a:xfrm>
              <a:off x="7176740" y="5099501"/>
              <a:ext cx="23278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6%</a:t>
              </a:r>
              <a:endParaRPr lang="en-US" sz="1050">
                <a:effectLst/>
                <a:latin typeface="Arial"/>
              </a:endParaRPr>
            </a:p>
          </p:txBody>
        </p:sp>
        <p:sp>
          <p:nvSpPr>
            <p:cNvPr id="240" name="TextBox 239"/>
            <p:cNvSpPr txBox="1"/>
            <p:nvPr>
              <p:custDataLst>
                <p:tags r:id="rId50"/>
              </p:custDataLst>
            </p:nvPr>
          </p:nvSpPr>
          <p:spPr bwMode="gray">
            <a:xfrm>
              <a:off x="2820731" y="3900486"/>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38%</a:t>
              </a:r>
              <a:endParaRPr lang="en-US" sz="1050">
                <a:effectLst/>
                <a:latin typeface="Arial"/>
              </a:endParaRPr>
            </a:p>
          </p:txBody>
        </p:sp>
        <p:sp>
          <p:nvSpPr>
            <p:cNvPr id="243" name="TextBox 242"/>
            <p:cNvSpPr txBox="1"/>
            <p:nvPr>
              <p:custDataLst>
                <p:tags r:id="rId51"/>
              </p:custDataLst>
            </p:nvPr>
          </p:nvSpPr>
          <p:spPr bwMode="gray">
            <a:xfrm>
              <a:off x="1381210" y="2514710"/>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75%</a:t>
              </a:r>
              <a:endParaRPr lang="en-US" sz="1050" dirty="0">
                <a:effectLst/>
                <a:latin typeface="Arial"/>
              </a:endParaRPr>
            </a:p>
          </p:txBody>
        </p:sp>
      </p:grpSp>
      <p:sp>
        <p:nvSpPr>
          <p:cNvPr id="74" name="Content Placeholder 1"/>
          <p:cNvSpPr>
            <a:spLocks noGrp="1"/>
          </p:cNvSpPr>
          <p:nvPr>
            <p:ph idx="13"/>
          </p:nvPr>
        </p:nvSpPr>
        <p:spPr>
          <a:xfrm>
            <a:off x="526143" y="6126165"/>
            <a:ext cx="6291218" cy="643102"/>
          </a:xfrm>
        </p:spPr>
        <p:txBody>
          <a:bodyPr>
            <a:normAutofit/>
          </a:bodyPr>
          <a:lstStyle/>
          <a:p>
            <a:r>
              <a:rPr lang="en-US" sz="900" dirty="0" smtClean="0"/>
              <a:t>Sources: Tyton Partners Analysis</a:t>
            </a:r>
          </a:p>
        </p:txBody>
      </p:sp>
      <p:sp>
        <p:nvSpPr>
          <p:cNvPr id="146" name="TextBox 145"/>
          <p:cNvSpPr txBox="1"/>
          <p:nvPr/>
        </p:nvSpPr>
        <p:spPr>
          <a:xfrm>
            <a:off x="409467" y="1176131"/>
            <a:ext cx="8157260" cy="461665"/>
          </a:xfrm>
          <a:prstGeom prst="rect">
            <a:avLst/>
          </a:prstGeom>
          <a:noFill/>
        </p:spPr>
        <p:txBody>
          <a:bodyPr wrap="square" rtlCol="0">
            <a:spAutoFit/>
          </a:bodyPr>
          <a:lstStyle/>
          <a:p>
            <a:pPr algn="ctr"/>
            <a:r>
              <a:rPr lang="en-US" sz="1200" b="1" dirty="0"/>
              <a:t>What are the primary goals of your undergraduate academic planning and advising efforts? </a:t>
            </a:r>
            <a:r>
              <a:rPr lang="en-US" sz="1200" b="1" dirty="0" smtClean="0"/>
              <a:t>(Please </a:t>
            </a:r>
            <a:r>
              <a:rPr lang="en-US" sz="1200" b="1" dirty="0"/>
              <a:t>select up to </a:t>
            </a:r>
            <a:r>
              <a:rPr lang="en-US" sz="1200" b="1" dirty="0" smtClean="0"/>
              <a:t>three.); </a:t>
            </a:r>
            <a:r>
              <a:rPr lang="en-US" sz="1200" dirty="0" smtClean="0"/>
              <a:t>n = 1,096</a:t>
            </a:r>
            <a:endParaRPr lang="en-US" sz="1200" dirty="0"/>
          </a:p>
        </p:txBody>
      </p:sp>
      <p:cxnSp>
        <p:nvCxnSpPr>
          <p:cNvPr id="17" name="Straight Connector 16"/>
          <p:cNvCxnSpPr>
            <a:stCxn id="18" idx="2"/>
            <a:endCxn id="239" idx="0"/>
          </p:cNvCxnSpPr>
          <p:nvPr/>
        </p:nvCxnSpPr>
        <p:spPr>
          <a:xfrm>
            <a:off x="7266427" y="3689014"/>
            <a:ext cx="26707" cy="1410487"/>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18" name="Rectangle 17"/>
          <p:cNvSpPr/>
          <p:nvPr/>
        </p:nvSpPr>
        <p:spPr>
          <a:xfrm>
            <a:off x="6418984" y="2728895"/>
            <a:ext cx="1694885" cy="960119"/>
          </a:xfrm>
          <a:prstGeom prst="rect">
            <a:avLst/>
          </a:prstGeom>
          <a:noFill/>
          <a:ln w="12700" cmpd="sng">
            <a:solidFill>
              <a:srgbClr val="00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i="1" dirty="0">
                <a:solidFill>
                  <a:srgbClr val="000000"/>
                </a:solidFill>
              </a:rPr>
              <a:t>Stakeholders from 2-</a:t>
            </a:r>
            <a:r>
              <a:rPr lang="en-US" sz="1000" i="1" dirty="0" smtClean="0">
                <a:solidFill>
                  <a:srgbClr val="000000"/>
                </a:solidFill>
              </a:rPr>
              <a:t>Year institutions </a:t>
            </a:r>
            <a:r>
              <a:rPr lang="en-US" sz="1000" i="1" dirty="0">
                <a:solidFill>
                  <a:srgbClr val="000000"/>
                </a:solidFill>
              </a:rPr>
              <a:t>p</a:t>
            </a:r>
            <a:r>
              <a:rPr lang="en-US" sz="1000" i="1" dirty="0" smtClean="0">
                <a:solidFill>
                  <a:srgbClr val="000000"/>
                </a:solidFill>
              </a:rPr>
              <a:t>rioritize </a:t>
            </a:r>
            <a:r>
              <a:rPr lang="en-US" sz="1000" i="1" dirty="0">
                <a:solidFill>
                  <a:srgbClr val="000000"/>
                </a:solidFill>
              </a:rPr>
              <a:t>r</a:t>
            </a:r>
            <a:r>
              <a:rPr lang="en-US" sz="1000" i="1" dirty="0" smtClean="0">
                <a:solidFill>
                  <a:srgbClr val="000000"/>
                </a:solidFill>
              </a:rPr>
              <a:t>eaching students more than those </a:t>
            </a:r>
            <a:r>
              <a:rPr lang="en-US" sz="1000" i="1" dirty="0">
                <a:solidFill>
                  <a:srgbClr val="000000"/>
                </a:solidFill>
              </a:rPr>
              <a:t>from </a:t>
            </a:r>
            <a:r>
              <a:rPr lang="en-US" sz="1000" i="1" dirty="0" smtClean="0">
                <a:solidFill>
                  <a:srgbClr val="000000"/>
                </a:solidFill>
              </a:rPr>
              <a:t>other institutions.</a:t>
            </a:r>
            <a:endParaRPr lang="en-US" sz="1000" i="1" dirty="0">
              <a:solidFill>
                <a:srgbClr val="000000"/>
              </a:solidFill>
            </a:endParaRPr>
          </a:p>
        </p:txBody>
      </p:sp>
      <p:cxnSp>
        <p:nvCxnSpPr>
          <p:cNvPr id="66" name="Straight Connector 65"/>
          <p:cNvCxnSpPr>
            <a:stCxn id="18" idx="1"/>
            <a:endCxn id="237" idx="3"/>
          </p:cNvCxnSpPr>
          <p:nvPr/>
        </p:nvCxnSpPr>
        <p:spPr>
          <a:xfrm flipH="1">
            <a:off x="4567928" y="3208955"/>
            <a:ext cx="1851056" cy="955351"/>
          </a:xfrm>
          <a:prstGeom prst="line">
            <a:avLst/>
          </a:prstGeom>
          <a:ln w="12700" cmpd="sng">
            <a:solidFill>
              <a:srgbClr val="000000"/>
            </a:solidFill>
            <a:prstDash val="dash"/>
          </a:ln>
        </p:spPr>
        <p:style>
          <a:lnRef idx="2">
            <a:schemeClr val="accent1"/>
          </a:lnRef>
          <a:fillRef idx="0">
            <a:schemeClr val="accent1"/>
          </a:fillRef>
          <a:effectRef idx="1">
            <a:schemeClr val="accent1"/>
          </a:effectRef>
          <a:fontRef idx="minor">
            <a:schemeClr val="tx1"/>
          </a:fontRef>
        </p:style>
      </p:cxnSp>
      <p:sp>
        <p:nvSpPr>
          <p:cNvPr id="89" name="Rectangle 88"/>
          <p:cNvSpPr/>
          <p:nvPr/>
        </p:nvSpPr>
        <p:spPr>
          <a:xfrm>
            <a:off x="2100971" y="1752129"/>
            <a:ext cx="1694885" cy="1077958"/>
          </a:xfrm>
          <a:prstGeom prst="rect">
            <a:avLst/>
          </a:prstGeom>
          <a:noFill/>
          <a:ln w="12700" cmpd="sng">
            <a:solidFill>
              <a:srgbClr val="00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i="1" dirty="0">
                <a:solidFill>
                  <a:srgbClr val="000000"/>
                </a:solidFill>
              </a:rPr>
              <a:t>Stakeholders from </a:t>
            </a:r>
            <a:r>
              <a:rPr lang="en-US" sz="1000" i="1" dirty="0" smtClean="0">
                <a:solidFill>
                  <a:srgbClr val="000000"/>
                </a:solidFill>
              </a:rPr>
              <a:t>2</a:t>
            </a:r>
            <a:r>
              <a:rPr lang="en-US" sz="1000" i="1" dirty="0">
                <a:solidFill>
                  <a:srgbClr val="000000"/>
                </a:solidFill>
              </a:rPr>
              <a:t>-</a:t>
            </a:r>
            <a:r>
              <a:rPr lang="en-US" sz="1000" i="1" dirty="0" smtClean="0">
                <a:solidFill>
                  <a:srgbClr val="000000"/>
                </a:solidFill>
              </a:rPr>
              <a:t>Year institutions and 4-Year Publics prioritize First-year Retention over on-time completion, while 4-Year Privates are the opposite.</a:t>
            </a:r>
            <a:endParaRPr lang="en-US" sz="1000" i="1" dirty="0">
              <a:solidFill>
                <a:srgbClr val="000000"/>
              </a:solidFill>
            </a:endParaRPr>
          </a:p>
        </p:txBody>
      </p:sp>
      <p:cxnSp>
        <p:nvCxnSpPr>
          <p:cNvPr id="90" name="Straight Connector 89"/>
          <p:cNvCxnSpPr>
            <a:stCxn id="89" idx="1"/>
            <a:endCxn id="243" idx="0"/>
          </p:cNvCxnSpPr>
          <p:nvPr/>
        </p:nvCxnSpPr>
        <p:spPr>
          <a:xfrm flipH="1">
            <a:off x="1535048" y="2291108"/>
            <a:ext cx="565923" cy="223602"/>
          </a:xfrm>
          <a:prstGeom prst="line">
            <a:avLst/>
          </a:prstGeom>
          <a:ln w="12700" cmpd="sng">
            <a:solidFill>
              <a:srgbClr val="000000"/>
            </a:solidFill>
            <a:prstDash val="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204957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56061281-BD0D-6F47-BBB8-8F6BE6AA34E7}" type="slidenum">
              <a:rPr lang="en-US" smtClean="0"/>
              <a:pPr/>
              <a:t>13</a:t>
            </a:fld>
            <a:endParaRPr lang="en-US" dirty="0"/>
          </a:p>
        </p:txBody>
      </p:sp>
      <p:sp>
        <p:nvSpPr>
          <p:cNvPr id="5" name="Content Placeholder 4"/>
          <p:cNvSpPr>
            <a:spLocks noGrp="1"/>
          </p:cNvSpPr>
          <p:nvPr>
            <p:ph idx="14"/>
          </p:nvPr>
        </p:nvSpPr>
        <p:spPr/>
        <p:txBody>
          <a:bodyPr>
            <a:normAutofit/>
          </a:bodyPr>
          <a:lstStyle/>
          <a:p>
            <a:r>
              <a:rPr lang="en-US" dirty="0" smtClean="0"/>
              <a:t>Institutions Report </a:t>
            </a:r>
            <a:r>
              <a:rPr lang="en-US" dirty="0"/>
              <a:t>Clear Ownership Over Student </a:t>
            </a:r>
            <a:r>
              <a:rPr lang="en-US" dirty="0" smtClean="0"/>
              <a:t>Success, Some Are Becoming More Centralized</a:t>
            </a:r>
            <a:endParaRPr lang="en-US" dirty="0"/>
          </a:p>
        </p:txBody>
      </p:sp>
      <p:sp>
        <p:nvSpPr>
          <p:cNvPr id="74" name="Content Placeholder 1"/>
          <p:cNvSpPr>
            <a:spLocks noGrp="1"/>
          </p:cNvSpPr>
          <p:nvPr>
            <p:ph idx="13"/>
          </p:nvPr>
        </p:nvSpPr>
        <p:spPr>
          <a:xfrm>
            <a:off x="526143" y="6126165"/>
            <a:ext cx="6291218" cy="643102"/>
          </a:xfrm>
        </p:spPr>
        <p:txBody>
          <a:bodyPr>
            <a:normAutofit/>
          </a:bodyPr>
          <a:lstStyle/>
          <a:p>
            <a:r>
              <a:rPr lang="en-US" sz="900" dirty="0" smtClean="0"/>
              <a:t>Sources: Tyton Partners Analysis</a:t>
            </a:r>
          </a:p>
        </p:txBody>
      </p:sp>
      <p:sp>
        <p:nvSpPr>
          <p:cNvPr id="152" name="TextBox 151"/>
          <p:cNvSpPr txBox="1"/>
          <p:nvPr/>
        </p:nvSpPr>
        <p:spPr>
          <a:xfrm>
            <a:off x="409467" y="1176131"/>
            <a:ext cx="8157260" cy="461665"/>
          </a:xfrm>
          <a:prstGeom prst="rect">
            <a:avLst/>
          </a:prstGeom>
          <a:noFill/>
        </p:spPr>
        <p:txBody>
          <a:bodyPr wrap="square" rtlCol="0">
            <a:spAutoFit/>
          </a:bodyPr>
          <a:lstStyle/>
          <a:p>
            <a:pPr algn="ctr"/>
            <a:r>
              <a:rPr lang="en-US" sz="1200" b="1" dirty="0"/>
              <a:t>Indicate where your institution’s tendencies and preferences fall on these dimensions.</a:t>
            </a:r>
          </a:p>
          <a:p>
            <a:pPr algn="ctr"/>
            <a:r>
              <a:rPr lang="en-US" sz="1200" dirty="0" smtClean="0"/>
              <a:t>n = 1,096</a:t>
            </a:r>
            <a:endParaRPr lang="en-US" sz="1200" dirty="0"/>
          </a:p>
        </p:txBody>
      </p:sp>
      <p:grpSp>
        <p:nvGrpSpPr>
          <p:cNvPr id="243" name="Group 242"/>
          <p:cNvGrpSpPr/>
          <p:nvPr>
            <p:custDataLst>
              <p:tags r:id="rId1"/>
            </p:custDataLst>
          </p:nvPr>
        </p:nvGrpSpPr>
        <p:grpSpPr>
          <a:xfrm>
            <a:off x="1697198" y="1730141"/>
            <a:ext cx="6869526" cy="4783982"/>
            <a:chOff x="1697198" y="1730141"/>
            <a:chExt cx="6869526" cy="4783982"/>
          </a:xfrm>
        </p:grpSpPr>
        <p:sp>
          <p:nvSpPr>
            <p:cNvPr id="27" name="Rectangle 26"/>
            <p:cNvSpPr/>
            <p:nvPr>
              <p:custDataLst>
                <p:tags r:id="rId2"/>
              </p:custDataLst>
            </p:nvPr>
          </p:nvSpPr>
          <p:spPr bwMode="gray">
            <a:xfrm>
              <a:off x="5952848" y="2257099"/>
              <a:ext cx="2010674" cy="2152260"/>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 name="Rectangle 9"/>
            <p:cNvSpPr/>
            <p:nvPr>
              <p:custDataLst>
                <p:tags r:id="rId3"/>
              </p:custDataLst>
            </p:nvPr>
          </p:nvSpPr>
          <p:spPr bwMode="gray">
            <a:xfrm>
              <a:off x="2735769" y="2616121"/>
              <a:ext cx="2010674" cy="1389883"/>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27" name="Rectangle 226"/>
            <p:cNvSpPr/>
            <p:nvPr>
              <p:custDataLst>
                <p:tags r:id="rId4"/>
              </p:custDataLst>
            </p:nvPr>
          </p:nvSpPr>
          <p:spPr bwMode="gray">
            <a:xfrm>
              <a:off x="5952848" y="4409359"/>
              <a:ext cx="2010674" cy="1428137"/>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9" name="Rectangle 98"/>
            <p:cNvSpPr/>
            <p:nvPr>
              <p:custDataLst>
                <p:tags r:id="rId5"/>
              </p:custDataLst>
            </p:nvPr>
          </p:nvSpPr>
          <p:spPr bwMode="gray">
            <a:xfrm>
              <a:off x="2735769" y="4006004"/>
              <a:ext cx="2010674" cy="1831491"/>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29" name="Rectangle 228"/>
            <p:cNvSpPr/>
            <p:nvPr>
              <p:custDataLst>
                <p:tags r:id="rId6"/>
              </p:custDataLst>
            </p:nvPr>
          </p:nvSpPr>
          <p:spPr bwMode="gray">
            <a:xfrm>
              <a:off x="5952848" y="1810932"/>
              <a:ext cx="2010674" cy="446165"/>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24" name="Rectangle 223"/>
            <p:cNvSpPr/>
            <p:nvPr>
              <p:custDataLst>
                <p:tags r:id="rId7"/>
              </p:custDataLst>
            </p:nvPr>
          </p:nvSpPr>
          <p:spPr bwMode="gray">
            <a:xfrm>
              <a:off x="2735769" y="1810932"/>
              <a:ext cx="2010674" cy="805189"/>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cxnSp>
          <p:nvCxnSpPr>
            <p:cNvPr id="230" name="Straight Connector 229"/>
            <p:cNvCxnSpPr/>
            <p:nvPr>
              <p:custDataLst>
                <p:tags r:id="rId8"/>
              </p:custDataLst>
            </p:nvPr>
          </p:nvCxnSpPr>
          <p:spPr bwMode="gray">
            <a:xfrm>
              <a:off x="2132568" y="5837495"/>
              <a:ext cx="6434156"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31" name="Straight Connector 230"/>
            <p:cNvCxnSpPr/>
            <p:nvPr>
              <p:custDataLst>
                <p:tags r:id="rId9"/>
              </p:custDataLst>
            </p:nvPr>
          </p:nvCxnSpPr>
          <p:spPr bwMode="gray">
            <a:xfrm flipV="1">
              <a:off x="2132568" y="1810932"/>
              <a:ext cx="0" cy="4026563"/>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32" name="Straight Connector 231"/>
            <p:cNvCxnSpPr/>
            <p:nvPr>
              <p:custDataLst>
                <p:tags r:id="rId10"/>
              </p:custDataLst>
            </p:nvPr>
          </p:nvCxnSpPr>
          <p:spPr bwMode="gray">
            <a:xfrm flipH="1">
              <a:off x="2081768" y="5837495"/>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33" name="Straight Connector 232"/>
            <p:cNvCxnSpPr/>
            <p:nvPr>
              <p:custDataLst>
                <p:tags r:id="rId11"/>
              </p:custDataLst>
            </p:nvPr>
          </p:nvCxnSpPr>
          <p:spPr bwMode="gray">
            <a:xfrm flipH="1">
              <a:off x="2081768" y="4226871"/>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34" name="Straight Connector 233"/>
            <p:cNvCxnSpPr/>
            <p:nvPr>
              <p:custDataLst>
                <p:tags r:id="rId12"/>
              </p:custDataLst>
            </p:nvPr>
          </p:nvCxnSpPr>
          <p:spPr bwMode="gray">
            <a:xfrm flipH="1">
              <a:off x="2081768" y="543483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35" name="Straight Connector 234"/>
            <p:cNvCxnSpPr/>
            <p:nvPr>
              <p:custDataLst>
                <p:tags r:id="rId13"/>
              </p:custDataLst>
            </p:nvPr>
          </p:nvCxnSpPr>
          <p:spPr bwMode="gray">
            <a:xfrm flipH="1">
              <a:off x="2081768" y="5032183"/>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36" name="Straight Connector 235"/>
            <p:cNvCxnSpPr/>
            <p:nvPr>
              <p:custDataLst>
                <p:tags r:id="rId14"/>
              </p:custDataLst>
            </p:nvPr>
          </p:nvCxnSpPr>
          <p:spPr bwMode="gray">
            <a:xfrm flipH="1">
              <a:off x="2081768" y="4629527"/>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37" name="Straight Connector 236"/>
            <p:cNvCxnSpPr/>
            <p:nvPr>
              <p:custDataLst>
                <p:tags r:id="rId15"/>
              </p:custDataLst>
            </p:nvPr>
          </p:nvCxnSpPr>
          <p:spPr bwMode="gray">
            <a:xfrm flipH="1">
              <a:off x="2081768" y="2616246"/>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38" name="Straight Connector 237"/>
            <p:cNvCxnSpPr/>
            <p:nvPr>
              <p:custDataLst>
                <p:tags r:id="rId16"/>
              </p:custDataLst>
            </p:nvPr>
          </p:nvCxnSpPr>
          <p:spPr bwMode="gray">
            <a:xfrm flipH="1">
              <a:off x="2081768" y="2213590"/>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39" name="Straight Connector 238"/>
            <p:cNvCxnSpPr/>
            <p:nvPr>
              <p:custDataLst>
                <p:tags r:id="rId17"/>
              </p:custDataLst>
            </p:nvPr>
          </p:nvCxnSpPr>
          <p:spPr bwMode="gray">
            <a:xfrm flipH="1">
              <a:off x="2081768" y="1810932"/>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40" name="Straight Connector 239"/>
            <p:cNvCxnSpPr/>
            <p:nvPr>
              <p:custDataLst>
                <p:tags r:id="rId18"/>
              </p:custDataLst>
            </p:nvPr>
          </p:nvCxnSpPr>
          <p:spPr bwMode="gray">
            <a:xfrm flipH="1">
              <a:off x="2081768" y="382421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41" name="Straight Connector 240"/>
            <p:cNvCxnSpPr/>
            <p:nvPr>
              <p:custDataLst>
                <p:tags r:id="rId19"/>
              </p:custDataLst>
            </p:nvPr>
          </p:nvCxnSpPr>
          <p:spPr bwMode="gray">
            <a:xfrm flipH="1">
              <a:off x="2081768" y="3421558"/>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42" name="Straight Connector 241"/>
            <p:cNvCxnSpPr/>
            <p:nvPr>
              <p:custDataLst>
                <p:tags r:id="rId20"/>
              </p:custDataLst>
            </p:nvPr>
          </p:nvCxnSpPr>
          <p:spPr bwMode="gray">
            <a:xfrm flipH="1">
              <a:off x="2081768" y="3018902"/>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204" name="TextBox 203"/>
            <p:cNvSpPr txBox="1"/>
            <p:nvPr>
              <p:custDataLst>
                <p:tags r:id="rId21"/>
              </p:custDataLst>
            </p:nvPr>
          </p:nvSpPr>
          <p:spPr bwMode="gray">
            <a:xfrm>
              <a:off x="1697198" y="1730141"/>
              <a:ext cx="384422"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0%</a:t>
              </a:r>
              <a:endParaRPr lang="en-US" sz="1050">
                <a:effectLst/>
                <a:latin typeface="Arial"/>
              </a:endParaRPr>
            </a:p>
          </p:txBody>
        </p:sp>
        <p:sp>
          <p:nvSpPr>
            <p:cNvPr id="206" name="TextBox 205"/>
            <p:cNvSpPr txBox="1"/>
            <p:nvPr>
              <p:custDataLst>
                <p:tags r:id="rId22"/>
              </p:custDataLst>
            </p:nvPr>
          </p:nvSpPr>
          <p:spPr bwMode="gray">
            <a:xfrm>
              <a:off x="1773944" y="3743422"/>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50%</a:t>
              </a:r>
              <a:endParaRPr lang="en-US" sz="1050">
                <a:effectLst/>
                <a:latin typeface="Arial"/>
              </a:endParaRPr>
            </a:p>
          </p:txBody>
        </p:sp>
        <p:sp>
          <p:nvSpPr>
            <p:cNvPr id="205" name="TextBox 204"/>
            <p:cNvSpPr txBox="1"/>
            <p:nvPr>
              <p:custDataLst>
                <p:tags r:id="rId23"/>
              </p:custDataLst>
            </p:nvPr>
          </p:nvSpPr>
          <p:spPr bwMode="gray">
            <a:xfrm>
              <a:off x="1773944" y="4548736"/>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30%</a:t>
              </a:r>
              <a:endParaRPr lang="en-US" sz="1050">
                <a:effectLst/>
                <a:latin typeface="Arial"/>
              </a:endParaRPr>
            </a:p>
          </p:txBody>
        </p:sp>
        <p:sp>
          <p:nvSpPr>
            <p:cNvPr id="207" name="TextBox 206"/>
            <p:cNvSpPr txBox="1"/>
            <p:nvPr>
              <p:custDataLst>
                <p:tags r:id="rId24"/>
              </p:custDataLst>
            </p:nvPr>
          </p:nvSpPr>
          <p:spPr bwMode="gray">
            <a:xfrm>
              <a:off x="1773944" y="4146079"/>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40%</a:t>
              </a:r>
              <a:endParaRPr lang="en-US" sz="1050">
                <a:effectLst/>
                <a:latin typeface="Arial"/>
              </a:endParaRPr>
            </a:p>
          </p:txBody>
        </p:sp>
        <p:sp>
          <p:nvSpPr>
            <p:cNvPr id="200" name="TextBox 199"/>
            <p:cNvSpPr txBox="1"/>
            <p:nvPr>
              <p:custDataLst>
                <p:tags r:id="rId25"/>
              </p:custDataLst>
            </p:nvPr>
          </p:nvSpPr>
          <p:spPr bwMode="gray">
            <a:xfrm>
              <a:off x="1773944" y="2938110"/>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70%</a:t>
              </a:r>
              <a:endParaRPr lang="en-US" sz="1050">
                <a:effectLst/>
                <a:latin typeface="Arial"/>
              </a:endParaRPr>
            </a:p>
          </p:txBody>
        </p:sp>
        <p:sp>
          <p:nvSpPr>
            <p:cNvPr id="203" name="TextBox 202"/>
            <p:cNvSpPr txBox="1"/>
            <p:nvPr>
              <p:custDataLst>
                <p:tags r:id="rId26"/>
              </p:custDataLst>
            </p:nvPr>
          </p:nvSpPr>
          <p:spPr bwMode="gray">
            <a:xfrm>
              <a:off x="1773944" y="2132798"/>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90%</a:t>
              </a:r>
              <a:endParaRPr lang="en-US" sz="1050">
                <a:effectLst/>
                <a:latin typeface="Arial"/>
              </a:endParaRPr>
            </a:p>
          </p:txBody>
        </p:sp>
        <p:sp>
          <p:nvSpPr>
            <p:cNvPr id="201" name="TextBox 200"/>
            <p:cNvSpPr txBox="1"/>
            <p:nvPr>
              <p:custDataLst>
                <p:tags r:id="rId27"/>
              </p:custDataLst>
            </p:nvPr>
          </p:nvSpPr>
          <p:spPr bwMode="gray">
            <a:xfrm>
              <a:off x="1773944" y="3340766"/>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60%</a:t>
              </a:r>
              <a:endParaRPr lang="en-US" sz="1050" dirty="0">
                <a:effectLst/>
                <a:latin typeface="Arial"/>
              </a:endParaRPr>
            </a:p>
          </p:txBody>
        </p:sp>
        <p:sp>
          <p:nvSpPr>
            <p:cNvPr id="202" name="TextBox 201"/>
            <p:cNvSpPr txBox="1"/>
            <p:nvPr>
              <p:custDataLst>
                <p:tags r:id="rId28"/>
              </p:custDataLst>
            </p:nvPr>
          </p:nvSpPr>
          <p:spPr bwMode="gray">
            <a:xfrm>
              <a:off x="1773944" y="253545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80%</a:t>
              </a:r>
              <a:endParaRPr lang="en-US" sz="1050">
                <a:effectLst/>
                <a:latin typeface="Arial"/>
              </a:endParaRPr>
            </a:p>
          </p:txBody>
        </p:sp>
        <p:sp>
          <p:nvSpPr>
            <p:cNvPr id="198" name="TextBox 197"/>
            <p:cNvSpPr txBox="1"/>
            <p:nvPr>
              <p:custDataLst>
                <p:tags r:id="rId29"/>
              </p:custDataLst>
            </p:nvPr>
          </p:nvSpPr>
          <p:spPr bwMode="gray">
            <a:xfrm>
              <a:off x="1773944" y="5354048"/>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a:t>
              </a:r>
              <a:endParaRPr lang="en-US" sz="1050">
                <a:effectLst/>
                <a:latin typeface="Arial"/>
              </a:endParaRPr>
            </a:p>
          </p:txBody>
        </p:sp>
        <p:sp>
          <p:nvSpPr>
            <p:cNvPr id="199" name="TextBox 198"/>
            <p:cNvSpPr txBox="1"/>
            <p:nvPr>
              <p:custDataLst>
                <p:tags r:id="rId30"/>
              </p:custDataLst>
            </p:nvPr>
          </p:nvSpPr>
          <p:spPr bwMode="gray">
            <a:xfrm>
              <a:off x="1848832" y="5756704"/>
              <a:ext cx="23278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0%</a:t>
              </a:r>
              <a:endParaRPr lang="en-US" sz="1050">
                <a:effectLst/>
                <a:latin typeface="Arial"/>
              </a:endParaRPr>
            </a:p>
          </p:txBody>
        </p:sp>
        <p:sp>
          <p:nvSpPr>
            <p:cNvPr id="197" name="TextBox 196"/>
            <p:cNvSpPr txBox="1"/>
            <p:nvPr>
              <p:custDataLst>
                <p:tags r:id="rId31"/>
              </p:custDataLst>
            </p:nvPr>
          </p:nvSpPr>
          <p:spPr bwMode="gray">
            <a:xfrm>
              <a:off x="1773944" y="4951392"/>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20%</a:t>
              </a:r>
              <a:endParaRPr lang="en-US" sz="1050">
                <a:effectLst/>
                <a:latin typeface="Arial"/>
              </a:endParaRPr>
            </a:p>
          </p:txBody>
        </p:sp>
        <p:sp>
          <p:nvSpPr>
            <p:cNvPr id="216" name="TextBox 215"/>
            <p:cNvSpPr txBox="1"/>
            <p:nvPr>
              <p:custDataLst>
                <p:tags r:id="rId32"/>
              </p:custDataLst>
            </p:nvPr>
          </p:nvSpPr>
          <p:spPr bwMode="gray">
            <a:xfrm>
              <a:off x="2566731" y="5900995"/>
              <a:ext cx="2348751"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i="1" smtClean="0">
                  <a:effectLst/>
                  <a:latin typeface="Arial"/>
                </a:rPr>
                <a:t>Clear ownership over student success </a:t>
              </a:r>
            </a:p>
            <a:p>
              <a:pPr algn="ctr"/>
              <a:r>
                <a:rPr lang="en-US" sz="1050" i="1" smtClean="0">
                  <a:effectLst/>
                  <a:latin typeface="Arial"/>
                </a:rPr>
                <a:t>initiatives exists at my institution</a:t>
              </a:r>
              <a:endParaRPr lang="en-US" sz="1050" i="1">
                <a:effectLst/>
                <a:latin typeface="Arial"/>
              </a:endParaRPr>
            </a:p>
          </p:txBody>
        </p:sp>
        <p:sp>
          <p:nvSpPr>
            <p:cNvPr id="244" name="TextBox 243"/>
            <p:cNvSpPr txBox="1"/>
            <p:nvPr>
              <p:custDataLst>
                <p:tags r:id="rId33"/>
              </p:custDataLst>
            </p:nvPr>
          </p:nvSpPr>
          <p:spPr bwMode="gray">
            <a:xfrm>
              <a:off x="5841109" y="5900995"/>
              <a:ext cx="2234152"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i="1" smtClean="0">
                  <a:effectLst/>
                  <a:latin typeface="Arial"/>
                </a:rPr>
                <a:t>My institution’s approach to advising </a:t>
              </a:r>
            </a:p>
            <a:p>
              <a:pPr algn="ctr"/>
              <a:r>
                <a:rPr lang="en-US" sz="1050" i="1" smtClean="0">
                  <a:effectLst/>
                  <a:latin typeface="Arial"/>
                </a:rPr>
                <a:t>is becoming more centralized </a:t>
              </a:r>
            </a:p>
            <a:p>
              <a:pPr algn="ctr"/>
              <a:endParaRPr lang="en-US" sz="1050" i="1">
                <a:effectLst/>
                <a:latin typeface="Arial"/>
              </a:endParaRPr>
            </a:p>
          </p:txBody>
        </p:sp>
        <p:sp>
          <p:nvSpPr>
            <p:cNvPr id="88" name="TextBox 87"/>
            <p:cNvSpPr txBox="1"/>
            <p:nvPr>
              <p:custDataLst>
                <p:tags r:id="rId34"/>
              </p:custDataLst>
            </p:nvPr>
          </p:nvSpPr>
          <p:spPr bwMode="gray">
            <a:xfrm>
              <a:off x="3587269" y="2132736"/>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0%</a:t>
              </a:r>
              <a:endParaRPr lang="en-US" sz="1050">
                <a:solidFill>
                  <a:schemeClr val="bg1"/>
                </a:solidFill>
                <a:effectLst/>
                <a:latin typeface="Arial"/>
              </a:endParaRPr>
            </a:p>
          </p:txBody>
        </p:sp>
        <p:sp>
          <p:nvSpPr>
            <p:cNvPr id="245" name="TextBox 244"/>
            <p:cNvSpPr txBox="1"/>
            <p:nvPr>
              <p:custDataLst>
                <p:tags r:id="rId35"/>
              </p:custDataLst>
            </p:nvPr>
          </p:nvSpPr>
          <p:spPr bwMode="gray">
            <a:xfrm>
              <a:off x="6804348" y="195322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1%</a:t>
              </a:r>
              <a:endParaRPr lang="en-US" sz="1050">
                <a:solidFill>
                  <a:schemeClr val="bg1"/>
                </a:solidFill>
                <a:effectLst/>
                <a:latin typeface="Arial"/>
              </a:endParaRPr>
            </a:p>
          </p:txBody>
        </p:sp>
        <p:sp>
          <p:nvSpPr>
            <p:cNvPr id="246" name="TextBox 245"/>
            <p:cNvSpPr txBox="1"/>
            <p:nvPr>
              <p:custDataLst>
                <p:tags r:id="rId36"/>
              </p:custDataLst>
            </p:nvPr>
          </p:nvSpPr>
          <p:spPr bwMode="gray">
            <a:xfrm>
              <a:off x="6804348" y="5042636"/>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5%</a:t>
              </a:r>
              <a:endParaRPr lang="en-US" sz="1050">
                <a:solidFill>
                  <a:schemeClr val="bg1"/>
                </a:solidFill>
                <a:effectLst/>
                <a:latin typeface="Arial"/>
              </a:endParaRPr>
            </a:p>
          </p:txBody>
        </p:sp>
        <p:sp>
          <p:nvSpPr>
            <p:cNvPr id="268" name="TextBox 267"/>
            <p:cNvSpPr txBox="1"/>
            <p:nvPr>
              <p:custDataLst>
                <p:tags r:id="rId37"/>
              </p:custDataLst>
            </p:nvPr>
          </p:nvSpPr>
          <p:spPr bwMode="gray">
            <a:xfrm>
              <a:off x="3587269" y="3230271"/>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5%</a:t>
              </a:r>
              <a:endParaRPr lang="en-US" sz="1050">
                <a:solidFill>
                  <a:schemeClr val="bg1"/>
                </a:solidFill>
                <a:effectLst/>
                <a:latin typeface="Arial"/>
              </a:endParaRPr>
            </a:p>
          </p:txBody>
        </p:sp>
        <p:sp>
          <p:nvSpPr>
            <p:cNvPr id="247" name="TextBox 246"/>
            <p:cNvSpPr txBox="1"/>
            <p:nvPr>
              <p:custDataLst>
                <p:tags r:id="rId38"/>
              </p:custDataLst>
            </p:nvPr>
          </p:nvSpPr>
          <p:spPr bwMode="gray">
            <a:xfrm>
              <a:off x="6804348" y="3252438"/>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3%</a:t>
              </a:r>
              <a:endParaRPr lang="en-US" sz="1050">
                <a:solidFill>
                  <a:schemeClr val="bg1"/>
                </a:solidFill>
                <a:effectLst/>
                <a:latin typeface="Arial"/>
              </a:endParaRPr>
            </a:p>
          </p:txBody>
        </p:sp>
        <p:sp>
          <p:nvSpPr>
            <p:cNvPr id="129" name="TextBox 128"/>
            <p:cNvSpPr txBox="1"/>
            <p:nvPr>
              <p:custDataLst>
                <p:tags r:id="rId39"/>
              </p:custDataLst>
            </p:nvPr>
          </p:nvSpPr>
          <p:spPr bwMode="gray">
            <a:xfrm>
              <a:off x="3587269" y="4840959"/>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45%</a:t>
              </a:r>
              <a:endParaRPr lang="en-US" sz="1050" dirty="0">
                <a:solidFill>
                  <a:schemeClr val="bg1"/>
                </a:solidFill>
                <a:effectLst/>
                <a:latin typeface="Arial"/>
              </a:endParaRPr>
            </a:p>
          </p:txBody>
        </p:sp>
        <p:sp>
          <p:nvSpPr>
            <p:cNvPr id="92" name="TextBox 91"/>
            <p:cNvSpPr txBox="1"/>
            <p:nvPr>
              <p:custDataLst>
                <p:tags r:id="rId40"/>
              </p:custDataLst>
            </p:nvPr>
          </p:nvSpPr>
          <p:spPr bwMode="gray">
            <a:xfrm>
              <a:off x="3004873" y="6352540"/>
              <a:ext cx="472243"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Neutral</a:t>
              </a:r>
              <a:endParaRPr lang="en-US" sz="1050">
                <a:effectLst/>
                <a:latin typeface="Arial"/>
              </a:endParaRPr>
            </a:p>
          </p:txBody>
        </p:sp>
        <p:sp>
          <p:nvSpPr>
            <p:cNvPr id="137" name="TextBox 136"/>
            <p:cNvSpPr txBox="1"/>
            <p:nvPr>
              <p:custDataLst>
                <p:tags r:id="rId41"/>
              </p:custDataLst>
            </p:nvPr>
          </p:nvSpPr>
          <p:spPr bwMode="gray">
            <a:xfrm>
              <a:off x="2291474" y="6352540"/>
              <a:ext cx="410311"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Agree</a:t>
              </a:r>
              <a:endParaRPr lang="en-US" sz="1050">
                <a:effectLst/>
                <a:latin typeface="Arial"/>
              </a:endParaRPr>
            </a:p>
          </p:txBody>
        </p:sp>
        <p:sp>
          <p:nvSpPr>
            <p:cNvPr id="94" name="TextBox 93"/>
            <p:cNvSpPr txBox="1"/>
            <p:nvPr>
              <p:custDataLst>
                <p:tags r:id="rId42"/>
              </p:custDataLst>
            </p:nvPr>
          </p:nvSpPr>
          <p:spPr bwMode="gray">
            <a:xfrm>
              <a:off x="3799089" y="6352540"/>
              <a:ext cx="57704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Disagree</a:t>
              </a:r>
              <a:endParaRPr lang="en-US" sz="1050">
                <a:effectLst/>
                <a:latin typeface="Arial"/>
              </a:endParaRPr>
            </a:p>
          </p:txBody>
        </p:sp>
        <p:sp>
          <p:nvSpPr>
            <p:cNvPr id="138" name="Rectangle 137"/>
            <p:cNvSpPr/>
            <p:nvPr>
              <p:custDataLst>
                <p:tags r:id="rId43"/>
              </p:custDataLst>
            </p:nvPr>
          </p:nvSpPr>
          <p:spPr bwMode="gray">
            <a:xfrm>
              <a:off x="2126259" y="6352540"/>
              <a:ext cx="146018" cy="146018"/>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6" name="Rectangle 95"/>
            <p:cNvSpPr/>
            <p:nvPr>
              <p:custDataLst>
                <p:tags r:id="rId44"/>
              </p:custDataLst>
            </p:nvPr>
          </p:nvSpPr>
          <p:spPr bwMode="gray">
            <a:xfrm>
              <a:off x="3633873" y="6352540"/>
              <a:ext cx="146018" cy="146018"/>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7" name="Rectangle 96"/>
            <p:cNvSpPr/>
            <p:nvPr>
              <p:custDataLst>
                <p:tags r:id="rId45"/>
              </p:custDataLst>
            </p:nvPr>
          </p:nvSpPr>
          <p:spPr bwMode="gray">
            <a:xfrm>
              <a:off x="2839657" y="6352540"/>
              <a:ext cx="146018" cy="146018"/>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grpSp>
    </p:spTree>
    <p:extLst>
      <p:ext uri="{BB962C8B-B14F-4D97-AF65-F5344CB8AC3E}">
        <p14:creationId xmlns:p14="http://schemas.microsoft.com/office/powerpoint/2010/main" val="96764300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56061281-BD0D-6F47-BBB8-8F6BE6AA34E7}" type="slidenum">
              <a:rPr lang="en-US" smtClean="0"/>
              <a:pPr/>
              <a:t>14</a:t>
            </a:fld>
            <a:endParaRPr lang="en-US" dirty="0"/>
          </a:p>
        </p:txBody>
      </p:sp>
      <p:sp>
        <p:nvSpPr>
          <p:cNvPr id="5" name="Content Placeholder 4"/>
          <p:cNvSpPr>
            <a:spLocks noGrp="1"/>
          </p:cNvSpPr>
          <p:nvPr>
            <p:ph idx="14"/>
          </p:nvPr>
        </p:nvSpPr>
        <p:spPr/>
        <p:txBody>
          <a:bodyPr>
            <a:normAutofit/>
          </a:bodyPr>
          <a:lstStyle/>
          <a:p>
            <a:r>
              <a:rPr lang="en-US" dirty="0" smtClean="0"/>
              <a:t>Stakeholders Agree </a:t>
            </a:r>
            <a:r>
              <a:rPr lang="en-US" dirty="0"/>
              <a:t>t</a:t>
            </a:r>
            <a:r>
              <a:rPr lang="en-US" dirty="0" smtClean="0"/>
              <a:t>hat Coordination Yields Better Solutions, But Are Mixed on Whether Channels Exist</a:t>
            </a:r>
            <a:endParaRPr lang="en-US" dirty="0"/>
          </a:p>
        </p:txBody>
      </p:sp>
      <p:sp>
        <p:nvSpPr>
          <p:cNvPr id="74" name="Content Placeholder 1"/>
          <p:cNvSpPr>
            <a:spLocks noGrp="1"/>
          </p:cNvSpPr>
          <p:nvPr>
            <p:ph idx="13"/>
          </p:nvPr>
        </p:nvSpPr>
        <p:spPr>
          <a:xfrm>
            <a:off x="526143" y="6126165"/>
            <a:ext cx="6291218" cy="643102"/>
          </a:xfrm>
        </p:spPr>
        <p:txBody>
          <a:bodyPr>
            <a:normAutofit/>
          </a:bodyPr>
          <a:lstStyle/>
          <a:p>
            <a:r>
              <a:rPr lang="en-US" sz="900" dirty="0" smtClean="0"/>
              <a:t>Sources: Tyton Partners Analysis</a:t>
            </a:r>
          </a:p>
        </p:txBody>
      </p:sp>
      <p:sp>
        <p:nvSpPr>
          <p:cNvPr id="152" name="TextBox 151"/>
          <p:cNvSpPr txBox="1"/>
          <p:nvPr/>
        </p:nvSpPr>
        <p:spPr>
          <a:xfrm>
            <a:off x="409467" y="1176131"/>
            <a:ext cx="8157260" cy="646331"/>
          </a:xfrm>
          <a:prstGeom prst="rect">
            <a:avLst/>
          </a:prstGeom>
          <a:noFill/>
        </p:spPr>
        <p:txBody>
          <a:bodyPr wrap="square" rtlCol="0">
            <a:spAutoFit/>
          </a:bodyPr>
          <a:lstStyle/>
          <a:p>
            <a:pPr algn="ctr"/>
            <a:r>
              <a:rPr lang="en-US" sz="1200" b="1" dirty="0" smtClean="0"/>
              <a:t>Indicate where </a:t>
            </a:r>
            <a:r>
              <a:rPr lang="en-US" sz="1200" b="1" dirty="0"/>
              <a:t>your </a:t>
            </a:r>
            <a:r>
              <a:rPr lang="en-US" sz="1200" b="1" dirty="0" smtClean="0"/>
              <a:t>personal tendencies and preferences (or those of your institution’s) </a:t>
            </a:r>
            <a:r>
              <a:rPr lang="en-US" sz="1200" b="1" dirty="0"/>
              <a:t>fall on these dimensions.</a:t>
            </a:r>
          </a:p>
          <a:p>
            <a:pPr algn="ctr"/>
            <a:r>
              <a:rPr lang="en-US" sz="1200" dirty="0" smtClean="0"/>
              <a:t>By Institutional Size</a:t>
            </a:r>
            <a:r>
              <a:rPr lang="en-US" sz="1200" dirty="0"/>
              <a:t> </a:t>
            </a:r>
            <a:r>
              <a:rPr lang="en-US" sz="1200" dirty="0" smtClean="0"/>
              <a:t>and Type; n = 993</a:t>
            </a:r>
            <a:endParaRPr lang="en-US" sz="1200" dirty="0"/>
          </a:p>
        </p:txBody>
      </p:sp>
      <p:grpSp>
        <p:nvGrpSpPr>
          <p:cNvPr id="261" name="Group 260"/>
          <p:cNvGrpSpPr/>
          <p:nvPr>
            <p:custDataLst>
              <p:tags r:id="rId1"/>
            </p:custDataLst>
          </p:nvPr>
        </p:nvGrpSpPr>
        <p:grpSpPr>
          <a:xfrm>
            <a:off x="881524" y="2503250"/>
            <a:ext cx="7685200" cy="3817204"/>
            <a:chOff x="881524" y="2503250"/>
            <a:chExt cx="7685200" cy="3817204"/>
          </a:xfrm>
        </p:grpSpPr>
        <p:sp>
          <p:nvSpPr>
            <p:cNvPr id="121" name="Rectangle 120"/>
            <p:cNvSpPr/>
            <p:nvPr>
              <p:custDataLst>
                <p:tags r:id="rId2"/>
              </p:custDataLst>
            </p:nvPr>
          </p:nvSpPr>
          <p:spPr bwMode="gray">
            <a:xfrm>
              <a:off x="7106688" y="2857769"/>
              <a:ext cx="503461" cy="1364230"/>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24" name="Rectangle 123"/>
            <p:cNvSpPr/>
            <p:nvPr>
              <p:custDataLst>
                <p:tags r:id="rId3"/>
              </p:custDataLst>
            </p:nvPr>
          </p:nvSpPr>
          <p:spPr bwMode="gray">
            <a:xfrm>
              <a:off x="6301152" y="2889861"/>
              <a:ext cx="503461" cy="1534827"/>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 name="Rectangle 1"/>
            <p:cNvSpPr/>
            <p:nvPr>
              <p:custDataLst>
                <p:tags r:id="rId4"/>
              </p:custDataLst>
            </p:nvPr>
          </p:nvSpPr>
          <p:spPr bwMode="gray">
            <a:xfrm>
              <a:off x="7912225" y="2853627"/>
              <a:ext cx="503461" cy="1430593"/>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8" name="Rectangle 17"/>
            <p:cNvSpPr/>
            <p:nvPr>
              <p:custDataLst>
                <p:tags r:id="rId5"/>
              </p:custDataLst>
            </p:nvPr>
          </p:nvSpPr>
          <p:spPr bwMode="gray">
            <a:xfrm>
              <a:off x="3079005" y="2893135"/>
              <a:ext cx="503460" cy="1485737"/>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25" name="Rectangle 124"/>
            <p:cNvSpPr/>
            <p:nvPr>
              <p:custDataLst>
                <p:tags r:id="rId6"/>
              </p:custDataLst>
            </p:nvPr>
          </p:nvSpPr>
          <p:spPr bwMode="gray">
            <a:xfrm>
              <a:off x="4690078" y="2947217"/>
              <a:ext cx="503461" cy="1489861"/>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9" name="Rectangle 18"/>
            <p:cNvSpPr/>
            <p:nvPr>
              <p:custDataLst>
                <p:tags r:id="rId7"/>
              </p:custDataLst>
            </p:nvPr>
          </p:nvSpPr>
          <p:spPr bwMode="gray">
            <a:xfrm>
              <a:off x="1467932" y="2623421"/>
              <a:ext cx="503460" cy="385795"/>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27" name="Rectangle 126"/>
            <p:cNvSpPr/>
            <p:nvPr>
              <p:custDataLst>
                <p:tags r:id="rId8"/>
              </p:custDataLst>
            </p:nvPr>
          </p:nvSpPr>
          <p:spPr bwMode="gray">
            <a:xfrm>
              <a:off x="3884541" y="2924376"/>
              <a:ext cx="503460" cy="1582469"/>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55" name="Rectangle 154"/>
            <p:cNvSpPr/>
            <p:nvPr>
              <p:custDataLst>
                <p:tags r:id="rId9"/>
              </p:custDataLst>
            </p:nvPr>
          </p:nvSpPr>
          <p:spPr bwMode="gray">
            <a:xfrm>
              <a:off x="5495615" y="2795483"/>
              <a:ext cx="503461" cy="1833898"/>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0" name="Rectangle 19"/>
            <p:cNvSpPr/>
            <p:nvPr>
              <p:custDataLst>
                <p:tags r:id="rId10"/>
              </p:custDataLst>
            </p:nvPr>
          </p:nvSpPr>
          <p:spPr bwMode="gray">
            <a:xfrm>
              <a:off x="1467932" y="2584041"/>
              <a:ext cx="503460" cy="39380"/>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1" name="Rectangle 20"/>
            <p:cNvSpPr/>
            <p:nvPr>
              <p:custDataLst>
                <p:tags r:id="rId11"/>
              </p:custDataLst>
            </p:nvPr>
          </p:nvSpPr>
          <p:spPr bwMode="gray">
            <a:xfrm>
              <a:off x="3079005" y="2584041"/>
              <a:ext cx="503460" cy="309094"/>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60" name="Rectangle 159"/>
            <p:cNvSpPr/>
            <p:nvPr>
              <p:custDataLst>
                <p:tags r:id="rId12"/>
              </p:custDataLst>
            </p:nvPr>
          </p:nvSpPr>
          <p:spPr bwMode="gray">
            <a:xfrm>
              <a:off x="7106688" y="2584041"/>
              <a:ext cx="503461" cy="273728"/>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4" name="Rectangle 3"/>
            <p:cNvSpPr/>
            <p:nvPr>
              <p:custDataLst>
                <p:tags r:id="rId13"/>
              </p:custDataLst>
            </p:nvPr>
          </p:nvSpPr>
          <p:spPr bwMode="gray">
            <a:xfrm>
              <a:off x="7912225" y="2584041"/>
              <a:ext cx="503461" cy="269586"/>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61" name="Rectangle 160"/>
            <p:cNvSpPr/>
            <p:nvPr>
              <p:custDataLst>
                <p:tags r:id="rId14"/>
              </p:custDataLst>
            </p:nvPr>
          </p:nvSpPr>
          <p:spPr bwMode="gray">
            <a:xfrm>
              <a:off x="5495615" y="2584041"/>
              <a:ext cx="503461" cy="211442"/>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62" name="Rectangle 161"/>
            <p:cNvSpPr/>
            <p:nvPr>
              <p:custDataLst>
                <p:tags r:id="rId15"/>
              </p:custDataLst>
            </p:nvPr>
          </p:nvSpPr>
          <p:spPr bwMode="gray">
            <a:xfrm>
              <a:off x="4690078" y="2584041"/>
              <a:ext cx="503461" cy="363175"/>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63" name="Rectangle 162"/>
            <p:cNvSpPr/>
            <p:nvPr>
              <p:custDataLst>
                <p:tags r:id="rId16"/>
              </p:custDataLst>
            </p:nvPr>
          </p:nvSpPr>
          <p:spPr bwMode="gray">
            <a:xfrm>
              <a:off x="6301152" y="2584041"/>
              <a:ext cx="503461" cy="305819"/>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64" name="Rectangle 163"/>
            <p:cNvSpPr/>
            <p:nvPr>
              <p:custDataLst>
                <p:tags r:id="rId17"/>
              </p:custDataLst>
            </p:nvPr>
          </p:nvSpPr>
          <p:spPr bwMode="gray">
            <a:xfrm>
              <a:off x="3884541" y="2584041"/>
              <a:ext cx="503460" cy="340335"/>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80" name="Rectangle 179"/>
            <p:cNvSpPr/>
            <p:nvPr>
              <p:custDataLst>
                <p:tags r:id="rId18"/>
              </p:custDataLst>
            </p:nvPr>
          </p:nvSpPr>
          <p:spPr bwMode="gray">
            <a:xfrm>
              <a:off x="5495615" y="4629380"/>
              <a:ext cx="503461" cy="731314"/>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79" name="Rectangle 178"/>
            <p:cNvSpPr/>
            <p:nvPr>
              <p:custDataLst>
                <p:tags r:id="rId19"/>
              </p:custDataLst>
            </p:nvPr>
          </p:nvSpPr>
          <p:spPr bwMode="gray">
            <a:xfrm>
              <a:off x="4690078" y="4437078"/>
              <a:ext cx="503461" cy="923616"/>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2" name="Rectangle 21"/>
            <p:cNvSpPr/>
            <p:nvPr>
              <p:custDataLst>
                <p:tags r:id="rId20"/>
              </p:custDataLst>
            </p:nvPr>
          </p:nvSpPr>
          <p:spPr bwMode="gray">
            <a:xfrm>
              <a:off x="3079005" y="4378874"/>
              <a:ext cx="503460" cy="981821"/>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65" name="Rectangle 164"/>
            <p:cNvSpPr/>
            <p:nvPr>
              <p:custDataLst>
                <p:tags r:id="rId21"/>
              </p:custDataLst>
            </p:nvPr>
          </p:nvSpPr>
          <p:spPr bwMode="gray">
            <a:xfrm>
              <a:off x="6301152" y="4424688"/>
              <a:ext cx="503461" cy="936007"/>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68" name="Rectangle 167"/>
            <p:cNvSpPr/>
            <p:nvPr>
              <p:custDataLst>
                <p:tags r:id="rId22"/>
              </p:custDataLst>
            </p:nvPr>
          </p:nvSpPr>
          <p:spPr bwMode="gray">
            <a:xfrm>
              <a:off x="3884541" y="4506845"/>
              <a:ext cx="503460" cy="853849"/>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66" name="Rectangle 165"/>
            <p:cNvSpPr/>
            <p:nvPr>
              <p:custDataLst>
                <p:tags r:id="rId23"/>
              </p:custDataLst>
            </p:nvPr>
          </p:nvSpPr>
          <p:spPr bwMode="gray">
            <a:xfrm>
              <a:off x="7106688" y="4221999"/>
              <a:ext cx="503461" cy="1138695"/>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6" name="Rectangle 5"/>
            <p:cNvSpPr/>
            <p:nvPr>
              <p:custDataLst>
                <p:tags r:id="rId24"/>
              </p:custDataLst>
            </p:nvPr>
          </p:nvSpPr>
          <p:spPr bwMode="gray">
            <a:xfrm>
              <a:off x="7912225" y="4284219"/>
              <a:ext cx="503461" cy="1076475"/>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23" name="Rectangle 22"/>
            <p:cNvSpPr/>
            <p:nvPr>
              <p:custDataLst>
                <p:tags r:id="rId25"/>
              </p:custDataLst>
            </p:nvPr>
          </p:nvSpPr>
          <p:spPr bwMode="gray">
            <a:xfrm>
              <a:off x="1467932" y="3009216"/>
              <a:ext cx="503460" cy="2351479"/>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cxnSp>
          <p:nvCxnSpPr>
            <p:cNvPr id="248" name="Straight Connector 247"/>
            <p:cNvCxnSpPr/>
            <p:nvPr>
              <p:custDataLst>
                <p:tags r:id="rId26"/>
              </p:custDataLst>
            </p:nvPr>
          </p:nvCxnSpPr>
          <p:spPr bwMode="gray">
            <a:xfrm flipV="1">
              <a:off x="1316893" y="2584041"/>
              <a:ext cx="0" cy="2776653"/>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49" name="Straight Connector 248"/>
            <p:cNvCxnSpPr/>
            <p:nvPr>
              <p:custDataLst>
                <p:tags r:id="rId27"/>
              </p:custDataLst>
            </p:nvPr>
          </p:nvCxnSpPr>
          <p:spPr bwMode="gray">
            <a:xfrm>
              <a:off x="1316893" y="5360694"/>
              <a:ext cx="7249831"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0" name="Straight Connector 249"/>
            <p:cNvCxnSpPr/>
            <p:nvPr>
              <p:custDataLst>
                <p:tags r:id="rId28"/>
              </p:custDataLst>
            </p:nvPr>
          </p:nvCxnSpPr>
          <p:spPr bwMode="gray">
            <a:xfrm flipH="1">
              <a:off x="1266094" y="3972368"/>
              <a:ext cx="50799"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1" name="Straight Connector 250"/>
            <p:cNvCxnSpPr/>
            <p:nvPr>
              <p:custDataLst>
                <p:tags r:id="rId29"/>
              </p:custDataLst>
            </p:nvPr>
          </p:nvCxnSpPr>
          <p:spPr bwMode="gray">
            <a:xfrm flipH="1">
              <a:off x="1266094" y="5360694"/>
              <a:ext cx="50799"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2" name="Straight Connector 251"/>
            <p:cNvCxnSpPr/>
            <p:nvPr>
              <p:custDataLst>
                <p:tags r:id="rId30"/>
              </p:custDataLst>
            </p:nvPr>
          </p:nvCxnSpPr>
          <p:spPr bwMode="gray">
            <a:xfrm flipH="1">
              <a:off x="1266094" y="3694702"/>
              <a:ext cx="50799"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3" name="Straight Connector 252"/>
            <p:cNvCxnSpPr/>
            <p:nvPr>
              <p:custDataLst>
                <p:tags r:id="rId31"/>
              </p:custDataLst>
            </p:nvPr>
          </p:nvCxnSpPr>
          <p:spPr bwMode="gray">
            <a:xfrm flipH="1">
              <a:off x="1266094" y="5083029"/>
              <a:ext cx="50799"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4" name="Straight Connector 253"/>
            <p:cNvCxnSpPr/>
            <p:nvPr>
              <p:custDataLst>
                <p:tags r:id="rId32"/>
              </p:custDataLst>
            </p:nvPr>
          </p:nvCxnSpPr>
          <p:spPr bwMode="gray">
            <a:xfrm flipH="1">
              <a:off x="1266094" y="4527698"/>
              <a:ext cx="50799"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5" name="Straight Connector 254"/>
            <p:cNvCxnSpPr/>
            <p:nvPr>
              <p:custDataLst>
                <p:tags r:id="rId33"/>
              </p:custDataLst>
            </p:nvPr>
          </p:nvCxnSpPr>
          <p:spPr bwMode="gray">
            <a:xfrm flipH="1">
              <a:off x="1266094" y="4250033"/>
              <a:ext cx="50799"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6" name="Straight Connector 255"/>
            <p:cNvCxnSpPr/>
            <p:nvPr>
              <p:custDataLst>
                <p:tags r:id="rId34"/>
              </p:custDataLst>
            </p:nvPr>
          </p:nvCxnSpPr>
          <p:spPr bwMode="gray">
            <a:xfrm flipH="1">
              <a:off x="1266094" y="4805364"/>
              <a:ext cx="50799"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7" name="Straight Connector 256"/>
            <p:cNvCxnSpPr/>
            <p:nvPr>
              <p:custDataLst>
                <p:tags r:id="rId35"/>
              </p:custDataLst>
            </p:nvPr>
          </p:nvCxnSpPr>
          <p:spPr bwMode="gray">
            <a:xfrm flipH="1">
              <a:off x="1266094" y="2584041"/>
              <a:ext cx="50799"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8" name="Straight Connector 257"/>
            <p:cNvCxnSpPr/>
            <p:nvPr>
              <p:custDataLst>
                <p:tags r:id="rId36"/>
              </p:custDataLst>
            </p:nvPr>
          </p:nvCxnSpPr>
          <p:spPr bwMode="gray">
            <a:xfrm flipH="1">
              <a:off x="1266094" y="3139371"/>
              <a:ext cx="50799"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9" name="Straight Connector 258"/>
            <p:cNvCxnSpPr/>
            <p:nvPr>
              <p:custDataLst>
                <p:tags r:id="rId37"/>
              </p:custDataLst>
            </p:nvPr>
          </p:nvCxnSpPr>
          <p:spPr bwMode="gray">
            <a:xfrm flipH="1">
              <a:off x="1266094" y="2861706"/>
              <a:ext cx="50799"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60" name="Straight Connector 259"/>
            <p:cNvCxnSpPr/>
            <p:nvPr>
              <p:custDataLst>
                <p:tags r:id="rId38"/>
              </p:custDataLst>
            </p:nvPr>
          </p:nvCxnSpPr>
          <p:spPr bwMode="gray">
            <a:xfrm flipH="1">
              <a:off x="1266094" y="3417037"/>
              <a:ext cx="50799"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97" name="TextBox 196"/>
            <p:cNvSpPr txBox="1"/>
            <p:nvPr>
              <p:custDataLst>
                <p:tags r:id="rId39"/>
              </p:custDataLst>
            </p:nvPr>
          </p:nvSpPr>
          <p:spPr bwMode="gray">
            <a:xfrm>
              <a:off x="958271" y="4724572"/>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20%</a:t>
              </a:r>
              <a:endParaRPr lang="en-US" sz="1050">
                <a:effectLst/>
                <a:latin typeface="Arial"/>
              </a:endParaRPr>
            </a:p>
          </p:txBody>
        </p:sp>
        <p:sp>
          <p:nvSpPr>
            <p:cNvPr id="199" name="TextBox 198"/>
            <p:cNvSpPr txBox="1"/>
            <p:nvPr>
              <p:custDataLst>
                <p:tags r:id="rId40"/>
              </p:custDataLst>
            </p:nvPr>
          </p:nvSpPr>
          <p:spPr bwMode="gray">
            <a:xfrm>
              <a:off x="1033158" y="5279903"/>
              <a:ext cx="23278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0%</a:t>
              </a:r>
              <a:endParaRPr lang="en-US" sz="1050">
                <a:effectLst/>
                <a:latin typeface="Arial"/>
              </a:endParaRPr>
            </a:p>
          </p:txBody>
        </p:sp>
        <p:sp>
          <p:nvSpPr>
            <p:cNvPr id="204" name="TextBox 203"/>
            <p:cNvSpPr txBox="1"/>
            <p:nvPr>
              <p:custDataLst>
                <p:tags r:id="rId41"/>
              </p:custDataLst>
            </p:nvPr>
          </p:nvSpPr>
          <p:spPr bwMode="gray">
            <a:xfrm>
              <a:off x="881524" y="2503250"/>
              <a:ext cx="384422"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0%</a:t>
              </a:r>
              <a:endParaRPr lang="en-US" sz="1050">
                <a:effectLst/>
                <a:latin typeface="Arial"/>
              </a:endParaRPr>
            </a:p>
          </p:txBody>
        </p:sp>
        <p:sp>
          <p:nvSpPr>
            <p:cNvPr id="198" name="TextBox 197"/>
            <p:cNvSpPr txBox="1"/>
            <p:nvPr>
              <p:custDataLst>
                <p:tags r:id="rId42"/>
              </p:custDataLst>
            </p:nvPr>
          </p:nvSpPr>
          <p:spPr bwMode="gray">
            <a:xfrm>
              <a:off x="958271" y="5002237"/>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a:t>
              </a:r>
              <a:endParaRPr lang="en-US" sz="1050">
                <a:effectLst/>
                <a:latin typeface="Arial"/>
              </a:endParaRPr>
            </a:p>
          </p:txBody>
        </p:sp>
        <p:sp>
          <p:nvSpPr>
            <p:cNvPr id="203" name="TextBox 202"/>
            <p:cNvSpPr txBox="1"/>
            <p:nvPr>
              <p:custDataLst>
                <p:tags r:id="rId43"/>
              </p:custDataLst>
            </p:nvPr>
          </p:nvSpPr>
          <p:spPr bwMode="gray">
            <a:xfrm>
              <a:off x="958271" y="2780915"/>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90%</a:t>
              </a:r>
              <a:endParaRPr lang="en-US" sz="1050">
                <a:effectLst/>
                <a:latin typeface="Arial"/>
              </a:endParaRPr>
            </a:p>
          </p:txBody>
        </p:sp>
        <p:sp>
          <p:nvSpPr>
            <p:cNvPr id="200" name="TextBox 199"/>
            <p:cNvSpPr txBox="1"/>
            <p:nvPr>
              <p:custDataLst>
                <p:tags r:id="rId44"/>
              </p:custDataLst>
            </p:nvPr>
          </p:nvSpPr>
          <p:spPr bwMode="gray">
            <a:xfrm>
              <a:off x="958271" y="3336245"/>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70%</a:t>
              </a:r>
              <a:endParaRPr lang="en-US" sz="1050">
                <a:effectLst/>
                <a:latin typeface="Arial"/>
              </a:endParaRPr>
            </a:p>
          </p:txBody>
        </p:sp>
        <p:sp>
          <p:nvSpPr>
            <p:cNvPr id="206" name="TextBox 205"/>
            <p:cNvSpPr txBox="1"/>
            <p:nvPr>
              <p:custDataLst>
                <p:tags r:id="rId45"/>
              </p:custDataLst>
            </p:nvPr>
          </p:nvSpPr>
          <p:spPr bwMode="gray">
            <a:xfrm>
              <a:off x="958271" y="3891577"/>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50%</a:t>
              </a:r>
              <a:endParaRPr lang="en-US" sz="1050">
                <a:effectLst/>
                <a:latin typeface="Arial"/>
              </a:endParaRPr>
            </a:p>
          </p:txBody>
        </p:sp>
        <p:sp>
          <p:nvSpPr>
            <p:cNvPr id="201" name="TextBox 200"/>
            <p:cNvSpPr txBox="1"/>
            <p:nvPr>
              <p:custDataLst>
                <p:tags r:id="rId46"/>
              </p:custDataLst>
            </p:nvPr>
          </p:nvSpPr>
          <p:spPr bwMode="gray">
            <a:xfrm>
              <a:off x="958271" y="3613910"/>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60%</a:t>
              </a:r>
              <a:endParaRPr lang="en-US" sz="1050" dirty="0">
                <a:effectLst/>
                <a:latin typeface="Arial"/>
              </a:endParaRPr>
            </a:p>
          </p:txBody>
        </p:sp>
        <p:sp>
          <p:nvSpPr>
            <p:cNvPr id="205" name="TextBox 204"/>
            <p:cNvSpPr txBox="1"/>
            <p:nvPr>
              <p:custDataLst>
                <p:tags r:id="rId47"/>
              </p:custDataLst>
            </p:nvPr>
          </p:nvSpPr>
          <p:spPr bwMode="gray">
            <a:xfrm>
              <a:off x="958271" y="4446907"/>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30%</a:t>
              </a:r>
              <a:endParaRPr lang="en-US" sz="1050">
                <a:effectLst/>
                <a:latin typeface="Arial"/>
              </a:endParaRPr>
            </a:p>
          </p:txBody>
        </p:sp>
        <p:sp>
          <p:nvSpPr>
            <p:cNvPr id="202" name="TextBox 201"/>
            <p:cNvSpPr txBox="1"/>
            <p:nvPr>
              <p:custDataLst>
                <p:tags r:id="rId48"/>
              </p:custDataLst>
            </p:nvPr>
          </p:nvSpPr>
          <p:spPr bwMode="gray">
            <a:xfrm>
              <a:off x="958271" y="3058580"/>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80%</a:t>
              </a:r>
              <a:endParaRPr lang="en-US" sz="1050">
                <a:effectLst/>
                <a:latin typeface="Arial"/>
              </a:endParaRPr>
            </a:p>
          </p:txBody>
        </p:sp>
        <p:sp>
          <p:nvSpPr>
            <p:cNvPr id="207" name="TextBox 206"/>
            <p:cNvSpPr txBox="1"/>
            <p:nvPr>
              <p:custDataLst>
                <p:tags r:id="rId49"/>
              </p:custDataLst>
            </p:nvPr>
          </p:nvSpPr>
          <p:spPr bwMode="gray">
            <a:xfrm>
              <a:off x="958271" y="4169242"/>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40%</a:t>
              </a:r>
              <a:endParaRPr lang="en-US" sz="1050">
                <a:effectLst/>
                <a:latin typeface="Arial"/>
              </a:endParaRPr>
            </a:p>
          </p:txBody>
        </p:sp>
        <p:sp>
          <p:nvSpPr>
            <p:cNvPr id="209" name="TextBox 208"/>
            <p:cNvSpPr txBox="1"/>
            <p:nvPr>
              <p:custDataLst>
                <p:tags r:id="rId50"/>
              </p:custDataLst>
            </p:nvPr>
          </p:nvSpPr>
          <p:spPr bwMode="gray">
            <a:xfrm>
              <a:off x="6230697" y="5424194"/>
              <a:ext cx="644371"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Mid-Large </a:t>
              </a:r>
            </a:p>
            <a:p>
              <a:pPr algn="ctr"/>
              <a:r>
                <a:rPr lang="en-US" sz="1050" smtClean="0">
                  <a:effectLst/>
                  <a:latin typeface="Arial"/>
                </a:rPr>
                <a:t>4-Year </a:t>
              </a:r>
            </a:p>
            <a:p>
              <a:pPr algn="ctr"/>
              <a:r>
                <a:rPr lang="en-US" sz="1050" smtClean="0">
                  <a:effectLst/>
                  <a:latin typeface="Arial"/>
                </a:rPr>
                <a:t>Publics</a:t>
              </a:r>
              <a:endParaRPr lang="en-US" sz="1050">
                <a:effectLst/>
                <a:latin typeface="Arial"/>
              </a:endParaRPr>
            </a:p>
          </p:txBody>
        </p:sp>
        <p:sp>
          <p:nvSpPr>
            <p:cNvPr id="210" name="TextBox 209"/>
            <p:cNvSpPr txBox="1"/>
            <p:nvPr>
              <p:custDataLst>
                <p:tags r:id="rId51"/>
              </p:custDataLst>
            </p:nvPr>
          </p:nvSpPr>
          <p:spPr bwMode="gray">
            <a:xfrm>
              <a:off x="3809409" y="5424194"/>
              <a:ext cx="653726"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Small </a:t>
              </a:r>
            </a:p>
            <a:p>
              <a:pPr algn="ctr"/>
              <a:r>
                <a:rPr lang="en-US" sz="1050" smtClean="0">
                  <a:effectLst/>
                  <a:latin typeface="Arial"/>
                </a:rPr>
                <a:t>Two years</a:t>
              </a:r>
              <a:endParaRPr lang="en-US" sz="1050">
                <a:effectLst/>
                <a:latin typeface="Arial"/>
              </a:endParaRPr>
            </a:p>
          </p:txBody>
        </p:sp>
        <p:sp>
          <p:nvSpPr>
            <p:cNvPr id="78" name="TextBox 77"/>
            <p:cNvSpPr txBox="1"/>
            <p:nvPr>
              <p:custDataLst>
                <p:tags r:id="rId52"/>
              </p:custDataLst>
            </p:nvPr>
          </p:nvSpPr>
          <p:spPr bwMode="gray">
            <a:xfrm>
              <a:off x="3169435" y="5424194"/>
              <a:ext cx="32260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Total</a:t>
              </a:r>
              <a:endParaRPr lang="en-US" sz="1050">
                <a:effectLst/>
                <a:latin typeface="Arial"/>
              </a:endParaRPr>
            </a:p>
          </p:txBody>
        </p:sp>
        <p:sp>
          <p:nvSpPr>
            <p:cNvPr id="208" name="TextBox 207"/>
            <p:cNvSpPr txBox="1"/>
            <p:nvPr>
              <p:custDataLst>
                <p:tags r:id="rId53"/>
              </p:custDataLst>
            </p:nvPr>
          </p:nvSpPr>
          <p:spPr bwMode="gray">
            <a:xfrm>
              <a:off x="7095675" y="5424194"/>
              <a:ext cx="525486"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Small </a:t>
              </a:r>
            </a:p>
            <a:p>
              <a:pPr algn="ctr"/>
              <a:r>
                <a:rPr lang="en-US" sz="1050" smtClean="0">
                  <a:effectLst/>
                  <a:latin typeface="Arial"/>
                </a:rPr>
                <a:t>4-Year </a:t>
              </a:r>
            </a:p>
            <a:p>
              <a:pPr algn="ctr"/>
              <a:r>
                <a:rPr lang="en-US" sz="1050" smtClean="0">
                  <a:effectLst/>
                  <a:latin typeface="Arial"/>
                </a:rPr>
                <a:t>Privates</a:t>
              </a:r>
              <a:endParaRPr lang="en-US" sz="1050">
                <a:effectLst/>
                <a:latin typeface="Arial"/>
              </a:endParaRPr>
            </a:p>
          </p:txBody>
        </p:sp>
        <p:sp>
          <p:nvSpPr>
            <p:cNvPr id="26" name="TextBox 25"/>
            <p:cNvSpPr txBox="1"/>
            <p:nvPr>
              <p:custDataLst>
                <p:tags r:id="rId54"/>
              </p:custDataLst>
            </p:nvPr>
          </p:nvSpPr>
          <p:spPr bwMode="gray">
            <a:xfrm>
              <a:off x="7841769" y="5424194"/>
              <a:ext cx="644371"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Mid-Large </a:t>
              </a:r>
            </a:p>
            <a:p>
              <a:pPr algn="ctr"/>
              <a:r>
                <a:rPr lang="en-US" sz="1050" smtClean="0">
                  <a:effectLst/>
                  <a:latin typeface="Arial"/>
                </a:rPr>
                <a:t>4-Year </a:t>
              </a:r>
            </a:p>
            <a:p>
              <a:pPr algn="ctr"/>
              <a:r>
                <a:rPr lang="en-US" sz="1050" smtClean="0">
                  <a:effectLst/>
                  <a:latin typeface="Arial"/>
                </a:rPr>
                <a:t>Privates</a:t>
              </a:r>
              <a:endParaRPr lang="en-US" sz="1050">
                <a:effectLst/>
                <a:latin typeface="Arial"/>
              </a:endParaRPr>
            </a:p>
          </p:txBody>
        </p:sp>
        <p:sp>
          <p:nvSpPr>
            <p:cNvPr id="216" name="TextBox 215"/>
            <p:cNvSpPr txBox="1"/>
            <p:nvPr>
              <p:custDataLst>
                <p:tags r:id="rId55"/>
              </p:custDataLst>
            </p:nvPr>
          </p:nvSpPr>
          <p:spPr bwMode="gray">
            <a:xfrm>
              <a:off x="1558362" y="5424194"/>
              <a:ext cx="32260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Total</a:t>
              </a:r>
              <a:endParaRPr lang="en-US" sz="1050">
                <a:effectLst/>
                <a:latin typeface="Arial"/>
              </a:endParaRPr>
            </a:p>
          </p:txBody>
        </p:sp>
        <p:sp>
          <p:nvSpPr>
            <p:cNvPr id="214" name="TextBox 213"/>
            <p:cNvSpPr txBox="1"/>
            <p:nvPr>
              <p:custDataLst>
                <p:tags r:id="rId56"/>
              </p:custDataLst>
            </p:nvPr>
          </p:nvSpPr>
          <p:spPr bwMode="gray">
            <a:xfrm>
              <a:off x="5510251" y="5424194"/>
              <a:ext cx="474190"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Small </a:t>
              </a:r>
            </a:p>
            <a:p>
              <a:pPr algn="ctr"/>
              <a:r>
                <a:rPr lang="en-US" sz="1050" smtClean="0">
                  <a:effectLst/>
                  <a:latin typeface="Arial"/>
                </a:rPr>
                <a:t>4-Year </a:t>
              </a:r>
            </a:p>
            <a:p>
              <a:pPr algn="ctr"/>
              <a:r>
                <a:rPr lang="en-US" sz="1050" smtClean="0">
                  <a:effectLst/>
                  <a:latin typeface="Arial"/>
                </a:rPr>
                <a:t>Publics</a:t>
              </a:r>
              <a:endParaRPr lang="en-US" sz="1050">
                <a:effectLst/>
                <a:latin typeface="Arial"/>
              </a:endParaRPr>
            </a:p>
          </p:txBody>
        </p:sp>
        <p:sp>
          <p:nvSpPr>
            <p:cNvPr id="215" name="TextBox 214"/>
            <p:cNvSpPr txBox="1"/>
            <p:nvPr>
              <p:custDataLst>
                <p:tags r:id="rId57"/>
              </p:custDataLst>
            </p:nvPr>
          </p:nvSpPr>
          <p:spPr bwMode="gray">
            <a:xfrm>
              <a:off x="4612062" y="5424194"/>
              <a:ext cx="659493"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Mid-Large </a:t>
              </a:r>
            </a:p>
            <a:p>
              <a:pPr algn="ctr"/>
              <a:r>
                <a:rPr lang="en-US" sz="1050" smtClean="0">
                  <a:effectLst/>
                  <a:latin typeface="Arial"/>
                </a:rPr>
                <a:t>Two Years</a:t>
              </a:r>
              <a:endParaRPr lang="en-US" sz="1050">
                <a:effectLst/>
                <a:latin typeface="Arial"/>
              </a:endParaRPr>
            </a:p>
          </p:txBody>
        </p:sp>
        <p:sp>
          <p:nvSpPr>
            <p:cNvPr id="80" name="TextBox 79"/>
            <p:cNvSpPr txBox="1"/>
            <p:nvPr>
              <p:custDataLst>
                <p:tags r:id="rId58"/>
              </p:custDataLst>
            </p:nvPr>
          </p:nvSpPr>
          <p:spPr bwMode="gray">
            <a:xfrm>
              <a:off x="3176898" y="3555212"/>
              <a:ext cx="30767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4%</a:t>
              </a:r>
              <a:endParaRPr lang="en-US" sz="1050">
                <a:solidFill>
                  <a:schemeClr val="bg1"/>
                </a:solidFill>
                <a:effectLst/>
                <a:latin typeface="Arial"/>
              </a:endParaRPr>
            </a:p>
          </p:txBody>
        </p:sp>
        <p:sp>
          <p:nvSpPr>
            <p:cNvPr id="218" name="TextBox 217"/>
            <p:cNvSpPr txBox="1"/>
            <p:nvPr>
              <p:custDataLst>
                <p:tags r:id="rId59"/>
              </p:custDataLst>
            </p:nvPr>
          </p:nvSpPr>
          <p:spPr bwMode="gray">
            <a:xfrm>
              <a:off x="6399045" y="4811900"/>
              <a:ext cx="30767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4%</a:t>
              </a:r>
              <a:endParaRPr lang="en-US" sz="1050">
                <a:solidFill>
                  <a:schemeClr val="bg1"/>
                </a:solidFill>
                <a:effectLst/>
                <a:latin typeface="Arial"/>
              </a:endParaRPr>
            </a:p>
          </p:txBody>
        </p:sp>
        <p:sp>
          <p:nvSpPr>
            <p:cNvPr id="237" name="TextBox 236"/>
            <p:cNvSpPr txBox="1"/>
            <p:nvPr>
              <p:custDataLst>
                <p:tags r:id="rId60"/>
              </p:custDataLst>
            </p:nvPr>
          </p:nvSpPr>
          <p:spPr bwMode="gray">
            <a:xfrm>
              <a:off x="7204581" y="3459094"/>
              <a:ext cx="30767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49%</a:t>
              </a:r>
              <a:endParaRPr lang="en-US" sz="1050">
                <a:solidFill>
                  <a:schemeClr val="bg1"/>
                </a:solidFill>
                <a:effectLst/>
                <a:latin typeface="Arial"/>
              </a:endParaRPr>
            </a:p>
          </p:txBody>
        </p:sp>
        <p:sp>
          <p:nvSpPr>
            <p:cNvPr id="27" name="TextBox 26"/>
            <p:cNvSpPr txBox="1"/>
            <p:nvPr>
              <p:custDataLst>
                <p:tags r:id="rId61"/>
              </p:custDataLst>
            </p:nvPr>
          </p:nvSpPr>
          <p:spPr bwMode="gray">
            <a:xfrm>
              <a:off x="8010118" y="3488132"/>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2%</a:t>
              </a:r>
              <a:endParaRPr lang="en-US" sz="1050">
                <a:solidFill>
                  <a:schemeClr val="bg1"/>
                </a:solidFill>
                <a:effectLst/>
                <a:latin typeface="Arial"/>
              </a:endParaRPr>
            </a:p>
          </p:txBody>
        </p:sp>
        <p:sp>
          <p:nvSpPr>
            <p:cNvPr id="227" name="TextBox 226"/>
            <p:cNvSpPr txBox="1"/>
            <p:nvPr>
              <p:custDataLst>
                <p:tags r:id="rId62"/>
              </p:custDataLst>
            </p:nvPr>
          </p:nvSpPr>
          <p:spPr bwMode="gray">
            <a:xfrm>
              <a:off x="4787971" y="2684838"/>
              <a:ext cx="307675" cy="161583"/>
            </a:xfrm>
            <a:prstGeom prst="rect">
              <a:avLst/>
            </a:prstGeom>
            <a:noFill/>
            <a:ln cmpd="sng">
              <a:noFill/>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3%</a:t>
              </a:r>
              <a:endParaRPr lang="en-US" sz="1050">
                <a:solidFill>
                  <a:schemeClr val="bg1"/>
                </a:solidFill>
                <a:effectLst/>
                <a:latin typeface="Arial"/>
              </a:endParaRPr>
            </a:p>
          </p:txBody>
        </p:sp>
        <p:sp>
          <p:nvSpPr>
            <p:cNvPr id="79" name="TextBox 78"/>
            <p:cNvSpPr txBox="1"/>
            <p:nvPr>
              <p:custDataLst>
                <p:tags r:id="rId63"/>
              </p:custDataLst>
            </p:nvPr>
          </p:nvSpPr>
          <p:spPr bwMode="gray">
            <a:xfrm>
              <a:off x="1603269" y="2522940"/>
              <a:ext cx="232788" cy="161583"/>
            </a:xfrm>
            <a:prstGeom prst="rect">
              <a:avLst/>
            </a:prstGeom>
            <a:solidFill>
              <a:schemeClr val="accent3"/>
            </a:solid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a:t>
              </a:r>
              <a:endParaRPr lang="en-US" sz="1050">
                <a:solidFill>
                  <a:schemeClr val="bg1"/>
                </a:solidFill>
                <a:effectLst/>
                <a:latin typeface="Arial"/>
              </a:endParaRPr>
            </a:p>
          </p:txBody>
        </p:sp>
        <p:sp>
          <p:nvSpPr>
            <p:cNvPr id="229" name="TextBox 228"/>
            <p:cNvSpPr txBox="1"/>
            <p:nvPr>
              <p:custDataLst>
                <p:tags r:id="rId64"/>
              </p:custDataLst>
            </p:nvPr>
          </p:nvSpPr>
          <p:spPr bwMode="gray">
            <a:xfrm>
              <a:off x="3982434" y="4852978"/>
              <a:ext cx="30767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1%</a:t>
              </a:r>
              <a:endParaRPr lang="en-US" sz="1050">
                <a:solidFill>
                  <a:schemeClr val="bg1"/>
                </a:solidFill>
                <a:effectLst/>
                <a:latin typeface="Arial"/>
              </a:endParaRPr>
            </a:p>
          </p:txBody>
        </p:sp>
        <p:sp>
          <p:nvSpPr>
            <p:cNvPr id="236" name="TextBox 235"/>
            <p:cNvSpPr txBox="1"/>
            <p:nvPr>
              <p:custDataLst>
                <p:tags r:id="rId65"/>
              </p:custDataLst>
            </p:nvPr>
          </p:nvSpPr>
          <p:spPr bwMode="gray">
            <a:xfrm>
              <a:off x="6399045" y="3576482"/>
              <a:ext cx="30767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5%</a:t>
              </a:r>
              <a:endParaRPr lang="en-US" sz="1050">
                <a:solidFill>
                  <a:schemeClr val="bg1"/>
                </a:solidFill>
                <a:effectLst/>
                <a:latin typeface="Arial"/>
              </a:endParaRPr>
            </a:p>
          </p:txBody>
        </p:sp>
        <p:sp>
          <p:nvSpPr>
            <p:cNvPr id="231" name="TextBox 230"/>
            <p:cNvSpPr txBox="1"/>
            <p:nvPr>
              <p:custDataLst>
                <p:tags r:id="rId66"/>
              </p:custDataLst>
            </p:nvPr>
          </p:nvSpPr>
          <p:spPr bwMode="gray">
            <a:xfrm>
              <a:off x="4787971" y="3611355"/>
              <a:ext cx="30767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4%</a:t>
              </a:r>
              <a:endParaRPr lang="en-US" sz="1050">
                <a:solidFill>
                  <a:schemeClr val="bg1"/>
                </a:solidFill>
                <a:effectLst/>
                <a:latin typeface="Arial"/>
              </a:endParaRPr>
            </a:p>
          </p:txBody>
        </p:sp>
        <p:sp>
          <p:nvSpPr>
            <p:cNvPr id="82" name="TextBox 81"/>
            <p:cNvSpPr txBox="1"/>
            <p:nvPr>
              <p:custDataLst>
                <p:tags r:id="rId67"/>
              </p:custDataLst>
            </p:nvPr>
          </p:nvSpPr>
          <p:spPr bwMode="gray">
            <a:xfrm>
              <a:off x="1565825" y="2735526"/>
              <a:ext cx="30767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4%</a:t>
              </a:r>
              <a:endParaRPr lang="en-US" sz="1050">
                <a:solidFill>
                  <a:schemeClr val="bg1"/>
                </a:solidFill>
                <a:effectLst/>
                <a:latin typeface="Arial"/>
              </a:endParaRPr>
            </a:p>
          </p:txBody>
        </p:sp>
        <p:sp>
          <p:nvSpPr>
            <p:cNvPr id="28" name="TextBox 27"/>
            <p:cNvSpPr txBox="1"/>
            <p:nvPr>
              <p:custDataLst>
                <p:tags r:id="rId68"/>
              </p:custDataLst>
            </p:nvPr>
          </p:nvSpPr>
          <p:spPr bwMode="gray">
            <a:xfrm>
              <a:off x="8010118" y="4741665"/>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9%</a:t>
              </a:r>
              <a:endParaRPr lang="en-US" sz="1050">
                <a:solidFill>
                  <a:schemeClr val="bg1"/>
                </a:solidFill>
                <a:effectLst/>
                <a:latin typeface="Arial"/>
              </a:endParaRPr>
            </a:p>
          </p:txBody>
        </p:sp>
        <p:sp>
          <p:nvSpPr>
            <p:cNvPr id="81" name="TextBox 80"/>
            <p:cNvSpPr txBox="1"/>
            <p:nvPr>
              <p:custDataLst>
                <p:tags r:id="rId69"/>
              </p:custDataLst>
            </p:nvPr>
          </p:nvSpPr>
          <p:spPr bwMode="gray">
            <a:xfrm>
              <a:off x="3176898" y="4788992"/>
              <a:ext cx="30767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5%</a:t>
              </a:r>
              <a:endParaRPr lang="en-US" sz="1050">
                <a:solidFill>
                  <a:schemeClr val="bg1"/>
                </a:solidFill>
                <a:effectLst/>
                <a:latin typeface="Arial"/>
              </a:endParaRPr>
            </a:p>
          </p:txBody>
        </p:sp>
        <p:sp>
          <p:nvSpPr>
            <p:cNvPr id="219" name="TextBox 218"/>
            <p:cNvSpPr txBox="1"/>
            <p:nvPr>
              <p:custDataLst>
                <p:tags r:id="rId70"/>
              </p:custDataLst>
            </p:nvPr>
          </p:nvSpPr>
          <p:spPr bwMode="gray">
            <a:xfrm>
              <a:off x="7204581" y="4710555"/>
              <a:ext cx="30767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41%</a:t>
              </a:r>
              <a:endParaRPr lang="en-US" sz="1050">
                <a:solidFill>
                  <a:schemeClr val="bg1"/>
                </a:solidFill>
                <a:effectLst/>
                <a:latin typeface="Arial"/>
              </a:endParaRPr>
            </a:p>
          </p:txBody>
        </p:sp>
        <p:sp>
          <p:nvSpPr>
            <p:cNvPr id="238" name="TextBox 237"/>
            <p:cNvSpPr txBox="1"/>
            <p:nvPr>
              <p:custDataLst>
                <p:tags r:id="rId71"/>
              </p:custDataLst>
            </p:nvPr>
          </p:nvSpPr>
          <p:spPr bwMode="gray">
            <a:xfrm>
              <a:off x="3982434" y="3634820"/>
              <a:ext cx="30767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7%</a:t>
              </a:r>
              <a:endParaRPr lang="en-US" sz="1050">
                <a:solidFill>
                  <a:schemeClr val="bg1"/>
                </a:solidFill>
                <a:effectLst/>
                <a:latin typeface="Arial"/>
              </a:endParaRPr>
            </a:p>
          </p:txBody>
        </p:sp>
        <p:sp>
          <p:nvSpPr>
            <p:cNvPr id="235" name="TextBox 234"/>
            <p:cNvSpPr txBox="1"/>
            <p:nvPr>
              <p:custDataLst>
                <p:tags r:id="rId72"/>
              </p:custDataLst>
            </p:nvPr>
          </p:nvSpPr>
          <p:spPr bwMode="gray">
            <a:xfrm>
              <a:off x="5593508" y="3631641"/>
              <a:ext cx="30767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66%</a:t>
              </a:r>
              <a:endParaRPr lang="en-US" sz="1050">
                <a:solidFill>
                  <a:schemeClr val="bg1"/>
                </a:solidFill>
                <a:effectLst/>
                <a:latin typeface="Arial"/>
              </a:endParaRPr>
            </a:p>
          </p:txBody>
        </p:sp>
        <p:sp>
          <p:nvSpPr>
            <p:cNvPr id="29" name="TextBox 28"/>
            <p:cNvSpPr txBox="1"/>
            <p:nvPr>
              <p:custDataLst>
                <p:tags r:id="rId73"/>
              </p:custDataLst>
            </p:nvPr>
          </p:nvSpPr>
          <p:spPr bwMode="gray">
            <a:xfrm>
              <a:off x="8010118" y="2638042"/>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0%</a:t>
              </a:r>
              <a:endParaRPr lang="en-US" sz="1050">
                <a:solidFill>
                  <a:schemeClr val="bg1"/>
                </a:solidFill>
                <a:effectLst/>
                <a:latin typeface="Arial"/>
              </a:endParaRPr>
            </a:p>
          </p:txBody>
        </p:sp>
        <p:sp>
          <p:nvSpPr>
            <p:cNvPr id="83" name="TextBox 82"/>
            <p:cNvSpPr txBox="1"/>
            <p:nvPr>
              <p:custDataLst>
                <p:tags r:id="rId74"/>
              </p:custDataLst>
            </p:nvPr>
          </p:nvSpPr>
          <p:spPr bwMode="gray">
            <a:xfrm>
              <a:off x="3181895" y="2657797"/>
              <a:ext cx="297681" cy="161583"/>
            </a:xfrm>
            <a:prstGeom prst="rect">
              <a:avLst/>
            </a:prstGeom>
            <a:noFill/>
            <a:ln cmpd="sng">
              <a:noFill/>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1%</a:t>
              </a:r>
              <a:endParaRPr lang="en-US" sz="1050">
                <a:solidFill>
                  <a:schemeClr val="bg1"/>
                </a:solidFill>
                <a:effectLst/>
                <a:latin typeface="Arial"/>
              </a:endParaRPr>
            </a:p>
          </p:txBody>
        </p:sp>
        <p:sp>
          <p:nvSpPr>
            <p:cNvPr id="273" name="TextBox 272"/>
            <p:cNvSpPr txBox="1"/>
            <p:nvPr>
              <p:custDataLst>
                <p:tags r:id="rId75"/>
              </p:custDataLst>
            </p:nvPr>
          </p:nvSpPr>
          <p:spPr bwMode="gray">
            <a:xfrm>
              <a:off x="3982434" y="2673417"/>
              <a:ext cx="307675" cy="161583"/>
            </a:xfrm>
            <a:prstGeom prst="rect">
              <a:avLst/>
            </a:prstGeom>
            <a:noFill/>
            <a:ln cmpd="sng">
              <a:noFill/>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2%</a:t>
              </a:r>
              <a:endParaRPr lang="en-US" sz="1050">
                <a:solidFill>
                  <a:schemeClr val="bg1"/>
                </a:solidFill>
                <a:effectLst/>
                <a:latin typeface="Arial"/>
              </a:endParaRPr>
            </a:p>
          </p:txBody>
        </p:sp>
        <p:sp>
          <p:nvSpPr>
            <p:cNvPr id="275" name="TextBox 274"/>
            <p:cNvSpPr txBox="1"/>
            <p:nvPr>
              <p:custDataLst>
                <p:tags r:id="rId76"/>
              </p:custDataLst>
            </p:nvPr>
          </p:nvSpPr>
          <p:spPr bwMode="gray">
            <a:xfrm>
              <a:off x="5630952" y="2608971"/>
              <a:ext cx="232788" cy="161583"/>
            </a:xfrm>
            <a:prstGeom prst="rect">
              <a:avLst/>
            </a:prstGeom>
            <a:noFill/>
            <a:ln cmpd="sng">
              <a:noFill/>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8%</a:t>
              </a:r>
              <a:endParaRPr lang="en-US" sz="1050">
                <a:solidFill>
                  <a:schemeClr val="bg1"/>
                </a:solidFill>
                <a:effectLst/>
                <a:latin typeface="Arial"/>
              </a:endParaRPr>
            </a:p>
          </p:txBody>
        </p:sp>
        <p:sp>
          <p:nvSpPr>
            <p:cNvPr id="276" name="TextBox 275"/>
            <p:cNvSpPr txBox="1"/>
            <p:nvPr>
              <p:custDataLst>
                <p:tags r:id="rId77"/>
              </p:custDataLst>
            </p:nvPr>
          </p:nvSpPr>
          <p:spPr bwMode="gray">
            <a:xfrm>
              <a:off x="5593508" y="4914245"/>
              <a:ext cx="30767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6%</a:t>
              </a:r>
              <a:endParaRPr lang="en-US" sz="1050">
                <a:solidFill>
                  <a:schemeClr val="bg1"/>
                </a:solidFill>
                <a:effectLst/>
                <a:latin typeface="Arial"/>
              </a:endParaRPr>
            </a:p>
          </p:txBody>
        </p:sp>
        <p:sp>
          <p:nvSpPr>
            <p:cNvPr id="277" name="TextBox 276"/>
            <p:cNvSpPr txBox="1"/>
            <p:nvPr>
              <p:custDataLst>
                <p:tags r:id="rId78"/>
              </p:custDataLst>
            </p:nvPr>
          </p:nvSpPr>
          <p:spPr bwMode="gray">
            <a:xfrm>
              <a:off x="4787971" y="4818095"/>
              <a:ext cx="30767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3%</a:t>
              </a:r>
              <a:endParaRPr lang="en-US" sz="1050">
                <a:solidFill>
                  <a:schemeClr val="bg1"/>
                </a:solidFill>
                <a:effectLst/>
                <a:latin typeface="Arial"/>
              </a:endParaRPr>
            </a:p>
          </p:txBody>
        </p:sp>
        <p:sp>
          <p:nvSpPr>
            <p:cNvPr id="84" name="TextBox 83"/>
            <p:cNvSpPr txBox="1"/>
            <p:nvPr>
              <p:custDataLst>
                <p:tags r:id="rId79"/>
              </p:custDataLst>
            </p:nvPr>
          </p:nvSpPr>
          <p:spPr bwMode="gray">
            <a:xfrm>
              <a:off x="1565825" y="4104163"/>
              <a:ext cx="30767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85%</a:t>
              </a:r>
              <a:endParaRPr lang="en-US" sz="1050">
                <a:solidFill>
                  <a:schemeClr val="bg1"/>
                </a:solidFill>
                <a:effectLst/>
                <a:latin typeface="Arial"/>
              </a:endParaRPr>
            </a:p>
          </p:txBody>
        </p:sp>
        <p:sp>
          <p:nvSpPr>
            <p:cNvPr id="280" name="TextBox 279"/>
            <p:cNvSpPr txBox="1"/>
            <p:nvPr>
              <p:custDataLst>
                <p:tags r:id="rId80"/>
              </p:custDataLst>
            </p:nvPr>
          </p:nvSpPr>
          <p:spPr bwMode="gray">
            <a:xfrm>
              <a:off x="7204581" y="2640114"/>
              <a:ext cx="307675" cy="161583"/>
            </a:xfrm>
            <a:prstGeom prst="rect">
              <a:avLst/>
            </a:prstGeom>
            <a:noFill/>
            <a:ln cmpd="sng">
              <a:noFill/>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0%</a:t>
              </a:r>
              <a:endParaRPr lang="en-US" sz="1050">
                <a:solidFill>
                  <a:schemeClr val="bg1"/>
                </a:solidFill>
                <a:effectLst/>
                <a:latin typeface="Arial"/>
              </a:endParaRPr>
            </a:p>
          </p:txBody>
        </p:sp>
        <p:sp>
          <p:nvSpPr>
            <p:cNvPr id="274" name="TextBox 273"/>
            <p:cNvSpPr txBox="1"/>
            <p:nvPr>
              <p:custDataLst>
                <p:tags r:id="rId81"/>
              </p:custDataLst>
            </p:nvPr>
          </p:nvSpPr>
          <p:spPr bwMode="gray">
            <a:xfrm>
              <a:off x="6404042" y="2656159"/>
              <a:ext cx="297681" cy="161583"/>
            </a:xfrm>
            <a:prstGeom prst="rect">
              <a:avLst/>
            </a:prstGeom>
            <a:noFill/>
            <a:ln cmpd="sng">
              <a:noFill/>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1%</a:t>
              </a:r>
              <a:endParaRPr lang="en-US" sz="1050">
                <a:solidFill>
                  <a:schemeClr val="bg1"/>
                </a:solidFill>
                <a:effectLst/>
                <a:latin typeface="Arial"/>
              </a:endParaRPr>
            </a:p>
          </p:txBody>
        </p:sp>
        <p:sp>
          <p:nvSpPr>
            <p:cNvPr id="282" name="TextBox 281"/>
            <p:cNvSpPr txBox="1"/>
            <p:nvPr>
              <p:custDataLst>
                <p:tags r:id="rId82"/>
              </p:custDataLst>
            </p:nvPr>
          </p:nvSpPr>
          <p:spPr bwMode="gray">
            <a:xfrm>
              <a:off x="2136555" y="6158871"/>
              <a:ext cx="472243"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Neutral</a:t>
              </a:r>
              <a:endParaRPr lang="en-US" sz="1050">
                <a:effectLst/>
                <a:latin typeface="Arial"/>
              </a:endParaRPr>
            </a:p>
          </p:txBody>
        </p:sp>
        <p:sp>
          <p:nvSpPr>
            <p:cNvPr id="283" name="TextBox 282"/>
            <p:cNvSpPr txBox="1"/>
            <p:nvPr>
              <p:custDataLst>
                <p:tags r:id="rId83"/>
              </p:custDataLst>
            </p:nvPr>
          </p:nvSpPr>
          <p:spPr bwMode="gray">
            <a:xfrm>
              <a:off x="2873968" y="6158871"/>
              <a:ext cx="57704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Disagree</a:t>
              </a:r>
              <a:endParaRPr lang="en-US" sz="1050">
                <a:effectLst/>
                <a:latin typeface="Arial"/>
              </a:endParaRPr>
            </a:p>
          </p:txBody>
        </p:sp>
        <p:sp>
          <p:nvSpPr>
            <p:cNvPr id="284" name="TextBox 283"/>
            <p:cNvSpPr txBox="1"/>
            <p:nvPr>
              <p:custDataLst>
                <p:tags r:id="rId84"/>
              </p:custDataLst>
            </p:nvPr>
          </p:nvSpPr>
          <p:spPr bwMode="gray">
            <a:xfrm>
              <a:off x="1479960" y="6158871"/>
              <a:ext cx="410311"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Agree</a:t>
              </a:r>
              <a:endParaRPr lang="en-US" sz="1050">
                <a:effectLst/>
                <a:latin typeface="Arial"/>
              </a:endParaRPr>
            </a:p>
          </p:txBody>
        </p:sp>
        <p:sp>
          <p:nvSpPr>
            <p:cNvPr id="285" name="Rectangle 284"/>
            <p:cNvSpPr/>
            <p:nvPr>
              <p:custDataLst>
                <p:tags r:id="rId85"/>
              </p:custDataLst>
            </p:nvPr>
          </p:nvSpPr>
          <p:spPr bwMode="gray">
            <a:xfrm>
              <a:off x="2708751" y="6158871"/>
              <a:ext cx="146018" cy="146018"/>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86" name="Rectangle 285"/>
            <p:cNvSpPr/>
            <p:nvPr>
              <p:custDataLst>
                <p:tags r:id="rId86"/>
              </p:custDataLst>
            </p:nvPr>
          </p:nvSpPr>
          <p:spPr bwMode="gray">
            <a:xfrm>
              <a:off x="1314743" y="6158871"/>
              <a:ext cx="146018" cy="146018"/>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87" name="Rectangle 286"/>
            <p:cNvSpPr/>
            <p:nvPr>
              <p:custDataLst>
                <p:tags r:id="rId87"/>
              </p:custDataLst>
            </p:nvPr>
          </p:nvSpPr>
          <p:spPr bwMode="gray">
            <a:xfrm>
              <a:off x="1971338" y="6158871"/>
              <a:ext cx="146018" cy="146018"/>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grpSp>
      <p:sp>
        <p:nvSpPr>
          <p:cNvPr id="86" name="TextBox 85"/>
          <p:cNvSpPr txBox="1"/>
          <p:nvPr/>
        </p:nvSpPr>
        <p:spPr>
          <a:xfrm>
            <a:off x="736331" y="1836400"/>
            <a:ext cx="1927243" cy="553998"/>
          </a:xfrm>
          <a:prstGeom prst="rect">
            <a:avLst/>
          </a:prstGeom>
          <a:noFill/>
        </p:spPr>
        <p:txBody>
          <a:bodyPr wrap="square" rtlCol="0">
            <a:spAutoFit/>
          </a:bodyPr>
          <a:lstStyle/>
          <a:p>
            <a:pPr algn="ctr"/>
            <a:r>
              <a:rPr lang="en-US" sz="1000" i="1" dirty="0" smtClean="0"/>
              <a:t>Coordinated efforts across internal depts. for planning and advising yield better solutions</a:t>
            </a:r>
            <a:endParaRPr lang="en-US" sz="1000" i="1" dirty="0"/>
          </a:p>
        </p:txBody>
      </p:sp>
      <p:sp>
        <p:nvSpPr>
          <p:cNvPr id="391" name="TextBox 390"/>
          <p:cNvSpPr txBox="1"/>
          <p:nvPr/>
        </p:nvSpPr>
        <p:spPr>
          <a:xfrm>
            <a:off x="4697935" y="1840233"/>
            <a:ext cx="2482489" cy="553998"/>
          </a:xfrm>
          <a:prstGeom prst="rect">
            <a:avLst/>
          </a:prstGeom>
          <a:noFill/>
        </p:spPr>
        <p:txBody>
          <a:bodyPr wrap="square" rtlCol="0">
            <a:spAutoFit/>
          </a:bodyPr>
          <a:lstStyle/>
          <a:p>
            <a:pPr algn="ctr"/>
            <a:r>
              <a:rPr lang="en-US" sz="1000" i="1" dirty="0"/>
              <a:t>Strong communication channels exist </a:t>
            </a:r>
            <a:r>
              <a:rPr lang="en-US" sz="1000" i="1" dirty="0" smtClean="0"/>
              <a:t>at your institution between </a:t>
            </a:r>
            <a:r>
              <a:rPr lang="en-US" sz="1000" i="1" dirty="0"/>
              <a:t>stakeholders to facilitate </a:t>
            </a:r>
            <a:r>
              <a:rPr lang="en-US" sz="1000" i="1" dirty="0" smtClean="0"/>
              <a:t>collaboration</a:t>
            </a:r>
            <a:endParaRPr lang="en-US" sz="1000" i="1" dirty="0"/>
          </a:p>
        </p:txBody>
      </p:sp>
      <p:sp>
        <p:nvSpPr>
          <p:cNvPr id="406" name="Rectangle 405"/>
          <p:cNvSpPr/>
          <p:nvPr/>
        </p:nvSpPr>
        <p:spPr>
          <a:xfrm>
            <a:off x="665803" y="1812360"/>
            <a:ext cx="2042948" cy="4204187"/>
          </a:xfrm>
          <a:prstGeom prst="rect">
            <a:avLst/>
          </a:prstGeom>
          <a:noFill/>
          <a:ln w="6350" cmpd="sng">
            <a:solidFill>
              <a:srgbClr val="00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7" name="Rectangle 406"/>
          <p:cNvSpPr/>
          <p:nvPr/>
        </p:nvSpPr>
        <p:spPr>
          <a:xfrm>
            <a:off x="2854768" y="1812360"/>
            <a:ext cx="6034361" cy="4204187"/>
          </a:xfrm>
          <a:prstGeom prst="rect">
            <a:avLst/>
          </a:prstGeom>
          <a:noFill/>
          <a:ln w="6350" cmpd="sng">
            <a:solidFill>
              <a:srgbClr val="00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497189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6061281-BD0D-6F47-BBB8-8F6BE6AA34E7}" type="slidenum">
              <a:rPr lang="en-US" smtClean="0"/>
              <a:t>15</a:t>
            </a:fld>
            <a:endParaRPr lang="en-US"/>
          </a:p>
        </p:txBody>
      </p:sp>
      <p:sp>
        <p:nvSpPr>
          <p:cNvPr id="3" name="Content Placeholder 2"/>
          <p:cNvSpPr>
            <a:spLocks noGrp="1"/>
          </p:cNvSpPr>
          <p:nvPr>
            <p:ph idx="13"/>
          </p:nvPr>
        </p:nvSpPr>
        <p:spPr/>
        <p:txBody>
          <a:bodyPr>
            <a:normAutofit/>
          </a:bodyPr>
          <a:lstStyle/>
          <a:p>
            <a:r>
              <a:rPr lang="en-US" sz="900" dirty="0"/>
              <a:t>Sources: </a:t>
            </a:r>
            <a:r>
              <a:rPr lang="en-US" sz="900" dirty="0" smtClean="0"/>
              <a:t>Tyton Partners Analysis</a:t>
            </a:r>
            <a:endParaRPr lang="en-US" sz="900" dirty="0"/>
          </a:p>
        </p:txBody>
      </p:sp>
      <p:sp>
        <p:nvSpPr>
          <p:cNvPr id="4" name="Content Placeholder 3"/>
          <p:cNvSpPr>
            <a:spLocks noGrp="1"/>
          </p:cNvSpPr>
          <p:nvPr>
            <p:ph idx="14"/>
          </p:nvPr>
        </p:nvSpPr>
        <p:spPr/>
        <p:txBody>
          <a:bodyPr/>
          <a:lstStyle/>
          <a:p>
            <a:r>
              <a:rPr lang="en-US" dirty="0" smtClean="0"/>
              <a:t>Staff Dedicated to Planning and Advising Is Showing Growth, Particularly at Large and Public 4-Years</a:t>
            </a:r>
            <a:endParaRPr lang="en-US" dirty="0"/>
          </a:p>
        </p:txBody>
      </p:sp>
      <p:grpSp>
        <p:nvGrpSpPr>
          <p:cNvPr id="85" name="Group 84"/>
          <p:cNvGrpSpPr/>
          <p:nvPr>
            <p:custDataLst>
              <p:tags r:id="rId1"/>
            </p:custDataLst>
          </p:nvPr>
        </p:nvGrpSpPr>
        <p:grpSpPr>
          <a:xfrm>
            <a:off x="526765" y="1913562"/>
            <a:ext cx="8039959" cy="4463732"/>
            <a:chOff x="526765" y="1913562"/>
            <a:chExt cx="8039959" cy="4463732"/>
          </a:xfrm>
        </p:grpSpPr>
        <p:sp>
          <p:nvSpPr>
            <p:cNvPr id="14" name="Rectangle 13"/>
            <p:cNvSpPr/>
            <p:nvPr>
              <p:custDataLst>
                <p:tags r:id="rId2"/>
              </p:custDataLst>
            </p:nvPr>
          </p:nvSpPr>
          <p:spPr bwMode="gray">
            <a:xfrm>
              <a:off x="1069083" y="2969905"/>
              <a:ext cx="599811" cy="1815310"/>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3" name="Rectangle 12"/>
            <p:cNvSpPr/>
            <p:nvPr>
              <p:custDataLst>
                <p:tags r:id="rId3"/>
              </p:custDataLst>
            </p:nvPr>
          </p:nvSpPr>
          <p:spPr bwMode="gray">
            <a:xfrm>
              <a:off x="3948177" y="2839723"/>
              <a:ext cx="599811" cy="1533314"/>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7" name="Rectangle 26"/>
            <p:cNvSpPr/>
            <p:nvPr>
              <p:custDataLst>
                <p:tags r:id="rId4"/>
              </p:custDataLst>
            </p:nvPr>
          </p:nvSpPr>
          <p:spPr bwMode="gray">
            <a:xfrm>
              <a:off x="6827271" y="5072075"/>
              <a:ext cx="599811" cy="525167"/>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4" name="Rectangle 33"/>
            <p:cNvSpPr/>
            <p:nvPr>
              <p:custDataLst>
                <p:tags r:id="rId5"/>
              </p:custDataLst>
            </p:nvPr>
          </p:nvSpPr>
          <p:spPr bwMode="gray">
            <a:xfrm>
              <a:off x="7786970" y="4794657"/>
              <a:ext cx="599811" cy="802586"/>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6" name="Rectangle 15"/>
            <p:cNvSpPr/>
            <p:nvPr>
              <p:custDataLst>
                <p:tags r:id="rId6"/>
              </p:custDataLst>
            </p:nvPr>
          </p:nvSpPr>
          <p:spPr bwMode="gray">
            <a:xfrm>
              <a:off x="4907876" y="3149778"/>
              <a:ext cx="599811" cy="2009056"/>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 name="Rectangle 8"/>
            <p:cNvSpPr/>
            <p:nvPr>
              <p:custDataLst>
                <p:tags r:id="rId7"/>
              </p:custDataLst>
            </p:nvPr>
          </p:nvSpPr>
          <p:spPr bwMode="gray">
            <a:xfrm>
              <a:off x="6827271" y="3633385"/>
              <a:ext cx="599811" cy="1438689"/>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 name="Rectangle 9"/>
            <p:cNvSpPr/>
            <p:nvPr>
              <p:custDataLst>
                <p:tags r:id="rId8"/>
              </p:custDataLst>
            </p:nvPr>
          </p:nvSpPr>
          <p:spPr bwMode="gray">
            <a:xfrm>
              <a:off x="7786970" y="2724108"/>
              <a:ext cx="599811" cy="2070547"/>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5" name="Rectangle 14"/>
            <p:cNvSpPr/>
            <p:nvPr>
              <p:custDataLst>
                <p:tags r:id="rId9"/>
              </p:custDataLst>
            </p:nvPr>
          </p:nvSpPr>
          <p:spPr bwMode="gray">
            <a:xfrm>
              <a:off x="2988479" y="3620140"/>
              <a:ext cx="599811" cy="1593472"/>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2" name="Rectangle 11"/>
            <p:cNvSpPr/>
            <p:nvPr>
              <p:custDataLst>
                <p:tags r:id="rId10"/>
              </p:custDataLst>
            </p:nvPr>
          </p:nvSpPr>
          <p:spPr bwMode="gray">
            <a:xfrm>
              <a:off x="5867574" y="2115392"/>
              <a:ext cx="599811" cy="2442732"/>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6" name="Rectangle 25"/>
            <p:cNvSpPr/>
            <p:nvPr>
              <p:custDataLst>
                <p:tags r:id="rId11"/>
              </p:custDataLst>
            </p:nvPr>
          </p:nvSpPr>
          <p:spPr bwMode="gray">
            <a:xfrm>
              <a:off x="5867574" y="4558125"/>
              <a:ext cx="599811" cy="1039117"/>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9" name="Rectangle 28"/>
            <p:cNvSpPr/>
            <p:nvPr>
              <p:custDataLst>
                <p:tags r:id="rId12"/>
              </p:custDataLst>
            </p:nvPr>
          </p:nvSpPr>
          <p:spPr bwMode="gray">
            <a:xfrm>
              <a:off x="2988479" y="5213612"/>
              <a:ext cx="599811" cy="383630"/>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2" name="Rectangle 31"/>
            <p:cNvSpPr/>
            <p:nvPr>
              <p:custDataLst>
                <p:tags r:id="rId13"/>
              </p:custDataLst>
            </p:nvPr>
          </p:nvSpPr>
          <p:spPr bwMode="gray">
            <a:xfrm>
              <a:off x="4907876" y="5158834"/>
              <a:ext cx="599811" cy="438408"/>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1" name="Rectangle 30"/>
            <p:cNvSpPr/>
            <p:nvPr>
              <p:custDataLst>
                <p:tags r:id="rId14"/>
              </p:custDataLst>
            </p:nvPr>
          </p:nvSpPr>
          <p:spPr bwMode="gray">
            <a:xfrm>
              <a:off x="3948177" y="4373037"/>
              <a:ext cx="599811" cy="1224205"/>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0" name="Rectangle 29"/>
            <p:cNvSpPr/>
            <p:nvPr>
              <p:custDataLst>
                <p:tags r:id="rId15"/>
              </p:custDataLst>
            </p:nvPr>
          </p:nvSpPr>
          <p:spPr bwMode="gray">
            <a:xfrm>
              <a:off x="1069083" y="4785215"/>
              <a:ext cx="599811" cy="812027"/>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cxnSp>
          <p:nvCxnSpPr>
            <p:cNvPr id="40" name="Straight Connector 39"/>
            <p:cNvCxnSpPr/>
            <p:nvPr>
              <p:custDataLst>
                <p:tags r:id="rId16"/>
              </p:custDataLst>
            </p:nvPr>
          </p:nvCxnSpPr>
          <p:spPr bwMode="gray">
            <a:xfrm>
              <a:off x="889140" y="5597242"/>
              <a:ext cx="7677584"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custDataLst>
                <p:tags r:id="rId17"/>
              </p:custDataLst>
            </p:nvPr>
          </p:nvCxnSpPr>
          <p:spPr bwMode="gray">
            <a:xfrm flipV="1">
              <a:off x="889140" y="1994353"/>
              <a:ext cx="0" cy="3602889"/>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custDataLst>
                <p:tags r:id="rId18"/>
              </p:custDataLst>
            </p:nvPr>
          </p:nvCxnSpPr>
          <p:spPr bwMode="gray">
            <a:xfrm flipH="1">
              <a:off x="838340" y="1994353"/>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custDataLst>
                <p:tags r:id="rId19"/>
              </p:custDataLst>
            </p:nvPr>
          </p:nvCxnSpPr>
          <p:spPr bwMode="gray">
            <a:xfrm flipH="1">
              <a:off x="838340" y="343550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custDataLst>
                <p:tags r:id="rId20"/>
              </p:custDataLst>
            </p:nvPr>
          </p:nvCxnSpPr>
          <p:spPr bwMode="gray">
            <a:xfrm flipH="1">
              <a:off x="838340" y="487666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custDataLst>
                <p:tags r:id="rId21"/>
              </p:custDataLst>
            </p:nvPr>
          </p:nvCxnSpPr>
          <p:spPr bwMode="gray">
            <a:xfrm flipH="1">
              <a:off x="838340" y="4156086"/>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custDataLst>
                <p:tags r:id="rId22"/>
              </p:custDataLst>
            </p:nvPr>
          </p:nvCxnSpPr>
          <p:spPr bwMode="gray">
            <a:xfrm flipH="1">
              <a:off x="838340" y="4516375"/>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custDataLst>
                <p:tags r:id="rId23"/>
              </p:custDataLst>
            </p:nvPr>
          </p:nvCxnSpPr>
          <p:spPr bwMode="gray">
            <a:xfrm flipH="1">
              <a:off x="838340" y="3795798"/>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custDataLst>
                <p:tags r:id="rId24"/>
              </p:custDataLst>
            </p:nvPr>
          </p:nvCxnSpPr>
          <p:spPr bwMode="gray">
            <a:xfrm flipH="1">
              <a:off x="838340" y="3075220"/>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custDataLst>
                <p:tags r:id="rId25"/>
              </p:custDataLst>
            </p:nvPr>
          </p:nvCxnSpPr>
          <p:spPr bwMode="gray">
            <a:xfrm flipH="1">
              <a:off x="838340" y="2714931"/>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custDataLst>
                <p:tags r:id="rId26"/>
              </p:custDataLst>
            </p:nvPr>
          </p:nvCxnSpPr>
          <p:spPr bwMode="gray">
            <a:xfrm flipH="1">
              <a:off x="838340" y="5236953"/>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p:custDataLst>
                <p:tags r:id="rId27"/>
              </p:custDataLst>
            </p:nvPr>
          </p:nvCxnSpPr>
          <p:spPr bwMode="gray">
            <a:xfrm flipH="1">
              <a:off x="838340" y="5597242"/>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custDataLst>
                <p:tags r:id="rId28"/>
              </p:custDataLst>
            </p:nvPr>
          </p:nvCxnSpPr>
          <p:spPr bwMode="gray">
            <a:xfrm flipH="1">
              <a:off x="838340" y="2354642"/>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50" name="TextBox 49"/>
            <p:cNvSpPr txBox="1"/>
            <p:nvPr>
              <p:custDataLst>
                <p:tags r:id="rId29"/>
              </p:custDataLst>
            </p:nvPr>
          </p:nvSpPr>
          <p:spPr bwMode="gray">
            <a:xfrm>
              <a:off x="602565" y="5516450"/>
              <a:ext cx="23562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0%</a:t>
              </a:r>
              <a:endParaRPr lang="en-US" sz="1050">
                <a:effectLst/>
                <a:latin typeface="Arial"/>
              </a:endParaRPr>
            </a:p>
          </p:txBody>
        </p:sp>
        <p:sp>
          <p:nvSpPr>
            <p:cNvPr id="48" name="TextBox 47"/>
            <p:cNvSpPr txBox="1"/>
            <p:nvPr>
              <p:custDataLst>
                <p:tags r:id="rId30"/>
              </p:custDataLst>
            </p:nvPr>
          </p:nvSpPr>
          <p:spPr bwMode="gray">
            <a:xfrm>
              <a:off x="526765" y="4795872"/>
              <a:ext cx="31142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a:t>
              </a:r>
              <a:endParaRPr lang="en-US" sz="1050">
                <a:effectLst/>
                <a:latin typeface="Arial"/>
              </a:endParaRPr>
            </a:p>
          </p:txBody>
        </p:sp>
        <p:sp>
          <p:nvSpPr>
            <p:cNvPr id="49" name="TextBox 48"/>
            <p:cNvSpPr txBox="1"/>
            <p:nvPr>
              <p:custDataLst>
                <p:tags r:id="rId31"/>
              </p:custDataLst>
            </p:nvPr>
          </p:nvSpPr>
          <p:spPr bwMode="gray">
            <a:xfrm>
              <a:off x="605404" y="5156161"/>
              <a:ext cx="23278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5%</a:t>
              </a:r>
              <a:endParaRPr lang="en-US" sz="1050">
                <a:effectLst/>
                <a:latin typeface="Arial"/>
              </a:endParaRPr>
            </a:p>
          </p:txBody>
        </p:sp>
        <p:sp>
          <p:nvSpPr>
            <p:cNvPr id="56" name="TextBox 55"/>
            <p:cNvSpPr txBox="1"/>
            <p:nvPr>
              <p:custDataLst>
                <p:tags r:id="rId32"/>
              </p:custDataLst>
            </p:nvPr>
          </p:nvSpPr>
          <p:spPr bwMode="gray">
            <a:xfrm>
              <a:off x="526765" y="4435584"/>
              <a:ext cx="31142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5%</a:t>
              </a:r>
              <a:endParaRPr lang="en-US" sz="1050">
                <a:effectLst/>
                <a:latin typeface="Arial"/>
              </a:endParaRPr>
            </a:p>
          </p:txBody>
        </p:sp>
        <p:sp>
          <p:nvSpPr>
            <p:cNvPr id="36" name="TextBox 35"/>
            <p:cNvSpPr txBox="1"/>
            <p:nvPr>
              <p:custDataLst>
                <p:tags r:id="rId33"/>
              </p:custDataLst>
            </p:nvPr>
          </p:nvSpPr>
          <p:spPr bwMode="gray">
            <a:xfrm>
              <a:off x="530517" y="1913562"/>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50%</a:t>
              </a:r>
              <a:endParaRPr lang="en-US" sz="1050">
                <a:effectLst/>
                <a:latin typeface="Arial"/>
              </a:endParaRPr>
            </a:p>
          </p:txBody>
        </p:sp>
        <p:sp>
          <p:nvSpPr>
            <p:cNvPr id="51" name="TextBox 50"/>
            <p:cNvSpPr txBox="1"/>
            <p:nvPr>
              <p:custDataLst>
                <p:tags r:id="rId34"/>
              </p:custDataLst>
            </p:nvPr>
          </p:nvSpPr>
          <p:spPr bwMode="gray">
            <a:xfrm>
              <a:off x="526765" y="2994428"/>
              <a:ext cx="31142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35%</a:t>
              </a:r>
              <a:endParaRPr lang="en-US" sz="1050">
                <a:effectLst/>
                <a:latin typeface="Arial"/>
              </a:endParaRPr>
            </a:p>
          </p:txBody>
        </p:sp>
        <p:sp>
          <p:nvSpPr>
            <p:cNvPr id="37" name="TextBox 36"/>
            <p:cNvSpPr txBox="1"/>
            <p:nvPr>
              <p:custDataLst>
                <p:tags r:id="rId35"/>
              </p:custDataLst>
            </p:nvPr>
          </p:nvSpPr>
          <p:spPr bwMode="gray">
            <a:xfrm>
              <a:off x="530517" y="2273851"/>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45%</a:t>
              </a:r>
              <a:endParaRPr lang="en-US" sz="1050">
                <a:effectLst/>
                <a:latin typeface="Arial"/>
              </a:endParaRPr>
            </a:p>
          </p:txBody>
        </p:sp>
        <p:sp>
          <p:nvSpPr>
            <p:cNvPr id="38" name="TextBox 37"/>
            <p:cNvSpPr txBox="1"/>
            <p:nvPr>
              <p:custDataLst>
                <p:tags r:id="rId36"/>
              </p:custDataLst>
            </p:nvPr>
          </p:nvSpPr>
          <p:spPr bwMode="gray">
            <a:xfrm>
              <a:off x="530517" y="2634139"/>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40%</a:t>
              </a:r>
              <a:endParaRPr lang="en-US" sz="1050">
                <a:effectLst/>
                <a:latin typeface="Arial"/>
              </a:endParaRPr>
            </a:p>
          </p:txBody>
        </p:sp>
        <p:sp>
          <p:nvSpPr>
            <p:cNvPr id="57" name="TextBox 56"/>
            <p:cNvSpPr txBox="1"/>
            <p:nvPr>
              <p:custDataLst>
                <p:tags r:id="rId37"/>
              </p:custDataLst>
            </p:nvPr>
          </p:nvSpPr>
          <p:spPr bwMode="gray">
            <a:xfrm>
              <a:off x="526765" y="3715006"/>
              <a:ext cx="31142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25%</a:t>
              </a:r>
              <a:endParaRPr lang="en-US" sz="1050">
                <a:effectLst/>
                <a:latin typeface="Arial"/>
              </a:endParaRPr>
            </a:p>
          </p:txBody>
        </p:sp>
        <p:sp>
          <p:nvSpPr>
            <p:cNvPr id="58" name="TextBox 57"/>
            <p:cNvSpPr txBox="1"/>
            <p:nvPr>
              <p:custDataLst>
                <p:tags r:id="rId38"/>
              </p:custDataLst>
            </p:nvPr>
          </p:nvSpPr>
          <p:spPr bwMode="gray">
            <a:xfrm>
              <a:off x="526765" y="4075295"/>
              <a:ext cx="31142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20%</a:t>
              </a:r>
              <a:endParaRPr lang="en-US" sz="1050">
                <a:effectLst/>
                <a:latin typeface="Arial"/>
              </a:endParaRPr>
            </a:p>
          </p:txBody>
        </p:sp>
        <p:sp>
          <p:nvSpPr>
            <p:cNvPr id="52" name="TextBox 51"/>
            <p:cNvSpPr txBox="1"/>
            <p:nvPr>
              <p:custDataLst>
                <p:tags r:id="rId39"/>
              </p:custDataLst>
            </p:nvPr>
          </p:nvSpPr>
          <p:spPr bwMode="gray">
            <a:xfrm>
              <a:off x="526765" y="3354717"/>
              <a:ext cx="31142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30%</a:t>
              </a:r>
              <a:endParaRPr lang="en-US" sz="1050" dirty="0">
                <a:effectLst/>
                <a:latin typeface="Arial"/>
              </a:endParaRPr>
            </a:p>
          </p:txBody>
        </p:sp>
        <p:sp>
          <p:nvSpPr>
            <p:cNvPr id="63" name="TextBox 62"/>
            <p:cNvSpPr txBox="1"/>
            <p:nvPr>
              <p:custDataLst>
                <p:tags r:id="rId40"/>
              </p:custDataLst>
            </p:nvPr>
          </p:nvSpPr>
          <p:spPr bwMode="gray">
            <a:xfrm>
              <a:off x="7764689" y="5660742"/>
              <a:ext cx="644371"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Mid-Large </a:t>
              </a:r>
            </a:p>
            <a:p>
              <a:pPr algn="ctr"/>
              <a:r>
                <a:rPr lang="en-US" sz="1050" smtClean="0">
                  <a:effectLst/>
                  <a:latin typeface="Arial"/>
                </a:rPr>
                <a:t>4-Year </a:t>
              </a:r>
            </a:p>
            <a:p>
              <a:pPr algn="ctr"/>
              <a:r>
                <a:rPr lang="en-US" sz="1050" smtClean="0">
                  <a:effectLst/>
                  <a:latin typeface="Arial"/>
                </a:rPr>
                <a:t>Privates</a:t>
              </a:r>
              <a:endParaRPr lang="en-US" sz="1050">
                <a:effectLst/>
                <a:latin typeface="Arial"/>
              </a:endParaRPr>
            </a:p>
          </p:txBody>
        </p:sp>
        <p:sp>
          <p:nvSpPr>
            <p:cNvPr id="65" name="TextBox 64"/>
            <p:cNvSpPr txBox="1"/>
            <p:nvPr>
              <p:custDataLst>
                <p:tags r:id="rId41"/>
              </p:custDataLst>
            </p:nvPr>
          </p:nvSpPr>
          <p:spPr bwMode="gray">
            <a:xfrm>
              <a:off x="4970686" y="5660742"/>
              <a:ext cx="474190"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Small </a:t>
              </a:r>
            </a:p>
            <a:p>
              <a:pPr algn="ctr"/>
              <a:r>
                <a:rPr lang="en-US" sz="1050" smtClean="0">
                  <a:effectLst/>
                  <a:latin typeface="Arial"/>
                </a:rPr>
                <a:t>4-Year </a:t>
              </a:r>
            </a:p>
            <a:p>
              <a:pPr algn="ctr"/>
              <a:r>
                <a:rPr lang="en-US" sz="1050" smtClean="0">
                  <a:effectLst/>
                  <a:latin typeface="Arial"/>
                </a:rPr>
                <a:t>Publics</a:t>
              </a:r>
              <a:endParaRPr lang="en-US" sz="1050">
                <a:effectLst/>
                <a:latin typeface="Arial"/>
              </a:endParaRPr>
            </a:p>
          </p:txBody>
        </p:sp>
        <p:sp>
          <p:nvSpPr>
            <p:cNvPr id="61" name="TextBox 60"/>
            <p:cNvSpPr txBox="1"/>
            <p:nvPr>
              <p:custDataLst>
                <p:tags r:id="rId42"/>
              </p:custDataLst>
            </p:nvPr>
          </p:nvSpPr>
          <p:spPr bwMode="gray">
            <a:xfrm>
              <a:off x="2961521" y="5660742"/>
              <a:ext cx="653726"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Small </a:t>
              </a:r>
            </a:p>
            <a:p>
              <a:pPr algn="ctr"/>
              <a:r>
                <a:rPr lang="en-US" sz="1050" smtClean="0">
                  <a:effectLst/>
                  <a:latin typeface="Arial"/>
                </a:rPr>
                <a:t>Two years</a:t>
              </a:r>
              <a:endParaRPr lang="en-US" sz="1050">
                <a:effectLst/>
                <a:latin typeface="Arial"/>
              </a:endParaRPr>
            </a:p>
          </p:txBody>
        </p:sp>
        <p:sp>
          <p:nvSpPr>
            <p:cNvPr id="66" name="TextBox 65"/>
            <p:cNvSpPr txBox="1"/>
            <p:nvPr>
              <p:custDataLst>
                <p:tags r:id="rId43"/>
              </p:custDataLst>
            </p:nvPr>
          </p:nvSpPr>
          <p:spPr bwMode="gray">
            <a:xfrm>
              <a:off x="3918336" y="5660742"/>
              <a:ext cx="659493"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Mid-Large </a:t>
              </a:r>
            </a:p>
            <a:p>
              <a:pPr algn="ctr"/>
              <a:r>
                <a:rPr lang="en-US" sz="1050" smtClean="0">
                  <a:effectLst/>
                  <a:latin typeface="Arial"/>
                </a:rPr>
                <a:t>Two Years</a:t>
              </a:r>
              <a:endParaRPr lang="en-US" sz="1050">
                <a:effectLst/>
                <a:latin typeface="Arial"/>
              </a:endParaRPr>
            </a:p>
          </p:txBody>
        </p:sp>
        <p:sp>
          <p:nvSpPr>
            <p:cNvPr id="67" name="TextBox 66"/>
            <p:cNvSpPr txBox="1"/>
            <p:nvPr>
              <p:custDataLst>
                <p:tags r:id="rId44"/>
              </p:custDataLst>
            </p:nvPr>
          </p:nvSpPr>
          <p:spPr bwMode="gray">
            <a:xfrm>
              <a:off x="1205722" y="5660742"/>
              <a:ext cx="326534"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Total</a:t>
              </a:r>
              <a:endParaRPr lang="en-US" sz="1050">
                <a:effectLst/>
                <a:latin typeface="Arial"/>
              </a:endParaRPr>
            </a:p>
          </p:txBody>
        </p:sp>
        <p:sp>
          <p:nvSpPr>
            <p:cNvPr id="59" name="TextBox 58"/>
            <p:cNvSpPr txBox="1"/>
            <p:nvPr>
              <p:custDataLst>
                <p:tags r:id="rId45"/>
              </p:custDataLst>
            </p:nvPr>
          </p:nvSpPr>
          <p:spPr bwMode="gray">
            <a:xfrm>
              <a:off x="6864435" y="5660742"/>
              <a:ext cx="525486"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Small </a:t>
              </a:r>
            </a:p>
            <a:p>
              <a:pPr algn="ctr"/>
              <a:r>
                <a:rPr lang="en-US" sz="1050" smtClean="0">
                  <a:effectLst/>
                  <a:latin typeface="Arial"/>
                </a:rPr>
                <a:t>4-Year </a:t>
              </a:r>
            </a:p>
            <a:p>
              <a:pPr algn="ctr"/>
              <a:r>
                <a:rPr lang="en-US" sz="1050" smtClean="0">
                  <a:effectLst/>
                  <a:latin typeface="Arial"/>
                </a:rPr>
                <a:t>Privates</a:t>
              </a:r>
              <a:endParaRPr lang="en-US" sz="1050">
                <a:effectLst/>
                <a:latin typeface="Arial"/>
              </a:endParaRPr>
            </a:p>
          </p:txBody>
        </p:sp>
        <p:sp>
          <p:nvSpPr>
            <p:cNvPr id="60" name="TextBox 59"/>
            <p:cNvSpPr txBox="1"/>
            <p:nvPr>
              <p:custDataLst>
                <p:tags r:id="rId46"/>
              </p:custDataLst>
            </p:nvPr>
          </p:nvSpPr>
          <p:spPr bwMode="gray">
            <a:xfrm>
              <a:off x="5845294" y="5660742"/>
              <a:ext cx="644371"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Mid-Large </a:t>
              </a:r>
            </a:p>
            <a:p>
              <a:pPr algn="ctr"/>
              <a:r>
                <a:rPr lang="en-US" sz="1050" smtClean="0">
                  <a:effectLst/>
                  <a:latin typeface="Arial"/>
                </a:rPr>
                <a:t>4-Year </a:t>
              </a:r>
            </a:p>
            <a:p>
              <a:pPr algn="ctr"/>
              <a:r>
                <a:rPr lang="en-US" sz="1050" smtClean="0">
                  <a:effectLst/>
                  <a:latin typeface="Arial"/>
                </a:rPr>
                <a:t>Publics</a:t>
              </a:r>
              <a:endParaRPr lang="en-US" sz="1050">
                <a:effectLst/>
                <a:latin typeface="Arial"/>
              </a:endParaRPr>
            </a:p>
          </p:txBody>
        </p:sp>
        <p:sp>
          <p:nvSpPr>
            <p:cNvPr id="78" name="TextBox 77"/>
            <p:cNvSpPr txBox="1"/>
            <p:nvPr>
              <p:custDataLst>
                <p:tags r:id="rId47"/>
              </p:custDataLst>
            </p:nvPr>
          </p:nvSpPr>
          <p:spPr bwMode="gray">
            <a:xfrm>
              <a:off x="7874327" y="5115157"/>
              <a:ext cx="42509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1.1%</a:t>
              </a:r>
              <a:endParaRPr lang="en-US" sz="1050">
                <a:solidFill>
                  <a:schemeClr val="bg1"/>
                </a:solidFill>
                <a:effectLst/>
                <a:latin typeface="Arial"/>
              </a:endParaRPr>
            </a:p>
          </p:txBody>
        </p:sp>
        <p:sp>
          <p:nvSpPr>
            <p:cNvPr id="90" name="TextBox 89"/>
            <p:cNvSpPr txBox="1"/>
            <p:nvPr>
              <p:custDataLst>
                <p:tags r:id="rId48"/>
              </p:custDataLst>
            </p:nvPr>
          </p:nvSpPr>
          <p:spPr bwMode="gray">
            <a:xfrm>
              <a:off x="5034806" y="5297246"/>
              <a:ext cx="345950"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6.1%</a:t>
              </a:r>
              <a:endParaRPr lang="en-US" sz="1050">
                <a:solidFill>
                  <a:schemeClr val="bg1"/>
                </a:solidFill>
                <a:effectLst/>
                <a:latin typeface="Arial"/>
              </a:endParaRPr>
            </a:p>
          </p:txBody>
        </p:sp>
        <p:sp>
          <p:nvSpPr>
            <p:cNvPr id="76" name="TextBox 75"/>
            <p:cNvSpPr txBox="1"/>
            <p:nvPr>
              <p:custDataLst>
                <p:tags r:id="rId49"/>
              </p:custDataLst>
            </p:nvPr>
          </p:nvSpPr>
          <p:spPr bwMode="gray">
            <a:xfrm>
              <a:off x="4035535" y="3525588"/>
              <a:ext cx="42509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1.3%</a:t>
              </a:r>
              <a:endParaRPr lang="en-US" sz="1050">
                <a:solidFill>
                  <a:schemeClr val="bg1"/>
                </a:solidFill>
                <a:effectLst/>
                <a:latin typeface="Arial"/>
              </a:endParaRPr>
            </a:p>
          </p:txBody>
        </p:sp>
        <p:sp>
          <p:nvSpPr>
            <p:cNvPr id="79" name="TextBox 78"/>
            <p:cNvSpPr txBox="1"/>
            <p:nvPr>
              <p:custDataLst>
                <p:tags r:id="rId50"/>
              </p:custDataLst>
            </p:nvPr>
          </p:nvSpPr>
          <p:spPr bwMode="gray">
            <a:xfrm>
              <a:off x="1156441" y="3923769"/>
              <a:ext cx="42509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5.2%</a:t>
              </a:r>
              <a:endParaRPr lang="en-US" sz="1050">
                <a:solidFill>
                  <a:schemeClr val="bg1"/>
                </a:solidFill>
                <a:effectLst/>
                <a:latin typeface="Arial"/>
              </a:endParaRPr>
            </a:p>
          </p:txBody>
        </p:sp>
        <p:sp>
          <p:nvSpPr>
            <p:cNvPr id="92" name="TextBox 91"/>
            <p:cNvSpPr txBox="1"/>
            <p:nvPr>
              <p:custDataLst>
                <p:tags r:id="rId51"/>
              </p:custDataLst>
            </p:nvPr>
          </p:nvSpPr>
          <p:spPr bwMode="gray">
            <a:xfrm>
              <a:off x="1156441" y="5110436"/>
              <a:ext cx="42509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1.3%</a:t>
              </a:r>
              <a:endParaRPr lang="en-US" sz="1050">
                <a:solidFill>
                  <a:schemeClr val="bg1"/>
                </a:solidFill>
                <a:effectLst/>
                <a:latin typeface="Arial"/>
              </a:endParaRPr>
            </a:p>
          </p:txBody>
        </p:sp>
        <p:sp>
          <p:nvSpPr>
            <p:cNvPr id="91" name="TextBox 90"/>
            <p:cNvSpPr txBox="1"/>
            <p:nvPr>
              <p:custDataLst>
                <p:tags r:id="rId52"/>
              </p:custDataLst>
            </p:nvPr>
          </p:nvSpPr>
          <p:spPr bwMode="gray">
            <a:xfrm>
              <a:off x="4038096" y="4904347"/>
              <a:ext cx="419973"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7.0%</a:t>
              </a:r>
              <a:endParaRPr lang="en-US" sz="1050">
                <a:solidFill>
                  <a:schemeClr val="bg1"/>
                </a:solidFill>
                <a:effectLst/>
                <a:latin typeface="Arial"/>
              </a:endParaRPr>
            </a:p>
          </p:txBody>
        </p:sp>
        <p:sp>
          <p:nvSpPr>
            <p:cNvPr id="74" name="TextBox 73"/>
            <p:cNvSpPr txBox="1"/>
            <p:nvPr>
              <p:custDataLst>
                <p:tags r:id="rId53"/>
              </p:custDataLst>
            </p:nvPr>
          </p:nvSpPr>
          <p:spPr bwMode="gray">
            <a:xfrm>
              <a:off x="3113300" y="5324635"/>
              <a:ext cx="350169"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3%</a:t>
              </a:r>
              <a:endParaRPr lang="en-US" sz="1050">
                <a:solidFill>
                  <a:schemeClr val="bg1"/>
                </a:solidFill>
                <a:effectLst/>
                <a:latin typeface="Arial"/>
              </a:endParaRPr>
            </a:p>
          </p:txBody>
        </p:sp>
        <p:sp>
          <p:nvSpPr>
            <p:cNvPr id="70" name="TextBox 69"/>
            <p:cNvSpPr txBox="1"/>
            <p:nvPr>
              <p:custDataLst>
                <p:tags r:id="rId54"/>
              </p:custDataLst>
            </p:nvPr>
          </p:nvSpPr>
          <p:spPr bwMode="gray">
            <a:xfrm>
              <a:off x="6954203" y="5253866"/>
              <a:ext cx="345950"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7.3%</a:t>
              </a:r>
              <a:endParaRPr lang="en-US" sz="1050">
                <a:solidFill>
                  <a:schemeClr val="bg1"/>
                </a:solidFill>
                <a:effectLst/>
                <a:latin typeface="Arial"/>
              </a:endParaRPr>
            </a:p>
          </p:txBody>
        </p:sp>
        <p:sp>
          <p:nvSpPr>
            <p:cNvPr id="69" name="TextBox 68"/>
            <p:cNvSpPr txBox="1"/>
            <p:nvPr>
              <p:custDataLst>
                <p:tags r:id="rId55"/>
              </p:custDataLst>
            </p:nvPr>
          </p:nvSpPr>
          <p:spPr bwMode="gray">
            <a:xfrm>
              <a:off x="5954932" y="4996892"/>
              <a:ext cx="42509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4.4%</a:t>
              </a:r>
              <a:endParaRPr lang="en-US" sz="1050" dirty="0">
                <a:solidFill>
                  <a:schemeClr val="bg1"/>
                </a:solidFill>
                <a:effectLst/>
                <a:latin typeface="Arial"/>
              </a:endParaRPr>
            </a:p>
          </p:txBody>
        </p:sp>
        <p:sp>
          <p:nvSpPr>
            <p:cNvPr id="80" name="TextBox 79"/>
            <p:cNvSpPr txBox="1"/>
            <p:nvPr>
              <p:custDataLst>
                <p:tags r:id="rId56"/>
              </p:custDataLst>
            </p:nvPr>
          </p:nvSpPr>
          <p:spPr bwMode="gray">
            <a:xfrm>
              <a:off x="4995233" y="4073514"/>
              <a:ext cx="42509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7.9%</a:t>
              </a:r>
              <a:endParaRPr lang="en-US" sz="1050">
                <a:solidFill>
                  <a:schemeClr val="bg1"/>
                </a:solidFill>
                <a:effectLst/>
                <a:latin typeface="Arial"/>
              </a:endParaRPr>
            </a:p>
          </p:txBody>
        </p:sp>
        <p:sp>
          <p:nvSpPr>
            <p:cNvPr id="114" name="TextBox 113"/>
            <p:cNvSpPr txBox="1"/>
            <p:nvPr>
              <p:custDataLst>
                <p:tags r:id="rId57"/>
              </p:custDataLst>
            </p:nvPr>
          </p:nvSpPr>
          <p:spPr bwMode="gray">
            <a:xfrm>
              <a:off x="3075837" y="3420457"/>
              <a:ext cx="42509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27.4%</a:t>
              </a:r>
              <a:endParaRPr lang="en-US" sz="1050">
                <a:effectLst/>
                <a:latin typeface="Arial"/>
              </a:endParaRPr>
            </a:p>
          </p:txBody>
        </p:sp>
        <p:sp>
          <p:nvSpPr>
            <p:cNvPr id="115" name="TextBox 114"/>
            <p:cNvSpPr txBox="1"/>
            <p:nvPr>
              <p:custDataLst>
                <p:tags r:id="rId58"/>
              </p:custDataLst>
            </p:nvPr>
          </p:nvSpPr>
          <p:spPr bwMode="gray">
            <a:xfrm>
              <a:off x="4995233" y="2950095"/>
              <a:ext cx="42509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34.0%</a:t>
              </a:r>
              <a:endParaRPr lang="en-US" sz="1050">
                <a:effectLst/>
                <a:latin typeface="Arial"/>
              </a:endParaRPr>
            </a:p>
          </p:txBody>
        </p:sp>
        <p:sp>
          <p:nvSpPr>
            <p:cNvPr id="119" name="TextBox 118"/>
            <p:cNvSpPr txBox="1"/>
            <p:nvPr>
              <p:custDataLst>
                <p:tags r:id="rId59"/>
              </p:custDataLst>
            </p:nvPr>
          </p:nvSpPr>
          <p:spPr bwMode="gray">
            <a:xfrm>
              <a:off x="5954932" y="1915709"/>
              <a:ext cx="42509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48.3%</a:t>
              </a:r>
              <a:endParaRPr lang="en-US" sz="1050">
                <a:effectLst/>
                <a:latin typeface="Arial"/>
              </a:endParaRPr>
            </a:p>
          </p:txBody>
        </p:sp>
        <p:sp>
          <p:nvSpPr>
            <p:cNvPr id="118" name="TextBox 117"/>
            <p:cNvSpPr txBox="1"/>
            <p:nvPr>
              <p:custDataLst>
                <p:tags r:id="rId60"/>
              </p:custDataLst>
            </p:nvPr>
          </p:nvSpPr>
          <p:spPr bwMode="gray">
            <a:xfrm>
              <a:off x="6914631" y="3433702"/>
              <a:ext cx="42509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27.3%</a:t>
              </a:r>
              <a:endParaRPr lang="en-US" sz="1050">
                <a:effectLst/>
                <a:latin typeface="Arial"/>
              </a:endParaRPr>
            </a:p>
          </p:txBody>
        </p:sp>
        <p:sp>
          <p:nvSpPr>
            <p:cNvPr id="112" name="TextBox 111"/>
            <p:cNvSpPr txBox="1"/>
            <p:nvPr>
              <p:custDataLst>
                <p:tags r:id="rId61"/>
              </p:custDataLst>
            </p:nvPr>
          </p:nvSpPr>
          <p:spPr bwMode="gray">
            <a:xfrm>
              <a:off x="7874327" y="2524425"/>
              <a:ext cx="42509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39.9%</a:t>
              </a:r>
              <a:endParaRPr lang="en-US" sz="1050">
                <a:effectLst/>
                <a:latin typeface="Arial"/>
              </a:endParaRPr>
            </a:p>
          </p:txBody>
        </p:sp>
        <p:sp>
          <p:nvSpPr>
            <p:cNvPr id="116" name="TextBox 115"/>
            <p:cNvSpPr txBox="1"/>
            <p:nvPr>
              <p:custDataLst>
                <p:tags r:id="rId62"/>
              </p:custDataLst>
            </p:nvPr>
          </p:nvSpPr>
          <p:spPr bwMode="gray">
            <a:xfrm>
              <a:off x="4035535" y="2640040"/>
              <a:ext cx="42509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38.3%</a:t>
              </a:r>
              <a:endParaRPr lang="en-US" sz="1050">
                <a:effectLst/>
                <a:latin typeface="Arial"/>
              </a:endParaRPr>
            </a:p>
          </p:txBody>
        </p:sp>
        <p:sp>
          <p:nvSpPr>
            <p:cNvPr id="81" name="TextBox 80"/>
            <p:cNvSpPr txBox="1"/>
            <p:nvPr>
              <p:custDataLst>
                <p:tags r:id="rId63"/>
              </p:custDataLst>
            </p:nvPr>
          </p:nvSpPr>
          <p:spPr bwMode="gray">
            <a:xfrm>
              <a:off x="5954932" y="3255967"/>
              <a:ext cx="42509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3.9%</a:t>
              </a:r>
              <a:endParaRPr lang="en-US" sz="1050">
                <a:solidFill>
                  <a:schemeClr val="bg1"/>
                </a:solidFill>
                <a:effectLst/>
                <a:latin typeface="Arial"/>
              </a:endParaRPr>
            </a:p>
          </p:txBody>
        </p:sp>
        <p:sp>
          <p:nvSpPr>
            <p:cNvPr id="83" name="TextBox 82"/>
            <p:cNvSpPr txBox="1"/>
            <p:nvPr>
              <p:custDataLst>
                <p:tags r:id="rId64"/>
              </p:custDataLst>
            </p:nvPr>
          </p:nvSpPr>
          <p:spPr bwMode="gray">
            <a:xfrm>
              <a:off x="3075837" y="4336084"/>
              <a:ext cx="42509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2.1%</a:t>
              </a:r>
              <a:endParaRPr lang="en-US" sz="1050">
                <a:solidFill>
                  <a:schemeClr val="bg1"/>
                </a:solidFill>
                <a:effectLst/>
                <a:latin typeface="Arial"/>
              </a:endParaRPr>
            </a:p>
          </p:txBody>
        </p:sp>
        <p:sp>
          <p:nvSpPr>
            <p:cNvPr id="82" name="TextBox 81"/>
            <p:cNvSpPr txBox="1"/>
            <p:nvPr>
              <p:custDataLst>
                <p:tags r:id="rId65"/>
              </p:custDataLst>
            </p:nvPr>
          </p:nvSpPr>
          <p:spPr bwMode="gray">
            <a:xfrm>
              <a:off x="6914631" y="4271938"/>
              <a:ext cx="42509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0.0%</a:t>
              </a:r>
              <a:endParaRPr lang="en-US" sz="1050">
                <a:solidFill>
                  <a:schemeClr val="bg1"/>
                </a:solidFill>
                <a:effectLst/>
                <a:latin typeface="Arial"/>
              </a:endParaRPr>
            </a:p>
          </p:txBody>
        </p:sp>
        <p:sp>
          <p:nvSpPr>
            <p:cNvPr id="120" name="TextBox 119"/>
            <p:cNvSpPr txBox="1"/>
            <p:nvPr>
              <p:custDataLst>
                <p:tags r:id="rId66"/>
              </p:custDataLst>
            </p:nvPr>
          </p:nvSpPr>
          <p:spPr bwMode="gray">
            <a:xfrm>
              <a:off x="1156441" y="2770222"/>
              <a:ext cx="42509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36.5%</a:t>
              </a:r>
              <a:endParaRPr lang="en-US" sz="1050">
                <a:effectLst/>
                <a:latin typeface="Arial"/>
              </a:endParaRPr>
            </a:p>
          </p:txBody>
        </p:sp>
        <p:sp>
          <p:nvSpPr>
            <p:cNvPr id="75" name="TextBox 74"/>
            <p:cNvSpPr txBox="1"/>
            <p:nvPr>
              <p:custDataLst>
                <p:tags r:id="rId67"/>
              </p:custDataLst>
            </p:nvPr>
          </p:nvSpPr>
          <p:spPr bwMode="gray">
            <a:xfrm>
              <a:off x="7874327" y="3678590"/>
              <a:ext cx="42509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8.7%</a:t>
              </a:r>
              <a:endParaRPr lang="en-US" sz="1050">
                <a:solidFill>
                  <a:schemeClr val="bg1"/>
                </a:solidFill>
                <a:effectLst/>
                <a:latin typeface="Arial"/>
              </a:endParaRPr>
            </a:p>
          </p:txBody>
        </p:sp>
        <p:sp>
          <p:nvSpPr>
            <p:cNvPr id="95" name="TextBox 94"/>
            <p:cNvSpPr txBox="1"/>
            <p:nvPr>
              <p:custDataLst>
                <p:tags r:id="rId68"/>
              </p:custDataLst>
            </p:nvPr>
          </p:nvSpPr>
          <p:spPr bwMode="gray">
            <a:xfrm>
              <a:off x="3518171" y="6215711"/>
              <a:ext cx="115495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dirty="0" smtClean="0">
                  <a:effectLst/>
                  <a:latin typeface="Arial"/>
                </a:rPr>
                <a:t>Grown Moderately</a:t>
              </a:r>
              <a:endParaRPr lang="en-US" sz="1050" dirty="0">
                <a:effectLst/>
                <a:latin typeface="Arial"/>
              </a:endParaRPr>
            </a:p>
          </p:txBody>
        </p:sp>
        <p:sp>
          <p:nvSpPr>
            <p:cNvPr id="97" name="TextBox 96"/>
            <p:cNvSpPr txBox="1"/>
            <p:nvPr>
              <p:custDataLst>
                <p:tags r:id="rId69"/>
              </p:custDataLst>
            </p:nvPr>
          </p:nvSpPr>
          <p:spPr bwMode="gray">
            <a:xfrm>
              <a:off x="1071705" y="6215711"/>
              <a:ext cx="2083921"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Grown Significantly (at least 25%)</a:t>
              </a:r>
              <a:endParaRPr lang="en-US" sz="1050">
                <a:effectLst/>
                <a:latin typeface="Arial"/>
              </a:endParaRPr>
            </a:p>
          </p:txBody>
        </p:sp>
        <p:sp>
          <p:nvSpPr>
            <p:cNvPr id="100" name="Rectangle 99"/>
            <p:cNvSpPr/>
            <p:nvPr>
              <p:custDataLst>
                <p:tags r:id="rId70"/>
              </p:custDataLst>
            </p:nvPr>
          </p:nvSpPr>
          <p:spPr bwMode="gray">
            <a:xfrm>
              <a:off x="3352955" y="6215711"/>
              <a:ext cx="146018" cy="146018"/>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9" name="Rectangle 98"/>
            <p:cNvSpPr/>
            <p:nvPr>
              <p:custDataLst>
                <p:tags r:id="rId71"/>
              </p:custDataLst>
            </p:nvPr>
          </p:nvSpPr>
          <p:spPr bwMode="gray">
            <a:xfrm>
              <a:off x="906489" y="6215711"/>
              <a:ext cx="146018" cy="146018"/>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grpSp>
      <p:sp>
        <p:nvSpPr>
          <p:cNvPr id="101" name="TextBox 100"/>
          <p:cNvSpPr txBox="1"/>
          <p:nvPr/>
        </p:nvSpPr>
        <p:spPr>
          <a:xfrm>
            <a:off x="606439" y="1176131"/>
            <a:ext cx="7960286" cy="646331"/>
          </a:xfrm>
          <a:prstGeom prst="rect">
            <a:avLst/>
          </a:prstGeom>
          <a:noFill/>
        </p:spPr>
        <p:txBody>
          <a:bodyPr wrap="square" rtlCol="0">
            <a:spAutoFit/>
          </a:bodyPr>
          <a:lstStyle/>
          <a:p>
            <a:pPr algn="ctr"/>
            <a:r>
              <a:rPr lang="en-US" sz="1200" b="1" dirty="0"/>
              <a:t>Over the past 3 years how has the level of staff across the institution dedicated to undergraduate academic planning and advising </a:t>
            </a:r>
            <a:r>
              <a:rPr lang="en-US" sz="1200" b="1" dirty="0" smtClean="0"/>
              <a:t>changed? </a:t>
            </a:r>
          </a:p>
          <a:p>
            <a:pPr lvl="0" algn="ctr"/>
            <a:r>
              <a:rPr lang="en-US" sz="1200" dirty="0"/>
              <a:t>Only respondents who </a:t>
            </a:r>
            <a:r>
              <a:rPr lang="en-US" sz="1200" dirty="0" smtClean="0"/>
              <a:t>have knowledge of “</a:t>
            </a:r>
            <a:r>
              <a:rPr lang="en-US" sz="1200" dirty="0"/>
              <a:t>Institution-level </a:t>
            </a:r>
            <a:r>
              <a:rPr lang="en-US" sz="1200" dirty="0" smtClean="0"/>
              <a:t>advising”; By Institutional Size</a:t>
            </a:r>
            <a:r>
              <a:rPr lang="en-US" sz="1200" dirty="0"/>
              <a:t> </a:t>
            </a:r>
            <a:r>
              <a:rPr lang="en-US" sz="1200" dirty="0" smtClean="0"/>
              <a:t>and Type; n = 993</a:t>
            </a:r>
            <a:endParaRPr lang="en-US" sz="1200" dirty="0"/>
          </a:p>
        </p:txBody>
      </p:sp>
    </p:spTree>
    <p:extLst>
      <p:ext uri="{BB962C8B-B14F-4D97-AF65-F5344CB8AC3E}">
        <p14:creationId xmlns:p14="http://schemas.microsoft.com/office/powerpoint/2010/main" val="30419160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6061281-BD0D-6F47-BBB8-8F6BE6AA34E7}" type="slidenum">
              <a:rPr lang="en-US" smtClean="0"/>
              <a:t>16</a:t>
            </a:fld>
            <a:endParaRPr lang="en-US"/>
          </a:p>
        </p:txBody>
      </p:sp>
      <p:sp>
        <p:nvSpPr>
          <p:cNvPr id="3" name="Content Placeholder 2"/>
          <p:cNvSpPr>
            <a:spLocks noGrp="1"/>
          </p:cNvSpPr>
          <p:nvPr>
            <p:ph idx="13"/>
          </p:nvPr>
        </p:nvSpPr>
        <p:spPr/>
        <p:txBody>
          <a:bodyPr>
            <a:normAutofit/>
          </a:bodyPr>
          <a:lstStyle/>
          <a:p>
            <a:r>
              <a:rPr lang="en-US" sz="900" dirty="0"/>
              <a:t>Sources: </a:t>
            </a:r>
            <a:r>
              <a:rPr lang="en-US" sz="900" dirty="0" smtClean="0"/>
              <a:t>Tyton Partners Analysis</a:t>
            </a:r>
            <a:endParaRPr lang="en-US" sz="900" dirty="0"/>
          </a:p>
        </p:txBody>
      </p:sp>
      <p:sp>
        <p:nvSpPr>
          <p:cNvPr id="4" name="Content Placeholder 3"/>
          <p:cNvSpPr>
            <a:spLocks noGrp="1"/>
          </p:cNvSpPr>
          <p:nvPr>
            <p:ph idx="14"/>
          </p:nvPr>
        </p:nvSpPr>
        <p:spPr/>
        <p:txBody>
          <a:bodyPr>
            <a:normAutofit fontScale="92500"/>
          </a:bodyPr>
          <a:lstStyle/>
          <a:p>
            <a:r>
              <a:rPr lang="en-US" dirty="0"/>
              <a:t>Over the Past </a:t>
            </a:r>
            <a:r>
              <a:rPr lang="en-US" dirty="0" smtClean="0"/>
              <a:t>Three Years</a:t>
            </a:r>
            <a:r>
              <a:rPr lang="en-US" dirty="0"/>
              <a:t>, Spending on </a:t>
            </a:r>
            <a:r>
              <a:rPr lang="en-US" dirty="0" smtClean="0"/>
              <a:t>Advising Technology Has Grown, Especially at Mid-Large Public 4-Years</a:t>
            </a:r>
            <a:endParaRPr lang="en-US" dirty="0"/>
          </a:p>
        </p:txBody>
      </p:sp>
      <p:grpSp>
        <p:nvGrpSpPr>
          <p:cNvPr id="24" name="Group 23"/>
          <p:cNvGrpSpPr/>
          <p:nvPr>
            <p:custDataLst>
              <p:tags r:id="rId1"/>
            </p:custDataLst>
          </p:nvPr>
        </p:nvGrpSpPr>
        <p:grpSpPr>
          <a:xfrm>
            <a:off x="526764" y="1913562"/>
            <a:ext cx="8039960" cy="4463732"/>
            <a:chOff x="526764" y="1913562"/>
            <a:chExt cx="8039960" cy="4463732"/>
          </a:xfrm>
        </p:grpSpPr>
        <p:sp>
          <p:nvSpPr>
            <p:cNvPr id="14" name="Rectangle 13"/>
            <p:cNvSpPr/>
            <p:nvPr>
              <p:custDataLst>
                <p:tags r:id="rId2"/>
              </p:custDataLst>
            </p:nvPr>
          </p:nvSpPr>
          <p:spPr bwMode="gray">
            <a:xfrm>
              <a:off x="1069083" y="3350383"/>
              <a:ext cx="599811" cy="1672549"/>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3" name="Rectangle 12"/>
            <p:cNvSpPr/>
            <p:nvPr>
              <p:custDataLst>
                <p:tags r:id="rId3"/>
              </p:custDataLst>
            </p:nvPr>
          </p:nvSpPr>
          <p:spPr bwMode="gray">
            <a:xfrm>
              <a:off x="3948177" y="3271797"/>
              <a:ext cx="599811" cy="1670383"/>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7" name="Rectangle 26"/>
            <p:cNvSpPr/>
            <p:nvPr>
              <p:custDataLst>
                <p:tags r:id="rId4"/>
              </p:custDataLst>
            </p:nvPr>
          </p:nvSpPr>
          <p:spPr bwMode="gray">
            <a:xfrm>
              <a:off x="6827271" y="5432482"/>
              <a:ext cx="599811" cy="280214"/>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4" name="Rectangle 33"/>
            <p:cNvSpPr/>
            <p:nvPr>
              <p:custDataLst>
                <p:tags r:id="rId5"/>
              </p:custDataLst>
            </p:nvPr>
          </p:nvSpPr>
          <p:spPr bwMode="gray">
            <a:xfrm>
              <a:off x="7786970" y="5161082"/>
              <a:ext cx="599811" cy="551614"/>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6" name="Rectangle 15"/>
            <p:cNvSpPr/>
            <p:nvPr>
              <p:custDataLst>
                <p:tags r:id="rId6"/>
              </p:custDataLst>
            </p:nvPr>
          </p:nvSpPr>
          <p:spPr bwMode="gray">
            <a:xfrm>
              <a:off x="4907876" y="3117959"/>
              <a:ext cx="599811" cy="1569086"/>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 name="Rectangle 9"/>
            <p:cNvSpPr/>
            <p:nvPr>
              <p:custDataLst>
                <p:tags r:id="rId7"/>
              </p:custDataLst>
            </p:nvPr>
          </p:nvSpPr>
          <p:spPr bwMode="gray">
            <a:xfrm>
              <a:off x="7786970" y="3738161"/>
              <a:ext cx="599811" cy="1422921"/>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 name="Rectangle 8"/>
            <p:cNvSpPr/>
            <p:nvPr>
              <p:custDataLst>
                <p:tags r:id="rId8"/>
              </p:custDataLst>
            </p:nvPr>
          </p:nvSpPr>
          <p:spPr bwMode="gray">
            <a:xfrm>
              <a:off x="6827271" y="4021262"/>
              <a:ext cx="599811" cy="1411220"/>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5" name="Rectangle 14"/>
            <p:cNvSpPr/>
            <p:nvPr>
              <p:custDataLst>
                <p:tags r:id="rId9"/>
              </p:custDataLst>
            </p:nvPr>
          </p:nvSpPr>
          <p:spPr bwMode="gray">
            <a:xfrm>
              <a:off x="2988479" y="3538074"/>
              <a:ext cx="599811" cy="1399649"/>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2" name="Rectangle 11"/>
            <p:cNvSpPr/>
            <p:nvPr>
              <p:custDataLst>
                <p:tags r:id="rId10"/>
              </p:custDataLst>
            </p:nvPr>
          </p:nvSpPr>
          <p:spPr bwMode="gray">
            <a:xfrm>
              <a:off x="5867573" y="2433847"/>
              <a:ext cx="599811" cy="2250187"/>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6" name="Rectangle 25"/>
            <p:cNvSpPr/>
            <p:nvPr>
              <p:custDataLst>
                <p:tags r:id="rId11"/>
              </p:custDataLst>
            </p:nvPr>
          </p:nvSpPr>
          <p:spPr bwMode="gray">
            <a:xfrm>
              <a:off x="5867573" y="4684034"/>
              <a:ext cx="599811" cy="1028662"/>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1" name="Rectangle 30"/>
            <p:cNvSpPr/>
            <p:nvPr>
              <p:custDataLst>
                <p:tags r:id="rId12"/>
              </p:custDataLst>
            </p:nvPr>
          </p:nvSpPr>
          <p:spPr bwMode="gray">
            <a:xfrm>
              <a:off x="3948177" y="4942178"/>
              <a:ext cx="599811" cy="770518"/>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2" name="Rectangle 31"/>
            <p:cNvSpPr/>
            <p:nvPr>
              <p:custDataLst>
                <p:tags r:id="rId13"/>
              </p:custDataLst>
            </p:nvPr>
          </p:nvSpPr>
          <p:spPr bwMode="gray">
            <a:xfrm>
              <a:off x="4907876" y="4687045"/>
              <a:ext cx="599811" cy="1025650"/>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0" name="Rectangle 29"/>
            <p:cNvSpPr/>
            <p:nvPr>
              <p:custDataLst>
                <p:tags r:id="rId14"/>
              </p:custDataLst>
            </p:nvPr>
          </p:nvSpPr>
          <p:spPr bwMode="gray">
            <a:xfrm>
              <a:off x="1069083" y="5022933"/>
              <a:ext cx="599811" cy="689764"/>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9" name="Rectangle 28"/>
            <p:cNvSpPr/>
            <p:nvPr>
              <p:custDataLst>
                <p:tags r:id="rId15"/>
              </p:custDataLst>
            </p:nvPr>
          </p:nvSpPr>
          <p:spPr bwMode="gray">
            <a:xfrm>
              <a:off x="2988479" y="4937723"/>
              <a:ext cx="599811" cy="774972"/>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cxnSp>
          <p:nvCxnSpPr>
            <p:cNvPr id="5" name="Straight Connector 4"/>
            <p:cNvCxnSpPr/>
            <p:nvPr>
              <p:custDataLst>
                <p:tags r:id="rId16"/>
              </p:custDataLst>
            </p:nvPr>
          </p:nvCxnSpPr>
          <p:spPr bwMode="gray">
            <a:xfrm>
              <a:off x="889139" y="5712696"/>
              <a:ext cx="7677585"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custDataLst>
                <p:tags r:id="rId17"/>
              </p:custDataLst>
            </p:nvPr>
          </p:nvCxnSpPr>
          <p:spPr bwMode="gray">
            <a:xfrm flipV="1">
              <a:off x="889139" y="1994353"/>
              <a:ext cx="0" cy="3718343"/>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custDataLst>
                <p:tags r:id="rId18"/>
              </p:custDataLst>
            </p:nvPr>
          </p:nvCxnSpPr>
          <p:spPr bwMode="gray">
            <a:xfrm flipH="1">
              <a:off x="838339" y="5181505"/>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custDataLst>
                <p:tags r:id="rId19"/>
              </p:custDataLst>
            </p:nvPr>
          </p:nvCxnSpPr>
          <p:spPr bwMode="gray">
            <a:xfrm flipH="1">
              <a:off x="838339" y="358792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custDataLst>
                <p:tags r:id="rId20"/>
              </p:custDataLst>
            </p:nvPr>
          </p:nvCxnSpPr>
          <p:spPr bwMode="gray">
            <a:xfrm flipH="1">
              <a:off x="838339" y="4119121"/>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custDataLst>
                <p:tags r:id="rId21"/>
              </p:custDataLst>
            </p:nvPr>
          </p:nvCxnSpPr>
          <p:spPr bwMode="gray">
            <a:xfrm flipH="1">
              <a:off x="838339" y="1994353"/>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custDataLst>
                <p:tags r:id="rId22"/>
              </p:custDataLst>
            </p:nvPr>
          </p:nvCxnSpPr>
          <p:spPr bwMode="gray">
            <a:xfrm flipH="1">
              <a:off x="838339" y="3056738"/>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custDataLst>
                <p:tags r:id="rId23"/>
              </p:custDataLst>
            </p:nvPr>
          </p:nvCxnSpPr>
          <p:spPr bwMode="gray">
            <a:xfrm flipH="1">
              <a:off x="838339" y="4650313"/>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custDataLst>
                <p:tags r:id="rId24"/>
              </p:custDataLst>
            </p:nvPr>
          </p:nvCxnSpPr>
          <p:spPr bwMode="gray">
            <a:xfrm flipH="1">
              <a:off x="838339" y="2525545"/>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custDataLst>
                <p:tags r:id="rId25"/>
              </p:custDataLst>
            </p:nvPr>
          </p:nvCxnSpPr>
          <p:spPr bwMode="gray">
            <a:xfrm flipH="1">
              <a:off x="838339" y="5712696"/>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49" name="TextBox 48"/>
            <p:cNvSpPr txBox="1"/>
            <p:nvPr>
              <p:custDataLst>
                <p:tags r:id="rId26"/>
              </p:custDataLst>
            </p:nvPr>
          </p:nvSpPr>
          <p:spPr bwMode="gray">
            <a:xfrm>
              <a:off x="526764" y="5100713"/>
              <a:ext cx="31142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a:t>
              </a:r>
              <a:endParaRPr lang="en-US" sz="1050">
                <a:effectLst/>
                <a:latin typeface="Arial"/>
              </a:endParaRPr>
            </a:p>
          </p:txBody>
        </p:sp>
        <p:sp>
          <p:nvSpPr>
            <p:cNvPr id="48" name="TextBox 47"/>
            <p:cNvSpPr txBox="1"/>
            <p:nvPr>
              <p:custDataLst>
                <p:tags r:id="rId27"/>
              </p:custDataLst>
            </p:nvPr>
          </p:nvSpPr>
          <p:spPr bwMode="gray">
            <a:xfrm>
              <a:off x="526764" y="4569522"/>
              <a:ext cx="31142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20%</a:t>
              </a:r>
              <a:endParaRPr lang="en-US" sz="1050">
                <a:effectLst/>
                <a:latin typeface="Arial"/>
              </a:endParaRPr>
            </a:p>
          </p:txBody>
        </p:sp>
        <p:sp>
          <p:nvSpPr>
            <p:cNvPr id="50" name="TextBox 49"/>
            <p:cNvSpPr txBox="1"/>
            <p:nvPr>
              <p:custDataLst>
                <p:tags r:id="rId28"/>
              </p:custDataLst>
            </p:nvPr>
          </p:nvSpPr>
          <p:spPr bwMode="gray">
            <a:xfrm>
              <a:off x="602564" y="5631905"/>
              <a:ext cx="23562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0%</a:t>
              </a:r>
              <a:endParaRPr lang="en-US" sz="1050">
                <a:effectLst/>
                <a:latin typeface="Arial"/>
              </a:endParaRPr>
            </a:p>
          </p:txBody>
        </p:sp>
        <p:sp>
          <p:nvSpPr>
            <p:cNvPr id="57" name="TextBox 56"/>
            <p:cNvSpPr txBox="1"/>
            <p:nvPr>
              <p:custDataLst>
                <p:tags r:id="rId29"/>
              </p:custDataLst>
            </p:nvPr>
          </p:nvSpPr>
          <p:spPr bwMode="gray">
            <a:xfrm>
              <a:off x="526764" y="2975946"/>
              <a:ext cx="31142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50%</a:t>
              </a:r>
              <a:endParaRPr lang="en-US" sz="1050">
                <a:effectLst/>
                <a:latin typeface="Arial"/>
              </a:endParaRPr>
            </a:p>
          </p:txBody>
        </p:sp>
        <p:sp>
          <p:nvSpPr>
            <p:cNvPr id="52" name="TextBox 51"/>
            <p:cNvSpPr txBox="1"/>
            <p:nvPr>
              <p:custDataLst>
                <p:tags r:id="rId30"/>
              </p:custDataLst>
            </p:nvPr>
          </p:nvSpPr>
          <p:spPr bwMode="gray">
            <a:xfrm>
              <a:off x="526764" y="2444753"/>
              <a:ext cx="31142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60%</a:t>
              </a:r>
              <a:endParaRPr lang="en-US" sz="1050" dirty="0">
                <a:effectLst/>
                <a:latin typeface="Arial"/>
              </a:endParaRPr>
            </a:p>
          </p:txBody>
        </p:sp>
        <p:sp>
          <p:nvSpPr>
            <p:cNvPr id="51" name="TextBox 50"/>
            <p:cNvSpPr txBox="1"/>
            <p:nvPr>
              <p:custDataLst>
                <p:tags r:id="rId31"/>
              </p:custDataLst>
            </p:nvPr>
          </p:nvSpPr>
          <p:spPr bwMode="gray">
            <a:xfrm>
              <a:off x="526764" y="1913562"/>
              <a:ext cx="31142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70%</a:t>
              </a:r>
              <a:endParaRPr lang="en-US" sz="1050">
                <a:effectLst/>
                <a:latin typeface="Arial"/>
              </a:endParaRPr>
            </a:p>
          </p:txBody>
        </p:sp>
        <p:sp>
          <p:nvSpPr>
            <p:cNvPr id="58" name="TextBox 57"/>
            <p:cNvSpPr txBox="1"/>
            <p:nvPr>
              <p:custDataLst>
                <p:tags r:id="rId32"/>
              </p:custDataLst>
            </p:nvPr>
          </p:nvSpPr>
          <p:spPr bwMode="gray">
            <a:xfrm>
              <a:off x="526764" y="3507137"/>
              <a:ext cx="31142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40%</a:t>
              </a:r>
              <a:endParaRPr lang="en-US" sz="1050">
                <a:effectLst/>
                <a:latin typeface="Arial"/>
              </a:endParaRPr>
            </a:p>
          </p:txBody>
        </p:sp>
        <p:sp>
          <p:nvSpPr>
            <p:cNvPr id="56" name="TextBox 55"/>
            <p:cNvSpPr txBox="1"/>
            <p:nvPr>
              <p:custDataLst>
                <p:tags r:id="rId33"/>
              </p:custDataLst>
            </p:nvPr>
          </p:nvSpPr>
          <p:spPr bwMode="gray">
            <a:xfrm>
              <a:off x="526764" y="4038329"/>
              <a:ext cx="31142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30%</a:t>
              </a:r>
              <a:endParaRPr lang="en-US" sz="1050">
                <a:effectLst/>
                <a:latin typeface="Arial"/>
              </a:endParaRPr>
            </a:p>
          </p:txBody>
        </p:sp>
        <p:sp>
          <p:nvSpPr>
            <p:cNvPr id="59" name="TextBox 58"/>
            <p:cNvSpPr txBox="1"/>
            <p:nvPr>
              <p:custDataLst>
                <p:tags r:id="rId34"/>
              </p:custDataLst>
            </p:nvPr>
          </p:nvSpPr>
          <p:spPr bwMode="gray">
            <a:xfrm>
              <a:off x="6864435" y="5776196"/>
              <a:ext cx="525486"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Small </a:t>
              </a:r>
            </a:p>
            <a:p>
              <a:pPr algn="ctr"/>
              <a:r>
                <a:rPr lang="en-US" sz="1050" smtClean="0">
                  <a:effectLst/>
                  <a:latin typeface="Arial"/>
                </a:rPr>
                <a:t>4-Year </a:t>
              </a:r>
            </a:p>
            <a:p>
              <a:pPr algn="ctr"/>
              <a:r>
                <a:rPr lang="en-US" sz="1050" smtClean="0">
                  <a:effectLst/>
                  <a:latin typeface="Arial"/>
                </a:rPr>
                <a:t>Privates</a:t>
              </a:r>
              <a:endParaRPr lang="en-US" sz="1050">
                <a:effectLst/>
                <a:latin typeface="Arial"/>
              </a:endParaRPr>
            </a:p>
          </p:txBody>
        </p:sp>
        <p:sp>
          <p:nvSpPr>
            <p:cNvPr id="63" name="TextBox 62"/>
            <p:cNvSpPr txBox="1"/>
            <p:nvPr>
              <p:custDataLst>
                <p:tags r:id="rId35"/>
              </p:custDataLst>
            </p:nvPr>
          </p:nvSpPr>
          <p:spPr bwMode="gray">
            <a:xfrm>
              <a:off x="7764689" y="5776196"/>
              <a:ext cx="644371"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Mid-Large </a:t>
              </a:r>
            </a:p>
            <a:p>
              <a:pPr algn="ctr"/>
              <a:r>
                <a:rPr lang="en-US" sz="1050" smtClean="0">
                  <a:effectLst/>
                  <a:latin typeface="Arial"/>
                </a:rPr>
                <a:t>4-Year </a:t>
              </a:r>
            </a:p>
            <a:p>
              <a:pPr algn="ctr"/>
              <a:r>
                <a:rPr lang="en-US" sz="1050" smtClean="0">
                  <a:effectLst/>
                  <a:latin typeface="Arial"/>
                </a:rPr>
                <a:t>Privates</a:t>
              </a:r>
              <a:endParaRPr lang="en-US" sz="1050">
                <a:effectLst/>
                <a:latin typeface="Arial"/>
              </a:endParaRPr>
            </a:p>
          </p:txBody>
        </p:sp>
        <p:sp>
          <p:nvSpPr>
            <p:cNvPr id="60" name="TextBox 59"/>
            <p:cNvSpPr txBox="1"/>
            <p:nvPr>
              <p:custDataLst>
                <p:tags r:id="rId36"/>
              </p:custDataLst>
            </p:nvPr>
          </p:nvSpPr>
          <p:spPr bwMode="gray">
            <a:xfrm>
              <a:off x="5845294" y="5776196"/>
              <a:ext cx="644371"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Mid-Large </a:t>
              </a:r>
            </a:p>
            <a:p>
              <a:pPr algn="ctr"/>
              <a:r>
                <a:rPr lang="en-US" sz="1050" smtClean="0">
                  <a:effectLst/>
                  <a:latin typeface="Arial"/>
                </a:rPr>
                <a:t>4-Year </a:t>
              </a:r>
            </a:p>
            <a:p>
              <a:pPr algn="ctr"/>
              <a:r>
                <a:rPr lang="en-US" sz="1050" smtClean="0">
                  <a:effectLst/>
                  <a:latin typeface="Arial"/>
                </a:rPr>
                <a:t>Publics</a:t>
              </a:r>
              <a:endParaRPr lang="en-US" sz="1050">
                <a:effectLst/>
                <a:latin typeface="Arial"/>
              </a:endParaRPr>
            </a:p>
          </p:txBody>
        </p:sp>
        <p:sp>
          <p:nvSpPr>
            <p:cNvPr id="65" name="TextBox 64"/>
            <p:cNvSpPr txBox="1"/>
            <p:nvPr>
              <p:custDataLst>
                <p:tags r:id="rId37"/>
              </p:custDataLst>
            </p:nvPr>
          </p:nvSpPr>
          <p:spPr bwMode="gray">
            <a:xfrm>
              <a:off x="4970686" y="5776196"/>
              <a:ext cx="474190"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Small </a:t>
              </a:r>
            </a:p>
            <a:p>
              <a:pPr algn="ctr"/>
              <a:r>
                <a:rPr lang="en-US" sz="1050" smtClean="0">
                  <a:effectLst/>
                  <a:latin typeface="Arial"/>
                </a:rPr>
                <a:t>4-Year </a:t>
              </a:r>
            </a:p>
            <a:p>
              <a:pPr algn="ctr"/>
              <a:r>
                <a:rPr lang="en-US" sz="1050" smtClean="0">
                  <a:effectLst/>
                  <a:latin typeface="Arial"/>
                </a:rPr>
                <a:t>Publics</a:t>
              </a:r>
              <a:endParaRPr lang="en-US" sz="1050">
                <a:effectLst/>
                <a:latin typeface="Arial"/>
              </a:endParaRPr>
            </a:p>
          </p:txBody>
        </p:sp>
        <p:sp>
          <p:nvSpPr>
            <p:cNvPr id="66" name="TextBox 65"/>
            <p:cNvSpPr txBox="1"/>
            <p:nvPr>
              <p:custDataLst>
                <p:tags r:id="rId38"/>
              </p:custDataLst>
            </p:nvPr>
          </p:nvSpPr>
          <p:spPr bwMode="gray">
            <a:xfrm>
              <a:off x="3918336" y="5776196"/>
              <a:ext cx="659493"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Mid-Large </a:t>
              </a:r>
            </a:p>
            <a:p>
              <a:pPr algn="ctr"/>
              <a:r>
                <a:rPr lang="en-US" sz="1050" smtClean="0">
                  <a:effectLst/>
                  <a:latin typeface="Arial"/>
                </a:rPr>
                <a:t>Two Years</a:t>
              </a:r>
              <a:endParaRPr lang="en-US" sz="1050">
                <a:effectLst/>
                <a:latin typeface="Arial"/>
              </a:endParaRPr>
            </a:p>
          </p:txBody>
        </p:sp>
        <p:sp>
          <p:nvSpPr>
            <p:cNvPr id="67" name="TextBox 66"/>
            <p:cNvSpPr txBox="1"/>
            <p:nvPr>
              <p:custDataLst>
                <p:tags r:id="rId39"/>
              </p:custDataLst>
            </p:nvPr>
          </p:nvSpPr>
          <p:spPr bwMode="gray">
            <a:xfrm>
              <a:off x="1205722" y="5776196"/>
              <a:ext cx="326534"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Total</a:t>
              </a:r>
              <a:endParaRPr lang="en-US" sz="1050">
                <a:effectLst/>
                <a:latin typeface="Arial"/>
              </a:endParaRPr>
            </a:p>
          </p:txBody>
        </p:sp>
        <p:sp>
          <p:nvSpPr>
            <p:cNvPr id="61" name="TextBox 60"/>
            <p:cNvSpPr txBox="1"/>
            <p:nvPr>
              <p:custDataLst>
                <p:tags r:id="rId40"/>
              </p:custDataLst>
            </p:nvPr>
          </p:nvSpPr>
          <p:spPr bwMode="gray">
            <a:xfrm>
              <a:off x="2961521" y="5776196"/>
              <a:ext cx="653726"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Small </a:t>
              </a:r>
            </a:p>
            <a:p>
              <a:pPr algn="ctr"/>
              <a:r>
                <a:rPr lang="en-US" sz="1050" smtClean="0">
                  <a:effectLst/>
                  <a:latin typeface="Arial"/>
                </a:rPr>
                <a:t>Two years</a:t>
              </a:r>
              <a:endParaRPr lang="en-US" sz="1050">
                <a:effectLst/>
                <a:latin typeface="Arial"/>
              </a:endParaRPr>
            </a:p>
          </p:txBody>
        </p:sp>
        <p:sp>
          <p:nvSpPr>
            <p:cNvPr id="78" name="TextBox 77"/>
            <p:cNvSpPr txBox="1"/>
            <p:nvPr>
              <p:custDataLst>
                <p:tags r:id="rId41"/>
              </p:custDataLst>
            </p:nvPr>
          </p:nvSpPr>
          <p:spPr bwMode="gray">
            <a:xfrm>
              <a:off x="7933037" y="5356097"/>
              <a:ext cx="30767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0%</a:t>
              </a:r>
              <a:endParaRPr lang="en-US" sz="1050">
                <a:solidFill>
                  <a:schemeClr val="bg1"/>
                </a:solidFill>
                <a:effectLst/>
                <a:latin typeface="Arial"/>
              </a:endParaRPr>
            </a:p>
          </p:txBody>
        </p:sp>
        <p:sp>
          <p:nvSpPr>
            <p:cNvPr id="70" name="TextBox 69"/>
            <p:cNvSpPr txBox="1"/>
            <p:nvPr>
              <p:custDataLst>
                <p:tags r:id="rId42"/>
              </p:custDataLst>
            </p:nvPr>
          </p:nvSpPr>
          <p:spPr bwMode="gray">
            <a:xfrm>
              <a:off x="7010784" y="5491798"/>
              <a:ext cx="232788"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a:t>
              </a:r>
              <a:endParaRPr lang="en-US" sz="1050">
                <a:solidFill>
                  <a:schemeClr val="bg1"/>
                </a:solidFill>
                <a:effectLst/>
                <a:latin typeface="Arial"/>
              </a:endParaRPr>
            </a:p>
          </p:txBody>
        </p:sp>
        <p:sp>
          <p:nvSpPr>
            <p:cNvPr id="79" name="TextBox 78"/>
            <p:cNvSpPr txBox="1"/>
            <p:nvPr>
              <p:custDataLst>
                <p:tags r:id="rId43"/>
              </p:custDataLst>
            </p:nvPr>
          </p:nvSpPr>
          <p:spPr bwMode="gray">
            <a:xfrm>
              <a:off x="1215151" y="4232866"/>
              <a:ext cx="30767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1%</a:t>
              </a:r>
              <a:endParaRPr lang="en-US" sz="1050">
                <a:solidFill>
                  <a:schemeClr val="bg1"/>
                </a:solidFill>
                <a:effectLst/>
                <a:latin typeface="Arial"/>
              </a:endParaRPr>
            </a:p>
          </p:txBody>
        </p:sp>
        <p:sp>
          <p:nvSpPr>
            <p:cNvPr id="80" name="TextBox 79"/>
            <p:cNvSpPr txBox="1"/>
            <p:nvPr>
              <p:custDataLst>
                <p:tags r:id="rId44"/>
              </p:custDataLst>
            </p:nvPr>
          </p:nvSpPr>
          <p:spPr bwMode="gray">
            <a:xfrm>
              <a:off x="5053943" y="3821711"/>
              <a:ext cx="30767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0%</a:t>
              </a:r>
              <a:endParaRPr lang="en-US" sz="1050">
                <a:solidFill>
                  <a:schemeClr val="bg1"/>
                </a:solidFill>
                <a:effectLst/>
                <a:latin typeface="Arial"/>
              </a:endParaRPr>
            </a:p>
          </p:txBody>
        </p:sp>
        <p:sp>
          <p:nvSpPr>
            <p:cNvPr id="76" name="TextBox 75"/>
            <p:cNvSpPr txBox="1"/>
            <p:nvPr>
              <p:custDataLst>
                <p:tags r:id="rId45"/>
              </p:custDataLst>
            </p:nvPr>
          </p:nvSpPr>
          <p:spPr bwMode="gray">
            <a:xfrm>
              <a:off x="4094245" y="4026195"/>
              <a:ext cx="30767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1%</a:t>
              </a:r>
              <a:endParaRPr lang="en-US" sz="1050">
                <a:solidFill>
                  <a:schemeClr val="bg1"/>
                </a:solidFill>
                <a:effectLst/>
                <a:latin typeface="Arial"/>
              </a:endParaRPr>
            </a:p>
          </p:txBody>
        </p:sp>
        <p:sp>
          <p:nvSpPr>
            <p:cNvPr id="91" name="TextBox 90"/>
            <p:cNvSpPr txBox="1"/>
            <p:nvPr>
              <p:custDataLst>
                <p:tags r:id="rId46"/>
              </p:custDataLst>
            </p:nvPr>
          </p:nvSpPr>
          <p:spPr bwMode="gray">
            <a:xfrm>
              <a:off x="4094245" y="5246645"/>
              <a:ext cx="30767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5%</a:t>
              </a:r>
              <a:endParaRPr lang="en-US" sz="1050">
                <a:solidFill>
                  <a:schemeClr val="bg1"/>
                </a:solidFill>
                <a:effectLst/>
                <a:latin typeface="Arial"/>
              </a:endParaRPr>
            </a:p>
          </p:txBody>
        </p:sp>
        <p:sp>
          <p:nvSpPr>
            <p:cNvPr id="92" name="TextBox 91"/>
            <p:cNvSpPr txBox="1"/>
            <p:nvPr>
              <p:custDataLst>
                <p:tags r:id="rId47"/>
              </p:custDataLst>
            </p:nvPr>
          </p:nvSpPr>
          <p:spPr bwMode="gray">
            <a:xfrm>
              <a:off x="1215151" y="5287022"/>
              <a:ext cx="30767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3%</a:t>
              </a:r>
              <a:endParaRPr lang="en-US" sz="1050">
                <a:solidFill>
                  <a:schemeClr val="bg1"/>
                </a:solidFill>
                <a:effectLst/>
                <a:latin typeface="Arial"/>
              </a:endParaRPr>
            </a:p>
          </p:txBody>
        </p:sp>
        <p:sp>
          <p:nvSpPr>
            <p:cNvPr id="90" name="TextBox 89"/>
            <p:cNvSpPr txBox="1"/>
            <p:nvPr>
              <p:custDataLst>
                <p:tags r:id="rId48"/>
              </p:custDataLst>
            </p:nvPr>
          </p:nvSpPr>
          <p:spPr bwMode="gray">
            <a:xfrm>
              <a:off x="5053943" y="5119080"/>
              <a:ext cx="30767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9%</a:t>
              </a:r>
              <a:endParaRPr lang="en-US" sz="1050">
                <a:solidFill>
                  <a:schemeClr val="bg1"/>
                </a:solidFill>
                <a:effectLst/>
                <a:latin typeface="Arial"/>
              </a:endParaRPr>
            </a:p>
          </p:txBody>
        </p:sp>
        <p:sp>
          <p:nvSpPr>
            <p:cNvPr id="69" name="TextBox 68"/>
            <p:cNvSpPr txBox="1"/>
            <p:nvPr>
              <p:custDataLst>
                <p:tags r:id="rId49"/>
              </p:custDataLst>
            </p:nvPr>
          </p:nvSpPr>
          <p:spPr bwMode="gray">
            <a:xfrm>
              <a:off x="6013642" y="5117574"/>
              <a:ext cx="30767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9%</a:t>
              </a:r>
              <a:endParaRPr lang="en-US" sz="1050">
                <a:solidFill>
                  <a:schemeClr val="bg1"/>
                </a:solidFill>
                <a:effectLst/>
                <a:latin typeface="Arial"/>
              </a:endParaRPr>
            </a:p>
          </p:txBody>
        </p:sp>
        <p:sp>
          <p:nvSpPr>
            <p:cNvPr id="74" name="TextBox 73"/>
            <p:cNvSpPr txBox="1"/>
            <p:nvPr>
              <p:custDataLst>
                <p:tags r:id="rId50"/>
              </p:custDataLst>
            </p:nvPr>
          </p:nvSpPr>
          <p:spPr bwMode="gray">
            <a:xfrm>
              <a:off x="3134547" y="5244419"/>
              <a:ext cx="30767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5%</a:t>
              </a:r>
              <a:endParaRPr lang="en-US" sz="1050">
                <a:solidFill>
                  <a:schemeClr val="bg1"/>
                </a:solidFill>
                <a:effectLst/>
                <a:latin typeface="Arial"/>
              </a:endParaRPr>
            </a:p>
          </p:txBody>
        </p:sp>
        <p:sp>
          <p:nvSpPr>
            <p:cNvPr id="83" name="TextBox 82"/>
            <p:cNvSpPr txBox="1"/>
            <p:nvPr>
              <p:custDataLst>
                <p:tags r:id="rId51"/>
              </p:custDataLst>
            </p:nvPr>
          </p:nvSpPr>
          <p:spPr bwMode="gray">
            <a:xfrm>
              <a:off x="3134547" y="4157107"/>
              <a:ext cx="30767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6%</a:t>
              </a:r>
              <a:endParaRPr lang="en-US" sz="1050">
                <a:solidFill>
                  <a:schemeClr val="bg1"/>
                </a:solidFill>
                <a:effectLst/>
                <a:latin typeface="Arial"/>
              </a:endParaRPr>
            </a:p>
          </p:txBody>
        </p:sp>
        <p:sp>
          <p:nvSpPr>
            <p:cNvPr id="114" name="TextBox 113"/>
            <p:cNvSpPr txBox="1"/>
            <p:nvPr>
              <p:custDataLst>
                <p:tags r:id="rId52"/>
              </p:custDataLst>
            </p:nvPr>
          </p:nvSpPr>
          <p:spPr bwMode="gray">
            <a:xfrm>
              <a:off x="3134547" y="3338391"/>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41%</a:t>
              </a:r>
              <a:endParaRPr lang="en-US" sz="1050">
                <a:effectLst/>
                <a:latin typeface="Arial"/>
              </a:endParaRPr>
            </a:p>
          </p:txBody>
        </p:sp>
        <p:sp>
          <p:nvSpPr>
            <p:cNvPr id="115" name="TextBox 114"/>
            <p:cNvSpPr txBox="1"/>
            <p:nvPr>
              <p:custDataLst>
                <p:tags r:id="rId53"/>
              </p:custDataLst>
            </p:nvPr>
          </p:nvSpPr>
          <p:spPr bwMode="gray">
            <a:xfrm>
              <a:off x="5053943" y="2918276"/>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49%</a:t>
              </a:r>
              <a:endParaRPr lang="en-US" sz="1050">
                <a:effectLst/>
                <a:latin typeface="Arial"/>
              </a:endParaRPr>
            </a:p>
          </p:txBody>
        </p:sp>
        <p:sp>
          <p:nvSpPr>
            <p:cNvPr id="119" name="TextBox 118"/>
            <p:cNvSpPr txBox="1"/>
            <p:nvPr>
              <p:custDataLst>
                <p:tags r:id="rId54"/>
              </p:custDataLst>
            </p:nvPr>
          </p:nvSpPr>
          <p:spPr bwMode="gray">
            <a:xfrm>
              <a:off x="6013642" y="223416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62%</a:t>
              </a:r>
              <a:endParaRPr lang="en-US" sz="1050">
                <a:effectLst/>
                <a:latin typeface="Arial"/>
              </a:endParaRPr>
            </a:p>
          </p:txBody>
        </p:sp>
        <p:sp>
          <p:nvSpPr>
            <p:cNvPr id="112" name="TextBox 111"/>
            <p:cNvSpPr txBox="1"/>
            <p:nvPr>
              <p:custDataLst>
                <p:tags r:id="rId55"/>
              </p:custDataLst>
            </p:nvPr>
          </p:nvSpPr>
          <p:spPr bwMode="gray">
            <a:xfrm>
              <a:off x="7933037" y="3538478"/>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37%</a:t>
              </a:r>
              <a:endParaRPr lang="en-US" sz="1050">
                <a:effectLst/>
                <a:latin typeface="Arial"/>
              </a:endParaRPr>
            </a:p>
          </p:txBody>
        </p:sp>
        <p:sp>
          <p:nvSpPr>
            <p:cNvPr id="118" name="TextBox 117"/>
            <p:cNvSpPr txBox="1"/>
            <p:nvPr>
              <p:custDataLst>
                <p:tags r:id="rId56"/>
              </p:custDataLst>
            </p:nvPr>
          </p:nvSpPr>
          <p:spPr bwMode="gray">
            <a:xfrm>
              <a:off x="6973341" y="3821579"/>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32%</a:t>
              </a:r>
              <a:endParaRPr lang="en-US" sz="1050">
                <a:effectLst/>
                <a:latin typeface="Arial"/>
              </a:endParaRPr>
            </a:p>
          </p:txBody>
        </p:sp>
        <p:sp>
          <p:nvSpPr>
            <p:cNvPr id="82" name="TextBox 81"/>
            <p:cNvSpPr txBox="1"/>
            <p:nvPr>
              <p:custDataLst>
                <p:tags r:id="rId57"/>
              </p:custDataLst>
            </p:nvPr>
          </p:nvSpPr>
          <p:spPr bwMode="gray">
            <a:xfrm>
              <a:off x="6973341" y="4646081"/>
              <a:ext cx="30767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7%</a:t>
              </a:r>
              <a:endParaRPr lang="en-US" sz="1050">
                <a:solidFill>
                  <a:schemeClr val="bg1"/>
                </a:solidFill>
                <a:effectLst/>
                <a:latin typeface="Arial"/>
              </a:endParaRPr>
            </a:p>
          </p:txBody>
        </p:sp>
        <p:sp>
          <p:nvSpPr>
            <p:cNvPr id="81" name="TextBox 80"/>
            <p:cNvSpPr txBox="1"/>
            <p:nvPr>
              <p:custDataLst>
                <p:tags r:id="rId58"/>
              </p:custDataLst>
            </p:nvPr>
          </p:nvSpPr>
          <p:spPr bwMode="gray">
            <a:xfrm>
              <a:off x="6013642" y="3478150"/>
              <a:ext cx="30767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42%</a:t>
              </a:r>
              <a:endParaRPr lang="en-US" sz="1050">
                <a:solidFill>
                  <a:schemeClr val="bg1"/>
                </a:solidFill>
                <a:effectLst/>
                <a:latin typeface="Arial"/>
              </a:endParaRPr>
            </a:p>
          </p:txBody>
        </p:sp>
        <p:sp>
          <p:nvSpPr>
            <p:cNvPr id="75" name="TextBox 74"/>
            <p:cNvSpPr txBox="1"/>
            <p:nvPr>
              <p:custDataLst>
                <p:tags r:id="rId59"/>
              </p:custDataLst>
            </p:nvPr>
          </p:nvSpPr>
          <p:spPr bwMode="gray">
            <a:xfrm>
              <a:off x="7933037" y="4368830"/>
              <a:ext cx="307675"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7%</a:t>
              </a:r>
              <a:endParaRPr lang="en-US" sz="1050">
                <a:solidFill>
                  <a:schemeClr val="bg1"/>
                </a:solidFill>
                <a:effectLst/>
                <a:latin typeface="Arial"/>
              </a:endParaRPr>
            </a:p>
          </p:txBody>
        </p:sp>
        <p:sp>
          <p:nvSpPr>
            <p:cNvPr id="116" name="TextBox 115"/>
            <p:cNvSpPr txBox="1"/>
            <p:nvPr>
              <p:custDataLst>
                <p:tags r:id="rId60"/>
              </p:custDataLst>
            </p:nvPr>
          </p:nvSpPr>
          <p:spPr bwMode="gray">
            <a:xfrm>
              <a:off x="4094245" y="307211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46%</a:t>
              </a:r>
              <a:endParaRPr lang="en-US" sz="1050">
                <a:effectLst/>
                <a:latin typeface="Arial"/>
              </a:endParaRPr>
            </a:p>
          </p:txBody>
        </p:sp>
        <p:sp>
          <p:nvSpPr>
            <p:cNvPr id="120" name="TextBox 119"/>
            <p:cNvSpPr txBox="1"/>
            <p:nvPr>
              <p:custDataLst>
                <p:tags r:id="rId61"/>
              </p:custDataLst>
            </p:nvPr>
          </p:nvSpPr>
          <p:spPr bwMode="gray">
            <a:xfrm>
              <a:off x="1215151" y="3150700"/>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44%</a:t>
              </a:r>
              <a:endParaRPr lang="en-US" sz="1050">
                <a:effectLst/>
                <a:latin typeface="Arial"/>
              </a:endParaRPr>
            </a:p>
          </p:txBody>
        </p:sp>
        <p:sp>
          <p:nvSpPr>
            <p:cNvPr id="95" name="TextBox 94"/>
            <p:cNvSpPr txBox="1"/>
            <p:nvPr>
              <p:custDataLst>
                <p:tags r:id="rId62"/>
              </p:custDataLst>
            </p:nvPr>
          </p:nvSpPr>
          <p:spPr bwMode="gray">
            <a:xfrm>
              <a:off x="3518171" y="6215711"/>
              <a:ext cx="115495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dirty="0" smtClean="0">
                  <a:effectLst/>
                  <a:latin typeface="Arial"/>
                </a:rPr>
                <a:t>Grown Moderately</a:t>
              </a:r>
              <a:endParaRPr lang="en-US" sz="1050" dirty="0">
                <a:effectLst/>
                <a:latin typeface="Arial"/>
              </a:endParaRPr>
            </a:p>
          </p:txBody>
        </p:sp>
        <p:sp>
          <p:nvSpPr>
            <p:cNvPr id="97" name="TextBox 96"/>
            <p:cNvSpPr txBox="1"/>
            <p:nvPr>
              <p:custDataLst>
                <p:tags r:id="rId63"/>
              </p:custDataLst>
            </p:nvPr>
          </p:nvSpPr>
          <p:spPr bwMode="gray">
            <a:xfrm>
              <a:off x="1071705" y="6215711"/>
              <a:ext cx="2083921"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Grown Significantly (at least 25%)</a:t>
              </a:r>
              <a:endParaRPr lang="en-US" sz="1050">
                <a:effectLst/>
                <a:latin typeface="Arial"/>
              </a:endParaRPr>
            </a:p>
          </p:txBody>
        </p:sp>
        <p:sp>
          <p:nvSpPr>
            <p:cNvPr id="100" name="Rectangle 99"/>
            <p:cNvSpPr/>
            <p:nvPr>
              <p:custDataLst>
                <p:tags r:id="rId64"/>
              </p:custDataLst>
            </p:nvPr>
          </p:nvSpPr>
          <p:spPr bwMode="gray">
            <a:xfrm>
              <a:off x="3352955" y="6215711"/>
              <a:ext cx="146018" cy="146018"/>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9" name="Rectangle 98"/>
            <p:cNvSpPr/>
            <p:nvPr>
              <p:custDataLst>
                <p:tags r:id="rId65"/>
              </p:custDataLst>
            </p:nvPr>
          </p:nvSpPr>
          <p:spPr bwMode="gray">
            <a:xfrm>
              <a:off x="906489" y="6215711"/>
              <a:ext cx="146018" cy="146018"/>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grpSp>
      <p:sp>
        <p:nvSpPr>
          <p:cNvPr id="101" name="TextBox 100"/>
          <p:cNvSpPr txBox="1"/>
          <p:nvPr/>
        </p:nvSpPr>
        <p:spPr>
          <a:xfrm>
            <a:off x="606439" y="1176131"/>
            <a:ext cx="7960286" cy="646331"/>
          </a:xfrm>
          <a:prstGeom prst="rect">
            <a:avLst/>
          </a:prstGeom>
          <a:noFill/>
        </p:spPr>
        <p:txBody>
          <a:bodyPr wrap="square" rtlCol="0">
            <a:spAutoFit/>
          </a:bodyPr>
          <a:lstStyle/>
          <a:p>
            <a:pPr algn="ctr"/>
            <a:r>
              <a:rPr lang="en-US" sz="1200" b="1" dirty="0"/>
              <a:t>Over the past 3 years how has the spending on technology allocated to academic planning and advising changed at your institution?</a:t>
            </a:r>
          </a:p>
          <a:p>
            <a:pPr algn="ctr"/>
            <a:r>
              <a:rPr lang="en-US" sz="1200" dirty="0" smtClean="0"/>
              <a:t>By Institutional Size</a:t>
            </a:r>
            <a:r>
              <a:rPr lang="en-US" sz="1200" dirty="0"/>
              <a:t> </a:t>
            </a:r>
            <a:r>
              <a:rPr lang="en-US" sz="1200" dirty="0" smtClean="0"/>
              <a:t>and Type; n = 993</a:t>
            </a:r>
            <a:endParaRPr lang="en-US" sz="1200" dirty="0"/>
          </a:p>
        </p:txBody>
      </p:sp>
    </p:spTree>
    <p:extLst>
      <p:ext uri="{BB962C8B-B14F-4D97-AF65-F5344CB8AC3E}">
        <p14:creationId xmlns:p14="http://schemas.microsoft.com/office/powerpoint/2010/main" val="11907489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6061281-BD0D-6F47-BBB8-8F6BE6AA34E7}" type="slidenum">
              <a:rPr lang="en-US" smtClean="0"/>
              <a:t>17</a:t>
            </a:fld>
            <a:endParaRPr lang="en-US"/>
          </a:p>
        </p:txBody>
      </p:sp>
      <p:sp>
        <p:nvSpPr>
          <p:cNvPr id="3" name="Content Placeholder 2"/>
          <p:cNvSpPr>
            <a:spLocks noGrp="1"/>
          </p:cNvSpPr>
          <p:nvPr>
            <p:ph idx="13"/>
          </p:nvPr>
        </p:nvSpPr>
        <p:spPr/>
        <p:txBody>
          <a:bodyPr>
            <a:normAutofit/>
          </a:bodyPr>
          <a:lstStyle/>
          <a:p>
            <a:r>
              <a:rPr lang="en-US" sz="900" dirty="0"/>
              <a:t>Sources: </a:t>
            </a:r>
            <a:r>
              <a:rPr lang="en-US" sz="900" dirty="0" smtClean="0"/>
              <a:t>Tyton Partners Analysis</a:t>
            </a:r>
            <a:endParaRPr lang="en-US" sz="900" dirty="0"/>
          </a:p>
        </p:txBody>
      </p:sp>
      <p:sp>
        <p:nvSpPr>
          <p:cNvPr id="4" name="Content Placeholder 3"/>
          <p:cNvSpPr>
            <a:spLocks noGrp="1"/>
          </p:cNvSpPr>
          <p:nvPr>
            <p:ph idx="14"/>
          </p:nvPr>
        </p:nvSpPr>
        <p:spPr/>
        <p:txBody>
          <a:bodyPr>
            <a:normAutofit/>
          </a:bodyPr>
          <a:lstStyle/>
          <a:p>
            <a:r>
              <a:rPr lang="en-US" dirty="0" smtClean="0"/>
              <a:t>The Median Number of Students per FT Advisor is 260, But Don’t Consider this a Benchmark!</a:t>
            </a:r>
            <a:endParaRPr lang="en-US" dirty="0"/>
          </a:p>
        </p:txBody>
      </p:sp>
      <p:grpSp>
        <p:nvGrpSpPr>
          <p:cNvPr id="13" name="Group 12"/>
          <p:cNvGrpSpPr/>
          <p:nvPr>
            <p:custDataLst>
              <p:tags r:id="rId1"/>
            </p:custDataLst>
          </p:nvPr>
        </p:nvGrpSpPr>
        <p:grpSpPr>
          <a:xfrm>
            <a:off x="235997" y="1689850"/>
            <a:ext cx="8180638" cy="4605167"/>
            <a:chOff x="235997" y="1689850"/>
            <a:chExt cx="8180638" cy="4605167"/>
          </a:xfrm>
        </p:grpSpPr>
        <p:sp>
          <p:nvSpPr>
            <p:cNvPr id="29" name="Rectangle 28"/>
            <p:cNvSpPr/>
            <p:nvPr>
              <p:custDataLst>
                <p:tags r:id="rId2"/>
              </p:custDataLst>
            </p:nvPr>
          </p:nvSpPr>
          <p:spPr bwMode="gray">
            <a:xfrm>
              <a:off x="6860244" y="5495305"/>
              <a:ext cx="676692" cy="221323"/>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8" name="Rectangle 27"/>
            <p:cNvSpPr/>
            <p:nvPr>
              <p:custDataLst>
                <p:tags r:id="rId3"/>
              </p:custDataLst>
            </p:nvPr>
          </p:nvSpPr>
          <p:spPr bwMode="gray">
            <a:xfrm>
              <a:off x="4424154" y="5163321"/>
              <a:ext cx="676692" cy="553307"/>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1" name="Rectangle 30"/>
            <p:cNvSpPr/>
            <p:nvPr>
              <p:custDataLst>
                <p:tags r:id="rId4"/>
              </p:custDataLst>
            </p:nvPr>
          </p:nvSpPr>
          <p:spPr bwMode="gray">
            <a:xfrm>
              <a:off x="1988063" y="3798496"/>
              <a:ext cx="676692" cy="1918132"/>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4" name="Rectangle 33"/>
            <p:cNvSpPr/>
            <p:nvPr>
              <p:custDataLst>
                <p:tags r:id="rId5"/>
              </p:custDataLst>
            </p:nvPr>
          </p:nvSpPr>
          <p:spPr bwMode="gray">
            <a:xfrm>
              <a:off x="7536935" y="5237095"/>
              <a:ext cx="676692" cy="479533"/>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5" name="Rectangle 34"/>
            <p:cNvSpPr/>
            <p:nvPr>
              <p:custDataLst>
                <p:tags r:id="rId6"/>
              </p:custDataLst>
            </p:nvPr>
          </p:nvSpPr>
          <p:spPr bwMode="gray">
            <a:xfrm>
              <a:off x="5100846" y="4241142"/>
              <a:ext cx="676692" cy="1475486"/>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3" name="Rectangle 32"/>
            <p:cNvSpPr/>
            <p:nvPr>
              <p:custDataLst>
                <p:tags r:id="rId7"/>
              </p:custDataLst>
            </p:nvPr>
          </p:nvSpPr>
          <p:spPr bwMode="gray">
            <a:xfrm>
              <a:off x="2664755" y="2027913"/>
              <a:ext cx="676692" cy="3688715"/>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7" name="Rectangle 36"/>
            <p:cNvSpPr/>
            <p:nvPr>
              <p:custDataLst>
                <p:tags r:id="rId8"/>
              </p:custDataLst>
            </p:nvPr>
          </p:nvSpPr>
          <p:spPr bwMode="gray">
            <a:xfrm>
              <a:off x="1311372" y="4610014"/>
              <a:ext cx="676692" cy="1106615"/>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6" name="Rectangle 35"/>
            <p:cNvSpPr/>
            <p:nvPr>
              <p:custDataLst>
                <p:tags r:id="rId9"/>
              </p:custDataLst>
            </p:nvPr>
          </p:nvSpPr>
          <p:spPr bwMode="gray">
            <a:xfrm>
              <a:off x="3747462" y="5495305"/>
              <a:ext cx="676692" cy="221323"/>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9" name="Rectangle 38"/>
            <p:cNvSpPr/>
            <p:nvPr>
              <p:custDataLst>
                <p:tags r:id="rId10"/>
              </p:custDataLst>
            </p:nvPr>
          </p:nvSpPr>
          <p:spPr bwMode="gray">
            <a:xfrm>
              <a:off x="6183552" y="5605967"/>
              <a:ext cx="676692" cy="110661"/>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cxnSp>
          <p:nvCxnSpPr>
            <p:cNvPr id="5" name="Straight Connector 4"/>
            <p:cNvCxnSpPr/>
            <p:nvPr>
              <p:custDataLst>
                <p:tags r:id="rId11"/>
              </p:custDataLst>
            </p:nvPr>
          </p:nvCxnSpPr>
          <p:spPr bwMode="gray">
            <a:xfrm flipV="1">
              <a:off x="1108364" y="2027913"/>
              <a:ext cx="0" cy="3688715"/>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custDataLst>
                <p:tags r:id="rId12"/>
              </p:custDataLst>
            </p:nvPr>
          </p:nvCxnSpPr>
          <p:spPr bwMode="gray">
            <a:xfrm>
              <a:off x="1108364" y="5716628"/>
              <a:ext cx="7308271"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custDataLst>
                <p:tags r:id="rId13"/>
              </p:custDataLst>
            </p:nvPr>
          </p:nvCxnSpPr>
          <p:spPr bwMode="gray">
            <a:xfrm flipH="1">
              <a:off x="1057564" y="2765656"/>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custDataLst>
                <p:tags r:id="rId14"/>
              </p:custDataLst>
            </p:nvPr>
          </p:nvCxnSpPr>
          <p:spPr bwMode="gray">
            <a:xfrm flipH="1">
              <a:off x="1057564" y="4241142"/>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custDataLst>
                <p:tags r:id="rId15"/>
              </p:custDataLst>
            </p:nvPr>
          </p:nvCxnSpPr>
          <p:spPr bwMode="gray">
            <a:xfrm flipH="1">
              <a:off x="1057564" y="350339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custDataLst>
                <p:tags r:id="rId16"/>
              </p:custDataLst>
            </p:nvPr>
          </p:nvCxnSpPr>
          <p:spPr bwMode="gray">
            <a:xfrm flipH="1">
              <a:off x="1057564" y="5716628"/>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custDataLst>
                <p:tags r:id="rId17"/>
              </p:custDataLst>
            </p:nvPr>
          </p:nvCxnSpPr>
          <p:spPr bwMode="gray">
            <a:xfrm flipH="1">
              <a:off x="1057564" y="2027913"/>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custDataLst>
                <p:tags r:id="rId18"/>
              </p:custDataLst>
            </p:nvPr>
          </p:nvCxnSpPr>
          <p:spPr bwMode="gray">
            <a:xfrm flipH="1">
              <a:off x="1057564" y="4978885"/>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57" name="TextBox 56"/>
            <p:cNvSpPr txBox="1"/>
            <p:nvPr>
              <p:custDataLst>
                <p:tags r:id="rId19"/>
              </p:custDataLst>
            </p:nvPr>
          </p:nvSpPr>
          <p:spPr bwMode="gray">
            <a:xfrm>
              <a:off x="794581" y="4898094"/>
              <a:ext cx="26283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0</a:t>
              </a:r>
              <a:endParaRPr lang="en-US" sz="1050">
                <a:effectLst/>
                <a:latin typeface="Arial"/>
              </a:endParaRPr>
            </a:p>
          </p:txBody>
        </p:sp>
        <p:sp>
          <p:nvSpPr>
            <p:cNvPr id="53" name="TextBox 52"/>
            <p:cNvSpPr txBox="1"/>
            <p:nvPr>
              <p:custDataLst>
                <p:tags r:id="rId20"/>
              </p:custDataLst>
            </p:nvPr>
          </p:nvSpPr>
          <p:spPr bwMode="gray">
            <a:xfrm>
              <a:off x="794581" y="4160351"/>
              <a:ext cx="26283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200</a:t>
              </a:r>
              <a:endParaRPr lang="en-US" sz="1050">
                <a:effectLst/>
                <a:latin typeface="Arial"/>
              </a:endParaRPr>
            </a:p>
          </p:txBody>
        </p:sp>
        <p:sp>
          <p:nvSpPr>
            <p:cNvPr id="63" name="TextBox 62"/>
            <p:cNvSpPr txBox="1"/>
            <p:nvPr>
              <p:custDataLst>
                <p:tags r:id="rId21"/>
              </p:custDataLst>
            </p:nvPr>
          </p:nvSpPr>
          <p:spPr bwMode="gray">
            <a:xfrm>
              <a:off x="794581" y="1947122"/>
              <a:ext cx="26283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500</a:t>
              </a:r>
              <a:endParaRPr lang="en-US" sz="1050">
                <a:effectLst/>
                <a:latin typeface="Arial"/>
              </a:endParaRPr>
            </a:p>
          </p:txBody>
        </p:sp>
        <p:sp>
          <p:nvSpPr>
            <p:cNvPr id="60" name="TextBox 59"/>
            <p:cNvSpPr txBox="1"/>
            <p:nvPr>
              <p:custDataLst>
                <p:tags r:id="rId22"/>
              </p:custDataLst>
            </p:nvPr>
          </p:nvSpPr>
          <p:spPr bwMode="gray">
            <a:xfrm>
              <a:off x="794581" y="3422607"/>
              <a:ext cx="26283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300</a:t>
              </a:r>
              <a:endParaRPr lang="en-US" sz="1050" dirty="0">
                <a:effectLst/>
                <a:latin typeface="Arial"/>
              </a:endParaRPr>
            </a:p>
          </p:txBody>
        </p:sp>
        <p:sp>
          <p:nvSpPr>
            <p:cNvPr id="58" name="TextBox 57"/>
            <p:cNvSpPr txBox="1"/>
            <p:nvPr>
              <p:custDataLst>
                <p:tags r:id="rId23"/>
              </p:custDataLst>
            </p:nvPr>
          </p:nvSpPr>
          <p:spPr bwMode="gray">
            <a:xfrm>
              <a:off x="794581" y="2684865"/>
              <a:ext cx="26283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400</a:t>
              </a:r>
              <a:endParaRPr lang="en-US" sz="1050">
                <a:effectLst/>
                <a:latin typeface="Arial"/>
              </a:endParaRPr>
            </a:p>
          </p:txBody>
        </p:sp>
        <p:sp>
          <p:nvSpPr>
            <p:cNvPr id="56" name="TextBox 55"/>
            <p:cNvSpPr txBox="1"/>
            <p:nvPr>
              <p:custDataLst>
                <p:tags r:id="rId24"/>
              </p:custDataLst>
            </p:nvPr>
          </p:nvSpPr>
          <p:spPr bwMode="gray">
            <a:xfrm>
              <a:off x="944356" y="5635837"/>
              <a:ext cx="11306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0</a:t>
              </a:r>
              <a:endParaRPr lang="en-US" sz="1050">
                <a:effectLst/>
                <a:latin typeface="Arial"/>
              </a:endParaRPr>
            </a:p>
          </p:txBody>
        </p:sp>
        <p:sp>
          <p:nvSpPr>
            <p:cNvPr id="103" name="TextBox 102"/>
            <p:cNvSpPr txBox="1"/>
            <p:nvPr>
              <p:custDataLst>
                <p:tags r:id="rId25"/>
              </p:custDataLst>
            </p:nvPr>
          </p:nvSpPr>
          <p:spPr bwMode="gray">
            <a:xfrm>
              <a:off x="235997" y="1689850"/>
              <a:ext cx="1744733"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Number of Students Advised</a:t>
              </a:r>
              <a:endParaRPr lang="en-US" sz="1050">
                <a:effectLst/>
                <a:latin typeface="Arial"/>
              </a:endParaRPr>
            </a:p>
          </p:txBody>
        </p:sp>
        <p:sp>
          <p:nvSpPr>
            <p:cNvPr id="67" name="TextBox 66"/>
            <p:cNvSpPr txBox="1"/>
            <p:nvPr>
              <p:custDataLst>
                <p:tags r:id="rId26"/>
              </p:custDataLst>
            </p:nvPr>
          </p:nvSpPr>
          <p:spPr bwMode="gray">
            <a:xfrm>
              <a:off x="6914931" y="5780128"/>
              <a:ext cx="567318"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Faculty </a:t>
              </a:r>
            </a:p>
            <a:p>
              <a:pPr algn="ctr"/>
              <a:r>
                <a:rPr lang="en-US" sz="1050" smtClean="0">
                  <a:effectLst/>
                  <a:latin typeface="Arial"/>
                </a:rPr>
                <a:t>Advisors</a:t>
              </a:r>
              <a:endParaRPr lang="en-US" sz="1050" dirty="0">
                <a:effectLst/>
                <a:latin typeface="Arial"/>
              </a:endParaRPr>
            </a:p>
          </p:txBody>
        </p:sp>
        <p:sp>
          <p:nvSpPr>
            <p:cNvPr id="68" name="TextBox 67"/>
            <p:cNvSpPr txBox="1"/>
            <p:nvPr>
              <p:custDataLst>
                <p:tags r:id="rId27"/>
              </p:custDataLst>
            </p:nvPr>
          </p:nvSpPr>
          <p:spPr bwMode="gray">
            <a:xfrm>
              <a:off x="4333013" y="5780128"/>
              <a:ext cx="858973"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Part-time </a:t>
              </a:r>
            </a:p>
            <a:p>
              <a:pPr algn="ctr"/>
              <a:r>
                <a:rPr lang="en-US" sz="1050" smtClean="0">
                  <a:effectLst/>
                  <a:latin typeface="Arial"/>
                </a:rPr>
                <a:t>Staff Advisors</a:t>
              </a:r>
              <a:endParaRPr lang="en-US" sz="1050">
                <a:effectLst/>
                <a:latin typeface="Arial"/>
              </a:endParaRPr>
            </a:p>
          </p:txBody>
        </p:sp>
        <p:sp>
          <p:nvSpPr>
            <p:cNvPr id="66" name="TextBox 65"/>
            <p:cNvSpPr txBox="1"/>
            <p:nvPr>
              <p:custDataLst>
                <p:tags r:id="rId28"/>
              </p:custDataLst>
            </p:nvPr>
          </p:nvSpPr>
          <p:spPr bwMode="gray">
            <a:xfrm>
              <a:off x="1896922" y="5780128"/>
              <a:ext cx="858973"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Full-time </a:t>
              </a:r>
            </a:p>
            <a:p>
              <a:pPr algn="ctr"/>
              <a:r>
                <a:rPr lang="en-US" sz="1050" smtClean="0">
                  <a:effectLst/>
                  <a:latin typeface="Arial"/>
                </a:rPr>
                <a:t>Staff Advisors</a:t>
              </a:r>
              <a:endParaRPr lang="en-US" sz="1050">
                <a:effectLst/>
                <a:latin typeface="Arial"/>
              </a:endParaRPr>
            </a:p>
          </p:txBody>
        </p:sp>
        <p:sp>
          <p:nvSpPr>
            <p:cNvPr id="65" name="TextBox 64"/>
            <p:cNvSpPr txBox="1"/>
            <p:nvPr>
              <p:custDataLst>
                <p:tags r:id="rId29"/>
              </p:custDataLst>
            </p:nvPr>
          </p:nvSpPr>
          <p:spPr bwMode="gray">
            <a:xfrm>
              <a:off x="581462" y="6133434"/>
              <a:ext cx="11306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r>
                <a:rPr lang="en-US" sz="1050" smtClean="0">
                  <a:effectLst/>
                  <a:latin typeface="Arial"/>
                </a:rPr>
                <a:t>n</a:t>
              </a:r>
              <a:endParaRPr lang="en-US" sz="1050">
                <a:effectLst/>
                <a:latin typeface="Arial"/>
              </a:endParaRPr>
            </a:p>
          </p:txBody>
        </p:sp>
        <p:sp>
          <p:nvSpPr>
            <p:cNvPr id="69" name="TextBox 68"/>
            <p:cNvSpPr txBox="1"/>
            <p:nvPr>
              <p:custDataLst>
                <p:tags r:id="rId30"/>
              </p:custDataLst>
            </p:nvPr>
          </p:nvSpPr>
          <p:spPr bwMode="gray">
            <a:xfrm>
              <a:off x="2194991" y="3598813"/>
              <a:ext cx="26283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260</a:t>
              </a:r>
              <a:endParaRPr lang="en-US" sz="1050">
                <a:effectLst/>
                <a:latin typeface="Arial"/>
              </a:endParaRPr>
            </a:p>
          </p:txBody>
        </p:sp>
        <p:sp>
          <p:nvSpPr>
            <p:cNvPr id="72" name="TextBox 71"/>
            <p:cNvSpPr txBox="1"/>
            <p:nvPr>
              <p:custDataLst>
                <p:tags r:id="rId31"/>
              </p:custDataLst>
            </p:nvPr>
          </p:nvSpPr>
          <p:spPr bwMode="gray">
            <a:xfrm>
              <a:off x="4668526" y="4963638"/>
              <a:ext cx="18794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75</a:t>
              </a:r>
              <a:endParaRPr lang="en-US" sz="1050">
                <a:effectLst/>
                <a:latin typeface="Arial"/>
              </a:endParaRPr>
            </a:p>
          </p:txBody>
        </p:sp>
        <p:sp>
          <p:nvSpPr>
            <p:cNvPr id="71" name="TextBox 70"/>
            <p:cNvSpPr txBox="1"/>
            <p:nvPr>
              <p:custDataLst>
                <p:tags r:id="rId32"/>
              </p:custDataLst>
            </p:nvPr>
          </p:nvSpPr>
          <p:spPr bwMode="gray">
            <a:xfrm>
              <a:off x="7104616" y="5295622"/>
              <a:ext cx="18794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30</a:t>
              </a:r>
              <a:endParaRPr lang="en-US" sz="1050">
                <a:effectLst/>
                <a:latin typeface="Arial"/>
              </a:endParaRPr>
            </a:p>
          </p:txBody>
        </p:sp>
        <p:sp>
          <p:nvSpPr>
            <p:cNvPr id="73" name="TextBox 72"/>
            <p:cNvSpPr txBox="1"/>
            <p:nvPr>
              <p:custDataLst>
                <p:tags r:id="rId33"/>
              </p:custDataLst>
            </p:nvPr>
          </p:nvSpPr>
          <p:spPr bwMode="gray">
            <a:xfrm>
              <a:off x="1518300" y="4410330"/>
              <a:ext cx="26283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150</a:t>
              </a:r>
              <a:endParaRPr lang="en-US" sz="1050">
                <a:effectLst/>
                <a:latin typeface="Arial"/>
              </a:endParaRPr>
            </a:p>
          </p:txBody>
        </p:sp>
        <p:sp>
          <p:nvSpPr>
            <p:cNvPr id="76" name="TextBox 75"/>
            <p:cNvSpPr txBox="1"/>
            <p:nvPr>
              <p:custDataLst>
                <p:tags r:id="rId34"/>
              </p:custDataLst>
            </p:nvPr>
          </p:nvSpPr>
          <p:spPr bwMode="gray">
            <a:xfrm>
              <a:off x="3991833" y="5295622"/>
              <a:ext cx="18794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30</a:t>
              </a:r>
              <a:endParaRPr lang="en-US" sz="1050">
                <a:effectLst/>
                <a:latin typeface="Arial"/>
              </a:endParaRPr>
            </a:p>
          </p:txBody>
        </p:sp>
        <p:sp>
          <p:nvSpPr>
            <p:cNvPr id="75" name="TextBox 74"/>
            <p:cNvSpPr txBox="1"/>
            <p:nvPr>
              <p:custDataLst>
                <p:tags r:id="rId35"/>
              </p:custDataLst>
            </p:nvPr>
          </p:nvSpPr>
          <p:spPr bwMode="gray">
            <a:xfrm>
              <a:off x="6427924" y="5406284"/>
              <a:ext cx="18794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15</a:t>
              </a:r>
              <a:endParaRPr lang="en-US" sz="1050">
                <a:effectLst/>
                <a:latin typeface="Arial"/>
              </a:endParaRPr>
            </a:p>
          </p:txBody>
        </p:sp>
        <p:sp>
          <p:nvSpPr>
            <p:cNvPr id="77" name="TextBox 76"/>
            <p:cNvSpPr txBox="1"/>
            <p:nvPr>
              <p:custDataLst>
                <p:tags r:id="rId36"/>
              </p:custDataLst>
            </p:nvPr>
          </p:nvSpPr>
          <p:spPr bwMode="gray">
            <a:xfrm>
              <a:off x="2232435" y="6133434"/>
              <a:ext cx="18794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82</a:t>
              </a:r>
              <a:endParaRPr lang="en-US" sz="1050">
                <a:effectLst/>
                <a:latin typeface="Arial"/>
              </a:endParaRPr>
            </a:p>
          </p:txBody>
        </p:sp>
        <p:sp>
          <p:nvSpPr>
            <p:cNvPr id="80" name="TextBox 79"/>
            <p:cNvSpPr txBox="1"/>
            <p:nvPr>
              <p:custDataLst>
                <p:tags r:id="rId37"/>
              </p:custDataLst>
            </p:nvPr>
          </p:nvSpPr>
          <p:spPr bwMode="gray">
            <a:xfrm>
              <a:off x="4636079" y="6133434"/>
              <a:ext cx="252841"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211</a:t>
              </a:r>
              <a:endParaRPr lang="en-US" sz="1050">
                <a:effectLst/>
                <a:latin typeface="Arial"/>
              </a:endParaRPr>
            </a:p>
          </p:txBody>
        </p:sp>
        <p:sp>
          <p:nvSpPr>
            <p:cNvPr id="79" name="TextBox 78"/>
            <p:cNvSpPr txBox="1"/>
            <p:nvPr>
              <p:custDataLst>
                <p:tags r:id="rId38"/>
              </p:custDataLst>
            </p:nvPr>
          </p:nvSpPr>
          <p:spPr bwMode="gray">
            <a:xfrm>
              <a:off x="7104616" y="6133434"/>
              <a:ext cx="18794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77</a:t>
              </a:r>
              <a:endParaRPr lang="en-US" sz="1050">
                <a:effectLst/>
                <a:latin typeface="Arial"/>
              </a:endParaRPr>
            </a:p>
          </p:txBody>
        </p:sp>
        <p:sp>
          <p:nvSpPr>
            <p:cNvPr id="81" name="TextBox 80"/>
            <p:cNvSpPr txBox="1"/>
            <p:nvPr>
              <p:custDataLst>
                <p:tags r:id="rId39"/>
              </p:custDataLst>
            </p:nvPr>
          </p:nvSpPr>
          <p:spPr bwMode="gray">
            <a:xfrm>
              <a:off x="2871683" y="1828230"/>
              <a:ext cx="26283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500</a:t>
              </a:r>
              <a:endParaRPr lang="en-US" sz="1050">
                <a:effectLst/>
                <a:latin typeface="Arial"/>
              </a:endParaRPr>
            </a:p>
          </p:txBody>
        </p:sp>
        <p:sp>
          <p:nvSpPr>
            <p:cNvPr id="84" name="TextBox 83"/>
            <p:cNvSpPr txBox="1"/>
            <p:nvPr>
              <p:custDataLst>
                <p:tags r:id="rId40"/>
              </p:custDataLst>
            </p:nvPr>
          </p:nvSpPr>
          <p:spPr bwMode="gray">
            <a:xfrm>
              <a:off x="5307774" y="4041459"/>
              <a:ext cx="26283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200</a:t>
              </a:r>
              <a:endParaRPr lang="en-US" sz="1050">
                <a:effectLst/>
                <a:latin typeface="Arial"/>
              </a:endParaRPr>
            </a:p>
          </p:txBody>
        </p:sp>
        <p:sp>
          <p:nvSpPr>
            <p:cNvPr id="83" name="TextBox 82"/>
            <p:cNvSpPr txBox="1"/>
            <p:nvPr>
              <p:custDataLst>
                <p:tags r:id="rId41"/>
              </p:custDataLst>
            </p:nvPr>
          </p:nvSpPr>
          <p:spPr bwMode="gray">
            <a:xfrm>
              <a:off x="7781309" y="5037412"/>
              <a:ext cx="18794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65</a:t>
              </a:r>
              <a:endParaRPr lang="en-US" sz="1050">
                <a:effectLst/>
                <a:latin typeface="Arial"/>
              </a:endParaRPr>
            </a:p>
          </p:txBody>
        </p:sp>
        <p:sp>
          <p:nvSpPr>
            <p:cNvPr id="114" name="TextBox 113"/>
            <p:cNvSpPr txBox="1"/>
            <p:nvPr>
              <p:custDataLst>
                <p:tags r:id="rId42"/>
              </p:custDataLst>
            </p:nvPr>
          </p:nvSpPr>
          <p:spPr bwMode="gray">
            <a:xfrm>
              <a:off x="7386464" y="2020984"/>
              <a:ext cx="479804"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Median</a:t>
              </a:r>
              <a:endParaRPr lang="en-US" sz="1050">
                <a:effectLst/>
                <a:latin typeface="Arial"/>
              </a:endParaRPr>
            </a:p>
          </p:txBody>
        </p:sp>
        <p:sp>
          <p:nvSpPr>
            <p:cNvPr id="115" name="TextBox 114"/>
            <p:cNvSpPr txBox="1"/>
            <p:nvPr>
              <p:custDataLst>
                <p:tags r:id="rId43"/>
              </p:custDataLst>
            </p:nvPr>
          </p:nvSpPr>
          <p:spPr bwMode="gray">
            <a:xfrm>
              <a:off x="7386464" y="2257253"/>
              <a:ext cx="93642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75th Percentile</a:t>
              </a:r>
              <a:endParaRPr lang="en-US" sz="1050">
                <a:effectLst/>
                <a:latin typeface="Arial"/>
              </a:endParaRPr>
            </a:p>
          </p:txBody>
        </p:sp>
        <p:sp>
          <p:nvSpPr>
            <p:cNvPr id="116" name="TextBox 115"/>
            <p:cNvSpPr txBox="1"/>
            <p:nvPr>
              <p:custDataLst>
                <p:tags r:id="rId44"/>
              </p:custDataLst>
            </p:nvPr>
          </p:nvSpPr>
          <p:spPr bwMode="gray">
            <a:xfrm>
              <a:off x="7386464" y="1784715"/>
              <a:ext cx="93642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25th Percentile</a:t>
              </a:r>
              <a:endParaRPr lang="en-US" sz="1050">
                <a:effectLst/>
                <a:latin typeface="Arial"/>
              </a:endParaRPr>
            </a:p>
          </p:txBody>
        </p:sp>
        <p:sp>
          <p:nvSpPr>
            <p:cNvPr id="117" name="Rectangle 116"/>
            <p:cNvSpPr/>
            <p:nvPr>
              <p:custDataLst>
                <p:tags r:id="rId45"/>
              </p:custDataLst>
            </p:nvPr>
          </p:nvSpPr>
          <p:spPr bwMode="gray">
            <a:xfrm>
              <a:off x="7221248" y="2257253"/>
              <a:ext cx="146018" cy="146018"/>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18" name="Rectangle 117"/>
            <p:cNvSpPr/>
            <p:nvPr>
              <p:custDataLst>
                <p:tags r:id="rId46"/>
              </p:custDataLst>
            </p:nvPr>
          </p:nvSpPr>
          <p:spPr bwMode="gray">
            <a:xfrm>
              <a:off x="7221248" y="1784715"/>
              <a:ext cx="146018" cy="146018"/>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19" name="Rectangle 118"/>
            <p:cNvSpPr/>
            <p:nvPr>
              <p:custDataLst>
                <p:tags r:id="rId47"/>
              </p:custDataLst>
            </p:nvPr>
          </p:nvSpPr>
          <p:spPr bwMode="gray">
            <a:xfrm>
              <a:off x="7221248" y="2020984"/>
              <a:ext cx="146018" cy="146018"/>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grpSp>
      <p:sp>
        <p:nvSpPr>
          <p:cNvPr id="105" name="TextBox 104"/>
          <p:cNvSpPr txBox="1"/>
          <p:nvPr/>
        </p:nvSpPr>
        <p:spPr>
          <a:xfrm>
            <a:off x="409467" y="1176131"/>
            <a:ext cx="8157260" cy="461665"/>
          </a:xfrm>
          <a:prstGeom prst="rect">
            <a:avLst/>
          </a:prstGeom>
          <a:noFill/>
        </p:spPr>
        <p:txBody>
          <a:bodyPr wrap="square" rtlCol="0">
            <a:spAutoFit/>
          </a:bodyPr>
          <a:lstStyle/>
          <a:p>
            <a:pPr algn="ctr"/>
            <a:r>
              <a:rPr lang="en-US" sz="1200" b="1" dirty="0"/>
              <a:t>How many students do you advise in an academic year?</a:t>
            </a:r>
          </a:p>
          <a:p>
            <a:pPr algn="ctr"/>
            <a:r>
              <a:rPr lang="en-US" sz="1200" dirty="0" smtClean="0"/>
              <a:t>By Type of Advisor; n = 370</a:t>
            </a:r>
            <a:endParaRPr lang="en-US" sz="1200" dirty="0"/>
          </a:p>
        </p:txBody>
      </p:sp>
      <p:sp>
        <p:nvSpPr>
          <p:cNvPr id="85" name="TextBox 84"/>
          <p:cNvSpPr txBox="1"/>
          <p:nvPr/>
        </p:nvSpPr>
        <p:spPr>
          <a:xfrm>
            <a:off x="1108365" y="2981147"/>
            <a:ext cx="7308270" cy="584776"/>
          </a:xfrm>
          <a:prstGeom prst="rect">
            <a:avLst/>
          </a:prstGeom>
          <a:noFill/>
        </p:spPr>
        <p:txBody>
          <a:bodyPr wrap="square" rtlCol="0">
            <a:spAutoFit/>
          </a:bodyPr>
          <a:lstStyle/>
          <a:p>
            <a:pPr algn="ctr"/>
            <a:r>
              <a:rPr lang="en-US" sz="3200" b="1" i="1" dirty="0" smtClean="0"/>
              <a:t>PRELIMINARY</a:t>
            </a:r>
            <a:endParaRPr lang="en-US" sz="3200" b="1" i="1" dirty="0"/>
          </a:p>
        </p:txBody>
      </p:sp>
    </p:spTree>
    <p:extLst>
      <p:ext uri="{BB962C8B-B14F-4D97-AF65-F5344CB8AC3E}">
        <p14:creationId xmlns:p14="http://schemas.microsoft.com/office/powerpoint/2010/main" val="13888202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a:t>
            </a:r>
          </a:p>
        </p:txBody>
      </p:sp>
      <p:sp>
        <p:nvSpPr>
          <p:cNvPr id="3" name="Text Placeholder 2"/>
          <p:cNvSpPr>
            <a:spLocks noGrp="1"/>
          </p:cNvSpPr>
          <p:nvPr>
            <p:ph type="body" idx="1"/>
          </p:nvPr>
        </p:nvSpPr>
        <p:spPr/>
        <p:txBody>
          <a:bodyPr/>
          <a:lstStyle/>
          <a:p>
            <a:r>
              <a:rPr lang="en-US" dirty="0" smtClean="0"/>
              <a:t>Technology Adoption and Satisfaction</a:t>
            </a:r>
            <a:endParaRPr lang="en-US" dirty="0"/>
          </a:p>
        </p:txBody>
      </p:sp>
    </p:spTree>
    <p:extLst>
      <p:ext uri="{BB962C8B-B14F-4D97-AF65-F5344CB8AC3E}">
        <p14:creationId xmlns:p14="http://schemas.microsoft.com/office/powerpoint/2010/main" val="22028405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6061281-BD0D-6F47-BBB8-8F6BE6AA34E7}" type="slidenum">
              <a:rPr lang="en-US" smtClean="0"/>
              <a:t>19</a:t>
            </a:fld>
            <a:endParaRPr lang="en-US"/>
          </a:p>
        </p:txBody>
      </p:sp>
      <p:sp>
        <p:nvSpPr>
          <p:cNvPr id="3" name="Content Placeholder 2"/>
          <p:cNvSpPr>
            <a:spLocks noGrp="1"/>
          </p:cNvSpPr>
          <p:nvPr>
            <p:ph idx="13"/>
          </p:nvPr>
        </p:nvSpPr>
        <p:spPr/>
        <p:txBody>
          <a:bodyPr>
            <a:normAutofit/>
          </a:bodyPr>
          <a:lstStyle/>
          <a:p>
            <a:r>
              <a:rPr lang="en-US" sz="900" dirty="0"/>
              <a:t>Sources: </a:t>
            </a:r>
            <a:r>
              <a:rPr lang="en-US" sz="900" dirty="0" smtClean="0"/>
              <a:t>Tyton </a:t>
            </a:r>
            <a:r>
              <a:rPr lang="en-US" sz="900" dirty="0"/>
              <a:t>Partners </a:t>
            </a:r>
            <a:r>
              <a:rPr lang="en-US" sz="900" dirty="0" smtClean="0"/>
              <a:t>Analysis</a:t>
            </a:r>
            <a:endParaRPr lang="en-US" sz="900" dirty="0"/>
          </a:p>
        </p:txBody>
      </p:sp>
      <p:sp>
        <p:nvSpPr>
          <p:cNvPr id="4" name="Content Placeholder 3"/>
          <p:cNvSpPr>
            <a:spLocks noGrp="1"/>
          </p:cNvSpPr>
          <p:nvPr>
            <p:ph idx="14"/>
          </p:nvPr>
        </p:nvSpPr>
        <p:spPr/>
        <p:txBody>
          <a:bodyPr>
            <a:normAutofit/>
          </a:bodyPr>
          <a:lstStyle/>
          <a:p>
            <a:r>
              <a:rPr lang="en-US" dirty="0"/>
              <a:t>Perception Is that Technology Can Support Planning and Advising</a:t>
            </a:r>
          </a:p>
        </p:txBody>
      </p:sp>
      <p:grpSp>
        <p:nvGrpSpPr>
          <p:cNvPr id="76" name="Group 75"/>
          <p:cNvGrpSpPr/>
          <p:nvPr>
            <p:custDataLst>
              <p:tags r:id="rId1"/>
            </p:custDataLst>
          </p:nvPr>
        </p:nvGrpSpPr>
        <p:grpSpPr>
          <a:xfrm>
            <a:off x="941902" y="1869991"/>
            <a:ext cx="7488434" cy="4238298"/>
            <a:chOff x="941902" y="1869991"/>
            <a:chExt cx="7488434" cy="4238298"/>
          </a:xfrm>
        </p:grpSpPr>
        <p:cxnSp>
          <p:nvCxnSpPr>
            <p:cNvPr id="277" name="Straight Connector 276"/>
            <p:cNvCxnSpPr/>
            <p:nvPr>
              <p:custDataLst>
                <p:tags r:id="rId2"/>
              </p:custDataLst>
            </p:nvPr>
          </p:nvCxnSpPr>
          <p:spPr bwMode="gray">
            <a:xfrm>
              <a:off x="4643326" y="1869991"/>
              <a:ext cx="0" cy="3983782"/>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79" name="Straight Connector 278"/>
            <p:cNvCxnSpPr/>
            <p:nvPr>
              <p:custDataLst>
                <p:tags r:id="rId3"/>
              </p:custDataLst>
            </p:nvPr>
          </p:nvCxnSpPr>
          <p:spPr bwMode="gray">
            <a:xfrm>
              <a:off x="1006508" y="5853773"/>
              <a:ext cx="7273635"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80" name="Straight Connector 279"/>
            <p:cNvCxnSpPr/>
            <p:nvPr>
              <p:custDataLst>
                <p:tags r:id="rId4"/>
              </p:custDataLst>
            </p:nvPr>
          </p:nvCxnSpPr>
          <p:spPr bwMode="gray">
            <a:xfrm>
              <a:off x="1006508" y="3197918"/>
              <a:ext cx="7273635"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81" name="Straight Connector 280"/>
            <p:cNvCxnSpPr/>
            <p:nvPr>
              <p:custDataLst>
                <p:tags r:id="rId5"/>
              </p:custDataLst>
            </p:nvPr>
          </p:nvCxnSpPr>
          <p:spPr bwMode="gray">
            <a:xfrm>
              <a:off x="1006508" y="4525846"/>
              <a:ext cx="7273635"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83" name="Straight Connector 282"/>
            <p:cNvCxnSpPr/>
            <p:nvPr>
              <p:custDataLst>
                <p:tags r:id="rId6"/>
              </p:custDataLst>
            </p:nvPr>
          </p:nvCxnSpPr>
          <p:spPr bwMode="gray">
            <a:xfrm>
              <a:off x="1006508" y="5853773"/>
              <a:ext cx="7273635"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84" name="Straight Connector 283"/>
            <p:cNvCxnSpPr/>
            <p:nvPr>
              <p:custDataLst>
                <p:tags r:id="rId7"/>
              </p:custDataLst>
            </p:nvPr>
          </p:nvCxnSpPr>
          <p:spPr bwMode="gray">
            <a:xfrm>
              <a:off x="6825416"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85" name="Straight Connector 284"/>
            <p:cNvCxnSpPr/>
            <p:nvPr>
              <p:custDataLst>
                <p:tags r:id="rId8"/>
              </p:custDataLst>
            </p:nvPr>
          </p:nvCxnSpPr>
          <p:spPr bwMode="gray">
            <a:xfrm>
              <a:off x="7552780"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87" name="Straight Connector 286"/>
            <p:cNvCxnSpPr/>
            <p:nvPr>
              <p:custDataLst>
                <p:tags r:id="rId9"/>
              </p:custDataLst>
            </p:nvPr>
          </p:nvCxnSpPr>
          <p:spPr bwMode="gray">
            <a:xfrm>
              <a:off x="6098054"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custDataLst>
                <p:tags r:id="rId10"/>
              </p:custDataLst>
            </p:nvPr>
          </p:nvCxnSpPr>
          <p:spPr bwMode="gray">
            <a:xfrm>
              <a:off x="4643326"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custDataLst>
                <p:tags r:id="rId11"/>
              </p:custDataLst>
            </p:nvPr>
          </p:nvCxnSpPr>
          <p:spPr bwMode="gray">
            <a:xfrm>
              <a:off x="5370689"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p:custDataLst>
                <p:tags r:id="rId12"/>
              </p:custDataLst>
            </p:nvPr>
          </p:nvCxnSpPr>
          <p:spPr bwMode="gray">
            <a:xfrm flipH="1">
              <a:off x="955708" y="4525846"/>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p:custDataLst>
                <p:tags r:id="rId13"/>
              </p:custDataLst>
            </p:nvPr>
          </p:nvCxnSpPr>
          <p:spPr bwMode="gray">
            <a:xfrm flipH="1">
              <a:off x="955708" y="3197918"/>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custDataLst>
                <p:tags r:id="rId14"/>
              </p:custDataLst>
            </p:nvPr>
          </p:nvCxnSpPr>
          <p:spPr bwMode="gray">
            <a:xfrm flipH="1">
              <a:off x="955708" y="5853773"/>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custDataLst>
                <p:tags r:id="rId15"/>
              </p:custDataLst>
            </p:nvPr>
          </p:nvCxnSpPr>
          <p:spPr bwMode="gray">
            <a:xfrm>
              <a:off x="8280143"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custDataLst>
                <p:tags r:id="rId16"/>
              </p:custDataLst>
            </p:nvPr>
          </p:nvCxnSpPr>
          <p:spPr bwMode="gray">
            <a:xfrm>
              <a:off x="3915963"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p:custDataLst>
                <p:tags r:id="rId17"/>
              </p:custDataLst>
            </p:nvPr>
          </p:nvCxnSpPr>
          <p:spPr bwMode="gray">
            <a:xfrm>
              <a:off x="1006508"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custDataLst>
                <p:tags r:id="rId18"/>
              </p:custDataLst>
            </p:nvPr>
          </p:nvCxnSpPr>
          <p:spPr bwMode="gray">
            <a:xfrm>
              <a:off x="3188599"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p:custDataLst>
                <p:tags r:id="rId19"/>
              </p:custDataLst>
            </p:nvPr>
          </p:nvCxnSpPr>
          <p:spPr bwMode="gray">
            <a:xfrm>
              <a:off x="2461236"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custDataLst>
                <p:tags r:id="rId20"/>
              </p:custDataLst>
            </p:nvPr>
          </p:nvCxnSpPr>
          <p:spPr bwMode="gray">
            <a:xfrm>
              <a:off x="1733873" y="5853773"/>
              <a:ext cx="0" cy="5080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27" name="TextBox 26"/>
            <p:cNvSpPr txBox="1"/>
            <p:nvPr>
              <p:custDataLst>
                <p:tags r:id="rId21"/>
              </p:custDataLst>
            </p:nvPr>
          </p:nvSpPr>
          <p:spPr bwMode="gray">
            <a:xfrm>
              <a:off x="8129952" y="5923623"/>
              <a:ext cx="300384"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100</a:t>
              </a:r>
              <a:endParaRPr lang="en-US" sz="1200" dirty="0">
                <a:effectLst/>
                <a:latin typeface="Arial"/>
              </a:endParaRPr>
            </a:p>
          </p:txBody>
        </p:sp>
        <p:sp>
          <p:nvSpPr>
            <p:cNvPr id="28" name="TextBox 27"/>
            <p:cNvSpPr txBox="1"/>
            <p:nvPr>
              <p:custDataLst>
                <p:tags r:id="rId22"/>
              </p:custDataLst>
            </p:nvPr>
          </p:nvSpPr>
          <p:spPr bwMode="gray">
            <a:xfrm>
              <a:off x="7445380"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90</a:t>
              </a:r>
              <a:endParaRPr lang="en-US" sz="1200">
                <a:effectLst/>
                <a:latin typeface="Arial"/>
              </a:endParaRPr>
            </a:p>
          </p:txBody>
        </p:sp>
        <p:sp>
          <p:nvSpPr>
            <p:cNvPr id="29" name="TextBox 28"/>
            <p:cNvSpPr txBox="1"/>
            <p:nvPr>
              <p:custDataLst>
                <p:tags r:id="rId23"/>
              </p:custDataLst>
            </p:nvPr>
          </p:nvSpPr>
          <p:spPr bwMode="gray">
            <a:xfrm>
              <a:off x="941902" y="5923623"/>
              <a:ext cx="129213"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0</a:t>
              </a:r>
              <a:endParaRPr lang="en-US" sz="1200">
                <a:effectLst/>
                <a:latin typeface="Arial"/>
              </a:endParaRPr>
            </a:p>
          </p:txBody>
        </p:sp>
        <p:sp>
          <p:nvSpPr>
            <p:cNvPr id="31" name="TextBox 30"/>
            <p:cNvSpPr txBox="1"/>
            <p:nvPr>
              <p:custDataLst>
                <p:tags r:id="rId24"/>
              </p:custDataLst>
            </p:nvPr>
          </p:nvSpPr>
          <p:spPr bwMode="gray">
            <a:xfrm>
              <a:off x="5263289"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60</a:t>
              </a:r>
              <a:endParaRPr lang="en-US" sz="1200">
                <a:effectLst/>
                <a:latin typeface="Arial"/>
              </a:endParaRPr>
            </a:p>
          </p:txBody>
        </p:sp>
        <p:sp>
          <p:nvSpPr>
            <p:cNvPr id="224" name="TextBox 223"/>
            <p:cNvSpPr txBox="1"/>
            <p:nvPr>
              <p:custDataLst>
                <p:tags r:id="rId25"/>
              </p:custDataLst>
            </p:nvPr>
          </p:nvSpPr>
          <p:spPr bwMode="gray">
            <a:xfrm>
              <a:off x="2353836"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20</a:t>
              </a:r>
              <a:endParaRPr lang="en-US" sz="1200">
                <a:effectLst/>
                <a:latin typeface="Arial"/>
              </a:endParaRPr>
            </a:p>
          </p:txBody>
        </p:sp>
        <p:sp>
          <p:nvSpPr>
            <p:cNvPr id="225" name="TextBox 224"/>
            <p:cNvSpPr txBox="1"/>
            <p:nvPr>
              <p:custDataLst>
                <p:tags r:id="rId26"/>
              </p:custDataLst>
            </p:nvPr>
          </p:nvSpPr>
          <p:spPr bwMode="gray">
            <a:xfrm>
              <a:off x="3081200"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30</a:t>
              </a:r>
              <a:endParaRPr lang="en-US" sz="1200">
                <a:effectLst/>
                <a:latin typeface="Arial"/>
              </a:endParaRPr>
            </a:p>
          </p:txBody>
        </p:sp>
        <p:sp>
          <p:nvSpPr>
            <p:cNvPr id="226" name="TextBox 225"/>
            <p:cNvSpPr txBox="1"/>
            <p:nvPr>
              <p:custDataLst>
                <p:tags r:id="rId27"/>
              </p:custDataLst>
            </p:nvPr>
          </p:nvSpPr>
          <p:spPr bwMode="gray">
            <a:xfrm>
              <a:off x="4535926"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50</a:t>
              </a:r>
              <a:endParaRPr lang="en-US" sz="1200">
                <a:effectLst/>
                <a:latin typeface="Arial"/>
              </a:endParaRPr>
            </a:p>
          </p:txBody>
        </p:sp>
        <p:sp>
          <p:nvSpPr>
            <p:cNvPr id="227" name="TextBox 226"/>
            <p:cNvSpPr txBox="1"/>
            <p:nvPr>
              <p:custDataLst>
                <p:tags r:id="rId28"/>
              </p:custDataLst>
            </p:nvPr>
          </p:nvSpPr>
          <p:spPr bwMode="gray">
            <a:xfrm>
              <a:off x="1626473"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10</a:t>
              </a:r>
              <a:endParaRPr lang="en-US" sz="1200">
                <a:effectLst/>
                <a:latin typeface="Arial"/>
              </a:endParaRPr>
            </a:p>
          </p:txBody>
        </p:sp>
        <p:sp>
          <p:nvSpPr>
            <p:cNvPr id="228" name="TextBox 227"/>
            <p:cNvSpPr txBox="1"/>
            <p:nvPr>
              <p:custDataLst>
                <p:tags r:id="rId29"/>
              </p:custDataLst>
            </p:nvPr>
          </p:nvSpPr>
          <p:spPr bwMode="gray">
            <a:xfrm>
              <a:off x="6718016"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80</a:t>
              </a:r>
              <a:endParaRPr lang="en-US" sz="1200">
                <a:effectLst/>
                <a:latin typeface="Arial"/>
              </a:endParaRPr>
            </a:p>
          </p:txBody>
        </p:sp>
        <p:sp>
          <p:nvSpPr>
            <p:cNvPr id="229" name="TextBox 228"/>
            <p:cNvSpPr txBox="1"/>
            <p:nvPr>
              <p:custDataLst>
                <p:tags r:id="rId30"/>
              </p:custDataLst>
            </p:nvPr>
          </p:nvSpPr>
          <p:spPr bwMode="gray">
            <a:xfrm>
              <a:off x="5990654"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70</a:t>
              </a:r>
              <a:endParaRPr lang="en-US" sz="1200">
                <a:effectLst/>
                <a:latin typeface="Arial"/>
              </a:endParaRPr>
            </a:p>
          </p:txBody>
        </p:sp>
        <p:sp>
          <p:nvSpPr>
            <p:cNvPr id="230" name="TextBox 229"/>
            <p:cNvSpPr txBox="1"/>
            <p:nvPr>
              <p:custDataLst>
                <p:tags r:id="rId31"/>
              </p:custDataLst>
            </p:nvPr>
          </p:nvSpPr>
          <p:spPr bwMode="gray">
            <a:xfrm>
              <a:off x="3808563" y="5923623"/>
              <a:ext cx="214799"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40</a:t>
              </a:r>
              <a:endParaRPr lang="en-US" sz="1200">
                <a:effectLst/>
                <a:latin typeface="Arial"/>
              </a:endParaRPr>
            </a:p>
          </p:txBody>
        </p:sp>
        <p:sp>
          <p:nvSpPr>
            <p:cNvPr id="232" name="Rectangle 231"/>
            <p:cNvSpPr/>
            <p:nvPr>
              <p:custDataLst>
                <p:tags r:id="rId32"/>
              </p:custDataLst>
            </p:nvPr>
          </p:nvSpPr>
          <p:spPr bwMode="gray">
            <a:xfrm>
              <a:off x="4804385" y="4468696"/>
              <a:ext cx="114300" cy="114300"/>
            </a:xfrm>
            <a:prstGeom prst="rect">
              <a:avLst/>
            </a:prstGeom>
            <a:solidFill>
              <a:schemeClr val="accent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233" name="Rectangle 232"/>
            <p:cNvSpPr/>
            <p:nvPr>
              <p:custDataLst>
                <p:tags r:id="rId33"/>
              </p:custDataLst>
            </p:nvPr>
          </p:nvSpPr>
          <p:spPr bwMode="gray">
            <a:xfrm>
              <a:off x="4949858" y="3140768"/>
              <a:ext cx="114300" cy="114300"/>
            </a:xfrm>
            <a:prstGeom prst="rect">
              <a:avLst/>
            </a:prstGeom>
            <a:solidFill>
              <a:schemeClr val="accent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grpSp>
      <p:sp>
        <p:nvSpPr>
          <p:cNvPr id="119" name="TextBox 118"/>
          <p:cNvSpPr txBox="1"/>
          <p:nvPr/>
        </p:nvSpPr>
        <p:spPr>
          <a:xfrm>
            <a:off x="6718016" y="2201399"/>
            <a:ext cx="2334658" cy="830997"/>
          </a:xfrm>
          <a:prstGeom prst="rect">
            <a:avLst/>
          </a:prstGeom>
          <a:noFill/>
        </p:spPr>
        <p:txBody>
          <a:bodyPr wrap="square" rtlCol="0">
            <a:spAutoFit/>
          </a:bodyPr>
          <a:lstStyle/>
          <a:p>
            <a:pPr algn="ctr"/>
            <a:r>
              <a:rPr lang="en-US" sz="1200" i="1" dirty="0"/>
              <a:t>Technology used to support planning and advising today does a good job of increasing effectiveness </a:t>
            </a:r>
          </a:p>
        </p:txBody>
      </p:sp>
      <p:sp>
        <p:nvSpPr>
          <p:cNvPr id="120" name="TextBox 119"/>
          <p:cNvSpPr txBox="1"/>
          <p:nvPr/>
        </p:nvSpPr>
        <p:spPr>
          <a:xfrm>
            <a:off x="240302" y="2201399"/>
            <a:ext cx="2328333" cy="646331"/>
          </a:xfrm>
          <a:prstGeom prst="rect">
            <a:avLst/>
          </a:prstGeom>
          <a:noFill/>
        </p:spPr>
        <p:txBody>
          <a:bodyPr wrap="square" rtlCol="0">
            <a:spAutoFit/>
          </a:bodyPr>
          <a:lstStyle/>
          <a:p>
            <a:r>
              <a:rPr lang="en-US" sz="1200" i="1" dirty="0"/>
              <a:t>Technology used today does not effectively enhance our planning and advising function</a:t>
            </a:r>
          </a:p>
        </p:txBody>
      </p:sp>
      <p:cxnSp>
        <p:nvCxnSpPr>
          <p:cNvPr id="121" name="Straight Arrow Connector 120"/>
          <p:cNvCxnSpPr/>
          <p:nvPr/>
        </p:nvCxnSpPr>
        <p:spPr>
          <a:xfrm>
            <a:off x="955708" y="3197918"/>
            <a:ext cx="7324435" cy="0"/>
          </a:xfrm>
          <a:prstGeom prst="straightConnector1">
            <a:avLst/>
          </a:prstGeom>
          <a:ln w="9525" cmpd="sng">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64" name="TextBox 163"/>
          <p:cNvSpPr txBox="1"/>
          <p:nvPr/>
        </p:nvSpPr>
        <p:spPr>
          <a:xfrm>
            <a:off x="6718016" y="3713754"/>
            <a:ext cx="2334658" cy="646331"/>
          </a:xfrm>
          <a:prstGeom prst="rect">
            <a:avLst/>
          </a:prstGeom>
          <a:noFill/>
        </p:spPr>
        <p:txBody>
          <a:bodyPr wrap="square" rtlCol="0">
            <a:spAutoFit/>
          </a:bodyPr>
          <a:lstStyle/>
          <a:p>
            <a:pPr algn="ctr"/>
            <a:r>
              <a:rPr lang="en-US" sz="1200" i="1" dirty="0"/>
              <a:t>Investing in technology has the greatest potential to improve planning and advising </a:t>
            </a:r>
          </a:p>
        </p:txBody>
      </p:sp>
      <p:sp>
        <p:nvSpPr>
          <p:cNvPr id="165" name="TextBox 164"/>
          <p:cNvSpPr txBox="1"/>
          <p:nvPr/>
        </p:nvSpPr>
        <p:spPr>
          <a:xfrm>
            <a:off x="207436" y="3713754"/>
            <a:ext cx="2355271" cy="646331"/>
          </a:xfrm>
          <a:prstGeom prst="rect">
            <a:avLst/>
          </a:prstGeom>
          <a:noFill/>
        </p:spPr>
        <p:txBody>
          <a:bodyPr wrap="square" rtlCol="0">
            <a:spAutoFit/>
          </a:bodyPr>
          <a:lstStyle/>
          <a:p>
            <a:pPr algn="ctr"/>
            <a:r>
              <a:rPr lang="en-US" sz="1200" i="1" dirty="0"/>
              <a:t>Investing in people has the greatest potential to improve planning and advising </a:t>
            </a:r>
          </a:p>
        </p:txBody>
      </p:sp>
      <p:cxnSp>
        <p:nvCxnSpPr>
          <p:cNvPr id="166" name="Straight Arrow Connector 165"/>
          <p:cNvCxnSpPr/>
          <p:nvPr/>
        </p:nvCxnSpPr>
        <p:spPr>
          <a:xfrm>
            <a:off x="958261" y="4525846"/>
            <a:ext cx="7321882" cy="0"/>
          </a:xfrm>
          <a:prstGeom prst="straightConnector1">
            <a:avLst/>
          </a:prstGeom>
          <a:ln w="9525" cmpd="sng">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286" name="TextBox 285"/>
          <p:cNvSpPr txBox="1"/>
          <p:nvPr/>
        </p:nvSpPr>
        <p:spPr>
          <a:xfrm>
            <a:off x="409467" y="1176131"/>
            <a:ext cx="8157260" cy="646331"/>
          </a:xfrm>
          <a:prstGeom prst="rect">
            <a:avLst/>
          </a:prstGeom>
          <a:noFill/>
        </p:spPr>
        <p:txBody>
          <a:bodyPr wrap="square" rtlCol="0">
            <a:spAutoFit/>
          </a:bodyPr>
          <a:lstStyle/>
          <a:p>
            <a:pPr algn="ctr"/>
            <a:r>
              <a:rPr lang="en-US" sz="1200" b="1" dirty="0" smtClean="0"/>
              <a:t>Indicate where </a:t>
            </a:r>
            <a:r>
              <a:rPr lang="en-US" sz="1200" b="1" dirty="0"/>
              <a:t>your </a:t>
            </a:r>
            <a:r>
              <a:rPr lang="en-US" sz="1200" b="1" dirty="0" smtClean="0"/>
              <a:t>personal tendencies and preferences (or those of your institution’s) </a:t>
            </a:r>
            <a:r>
              <a:rPr lang="en-US" sz="1200" b="1" dirty="0"/>
              <a:t>fall on these dimensions.</a:t>
            </a:r>
          </a:p>
          <a:p>
            <a:pPr algn="ctr"/>
            <a:r>
              <a:rPr lang="en-US" sz="1200" dirty="0" smtClean="0"/>
              <a:t>n = 1,096</a:t>
            </a:r>
            <a:endParaRPr lang="en-US" sz="1200" dirty="0"/>
          </a:p>
        </p:txBody>
      </p:sp>
      <p:sp>
        <p:nvSpPr>
          <p:cNvPr id="117" name="Sun 116"/>
          <p:cNvSpPr/>
          <p:nvPr/>
        </p:nvSpPr>
        <p:spPr>
          <a:xfrm>
            <a:off x="4836355" y="3023471"/>
            <a:ext cx="375593" cy="348893"/>
          </a:xfrm>
          <a:prstGeom prst="sun">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8" name="Sun 117"/>
          <p:cNvSpPr/>
          <p:nvPr/>
        </p:nvSpPr>
        <p:spPr>
          <a:xfrm>
            <a:off x="4672874" y="4351399"/>
            <a:ext cx="375593" cy="348893"/>
          </a:xfrm>
          <a:prstGeom prst="sun">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508709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6061281-BD0D-6F47-BBB8-8F6BE6AA34E7}" type="slidenum">
              <a:rPr lang="en-US" smtClean="0"/>
              <a:pPr/>
              <a:t>2</a:t>
            </a:fld>
            <a:endParaRPr lang="en-US" dirty="0"/>
          </a:p>
        </p:txBody>
      </p:sp>
      <p:sp>
        <p:nvSpPr>
          <p:cNvPr id="10" name="Content Placeholder 9"/>
          <p:cNvSpPr>
            <a:spLocks noGrp="1"/>
          </p:cNvSpPr>
          <p:nvPr>
            <p:ph idx="14"/>
          </p:nvPr>
        </p:nvSpPr>
        <p:spPr/>
        <p:txBody>
          <a:bodyPr>
            <a:normAutofit/>
          </a:bodyPr>
          <a:lstStyle/>
          <a:p>
            <a:r>
              <a:rPr lang="en-US" dirty="0" smtClean="0"/>
              <a:t>Who Is </a:t>
            </a:r>
            <a:r>
              <a:rPr lang="en-US" dirty="0" err="1" smtClean="0"/>
              <a:t>Tyton</a:t>
            </a:r>
            <a:r>
              <a:rPr lang="en-US" dirty="0" smtClean="0"/>
              <a:t> Partners?</a:t>
            </a:r>
            <a:endParaRPr lang="en-US" sz="1400" i="1" dirty="0"/>
          </a:p>
        </p:txBody>
      </p:sp>
      <p:grpSp>
        <p:nvGrpSpPr>
          <p:cNvPr id="5" name="Group 4"/>
          <p:cNvGrpSpPr/>
          <p:nvPr/>
        </p:nvGrpSpPr>
        <p:grpSpPr>
          <a:xfrm>
            <a:off x="566784" y="1608662"/>
            <a:ext cx="8014788" cy="4477176"/>
            <a:chOff x="566784" y="1456265"/>
            <a:chExt cx="8014788" cy="4477176"/>
          </a:xfrm>
        </p:grpSpPr>
        <p:graphicFrame>
          <p:nvGraphicFramePr>
            <p:cNvPr id="7" name="Content Placeholder 6"/>
            <p:cNvGraphicFramePr>
              <a:graphicFrameLocks/>
            </p:cNvGraphicFramePr>
            <p:nvPr>
              <p:extLst>
                <p:ext uri="{D42A27DB-BD31-4B8C-83A1-F6EECF244321}">
                  <p14:modId xmlns:p14="http://schemas.microsoft.com/office/powerpoint/2010/main" val="2141481831"/>
                </p:ext>
              </p:extLst>
            </p:nvPr>
          </p:nvGraphicFramePr>
          <p:xfrm>
            <a:off x="566784" y="1456265"/>
            <a:ext cx="8014788" cy="4477176"/>
          </p:xfrm>
          <a:graphic>
            <a:graphicData uri="http://schemas.openxmlformats.org/drawingml/2006/table">
              <a:tbl>
                <a:tblPr bandRow="1">
                  <a:tableStyleId>{5C22544A-7EE6-4342-B048-85BDC9FD1C3A}</a:tableStyleId>
                </a:tblPr>
                <a:tblGrid>
                  <a:gridCol w="1180736"/>
                  <a:gridCol w="2197947"/>
                  <a:gridCol w="4636105"/>
                </a:tblGrid>
                <a:tr h="1119294">
                  <a:tc>
                    <a:txBody>
                      <a:bodyPr/>
                      <a:lstStyle/>
                      <a:p>
                        <a:endParaRPr lang="en-US" sz="1600" dirty="0">
                          <a:latin typeface="Arial"/>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600" b="1" dirty="0" smtClean="0">
                            <a:solidFill>
                              <a:schemeClr val="tx1"/>
                            </a:solidFill>
                            <a:latin typeface="Arial"/>
                            <a:cs typeface="Arial"/>
                          </a:rPr>
                          <a:t>Evolved Advisory</a:t>
                        </a:r>
                        <a:endParaRPr lang="en-US" sz="1600" b="1" dirty="0">
                          <a:solidFill>
                            <a:schemeClr val="tx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lvl="1" algn="l">
                          <a:spcBef>
                            <a:spcPts val="900"/>
                          </a:spcBef>
                          <a:spcAft>
                            <a:spcPts val="0"/>
                          </a:spcAft>
                          <a:buClr>
                            <a:srgbClr val="000000"/>
                          </a:buClr>
                          <a:buSzPct val="125000"/>
                        </a:pPr>
                        <a:r>
                          <a:rPr lang="en-US" sz="1600" b="0" dirty="0" smtClean="0">
                            <a:solidFill>
                              <a:srgbClr val="000000"/>
                            </a:solidFill>
                          </a:rPr>
                          <a:t>An evolved advisory platform serving clients across the global education, media and information market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119294">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prstClr val="white"/>
                        </a:solidFill>
                        <a:prstDash val="solid"/>
                        <a:round/>
                        <a:headEnd type="none" w="med" len="med"/>
                        <a:tailEnd type="none" w="med" len="med"/>
                      </a:lnT>
                      <a:lnB w="762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600" b="1" dirty="0" smtClean="0">
                            <a:latin typeface="Arial"/>
                            <a:cs typeface="Arial"/>
                          </a:rPr>
                          <a:t>Investment Bank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prstClr val="white"/>
                        </a:solidFill>
                        <a:prstDash val="solid"/>
                        <a:round/>
                        <a:headEnd type="none" w="med" len="med"/>
                        <a:tailEnd type="none" w="med" len="med"/>
                      </a:lnT>
                      <a:lnB w="762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lvl="1" algn="l">
                          <a:spcBef>
                            <a:spcPts val="900"/>
                          </a:spcBef>
                          <a:spcAft>
                            <a:spcPts val="0"/>
                          </a:spcAft>
                          <a:buClr>
                            <a:srgbClr val="000000"/>
                          </a:buClr>
                          <a:buSzPct val="125000"/>
                        </a:pPr>
                        <a:r>
                          <a:rPr lang="en-US" sz="1600" b="0" dirty="0" smtClean="0">
                            <a:solidFill>
                              <a:srgbClr val="000000"/>
                            </a:solidFill>
                          </a:rPr>
                          <a:t>Investment banking services built on a foundation of strategy development and operating experien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prstClr val="white"/>
                        </a:solidFill>
                        <a:prstDash val="solid"/>
                        <a:round/>
                        <a:headEnd type="none" w="med" len="med"/>
                        <a:tailEnd type="none" w="med" len="med"/>
                      </a:lnT>
                      <a:lnB w="762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119294">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prstClr val="white"/>
                        </a:solidFill>
                        <a:prstDash val="solid"/>
                        <a:round/>
                        <a:headEnd type="none" w="med" len="med"/>
                        <a:tailEnd type="none" w="med" len="med"/>
                      </a:lnT>
                      <a:lnB w="762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600" b="1" dirty="0" smtClean="0">
                            <a:latin typeface="Arial"/>
                            <a:cs typeface="Arial"/>
                          </a:rPr>
                          <a:t>Strategy Consult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prstClr val="white"/>
                        </a:solidFill>
                        <a:prstDash val="solid"/>
                        <a:round/>
                        <a:headEnd type="none" w="med" len="med"/>
                        <a:tailEnd type="none" w="med" len="med"/>
                      </a:lnT>
                      <a:lnB w="762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lvl="1" algn="l">
                          <a:spcBef>
                            <a:spcPts val="900"/>
                          </a:spcBef>
                          <a:spcAft>
                            <a:spcPts val="0"/>
                          </a:spcAft>
                          <a:buClr>
                            <a:srgbClr val="000000"/>
                          </a:buClr>
                          <a:buSzPct val="125000"/>
                        </a:pPr>
                        <a:r>
                          <a:rPr lang="en-US" sz="1600" b="0" dirty="0" smtClean="0">
                            <a:solidFill>
                              <a:srgbClr val="000000"/>
                            </a:solidFill>
                          </a:rPr>
                          <a:t>Strategy consulting built on a foundation of transactional experience and data-based market insight</a:t>
                        </a:r>
                        <a:r>
                          <a:rPr lang="en-US" sz="2000" b="0" dirty="0" smtClean="0">
                            <a:solidFill>
                              <a:srgbClr val="000000"/>
                            </a:solidFill>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prstClr val="white"/>
                        </a:solidFill>
                        <a:prstDash val="solid"/>
                        <a:round/>
                        <a:headEnd type="none" w="med" len="med"/>
                        <a:tailEnd type="none" w="med" len="med"/>
                      </a:lnT>
                      <a:lnB w="762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1119294">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prstClr val="white"/>
                        </a:solidFill>
                        <a:prstDash val="solid"/>
                        <a:round/>
                        <a:headEnd type="none" w="med" len="med"/>
                        <a:tailEnd type="none" w="med" len="med"/>
                      </a:lnT>
                      <a:lnB w="762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600" b="1" dirty="0" smtClean="0">
                            <a:latin typeface="Arial"/>
                            <a:cs typeface="Arial"/>
                          </a:rPr>
                          <a:t>Unique Insigh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prstClr val="white"/>
                        </a:solidFill>
                        <a:prstDash val="solid"/>
                        <a:round/>
                        <a:headEnd type="none" w="med" len="med"/>
                        <a:tailEnd type="none" w="med" len="med"/>
                      </a:lnT>
                      <a:lnB w="762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lvl="1" algn="l">
                          <a:spcBef>
                            <a:spcPts val="900"/>
                          </a:spcBef>
                          <a:buClr>
                            <a:srgbClr val="000000"/>
                          </a:buClr>
                          <a:buSzPct val="125000"/>
                        </a:pPr>
                        <a:r>
                          <a:rPr lang="en-US" sz="1600" b="0" dirty="0" smtClean="0">
                            <a:solidFill>
                              <a:srgbClr val="000000"/>
                            </a:solidFill>
                          </a:rPr>
                          <a:t>A dynamic firm that delivers insights, connectivity, and outcomes to a diverse range of companies, organizations and investo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prstClr val="white"/>
                        </a:solidFill>
                        <a:prstDash val="solid"/>
                        <a:round/>
                        <a:headEnd type="none" w="med" len="med"/>
                        <a:tailEnd type="none" w="med" len="med"/>
                      </a:lnT>
                      <a:lnB w="762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pic>
          <p:nvPicPr>
            <p:cNvPr id="12" name="Picture 11" descr="Icons-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4495" y="1682538"/>
              <a:ext cx="664420" cy="664420"/>
            </a:xfrm>
            <a:prstGeom prst="rect">
              <a:avLst/>
            </a:prstGeom>
          </p:spPr>
        </p:pic>
        <p:pic>
          <p:nvPicPr>
            <p:cNvPr id="13" name="Picture 12" descr="Icons-01.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0590" y="5069858"/>
              <a:ext cx="670515" cy="670515"/>
            </a:xfrm>
            <a:prstGeom prst="rect">
              <a:avLst/>
            </a:prstGeom>
          </p:spPr>
        </p:pic>
        <p:pic>
          <p:nvPicPr>
            <p:cNvPr id="14" name="Picture 13" descr="Icons-04.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0590" y="3934279"/>
              <a:ext cx="664420" cy="664420"/>
            </a:xfrm>
            <a:prstGeom prst="rect">
              <a:avLst/>
            </a:prstGeom>
          </p:spPr>
        </p:pic>
        <p:pic>
          <p:nvPicPr>
            <p:cNvPr id="15" name="Picture 14" descr="Icons-12.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4495" y="2818494"/>
              <a:ext cx="664420" cy="664420"/>
            </a:xfrm>
            <a:prstGeom prst="rect">
              <a:avLst/>
            </a:prstGeom>
          </p:spPr>
        </p:pic>
      </p:grpSp>
      <p:sp>
        <p:nvSpPr>
          <p:cNvPr id="11" name="Content Placeholder 6"/>
          <p:cNvSpPr>
            <a:spLocks noGrp="1"/>
          </p:cNvSpPr>
          <p:nvPr>
            <p:ph idx="13"/>
          </p:nvPr>
        </p:nvSpPr>
        <p:spPr>
          <a:xfrm>
            <a:off x="0" y="6205540"/>
            <a:ext cx="6291218" cy="643102"/>
          </a:xfrm>
        </p:spPr>
        <p:txBody>
          <a:bodyPr/>
          <a:lstStyle/>
          <a:p>
            <a:r>
              <a:rPr lang="en-US" dirty="0" smtClean="0"/>
              <a:t>For News and Announcements Follow us:  @</a:t>
            </a:r>
            <a:r>
              <a:rPr lang="en-US" dirty="0" err="1" smtClean="0"/>
              <a:t>tytonpartners.com</a:t>
            </a:r>
            <a:endParaRPr lang="en-US" dirty="0"/>
          </a:p>
        </p:txBody>
      </p:sp>
    </p:spTree>
    <p:extLst>
      <p:ext uri="{BB962C8B-B14F-4D97-AF65-F5344CB8AC3E}">
        <p14:creationId xmlns:p14="http://schemas.microsoft.com/office/powerpoint/2010/main" val="300974064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endParaRPr lang="en-US" sz="900" dirty="0"/>
          </a:p>
        </p:txBody>
      </p:sp>
      <p:sp>
        <p:nvSpPr>
          <p:cNvPr id="2" name="Slide Number Placeholder 1"/>
          <p:cNvSpPr>
            <a:spLocks noGrp="1"/>
          </p:cNvSpPr>
          <p:nvPr>
            <p:ph type="sldNum" sz="quarter" idx="12"/>
          </p:nvPr>
        </p:nvSpPr>
        <p:spPr/>
        <p:txBody>
          <a:bodyPr/>
          <a:lstStyle/>
          <a:p>
            <a:fld id="{56061281-BD0D-6F47-BBB8-8F6BE6AA34E7}" type="slidenum">
              <a:rPr lang="en-US" smtClean="0"/>
              <a:t>20</a:t>
            </a:fld>
            <a:endParaRPr lang="en-US"/>
          </a:p>
        </p:txBody>
      </p:sp>
      <p:sp>
        <p:nvSpPr>
          <p:cNvPr id="4" name="Content Placeholder 3"/>
          <p:cNvSpPr>
            <a:spLocks noGrp="1"/>
          </p:cNvSpPr>
          <p:nvPr>
            <p:ph idx="13"/>
          </p:nvPr>
        </p:nvSpPr>
        <p:spPr/>
        <p:txBody>
          <a:bodyPr>
            <a:normAutofit/>
          </a:bodyPr>
          <a:lstStyle/>
          <a:p>
            <a:r>
              <a:rPr lang="en-US" sz="900" dirty="0" smtClean="0"/>
              <a:t>Sources: Tyton </a:t>
            </a:r>
            <a:r>
              <a:rPr lang="en-US" sz="900" dirty="0"/>
              <a:t>Partners </a:t>
            </a:r>
            <a:r>
              <a:rPr lang="en-US" sz="900" dirty="0" smtClean="0"/>
              <a:t>analysis</a:t>
            </a:r>
            <a:endParaRPr lang="en-US" sz="900" dirty="0"/>
          </a:p>
        </p:txBody>
      </p:sp>
      <p:sp>
        <p:nvSpPr>
          <p:cNvPr id="20" name="Content Placeholder 19"/>
          <p:cNvSpPr>
            <a:spLocks noGrp="1"/>
          </p:cNvSpPr>
          <p:nvPr>
            <p:ph idx="14"/>
          </p:nvPr>
        </p:nvSpPr>
        <p:spPr/>
        <p:txBody>
          <a:bodyPr/>
          <a:lstStyle/>
          <a:p>
            <a:r>
              <a:rPr lang="en-US" dirty="0"/>
              <a:t>The Planning &amp; Advising Product Framework is Composed of 9 Interconnected Product Categories</a:t>
            </a:r>
          </a:p>
        </p:txBody>
      </p:sp>
      <p:grpSp>
        <p:nvGrpSpPr>
          <p:cNvPr id="5" name="Group 4"/>
          <p:cNvGrpSpPr/>
          <p:nvPr/>
        </p:nvGrpSpPr>
        <p:grpSpPr>
          <a:xfrm>
            <a:off x="1291678" y="1359972"/>
            <a:ext cx="6566027" cy="5083221"/>
            <a:chOff x="1291678" y="1359972"/>
            <a:chExt cx="6566027" cy="5083221"/>
          </a:xfrm>
        </p:grpSpPr>
        <p:sp>
          <p:nvSpPr>
            <p:cNvPr id="6" name="Rectangle 5"/>
            <p:cNvSpPr/>
            <p:nvPr/>
          </p:nvSpPr>
          <p:spPr>
            <a:xfrm>
              <a:off x="1291678" y="1359972"/>
              <a:ext cx="6566027" cy="5083221"/>
            </a:xfrm>
            <a:prstGeom prst="rect">
              <a:avLst/>
            </a:prstGeom>
            <a:solidFill>
              <a:srgbClr val="3F697E"/>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7611" tIns="67611" rIns="67611" bIns="67611" numCol="1" spcCol="1270" anchor="t" anchorCtr="0">
              <a:noAutofit/>
            </a:bodyPr>
            <a:lstStyle/>
            <a:p>
              <a:pPr algn="ctr" defTabSz="533400">
                <a:lnSpc>
                  <a:spcPct val="90000"/>
                </a:lnSpc>
                <a:spcBef>
                  <a:spcPct val="0"/>
                </a:spcBef>
                <a:spcAft>
                  <a:spcPct val="35000"/>
                </a:spcAft>
              </a:pPr>
              <a:r>
                <a:rPr lang="en-US" sz="1400" b="1" dirty="0"/>
                <a:t>Change Management</a:t>
              </a:r>
            </a:p>
          </p:txBody>
        </p:sp>
        <p:sp>
          <p:nvSpPr>
            <p:cNvPr id="7" name="Rectangle 6"/>
            <p:cNvSpPr/>
            <p:nvPr/>
          </p:nvSpPr>
          <p:spPr>
            <a:xfrm>
              <a:off x="5659235" y="2906660"/>
              <a:ext cx="1917797" cy="3216200"/>
            </a:xfrm>
            <a:prstGeom prst="rect">
              <a:avLst/>
            </a:prstGeom>
            <a:solidFill>
              <a:schemeClr val="bg1">
                <a:lumMod val="85000"/>
              </a:schemeClr>
            </a:solidFill>
            <a:ln w="381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600" b="1" dirty="0" smtClean="0">
                  <a:solidFill>
                    <a:srgbClr val="000000"/>
                  </a:solidFill>
                </a:rPr>
                <a:t>Student Services</a:t>
              </a:r>
              <a:endParaRPr lang="en-US" sz="1600" b="1" dirty="0">
                <a:solidFill>
                  <a:srgbClr val="000000"/>
                </a:solidFill>
              </a:endParaRPr>
            </a:p>
          </p:txBody>
        </p:sp>
        <p:sp>
          <p:nvSpPr>
            <p:cNvPr id="8" name="Rectangle 7"/>
            <p:cNvSpPr/>
            <p:nvPr/>
          </p:nvSpPr>
          <p:spPr>
            <a:xfrm>
              <a:off x="3612270" y="2906660"/>
              <a:ext cx="1917797" cy="3216200"/>
            </a:xfrm>
            <a:prstGeom prst="rect">
              <a:avLst/>
            </a:prstGeom>
            <a:solidFill>
              <a:schemeClr val="bg1">
                <a:lumMod val="85000"/>
              </a:schemeClr>
            </a:solidFill>
            <a:ln w="381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600" b="1" dirty="0" smtClean="0">
                  <a:solidFill>
                    <a:srgbClr val="000000"/>
                  </a:solidFill>
                </a:rPr>
                <a:t>Institutional Tools</a:t>
              </a:r>
              <a:endParaRPr lang="en-US" sz="1600" b="1" dirty="0">
                <a:solidFill>
                  <a:srgbClr val="000000"/>
                </a:solidFill>
              </a:endParaRPr>
            </a:p>
          </p:txBody>
        </p:sp>
        <p:sp>
          <p:nvSpPr>
            <p:cNvPr id="9" name="Freeform 8"/>
            <p:cNvSpPr/>
            <p:nvPr/>
          </p:nvSpPr>
          <p:spPr>
            <a:xfrm>
              <a:off x="3877198" y="4418201"/>
              <a:ext cx="1437372" cy="692746"/>
            </a:xfrm>
            <a:custGeom>
              <a:avLst/>
              <a:gdLst>
                <a:gd name="connsiteX0" fmla="*/ 0 w 1245691"/>
                <a:gd name="connsiteY0" fmla="*/ 74741 h 747414"/>
                <a:gd name="connsiteX1" fmla="*/ 74741 w 1245691"/>
                <a:gd name="connsiteY1" fmla="*/ 0 h 747414"/>
                <a:gd name="connsiteX2" fmla="*/ 1170950 w 1245691"/>
                <a:gd name="connsiteY2" fmla="*/ 0 h 747414"/>
                <a:gd name="connsiteX3" fmla="*/ 1245691 w 1245691"/>
                <a:gd name="connsiteY3" fmla="*/ 74741 h 747414"/>
                <a:gd name="connsiteX4" fmla="*/ 1245691 w 1245691"/>
                <a:gd name="connsiteY4" fmla="*/ 672673 h 747414"/>
                <a:gd name="connsiteX5" fmla="*/ 1170950 w 1245691"/>
                <a:gd name="connsiteY5" fmla="*/ 747414 h 747414"/>
                <a:gd name="connsiteX6" fmla="*/ 74741 w 1245691"/>
                <a:gd name="connsiteY6" fmla="*/ 747414 h 747414"/>
                <a:gd name="connsiteX7" fmla="*/ 0 w 1245691"/>
                <a:gd name="connsiteY7" fmla="*/ 672673 h 747414"/>
                <a:gd name="connsiteX8" fmla="*/ 0 w 1245691"/>
                <a:gd name="connsiteY8" fmla="*/ 74741 h 74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747414">
                  <a:moveTo>
                    <a:pt x="0" y="74741"/>
                  </a:moveTo>
                  <a:cubicBezTo>
                    <a:pt x="0" y="33463"/>
                    <a:pt x="33463" y="0"/>
                    <a:pt x="74741" y="0"/>
                  </a:cubicBezTo>
                  <a:lnTo>
                    <a:pt x="1170950" y="0"/>
                  </a:lnTo>
                  <a:cubicBezTo>
                    <a:pt x="1212228" y="0"/>
                    <a:pt x="1245691" y="33463"/>
                    <a:pt x="1245691" y="74741"/>
                  </a:cubicBezTo>
                  <a:lnTo>
                    <a:pt x="1245691" y="672673"/>
                  </a:lnTo>
                  <a:cubicBezTo>
                    <a:pt x="1245691" y="713951"/>
                    <a:pt x="1212228" y="747414"/>
                    <a:pt x="1170950" y="747414"/>
                  </a:cubicBezTo>
                  <a:lnTo>
                    <a:pt x="74741" y="747414"/>
                  </a:lnTo>
                  <a:cubicBezTo>
                    <a:pt x="33463" y="747414"/>
                    <a:pt x="0" y="713951"/>
                    <a:pt x="0" y="672673"/>
                  </a:cubicBezTo>
                  <a:lnTo>
                    <a:pt x="0" y="74741"/>
                  </a:lnTo>
                  <a:close/>
                </a:path>
              </a:pathLst>
            </a:custGeom>
            <a:solidFill>
              <a:schemeClr val="accent1"/>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7611" tIns="67611" rIns="67611" bIns="67611" numCol="1" spcCol="1270" anchor="ctr" anchorCtr="0">
              <a:noAutofit/>
            </a:bodyPr>
            <a:lstStyle/>
            <a:p>
              <a:pPr lvl="0" algn="ctr" defTabSz="533400">
                <a:lnSpc>
                  <a:spcPct val="90000"/>
                </a:lnSpc>
                <a:spcBef>
                  <a:spcPct val="0"/>
                </a:spcBef>
                <a:spcAft>
                  <a:spcPct val="35000"/>
                </a:spcAft>
              </a:pPr>
              <a:r>
                <a:rPr lang="en-US" sz="1400" b="1" kern="1200" dirty="0" smtClean="0"/>
                <a:t>Alerts</a:t>
              </a:r>
              <a:endParaRPr lang="en-US" sz="1400" b="1" kern="1200" dirty="0"/>
            </a:p>
          </p:txBody>
        </p:sp>
        <p:sp>
          <p:nvSpPr>
            <p:cNvPr id="10" name="Freeform 9"/>
            <p:cNvSpPr/>
            <p:nvPr/>
          </p:nvSpPr>
          <p:spPr>
            <a:xfrm>
              <a:off x="3877198" y="5271037"/>
              <a:ext cx="1437372" cy="692746"/>
            </a:xfrm>
            <a:custGeom>
              <a:avLst/>
              <a:gdLst>
                <a:gd name="connsiteX0" fmla="*/ 0 w 1245691"/>
                <a:gd name="connsiteY0" fmla="*/ 74741 h 747414"/>
                <a:gd name="connsiteX1" fmla="*/ 74741 w 1245691"/>
                <a:gd name="connsiteY1" fmla="*/ 0 h 747414"/>
                <a:gd name="connsiteX2" fmla="*/ 1170950 w 1245691"/>
                <a:gd name="connsiteY2" fmla="*/ 0 h 747414"/>
                <a:gd name="connsiteX3" fmla="*/ 1245691 w 1245691"/>
                <a:gd name="connsiteY3" fmla="*/ 74741 h 747414"/>
                <a:gd name="connsiteX4" fmla="*/ 1245691 w 1245691"/>
                <a:gd name="connsiteY4" fmla="*/ 672673 h 747414"/>
                <a:gd name="connsiteX5" fmla="*/ 1170950 w 1245691"/>
                <a:gd name="connsiteY5" fmla="*/ 747414 h 747414"/>
                <a:gd name="connsiteX6" fmla="*/ 74741 w 1245691"/>
                <a:gd name="connsiteY6" fmla="*/ 747414 h 747414"/>
                <a:gd name="connsiteX7" fmla="*/ 0 w 1245691"/>
                <a:gd name="connsiteY7" fmla="*/ 672673 h 747414"/>
                <a:gd name="connsiteX8" fmla="*/ 0 w 1245691"/>
                <a:gd name="connsiteY8" fmla="*/ 74741 h 74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747414">
                  <a:moveTo>
                    <a:pt x="0" y="74741"/>
                  </a:moveTo>
                  <a:cubicBezTo>
                    <a:pt x="0" y="33463"/>
                    <a:pt x="33463" y="0"/>
                    <a:pt x="74741" y="0"/>
                  </a:cubicBezTo>
                  <a:lnTo>
                    <a:pt x="1170950" y="0"/>
                  </a:lnTo>
                  <a:cubicBezTo>
                    <a:pt x="1212228" y="0"/>
                    <a:pt x="1245691" y="33463"/>
                    <a:pt x="1245691" y="74741"/>
                  </a:cubicBezTo>
                  <a:lnTo>
                    <a:pt x="1245691" y="672673"/>
                  </a:lnTo>
                  <a:cubicBezTo>
                    <a:pt x="1245691" y="713951"/>
                    <a:pt x="1212228" y="747414"/>
                    <a:pt x="1170950" y="747414"/>
                  </a:cubicBezTo>
                  <a:lnTo>
                    <a:pt x="74741" y="747414"/>
                  </a:lnTo>
                  <a:cubicBezTo>
                    <a:pt x="33463" y="747414"/>
                    <a:pt x="0" y="713951"/>
                    <a:pt x="0" y="672673"/>
                  </a:cubicBezTo>
                  <a:lnTo>
                    <a:pt x="0" y="74741"/>
                  </a:lnTo>
                  <a:close/>
                </a:path>
              </a:pathLst>
            </a:custGeom>
            <a:solidFill>
              <a:schemeClr val="accent1"/>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7611" tIns="67611" rIns="67611" bIns="67611" numCol="1" spcCol="1270" anchor="ctr" anchorCtr="0">
              <a:noAutofit/>
            </a:bodyPr>
            <a:lstStyle/>
            <a:p>
              <a:pPr lvl="0" algn="ctr" defTabSz="533400">
                <a:lnSpc>
                  <a:spcPct val="90000"/>
                </a:lnSpc>
                <a:spcBef>
                  <a:spcPct val="0"/>
                </a:spcBef>
                <a:spcAft>
                  <a:spcPct val="35000"/>
                </a:spcAft>
              </a:pPr>
              <a:r>
                <a:rPr lang="en-US" sz="1400" b="1" kern="1200" dirty="0" smtClean="0"/>
                <a:t>Tutor </a:t>
              </a:r>
              <a:r>
                <a:rPr lang="en-US" sz="1400" b="1" dirty="0" smtClean="0"/>
                <a:t>&amp; Advisor </a:t>
              </a:r>
              <a:r>
                <a:rPr lang="en-US" sz="1400" b="1" kern="1200" dirty="0" smtClean="0"/>
                <a:t>Management</a:t>
              </a:r>
              <a:endParaRPr lang="en-US" sz="1400" b="1" kern="1200" dirty="0"/>
            </a:p>
          </p:txBody>
        </p:sp>
        <p:sp>
          <p:nvSpPr>
            <p:cNvPr id="11" name="Freeform 10"/>
            <p:cNvSpPr/>
            <p:nvPr/>
          </p:nvSpPr>
          <p:spPr>
            <a:xfrm>
              <a:off x="5965503" y="3571902"/>
              <a:ext cx="1370591" cy="692746"/>
            </a:xfrm>
            <a:custGeom>
              <a:avLst/>
              <a:gdLst>
                <a:gd name="connsiteX0" fmla="*/ 0 w 1245691"/>
                <a:gd name="connsiteY0" fmla="*/ 74741 h 747414"/>
                <a:gd name="connsiteX1" fmla="*/ 74741 w 1245691"/>
                <a:gd name="connsiteY1" fmla="*/ 0 h 747414"/>
                <a:gd name="connsiteX2" fmla="*/ 1170950 w 1245691"/>
                <a:gd name="connsiteY2" fmla="*/ 0 h 747414"/>
                <a:gd name="connsiteX3" fmla="*/ 1245691 w 1245691"/>
                <a:gd name="connsiteY3" fmla="*/ 74741 h 747414"/>
                <a:gd name="connsiteX4" fmla="*/ 1245691 w 1245691"/>
                <a:gd name="connsiteY4" fmla="*/ 672673 h 747414"/>
                <a:gd name="connsiteX5" fmla="*/ 1170950 w 1245691"/>
                <a:gd name="connsiteY5" fmla="*/ 747414 h 747414"/>
                <a:gd name="connsiteX6" fmla="*/ 74741 w 1245691"/>
                <a:gd name="connsiteY6" fmla="*/ 747414 h 747414"/>
                <a:gd name="connsiteX7" fmla="*/ 0 w 1245691"/>
                <a:gd name="connsiteY7" fmla="*/ 672673 h 747414"/>
                <a:gd name="connsiteX8" fmla="*/ 0 w 1245691"/>
                <a:gd name="connsiteY8" fmla="*/ 74741 h 74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747414">
                  <a:moveTo>
                    <a:pt x="0" y="74741"/>
                  </a:moveTo>
                  <a:cubicBezTo>
                    <a:pt x="0" y="33463"/>
                    <a:pt x="33463" y="0"/>
                    <a:pt x="74741" y="0"/>
                  </a:cubicBezTo>
                  <a:lnTo>
                    <a:pt x="1170950" y="0"/>
                  </a:lnTo>
                  <a:cubicBezTo>
                    <a:pt x="1212228" y="0"/>
                    <a:pt x="1245691" y="33463"/>
                    <a:pt x="1245691" y="74741"/>
                  </a:cubicBezTo>
                  <a:lnTo>
                    <a:pt x="1245691" y="672673"/>
                  </a:lnTo>
                  <a:cubicBezTo>
                    <a:pt x="1245691" y="713951"/>
                    <a:pt x="1212228" y="747414"/>
                    <a:pt x="1170950" y="747414"/>
                  </a:cubicBezTo>
                  <a:lnTo>
                    <a:pt x="74741" y="747414"/>
                  </a:lnTo>
                  <a:cubicBezTo>
                    <a:pt x="33463" y="747414"/>
                    <a:pt x="0" y="713951"/>
                    <a:pt x="0" y="672673"/>
                  </a:cubicBezTo>
                  <a:lnTo>
                    <a:pt x="0" y="74741"/>
                  </a:lnTo>
                  <a:close/>
                </a:path>
              </a:pathLst>
            </a:custGeom>
            <a:solidFill>
              <a:schemeClr val="accent1"/>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7611" tIns="67611" rIns="67611" bIns="67611" numCol="1" spcCol="1270" anchor="ctr" anchorCtr="0">
              <a:noAutofit/>
            </a:bodyPr>
            <a:lstStyle/>
            <a:p>
              <a:pPr lvl="0" algn="ctr" defTabSz="533400">
                <a:lnSpc>
                  <a:spcPct val="90000"/>
                </a:lnSpc>
                <a:spcBef>
                  <a:spcPct val="0"/>
                </a:spcBef>
                <a:spcAft>
                  <a:spcPct val="35000"/>
                </a:spcAft>
              </a:pPr>
              <a:r>
                <a:rPr lang="en-US" sz="1400" b="1" kern="1200" dirty="0" smtClean="0"/>
                <a:t>Academic Tutoring</a:t>
              </a:r>
              <a:endParaRPr lang="en-US" sz="1400" b="1" kern="1200" dirty="0"/>
            </a:p>
          </p:txBody>
        </p:sp>
        <p:sp>
          <p:nvSpPr>
            <p:cNvPr id="12" name="Freeform 11"/>
            <p:cNvSpPr/>
            <p:nvPr/>
          </p:nvSpPr>
          <p:spPr>
            <a:xfrm>
              <a:off x="5973443" y="4425290"/>
              <a:ext cx="1395293" cy="692746"/>
            </a:xfrm>
            <a:custGeom>
              <a:avLst/>
              <a:gdLst>
                <a:gd name="connsiteX0" fmla="*/ 0 w 1245691"/>
                <a:gd name="connsiteY0" fmla="*/ 74741 h 747414"/>
                <a:gd name="connsiteX1" fmla="*/ 74741 w 1245691"/>
                <a:gd name="connsiteY1" fmla="*/ 0 h 747414"/>
                <a:gd name="connsiteX2" fmla="*/ 1170950 w 1245691"/>
                <a:gd name="connsiteY2" fmla="*/ 0 h 747414"/>
                <a:gd name="connsiteX3" fmla="*/ 1245691 w 1245691"/>
                <a:gd name="connsiteY3" fmla="*/ 74741 h 747414"/>
                <a:gd name="connsiteX4" fmla="*/ 1245691 w 1245691"/>
                <a:gd name="connsiteY4" fmla="*/ 672673 h 747414"/>
                <a:gd name="connsiteX5" fmla="*/ 1170950 w 1245691"/>
                <a:gd name="connsiteY5" fmla="*/ 747414 h 747414"/>
                <a:gd name="connsiteX6" fmla="*/ 74741 w 1245691"/>
                <a:gd name="connsiteY6" fmla="*/ 747414 h 747414"/>
                <a:gd name="connsiteX7" fmla="*/ 0 w 1245691"/>
                <a:gd name="connsiteY7" fmla="*/ 672673 h 747414"/>
                <a:gd name="connsiteX8" fmla="*/ 0 w 1245691"/>
                <a:gd name="connsiteY8" fmla="*/ 74741 h 74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747414">
                  <a:moveTo>
                    <a:pt x="0" y="74741"/>
                  </a:moveTo>
                  <a:cubicBezTo>
                    <a:pt x="0" y="33463"/>
                    <a:pt x="33463" y="0"/>
                    <a:pt x="74741" y="0"/>
                  </a:cubicBezTo>
                  <a:lnTo>
                    <a:pt x="1170950" y="0"/>
                  </a:lnTo>
                  <a:cubicBezTo>
                    <a:pt x="1212228" y="0"/>
                    <a:pt x="1245691" y="33463"/>
                    <a:pt x="1245691" y="74741"/>
                  </a:cubicBezTo>
                  <a:lnTo>
                    <a:pt x="1245691" y="672673"/>
                  </a:lnTo>
                  <a:cubicBezTo>
                    <a:pt x="1245691" y="713951"/>
                    <a:pt x="1212228" y="747414"/>
                    <a:pt x="1170950" y="747414"/>
                  </a:cubicBezTo>
                  <a:lnTo>
                    <a:pt x="74741" y="747414"/>
                  </a:lnTo>
                  <a:cubicBezTo>
                    <a:pt x="33463" y="747414"/>
                    <a:pt x="0" y="713951"/>
                    <a:pt x="0" y="672673"/>
                  </a:cubicBezTo>
                  <a:lnTo>
                    <a:pt x="0" y="74741"/>
                  </a:lnTo>
                  <a:close/>
                </a:path>
              </a:pathLst>
            </a:custGeom>
            <a:solidFill>
              <a:schemeClr val="accent1"/>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7611" tIns="67611" rIns="67611" bIns="67611" numCol="1" spcCol="1270" anchor="ctr" anchorCtr="0">
              <a:noAutofit/>
            </a:bodyPr>
            <a:lstStyle/>
            <a:p>
              <a:pPr lvl="0" algn="ctr" defTabSz="533400">
                <a:lnSpc>
                  <a:spcPct val="90000"/>
                </a:lnSpc>
                <a:spcBef>
                  <a:spcPct val="0"/>
                </a:spcBef>
                <a:spcAft>
                  <a:spcPct val="35000"/>
                </a:spcAft>
              </a:pPr>
              <a:r>
                <a:rPr lang="en-US" sz="1400" b="1" dirty="0" smtClean="0"/>
                <a:t>Coaching &amp; Advising</a:t>
              </a:r>
              <a:endParaRPr lang="en-US" sz="1400" b="1" kern="1200" dirty="0"/>
            </a:p>
          </p:txBody>
        </p:sp>
        <p:sp>
          <p:nvSpPr>
            <p:cNvPr id="13" name="Rectangle 12"/>
            <p:cNvSpPr/>
            <p:nvPr/>
          </p:nvSpPr>
          <p:spPr>
            <a:xfrm>
              <a:off x="1589227" y="2906660"/>
              <a:ext cx="1917797" cy="3216200"/>
            </a:xfrm>
            <a:prstGeom prst="rect">
              <a:avLst/>
            </a:prstGeom>
            <a:solidFill>
              <a:schemeClr val="bg1">
                <a:lumMod val="85000"/>
              </a:schemeClr>
            </a:solidFill>
            <a:ln w="381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600" b="1" dirty="0" smtClean="0">
                  <a:solidFill>
                    <a:srgbClr val="000000"/>
                  </a:solidFill>
                </a:rPr>
                <a:t>Student Planning Tools </a:t>
              </a:r>
              <a:endParaRPr lang="en-US" sz="1600" b="1" dirty="0">
                <a:solidFill>
                  <a:srgbClr val="000000"/>
                </a:solidFill>
              </a:endParaRPr>
            </a:p>
          </p:txBody>
        </p:sp>
        <p:sp>
          <p:nvSpPr>
            <p:cNvPr id="14" name="Freeform 13"/>
            <p:cNvSpPr/>
            <p:nvPr/>
          </p:nvSpPr>
          <p:spPr>
            <a:xfrm>
              <a:off x="1817323" y="3794005"/>
              <a:ext cx="1370591" cy="692746"/>
            </a:xfrm>
            <a:custGeom>
              <a:avLst/>
              <a:gdLst>
                <a:gd name="connsiteX0" fmla="*/ 0 w 1245691"/>
                <a:gd name="connsiteY0" fmla="*/ 74741 h 747414"/>
                <a:gd name="connsiteX1" fmla="*/ 74741 w 1245691"/>
                <a:gd name="connsiteY1" fmla="*/ 0 h 747414"/>
                <a:gd name="connsiteX2" fmla="*/ 1170950 w 1245691"/>
                <a:gd name="connsiteY2" fmla="*/ 0 h 747414"/>
                <a:gd name="connsiteX3" fmla="*/ 1245691 w 1245691"/>
                <a:gd name="connsiteY3" fmla="*/ 74741 h 747414"/>
                <a:gd name="connsiteX4" fmla="*/ 1245691 w 1245691"/>
                <a:gd name="connsiteY4" fmla="*/ 672673 h 747414"/>
                <a:gd name="connsiteX5" fmla="*/ 1170950 w 1245691"/>
                <a:gd name="connsiteY5" fmla="*/ 747414 h 747414"/>
                <a:gd name="connsiteX6" fmla="*/ 74741 w 1245691"/>
                <a:gd name="connsiteY6" fmla="*/ 747414 h 747414"/>
                <a:gd name="connsiteX7" fmla="*/ 0 w 1245691"/>
                <a:gd name="connsiteY7" fmla="*/ 672673 h 747414"/>
                <a:gd name="connsiteX8" fmla="*/ 0 w 1245691"/>
                <a:gd name="connsiteY8" fmla="*/ 74741 h 74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747414">
                  <a:moveTo>
                    <a:pt x="0" y="74741"/>
                  </a:moveTo>
                  <a:cubicBezTo>
                    <a:pt x="0" y="33463"/>
                    <a:pt x="33463" y="0"/>
                    <a:pt x="74741" y="0"/>
                  </a:cubicBezTo>
                  <a:lnTo>
                    <a:pt x="1170950" y="0"/>
                  </a:lnTo>
                  <a:cubicBezTo>
                    <a:pt x="1212228" y="0"/>
                    <a:pt x="1245691" y="33463"/>
                    <a:pt x="1245691" y="74741"/>
                  </a:cubicBezTo>
                  <a:lnTo>
                    <a:pt x="1245691" y="672673"/>
                  </a:lnTo>
                  <a:cubicBezTo>
                    <a:pt x="1245691" y="713951"/>
                    <a:pt x="1212228" y="747414"/>
                    <a:pt x="1170950" y="747414"/>
                  </a:cubicBezTo>
                  <a:lnTo>
                    <a:pt x="74741" y="747414"/>
                  </a:lnTo>
                  <a:cubicBezTo>
                    <a:pt x="33463" y="747414"/>
                    <a:pt x="0" y="713951"/>
                    <a:pt x="0" y="672673"/>
                  </a:cubicBezTo>
                  <a:lnTo>
                    <a:pt x="0" y="74741"/>
                  </a:lnTo>
                  <a:close/>
                </a:path>
              </a:pathLst>
            </a:custGeom>
            <a:solidFill>
              <a:schemeClr val="accent1"/>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7611" tIns="67611" rIns="67611" bIns="67611" numCol="1" spcCol="1270" anchor="t" anchorCtr="0">
              <a:noAutofit/>
            </a:bodyPr>
            <a:lstStyle/>
            <a:p>
              <a:pPr algn="ctr" defTabSz="533400">
                <a:lnSpc>
                  <a:spcPct val="90000"/>
                </a:lnSpc>
                <a:spcBef>
                  <a:spcPct val="0"/>
                </a:spcBef>
                <a:spcAft>
                  <a:spcPct val="35000"/>
                </a:spcAft>
              </a:pPr>
              <a:r>
                <a:rPr lang="en-US" sz="1400" b="1" dirty="0"/>
                <a:t>Degree Planning &amp; Audit</a:t>
              </a:r>
            </a:p>
          </p:txBody>
        </p:sp>
        <p:sp>
          <p:nvSpPr>
            <p:cNvPr id="15" name="Freeform 14"/>
            <p:cNvSpPr/>
            <p:nvPr/>
          </p:nvSpPr>
          <p:spPr>
            <a:xfrm>
              <a:off x="1817323" y="4905129"/>
              <a:ext cx="1395293" cy="692746"/>
            </a:xfrm>
            <a:custGeom>
              <a:avLst/>
              <a:gdLst>
                <a:gd name="connsiteX0" fmla="*/ 0 w 1245691"/>
                <a:gd name="connsiteY0" fmla="*/ 74741 h 747414"/>
                <a:gd name="connsiteX1" fmla="*/ 74741 w 1245691"/>
                <a:gd name="connsiteY1" fmla="*/ 0 h 747414"/>
                <a:gd name="connsiteX2" fmla="*/ 1170950 w 1245691"/>
                <a:gd name="connsiteY2" fmla="*/ 0 h 747414"/>
                <a:gd name="connsiteX3" fmla="*/ 1245691 w 1245691"/>
                <a:gd name="connsiteY3" fmla="*/ 74741 h 747414"/>
                <a:gd name="connsiteX4" fmla="*/ 1245691 w 1245691"/>
                <a:gd name="connsiteY4" fmla="*/ 672673 h 747414"/>
                <a:gd name="connsiteX5" fmla="*/ 1170950 w 1245691"/>
                <a:gd name="connsiteY5" fmla="*/ 747414 h 747414"/>
                <a:gd name="connsiteX6" fmla="*/ 74741 w 1245691"/>
                <a:gd name="connsiteY6" fmla="*/ 747414 h 747414"/>
                <a:gd name="connsiteX7" fmla="*/ 0 w 1245691"/>
                <a:gd name="connsiteY7" fmla="*/ 672673 h 747414"/>
                <a:gd name="connsiteX8" fmla="*/ 0 w 1245691"/>
                <a:gd name="connsiteY8" fmla="*/ 74741 h 74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747414">
                  <a:moveTo>
                    <a:pt x="0" y="74741"/>
                  </a:moveTo>
                  <a:cubicBezTo>
                    <a:pt x="0" y="33463"/>
                    <a:pt x="33463" y="0"/>
                    <a:pt x="74741" y="0"/>
                  </a:cubicBezTo>
                  <a:lnTo>
                    <a:pt x="1170950" y="0"/>
                  </a:lnTo>
                  <a:cubicBezTo>
                    <a:pt x="1212228" y="0"/>
                    <a:pt x="1245691" y="33463"/>
                    <a:pt x="1245691" y="74741"/>
                  </a:cubicBezTo>
                  <a:lnTo>
                    <a:pt x="1245691" y="672673"/>
                  </a:lnTo>
                  <a:cubicBezTo>
                    <a:pt x="1245691" y="713951"/>
                    <a:pt x="1212228" y="747414"/>
                    <a:pt x="1170950" y="747414"/>
                  </a:cubicBezTo>
                  <a:lnTo>
                    <a:pt x="74741" y="747414"/>
                  </a:lnTo>
                  <a:cubicBezTo>
                    <a:pt x="33463" y="747414"/>
                    <a:pt x="0" y="713951"/>
                    <a:pt x="0" y="672673"/>
                  </a:cubicBezTo>
                  <a:lnTo>
                    <a:pt x="0" y="74741"/>
                  </a:lnTo>
                  <a:close/>
                </a:path>
              </a:pathLst>
            </a:custGeom>
            <a:solidFill>
              <a:schemeClr val="accent1"/>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7611" tIns="67611" rIns="67611" bIns="67611" numCol="1" spcCol="1270" anchor="ctr" anchorCtr="0">
              <a:noAutofit/>
            </a:bodyPr>
            <a:lstStyle/>
            <a:p>
              <a:pPr lvl="0" algn="ctr" defTabSz="533400">
                <a:lnSpc>
                  <a:spcPct val="90000"/>
                </a:lnSpc>
                <a:spcBef>
                  <a:spcPct val="0"/>
                </a:spcBef>
                <a:spcAft>
                  <a:spcPct val="35000"/>
                </a:spcAft>
              </a:pPr>
              <a:r>
                <a:rPr lang="en-US" sz="1400" b="1" dirty="0" smtClean="0"/>
                <a:t>Transfer Articulation</a:t>
              </a:r>
              <a:endParaRPr lang="en-US" sz="1400" b="1" kern="1200" dirty="0"/>
            </a:p>
          </p:txBody>
        </p:sp>
        <p:sp>
          <p:nvSpPr>
            <p:cNvPr id="16" name="Freeform 15"/>
            <p:cNvSpPr/>
            <p:nvPr/>
          </p:nvSpPr>
          <p:spPr>
            <a:xfrm>
              <a:off x="5965503" y="5282727"/>
              <a:ext cx="1395293" cy="692746"/>
            </a:xfrm>
            <a:custGeom>
              <a:avLst/>
              <a:gdLst>
                <a:gd name="connsiteX0" fmla="*/ 0 w 1245691"/>
                <a:gd name="connsiteY0" fmla="*/ 74741 h 747414"/>
                <a:gd name="connsiteX1" fmla="*/ 74741 w 1245691"/>
                <a:gd name="connsiteY1" fmla="*/ 0 h 747414"/>
                <a:gd name="connsiteX2" fmla="*/ 1170950 w 1245691"/>
                <a:gd name="connsiteY2" fmla="*/ 0 h 747414"/>
                <a:gd name="connsiteX3" fmla="*/ 1245691 w 1245691"/>
                <a:gd name="connsiteY3" fmla="*/ 74741 h 747414"/>
                <a:gd name="connsiteX4" fmla="*/ 1245691 w 1245691"/>
                <a:gd name="connsiteY4" fmla="*/ 672673 h 747414"/>
                <a:gd name="connsiteX5" fmla="*/ 1170950 w 1245691"/>
                <a:gd name="connsiteY5" fmla="*/ 747414 h 747414"/>
                <a:gd name="connsiteX6" fmla="*/ 74741 w 1245691"/>
                <a:gd name="connsiteY6" fmla="*/ 747414 h 747414"/>
                <a:gd name="connsiteX7" fmla="*/ 0 w 1245691"/>
                <a:gd name="connsiteY7" fmla="*/ 672673 h 747414"/>
                <a:gd name="connsiteX8" fmla="*/ 0 w 1245691"/>
                <a:gd name="connsiteY8" fmla="*/ 74741 h 74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747414">
                  <a:moveTo>
                    <a:pt x="0" y="74741"/>
                  </a:moveTo>
                  <a:cubicBezTo>
                    <a:pt x="0" y="33463"/>
                    <a:pt x="33463" y="0"/>
                    <a:pt x="74741" y="0"/>
                  </a:cubicBezTo>
                  <a:lnTo>
                    <a:pt x="1170950" y="0"/>
                  </a:lnTo>
                  <a:cubicBezTo>
                    <a:pt x="1212228" y="0"/>
                    <a:pt x="1245691" y="33463"/>
                    <a:pt x="1245691" y="74741"/>
                  </a:cubicBezTo>
                  <a:lnTo>
                    <a:pt x="1245691" y="672673"/>
                  </a:lnTo>
                  <a:cubicBezTo>
                    <a:pt x="1245691" y="713951"/>
                    <a:pt x="1212228" y="747414"/>
                    <a:pt x="1170950" y="747414"/>
                  </a:cubicBezTo>
                  <a:lnTo>
                    <a:pt x="74741" y="747414"/>
                  </a:lnTo>
                  <a:cubicBezTo>
                    <a:pt x="33463" y="747414"/>
                    <a:pt x="0" y="713951"/>
                    <a:pt x="0" y="672673"/>
                  </a:cubicBezTo>
                  <a:lnTo>
                    <a:pt x="0" y="74741"/>
                  </a:lnTo>
                  <a:close/>
                </a:path>
              </a:pathLst>
            </a:custGeom>
            <a:solidFill>
              <a:schemeClr val="accent1"/>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7611" tIns="67611" rIns="67611" bIns="67611" numCol="1" spcCol="1270" anchor="ctr" anchorCtr="0">
              <a:noAutofit/>
            </a:bodyPr>
            <a:lstStyle/>
            <a:p>
              <a:pPr lvl="0" algn="ctr" defTabSz="533400">
                <a:lnSpc>
                  <a:spcPct val="90000"/>
                </a:lnSpc>
                <a:spcBef>
                  <a:spcPct val="0"/>
                </a:spcBef>
                <a:spcAft>
                  <a:spcPct val="35000"/>
                </a:spcAft>
              </a:pPr>
              <a:r>
                <a:rPr lang="en-US" sz="1400" b="1" dirty="0" smtClean="0"/>
                <a:t>Resource Connection</a:t>
              </a:r>
              <a:endParaRPr lang="en-US" sz="1400" b="1" kern="1200" dirty="0"/>
            </a:p>
          </p:txBody>
        </p:sp>
        <p:sp>
          <p:nvSpPr>
            <p:cNvPr id="17" name="Rectangle 16"/>
            <p:cNvSpPr/>
            <p:nvPr/>
          </p:nvSpPr>
          <p:spPr>
            <a:xfrm>
              <a:off x="1584832" y="1810859"/>
              <a:ext cx="5992200" cy="1020334"/>
            </a:xfrm>
            <a:prstGeom prst="rect">
              <a:avLst/>
            </a:prstGeom>
            <a:solidFill>
              <a:schemeClr val="bg1">
                <a:lumMod val="85000"/>
              </a:schemeClr>
            </a:solidFill>
            <a:ln w="381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600" b="1" dirty="0" smtClean="0">
                  <a:solidFill>
                    <a:srgbClr val="000000"/>
                  </a:solidFill>
                </a:rPr>
                <a:t>Student &amp; Institution Data </a:t>
              </a:r>
              <a:endParaRPr lang="en-US" sz="1600" b="1" dirty="0">
                <a:solidFill>
                  <a:srgbClr val="000000"/>
                </a:solidFill>
              </a:endParaRPr>
            </a:p>
          </p:txBody>
        </p:sp>
        <p:sp>
          <p:nvSpPr>
            <p:cNvPr id="18" name="Freeform 17"/>
            <p:cNvSpPr/>
            <p:nvPr/>
          </p:nvSpPr>
          <p:spPr>
            <a:xfrm>
              <a:off x="1920883" y="2164232"/>
              <a:ext cx="5267078" cy="455838"/>
            </a:xfrm>
            <a:custGeom>
              <a:avLst/>
              <a:gdLst>
                <a:gd name="connsiteX0" fmla="*/ 0 w 1245691"/>
                <a:gd name="connsiteY0" fmla="*/ 74741 h 747414"/>
                <a:gd name="connsiteX1" fmla="*/ 74741 w 1245691"/>
                <a:gd name="connsiteY1" fmla="*/ 0 h 747414"/>
                <a:gd name="connsiteX2" fmla="*/ 1170950 w 1245691"/>
                <a:gd name="connsiteY2" fmla="*/ 0 h 747414"/>
                <a:gd name="connsiteX3" fmla="*/ 1245691 w 1245691"/>
                <a:gd name="connsiteY3" fmla="*/ 74741 h 747414"/>
                <a:gd name="connsiteX4" fmla="*/ 1245691 w 1245691"/>
                <a:gd name="connsiteY4" fmla="*/ 672673 h 747414"/>
                <a:gd name="connsiteX5" fmla="*/ 1170950 w 1245691"/>
                <a:gd name="connsiteY5" fmla="*/ 747414 h 747414"/>
                <a:gd name="connsiteX6" fmla="*/ 74741 w 1245691"/>
                <a:gd name="connsiteY6" fmla="*/ 747414 h 747414"/>
                <a:gd name="connsiteX7" fmla="*/ 0 w 1245691"/>
                <a:gd name="connsiteY7" fmla="*/ 672673 h 747414"/>
                <a:gd name="connsiteX8" fmla="*/ 0 w 1245691"/>
                <a:gd name="connsiteY8" fmla="*/ 74741 h 74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747414">
                  <a:moveTo>
                    <a:pt x="0" y="74741"/>
                  </a:moveTo>
                  <a:cubicBezTo>
                    <a:pt x="0" y="33463"/>
                    <a:pt x="33463" y="0"/>
                    <a:pt x="74741" y="0"/>
                  </a:cubicBezTo>
                  <a:lnTo>
                    <a:pt x="1170950" y="0"/>
                  </a:lnTo>
                  <a:cubicBezTo>
                    <a:pt x="1212228" y="0"/>
                    <a:pt x="1245691" y="33463"/>
                    <a:pt x="1245691" y="74741"/>
                  </a:cubicBezTo>
                  <a:lnTo>
                    <a:pt x="1245691" y="672673"/>
                  </a:lnTo>
                  <a:cubicBezTo>
                    <a:pt x="1245691" y="713951"/>
                    <a:pt x="1212228" y="747414"/>
                    <a:pt x="1170950" y="747414"/>
                  </a:cubicBezTo>
                  <a:lnTo>
                    <a:pt x="74741" y="747414"/>
                  </a:lnTo>
                  <a:cubicBezTo>
                    <a:pt x="33463" y="747414"/>
                    <a:pt x="0" y="713951"/>
                    <a:pt x="0" y="672673"/>
                  </a:cubicBezTo>
                  <a:lnTo>
                    <a:pt x="0" y="74741"/>
                  </a:lnTo>
                  <a:close/>
                </a:path>
              </a:pathLst>
            </a:custGeom>
            <a:solidFill>
              <a:schemeClr val="accent1"/>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7611" tIns="67611" rIns="67611" bIns="67611" numCol="1" spcCol="1270" anchor="ctr" anchorCtr="0">
              <a:noAutofit/>
            </a:bodyPr>
            <a:lstStyle/>
            <a:p>
              <a:pPr lvl="0" algn="ctr" defTabSz="533400">
                <a:lnSpc>
                  <a:spcPct val="90000"/>
                </a:lnSpc>
                <a:spcBef>
                  <a:spcPct val="0"/>
                </a:spcBef>
                <a:spcAft>
                  <a:spcPct val="35000"/>
                </a:spcAft>
              </a:pPr>
              <a:r>
                <a:rPr lang="en-US" sz="1400" b="1" kern="1200" dirty="0" smtClean="0"/>
                <a:t>Analytics &amp; Reporting</a:t>
              </a:r>
              <a:endParaRPr lang="en-US" sz="1400" b="1" kern="1200" dirty="0"/>
            </a:p>
          </p:txBody>
        </p:sp>
        <p:sp>
          <p:nvSpPr>
            <p:cNvPr id="19" name="Freeform 18"/>
            <p:cNvSpPr/>
            <p:nvPr/>
          </p:nvSpPr>
          <p:spPr>
            <a:xfrm>
              <a:off x="3883737" y="3571902"/>
              <a:ext cx="1437372" cy="692746"/>
            </a:xfrm>
            <a:custGeom>
              <a:avLst/>
              <a:gdLst>
                <a:gd name="connsiteX0" fmla="*/ 0 w 1245691"/>
                <a:gd name="connsiteY0" fmla="*/ 74741 h 747414"/>
                <a:gd name="connsiteX1" fmla="*/ 74741 w 1245691"/>
                <a:gd name="connsiteY1" fmla="*/ 0 h 747414"/>
                <a:gd name="connsiteX2" fmla="*/ 1170950 w 1245691"/>
                <a:gd name="connsiteY2" fmla="*/ 0 h 747414"/>
                <a:gd name="connsiteX3" fmla="*/ 1245691 w 1245691"/>
                <a:gd name="connsiteY3" fmla="*/ 74741 h 747414"/>
                <a:gd name="connsiteX4" fmla="*/ 1245691 w 1245691"/>
                <a:gd name="connsiteY4" fmla="*/ 672673 h 747414"/>
                <a:gd name="connsiteX5" fmla="*/ 1170950 w 1245691"/>
                <a:gd name="connsiteY5" fmla="*/ 747414 h 747414"/>
                <a:gd name="connsiteX6" fmla="*/ 74741 w 1245691"/>
                <a:gd name="connsiteY6" fmla="*/ 747414 h 747414"/>
                <a:gd name="connsiteX7" fmla="*/ 0 w 1245691"/>
                <a:gd name="connsiteY7" fmla="*/ 672673 h 747414"/>
                <a:gd name="connsiteX8" fmla="*/ 0 w 1245691"/>
                <a:gd name="connsiteY8" fmla="*/ 74741 h 74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747414">
                  <a:moveTo>
                    <a:pt x="0" y="74741"/>
                  </a:moveTo>
                  <a:cubicBezTo>
                    <a:pt x="0" y="33463"/>
                    <a:pt x="33463" y="0"/>
                    <a:pt x="74741" y="0"/>
                  </a:cubicBezTo>
                  <a:lnTo>
                    <a:pt x="1170950" y="0"/>
                  </a:lnTo>
                  <a:cubicBezTo>
                    <a:pt x="1212228" y="0"/>
                    <a:pt x="1245691" y="33463"/>
                    <a:pt x="1245691" y="74741"/>
                  </a:cubicBezTo>
                  <a:lnTo>
                    <a:pt x="1245691" y="672673"/>
                  </a:lnTo>
                  <a:cubicBezTo>
                    <a:pt x="1245691" y="713951"/>
                    <a:pt x="1212228" y="747414"/>
                    <a:pt x="1170950" y="747414"/>
                  </a:cubicBezTo>
                  <a:lnTo>
                    <a:pt x="74741" y="747414"/>
                  </a:lnTo>
                  <a:cubicBezTo>
                    <a:pt x="33463" y="747414"/>
                    <a:pt x="0" y="713951"/>
                    <a:pt x="0" y="672673"/>
                  </a:cubicBezTo>
                  <a:lnTo>
                    <a:pt x="0" y="74741"/>
                  </a:lnTo>
                  <a:close/>
                </a:path>
              </a:pathLst>
            </a:custGeom>
            <a:solidFill>
              <a:schemeClr val="accent1"/>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67611" tIns="67611" rIns="67611" bIns="67611" numCol="1" spcCol="1270" anchor="ctr" anchorCtr="0">
              <a:noAutofit/>
            </a:bodyPr>
            <a:lstStyle/>
            <a:p>
              <a:pPr lvl="0" algn="ctr" defTabSz="533400">
                <a:lnSpc>
                  <a:spcPct val="90000"/>
                </a:lnSpc>
                <a:spcBef>
                  <a:spcPct val="0"/>
                </a:spcBef>
                <a:spcAft>
                  <a:spcPct val="35000"/>
                </a:spcAft>
              </a:pPr>
              <a:r>
                <a:rPr lang="en-US" sz="1400" b="1" kern="1200" dirty="0" smtClean="0"/>
                <a:t>Diagnostics</a:t>
              </a:r>
              <a:endParaRPr lang="en-US" sz="1400" b="1" kern="1200" dirty="0"/>
            </a:p>
          </p:txBody>
        </p:sp>
      </p:grpSp>
    </p:spTree>
    <p:extLst>
      <p:ext uri="{BB962C8B-B14F-4D97-AF65-F5344CB8AC3E}">
        <p14:creationId xmlns:p14="http://schemas.microsoft.com/office/powerpoint/2010/main" val="37517880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56061281-BD0D-6F47-BBB8-8F6BE6AA34E7}" type="slidenum">
              <a:rPr lang="en-US" smtClean="0"/>
              <a:pPr/>
              <a:t>21</a:t>
            </a:fld>
            <a:endParaRPr lang="en-US" dirty="0"/>
          </a:p>
        </p:txBody>
      </p:sp>
      <p:sp>
        <p:nvSpPr>
          <p:cNvPr id="5" name="Content Placeholder 4"/>
          <p:cNvSpPr>
            <a:spLocks noGrp="1"/>
          </p:cNvSpPr>
          <p:nvPr>
            <p:ph idx="14"/>
          </p:nvPr>
        </p:nvSpPr>
        <p:spPr/>
        <p:txBody>
          <a:bodyPr>
            <a:normAutofit/>
          </a:bodyPr>
          <a:lstStyle/>
          <a:p>
            <a:r>
              <a:rPr lang="en-US" dirty="0"/>
              <a:t>Technology Used by Institutions Can Be Grouped In Core and Limited Use Applications</a:t>
            </a:r>
          </a:p>
        </p:txBody>
      </p:sp>
      <p:sp>
        <p:nvSpPr>
          <p:cNvPr id="74" name="Content Placeholder 1"/>
          <p:cNvSpPr>
            <a:spLocks noGrp="1"/>
          </p:cNvSpPr>
          <p:nvPr>
            <p:ph idx="13"/>
          </p:nvPr>
        </p:nvSpPr>
        <p:spPr>
          <a:xfrm>
            <a:off x="526143" y="6126165"/>
            <a:ext cx="6291218" cy="643102"/>
          </a:xfrm>
        </p:spPr>
        <p:txBody>
          <a:bodyPr>
            <a:normAutofit/>
          </a:bodyPr>
          <a:lstStyle/>
          <a:p>
            <a:r>
              <a:rPr lang="en-US" sz="900" dirty="0" smtClean="0"/>
              <a:t>Sources: Tyton Partners Analysis</a:t>
            </a:r>
          </a:p>
        </p:txBody>
      </p:sp>
      <p:sp>
        <p:nvSpPr>
          <p:cNvPr id="152" name="TextBox 151"/>
          <p:cNvSpPr txBox="1"/>
          <p:nvPr/>
        </p:nvSpPr>
        <p:spPr>
          <a:xfrm>
            <a:off x="409467" y="1176131"/>
            <a:ext cx="8157260" cy="461665"/>
          </a:xfrm>
          <a:prstGeom prst="rect">
            <a:avLst/>
          </a:prstGeom>
          <a:noFill/>
        </p:spPr>
        <p:txBody>
          <a:bodyPr wrap="square" rtlCol="0">
            <a:spAutoFit/>
          </a:bodyPr>
          <a:lstStyle/>
          <a:p>
            <a:pPr algn="ctr"/>
            <a:r>
              <a:rPr lang="en-US" sz="1200" b="1" dirty="0"/>
              <a:t>Which of the following planning and advising categories does your institution utilize technology to support? </a:t>
            </a:r>
          </a:p>
          <a:p>
            <a:pPr algn="ctr"/>
            <a:r>
              <a:rPr lang="en-US" sz="1200" dirty="0" smtClean="0"/>
              <a:t>n = 1,096</a:t>
            </a:r>
            <a:endParaRPr lang="en-US" sz="1200" dirty="0"/>
          </a:p>
        </p:txBody>
      </p:sp>
      <p:grpSp>
        <p:nvGrpSpPr>
          <p:cNvPr id="235" name="Group 234"/>
          <p:cNvGrpSpPr/>
          <p:nvPr>
            <p:custDataLst>
              <p:tags r:id="rId1"/>
            </p:custDataLst>
          </p:nvPr>
        </p:nvGrpSpPr>
        <p:grpSpPr>
          <a:xfrm>
            <a:off x="107610" y="1655596"/>
            <a:ext cx="8741355" cy="4722158"/>
            <a:chOff x="107610" y="1655596"/>
            <a:chExt cx="8741355" cy="4722158"/>
          </a:xfrm>
        </p:grpSpPr>
        <p:sp>
          <p:nvSpPr>
            <p:cNvPr id="100" name="Rectangle 99"/>
            <p:cNvSpPr/>
            <p:nvPr>
              <p:custDataLst>
                <p:tags r:id="rId2"/>
              </p:custDataLst>
            </p:nvPr>
          </p:nvSpPr>
          <p:spPr bwMode="gray">
            <a:xfrm>
              <a:off x="8157986" y="5004215"/>
              <a:ext cx="531523" cy="113591"/>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7" name="Rectangle 26"/>
            <p:cNvSpPr/>
            <p:nvPr>
              <p:custDataLst>
                <p:tags r:id="rId3"/>
              </p:custDataLst>
            </p:nvPr>
          </p:nvSpPr>
          <p:spPr bwMode="gray">
            <a:xfrm>
              <a:off x="6457114" y="3085720"/>
              <a:ext cx="531523" cy="1576394"/>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1" name="Rectangle 100"/>
            <p:cNvSpPr/>
            <p:nvPr>
              <p:custDataLst>
                <p:tags r:id="rId4"/>
              </p:custDataLst>
            </p:nvPr>
          </p:nvSpPr>
          <p:spPr bwMode="gray">
            <a:xfrm>
              <a:off x="4756244" y="4528960"/>
              <a:ext cx="531523" cy="588847"/>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27" name="Rectangle 226"/>
            <p:cNvSpPr/>
            <p:nvPr>
              <p:custDataLst>
                <p:tags r:id="rId5"/>
              </p:custDataLst>
            </p:nvPr>
          </p:nvSpPr>
          <p:spPr bwMode="gray">
            <a:xfrm>
              <a:off x="6457114" y="4662114"/>
              <a:ext cx="531523" cy="455692"/>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 name="Rectangle 1"/>
            <p:cNvSpPr/>
            <p:nvPr>
              <p:custDataLst>
                <p:tags r:id="rId6"/>
              </p:custDataLst>
            </p:nvPr>
          </p:nvSpPr>
          <p:spPr bwMode="gray">
            <a:xfrm>
              <a:off x="4756244" y="3402131"/>
              <a:ext cx="531523" cy="1126828"/>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7" name="Rectangle 6"/>
            <p:cNvSpPr/>
            <p:nvPr>
              <p:custDataLst>
                <p:tags r:id="rId7"/>
              </p:custDataLst>
            </p:nvPr>
          </p:nvSpPr>
          <p:spPr bwMode="gray">
            <a:xfrm>
              <a:off x="8157986" y="4104684"/>
              <a:ext cx="531523" cy="899531"/>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6" name="Rectangle 105"/>
            <p:cNvSpPr/>
            <p:nvPr>
              <p:custDataLst>
                <p:tags r:id="rId8"/>
              </p:custDataLst>
            </p:nvPr>
          </p:nvSpPr>
          <p:spPr bwMode="gray">
            <a:xfrm>
              <a:off x="3055372" y="4330374"/>
              <a:ext cx="531522" cy="787433"/>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29" name="Rectangle 228"/>
            <p:cNvSpPr/>
            <p:nvPr>
              <p:custDataLst>
                <p:tags r:id="rId9"/>
              </p:custDataLst>
            </p:nvPr>
          </p:nvSpPr>
          <p:spPr bwMode="gray">
            <a:xfrm>
              <a:off x="5606679" y="4589042"/>
              <a:ext cx="531523" cy="528765"/>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30" name="Rectangle 229"/>
            <p:cNvSpPr/>
            <p:nvPr>
              <p:custDataLst>
                <p:tags r:id="rId10"/>
              </p:custDataLst>
            </p:nvPr>
          </p:nvSpPr>
          <p:spPr bwMode="gray">
            <a:xfrm>
              <a:off x="7307551" y="4670846"/>
              <a:ext cx="531523" cy="446962"/>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9" name="Rectangle 98"/>
            <p:cNvSpPr/>
            <p:nvPr>
              <p:custDataLst>
                <p:tags r:id="rId11"/>
              </p:custDataLst>
            </p:nvPr>
          </p:nvSpPr>
          <p:spPr bwMode="gray">
            <a:xfrm>
              <a:off x="2204937" y="3926083"/>
              <a:ext cx="531522" cy="1191723"/>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3" name="Rectangle 102"/>
            <p:cNvSpPr/>
            <p:nvPr>
              <p:custDataLst>
                <p:tags r:id="rId12"/>
              </p:custDataLst>
            </p:nvPr>
          </p:nvSpPr>
          <p:spPr bwMode="gray">
            <a:xfrm>
              <a:off x="3905808" y="4524849"/>
              <a:ext cx="531523" cy="592959"/>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5" name="Rectangle 104"/>
            <p:cNvSpPr/>
            <p:nvPr>
              <p:custDataLst>
                <p:tags r:id="rId13"/>
              </p:custDataLst>
            </p:nvPr>
          </p:nvSpPr>
          <p:spPr bwMode="gray">
            <a:xfrm>
              <a:off x="1354501" y="3482948"/>
              <a:ext cx="531522" cy="1634858"/>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31" name="Rectangle 230"/>
            <p:cNvSpPr/>
            <p:nvPr>
              <p:custDataLst>
                <p:tags r:id="rId14"/>
              </p:custDataLst>
            </p:nvPr>
          </p:nvSpPr>
          <p:spPr bwMode="gray">
            <a:xfrm>
              <a:off x="7307551" y="3123127"/>
              <a:ext cx="531523" cy="1547720"/>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 name="Rectangle 9"/>
            <p:cNvSpPr/>
            <p:nvPr>
              <p:custDataLst>
                <p:tags r:id="rId15"/>
              </p:custDataLst>
            </p:nvPr>
          </p:nvSpPr>
          <p:spPr bwMode="gray">
            <a:xfrm>
              <a:off x="2204937" y="2502888"/>
              <a:ext cx="531522" cy="1423195"/>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32" name="Rectangle 231"/>
            <p:cNvSpPr/>
            <p:nvPr>
              <p:custDataLst>
                <p:tags r:id="rId16"/>
              </p:custDataLst>
            </p:nvPr>
          </p:nvSpPr>
          <p:spPr bwMode="gray">
            <a:xfrm>
              <a:off x="5606679" y="3211850"/>
              <a:ext cx="531523" cy="1377191"/>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 name="Rectangle 8"/>
            <p:cNvSpPr/>
            <p:nvPr>
              <p:custDataLst>
                <p:tags r:id="rId17"/>
              </p:custDataLst>
            </p:nvPr>
          </p:nvSpPr>
          <p:spPr bwMode="gray">
            <a:xfrm>
              <a:off x="1354501" y="2445610"/>
              <a:ext cx="531522" cy="1037339"/>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4" name="Rectangle 3"/>
            <p:cNvSpPr/>
            <p:nvPr>
              <p:custDataLst>
                <p:tags r:id="rId18"/>
              </p:custDataLst>
            </p:nvPr>
          </p:nvSpPr>
          <p:spPr bwMode="gray">
            <a:xfrm>
              <a:off x="3905808" y="3126379"/>
              <a:ext cx="531523" cy="1398469"/>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8" name="Rectangle 7"/>
            <p:cNvSpPr/>
            <p:nvPr>
              <p:custDataLst>
                <p:tags r:id="rId19"/>
              </p:custDataLst>
            </p:nvPr>
          </p:nvSpPr>
          <p:spPr bwMode="gray">
            <a:xfrm>
              <a:off x="3055372" y="2730120"/>
              <a:ext cx="531522" cy="1600253"/>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cxnSp>
          <p:nvCxnSpPr>
            <p:cNvPr id="24" name="Straight Connector 23"/>
            <p:cNvCxnSpPr/>
            <p:nvPr>
              <p:custDataLst>
                <p:tags r:id="rId20"/>
              </p:custDataLst>
            </p:nvPr>
          </p:nvCxnSpPr>
          <p:spPr bwMode="gray">
            <a:xfrm>
              <a:off x="1195044" y="5117807"/>
              <a:ext cx="7653921"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custDataLst>
                <p:tags r:id="rId21"/>
              </p:custDataLst>
            </p:nvPr>
          </p:nvCxnSpPr>
          <p:spPr bwMode="gray">
            <a:xfrm flipV="1">
              <a:off x="1195044" y="2278889"/>
              <a:ext cx="0" cy="2838918"/>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custDataLst>
                <p:tags r:id="rId22"/>
              </p:custDataLst>
            </p:nvPr>
          </p:nvCxnSpPr>
          <p:spPr bwMode="gray">
            <a:xfrm flipH="1">
              <a:off x="1144244" y="3698348"/>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custDataLst>
                <p:tags r:id="rId23"/>
              </p:custDataLst>
            </p:nvPr>
          </p:nvCxnSpPr>
          <p:spPr bwMode="gray">
            <a:xfrm flipH="1">
              <a:off x="1144244" y="4266132"/>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custDataLst>
                <p:tags r:id="rId24"/>
              </p:custDataLst>
            </p:nvPr>
          </p:nvCxnSpPr>
          <p:spPr bwMode="gray">
            <a:xfrm flipH="1">
              <a:off x="1144244" y="455002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custDataLst>
                <p:tags r:id="rId25"/>
              </p:custDataLst>
            </p:nvPr>
          </p:nvCxnSpPr>
          <p:spPr bwMode="gray">
            <a:xfrm flipH="1">
              <a:off x="1144244" y="4833915"/>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custDataLst>
                <p:tags r:id="rId26"/>
              </p:custDataLst>
            </p:nvPr>
          </p:nvCxnSpPr>
          <p:spPr bwMode="gray">
            <a:xfrm flipH="1">
              <a:off x="1144244" y="3982240"/>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24" name="Straight Connector 223"/>
            <p:cNvCxnSpPr/>
            <p:nvPr>
              <p:custDataLst>
                <p:tags r:id="rId27"/>
              </p:custDataLst>
            </p:nvPr>
          </p:nvCxnSpPr>
          <p:spPr bwMode="gray">
            <a:xfrm flipH="1">
              <a:off x="1144244" y="5117807"/>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25" name="Straight Connector 224"/>
            <p:cNvCxnSpPr/>
            <p:nvPr>
              <p:custDataLst>
                <p:tags r:id="rId28"/>
              </p:custDataLst>
            </p:nvPr>
          </p:nvCxnSpPr>
          <p:spPr bwMode="gray">
            <a:xfrm flipH="1">
              <a:off x="1144244" y="313056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26" name="Straight Connector 225"/>
            <p:cNvCxnSpPr/>
            <p:nvPr>
              <p:custDataLst>
                <p:tags r:id="rId29"/>
              </p:custDataLst>
            </p:nvPr>
          </p:nvCxnSpPr>
          <p:spPr bwMode="gray">
            <a:xfrm flipH="1">
              <a:off x="1144244" y="2846672"/>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28" name="Straight Connector 227"/>
            <p:cNvCxnSpPr/>
            <p:nvPr>
              <p:custDataLst>
                <p:tags r:id="rId30"/>
              </p:custDataLst>
            </p:nvPr>
          </p:nvCxnSpPr>
          <p:spPr bwMode="gray">
            <a:xfrm flipH="1">
              <a:off x="1144244" y="2562781"/>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33" name="Straight Connector 232"/>
            <p:cNvCxnSpPr/>
            <p:nvPr>
              <p:custDataLst>
                <p:tags r:id="rId31"/>
              </p:custDataLst>
            </p:nvPr>
          </p:nvCxnSpPr>
          <p:spPr bwMode="gray">
            <a:xfrm flipH="1">
              <a:off x="1144244" y="227888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34" name="Straight Connector 233"/>
            <p:cNvCxnSpPr/>
            <p:nvPr>
              <p:custDataLst>
                <p:tags r:id="rId32"/>
              </p:custDataLst>
            </p:nvPr>
          </p:nvCxnSpPr>
          <p:spPr bwMode="gray">
            <a:xfrm flipH="1">
              <a:off x="1144244" y="3414456"/>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97" name="TextBox 196"/>
            <p:cNvSpPr txBox="1"/>
            <p:nvPr>
              <p:custDataLst>
                <p:tags r:id="rId33"/>
              </p:custDataLst>
            </p:nvPr>
          </p:nvSpPr>
          <p:spPr bwMode="gray">
            <a:xfrm>
              <a:off x="836421" y="4467289"/>
              <a:ext cx="307675" cy="165469"/>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20%</a:t>
              </a:r>
              <a:endParaRPr lang="en-US" sz="1050">
                <a:effectLst/>
                <a:latin typeface="Arial"/>
              </a:endParaRPr>
            </a:p>
          </p:txBody>
        </p:sp>
        <p:sp>
          <p:nvSpPr>
            <p:cNvPr id="204" name="TextBox 203"/>
            <p:cNvSpPr txBox="1"/>
            <p:nvPr>
              <p:custDataLst>
                <p:tags r:id="rId34"/>
              </p:custDataLst>
            </p:nvPr>
          </p:nvSpPr>
          <p:spPr bwMode="gray">
            <a:xfrm>
              <a:off x="759674" y="2196155"/>
              <a:ext cx="384422" cy="165469"/>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0%</a:t>
              </a:r>
              <a:endParaRPr lang="en-US" sz="1050">
                <a:effectLst/>
                <a:latin typeface="Arial"/>
              </a:endParaRPr>
            </a:p>
          </p:txBody>
        </p:sp>
        <p:sp>
          <p:nvSpPr>
            <p:cNvPr id="199" name="TextBox 198"/>
            <p:cNvSpPr txBox="1"/>
            <p:nvPr>
              <p:custDataLst>
                <p:tags r:id="rId35"/>
              </p:custDataLst>
            </p:nvPr>
          </p:nvSpPr>
          <p:spPr bwMode="gray">
            <a:xfrm>
              <a:off x="911308" y="5035072"/>
              <a:ext cx="232788" cy="165469"/>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0%</a:t>
              </a:r>
              <a:endParaRPr lang="en-US" sz="1050">
                <a:effectLst/>
                <a:latin typeface="Arial"/>
              </a:endParaRPr>
            </a:p>
          </p:txBody>
        </p:sp>
        <p:sp>
          <p:nvSpPr>
            <p:cNvPr id="198" name="TextBox 197"/>
            <p:cNvSpPr txBox="1"/>
            <p:nvPr>
              <p:custDataLst>
                <p:tags r:id="rId36"/>
              </p:custDataLst>
            </p:nvPr>
          </p:nvSpPr>
          <p:spPr bwMode="gray">
            <a:xfrm>
              <a:off x="836421" y="4751180"/>
              <a:ext cx="307675" cy="165469"/>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a:t>
              </a:r>
              <a:endParaRPr lang="en-US" sz="1050">
                <a:effectLst/>
                <a:latin typeface="Arial"/>
              </a:endParaRPr>
            </a:p>
          </p:txBody>
        </p:sp>
        <p:sp>
          <p:nvSpPr>
            <p:cNvPr id="203" name="TextBox 202"/>
            <p:cNvSpPr txBox="1"/>
            <p:nvPr>
              <p:custDataLst>
                <p:tags r:id="rId37"/>
              </p:custDataLst>
            </p:nvPr>
          </p:nvSpPr>
          <p:spPr bwMode="gray">
            <a:xfrm>
              <a:off x="836421" y="2480047"/>
              <a:ext cx="307675" cy="165469"/>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90%</a:t>
              </a:r>
              <a:endParaRPr lang="en-US" sz="1050">
                <a:effectLst/>
                <a:latin typeface="Arial"/>
              </a:endParaRPr>
            </a:p>
          </p:txBody>
        </p:sp>
        <p:sp>
          <p:nvSpPr>
            <p:cNvPr id="201" name="TextBox 200"/>
            <p:cNvSpPr txBox="1"/>
            <p:nvPr>
              <p:custDataLst>
                <p:tags r:id="rId38"/>
              </p:custDataLst>
            </p:nvPr>
          </p:nvSpPr>
          <p:spPr bwMode="gray">
            <a:xfrm>
              <a:off x="836421" y="3331721"/>
              <a:ext cx="307675" cy="165469"/>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60%</a:t>
              </a:r>
              <a:endParaRPr lang="en-US" sz="1050" dirty="0">
                <a:effectLst/>
                <a:latin typeface="Arial"/>
              </a:endParaRPr>
            </a:p>
          </p:txBody>
        </p:sp>
        <p:sp>
          <p:nvSpPr>
            <p:cNvPr id="207" name="TextBox 206"/>
            <p:cNvSpPr txBox="1"/>
            <p:nvPr>
              <p:custDataLst>
                <p:tags r:id="rId39"/>
              </p:custDataLst>
            </p:nvPr>
          </p:nvSpPr>
          <p:spPr bwMode="gray">
            <a:xfrm>
              <a:off x="836421" y="3899505"/>
              <a:ext cx="307675" cy="165469"/>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40%</a:t>
              </a:r>
              <a:endParaRPr lang="en-US" sz="1050">
                <a:effectLst/>
                <a:latin typeface="Arial"/>
              </a:endParaRPr>
            </a:p>
          </p:txBody>
        </p:sp>
        <p:sp>
          <p:nvSpPr>
            <p:cNvPr id="206" name="TextBox 205"/>
            <p:cNvSpPr txBox="1"/>
            <p:nvPr>
              <p:custDataLst>
                <p:tags r:id="rId40"/>
              </p:custDataLst>
            </p:nvPr>
          </p:nvSpPr>
          <p:spPr bwMode="gray">
            <a:xfrm>
              <a:off x="836421" y="3615613"/>
              <a:ext cx="307675" cy="165469"/>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50%</a:t>
              </a:r>
              <a:endParaRPr lang="en-US" sz="1050" dirty="0">
                <a:effectLst/>
                <a:latin typeface="Arial"/>
              </a:endParaRPr>
            </a:p>
          </p:txBody>
        </p:sp>
        <p:sp>
          <p:nvSpPr>
            <p:cNvPr id="202" name="TextBox 201"/>
            <p:cNvSpPr txBox="1"/>
            <p:nvPr>
              <p:custDataLst>
                <p:tags r:id="rId41"/>
              </p:custDataLst>
            </p:nvPr>
          </p:nvSpPr>
          <p:spPr bwMode="gray">
            <a:xfrm>
              <a:off x="836421" y="2763937"/>
              <a:ext cx="307675" cy="165469"/>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80%</a:t>
              </a:r>
              <a:endParaRPr lang="en-US" sz="1050">
                <a:effectLst/>
                <a:latin typeface="Arial"/>
              </a:endParaRPr>
            </a:p>
          </p:txBody>
        </p:sp>
        <p:sp>
          <p:nvSpPr>
            <p:cNvPr id="205" name="TextBox 204"/>
            <p:cNvSpPr txBox="1"/>
            <p:nvPr>
              <p:custDataLst>
                <p:tags r:id="rId42"/>
              </p:custDataLst>
            </p:nvPr>
          </p:nvSpPr>
          <p:spPr bwMode="gray">
            <a:xfrm>
              <a:off x="836421" y="4183397"/>
              <a:ext cx="307675" cy="165469"/>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30%</a:t>
              </a:r>
              <a:endParaRPr lang="en-US" sz="1050">
                <a:effectLst/>
                <a:latin typeface="Arial"/>
              </a:endParaRPr>
            </a:p>
          </p:txBody>
        </p:sp>
        <p:sp>
          <p:nvSpPr>
            <p:cNvPr id="200" name="TextBox 199"/>
            <p:cNvSpPr txBox="1"/>
            <p:nvPr>
              <p:custDataLst>
                <p:tags r:id="rId43"/>
              </p:custDataLst>
            </p:nvPr>
          </p:nvSpPr>
          <p:spPr bwMode="gray">
            <a:xfrm>
              <a:off x="836421" y="3047829"/>
              <a:ext cx="307675" cy="165469"/>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70%</a:t>
              </a:r>
              <a:endParaRPr lang="en-US" sz="1050" dirty="0">
                <a:effectLst/>
                <a:latin typeface="Arial"/>
              </a:endParaRPr>
            </a:p>
          </p:txBody>
        </p:sp>
        <p:sp>
          <p:nvSpPr>
            <p:cNvPr id="68" name="TextBox 67"/>
            <p:cNvSpPr txBox="1"/>
            <p:nvPr>
              <p:custDataLst>
                <p:tags r:id="rId44"/>
              </p:custDataLst>
            </p:nvPr>
          </p:nvSpPr>
          <p:spPr bwMode="gray">
            <a:xfrm>
              <a:off x="107610" y="1655596"/>
              <a:ext cx="1129133"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r>
                <a:rPr lang="en-US" sz="1050" dirty="0" smtClean="0">
                  <a:effectLst/>
                  <a:latin typeface="Arial"/>
                </a:rPr>
                <a:t>% Selected</a:t>
              </a:r>
            </a:p>
            <a:p>
              <a:r>
                <a:rPr lang="en-US" sz="1050" dirty="0" smtClean="0">
                  <a:effectLst/>
                  <a:latin typeface="Arial"/>
                </a:rPr>
                <a:t>"Widespread Use" </a:t>
              </a:r>
            </a:p>
            <a:p>
              <a:r>
                <a:rPr lang="en-US" sz="1050" dirty="0" smtClean="0">
                  <a:effectLst/>
                  <a:latin typeface="Arial"/>
                </a:rPr>
                <a:t>or "Limited Use"</a:t>
              </a:r>
              <a:endParaRPr lang="en-US" sz="1050" dirty="0">
                <a:effectLst/>
                <a:latin typeface="Arial"/>
              </a:endParaRPr>
            </a:p>
          </p:txBody>
        </p:sp>
        <p:sp>
          <p:nvSpPr>
            <p:cNvPr id="213" name="TextBox 212"/>
            <p:cNvSpPr txBox="1"/>
            <p:nvPr>
              <p:custDataLst>
                <p:tags r:id="rId45"/>
              </p:custDataLst>
            </p:nvPr>
          </p:nvSpPr>
          <p:spPr bwMode="gray">
            <a:xfrm>
              <a:off x="8120201" y="5181307"/>
              <a:ext cx="607092" cy="33093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Virtual</a:t>
              </a:r>
            </a:p>
            <a:p>
              <a:pPr algn="ctr"/>
              <a:r>
                <a:rPr lang="en-US" sz="1050" smtClean="0">
                  <a:effectLst/>
                  <a:latin typeface="Arial"/>
                </a:rPr>
                <a:t>Coaching</a:t>
              </a:r>
              <a:endParaRPr lang="en-US" sz="1050" dirty="0">
                <a:effectLst/>
                <a:latin typeface="Arial"/>
              </a:endParaRPr>
            </a:p>
          </p:txBody>
        </p:sp>
        <p:sp>
          <p:nvSpPr>
            <p:cNvPr id="212" name="TextBox 211"/>
            <p:cNvSpPr txBox="1"/>
            <p:nvPr>
              <p:custDataLst>
                <p:tags r:id="rId46"/>
              </p:custDataLst>
            </p:nvPr>
          </p:nvSpPr>
          <p:spPr bwMode="gray">
            <a:xfrm>
              <a:off x="4700902" y="5181307"/>
              <a:ext cx="642205" cy="33093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Academic</a:t>
              </a:r>
            </a:p>
            <a:p>
              <a:pPr algn="ctr"/>
              <a:r>
                <a:rPr lang="en-US" sz="1050" smtClean="0">
                  <a:effectLst/>
                  <a:latin typeface="Arial"/>
                </a:rPr>
                <a:t>Tutoring</a:t>
              </a:r>
              <a:endParaRPr lang="en-US" sz="1050" dirty="0">
                <a:effectLst/>
                <a:latin typeface="Arial"/>
              </a:endParaRPr>
            </a:p>
          </p:txBody>
        </p:sp>
        <p:sp>
          <p:nvSpPr>
            <p:cNvPr id="247" name="TextBox 246"/>
            <p:cNvSpPr txBox="1"/>
            <p:nvPr>
              <p:custDataLst>
                <p:tags r:id="rId47"/>
              </p:custDataLst>
            </p:nvPr>
          </p:nvSpPr>
          <p:spPr bwMode="gray">
            <a:xfrm>
              <a:off x="6250949" y="5181307"/>
              <a:ext cx="943854" cy="82734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Connecting</a:t>
              </a:r>
            </a:p>
            <a:p>
              <a:pPr algn="ctr"/>
              <a:r>
                <a:rPr lang="en-US" sz="1050" smtClean="0">
                  <a:effectLst/>
                  <a:latin typeface="Arial"/>
                </a:rPr>
                <a:t>Students to</a:t>
              </a:r>
            </a:p>
            <a:p>
              <a:pPr algn="ctr"/>
              <a:r>
                <a:rPr lang="en-US" sz="1050" smtClean="0">
                  <a:effectLst/>
                  <a:latin typeface="Arial"/>
                </a:rPr>
                <a:t>Various</a:t>
              </a:r>
            </a:p>
            <a:p>
              <a:pPr algn="ctr"/>
              <a:r>
                <a:rPr lang="en-US" sz="1050" smtClean="0">
                  <a:effectLst/>
                  <a:latin typeface="Arial"/>
                </a:rPr>
                <a:t>Supplementary</a:t>
              </a:r>
            </a:p>
            <a:p>
              <a:pPr algn="ctr"/>
              <a:r>
                <a:rPr lang="en-US" sz="1050" smtClean="0">
                  <a:effectLst/>
                  <a:latin typeface="Arial"/>
                </a:rPr>
                <a:t>Resources</a:t>
              </a:r>
              <a:endParaRPr lang="en-US" sz="1050">
                <a:effectLst/>
                <a:latin typeface="Arial"/>
              </a:endParaRPr>
            </a:p>
          </p:txBody>
        </p:sp>
        <p:sp>
          <p:nvSpPr>
            <p:cNvPr id="208" name="TextBox 207"/>
            <p:cNvSpPr txBox="1"/>
            <p:nvPr>
              <p:custDataLst>
                <p:tags r:id="rId48"/>
              </p:custDataLst>
            </p:nvPr>
          </p:nvSpPr>
          <p:spPr bwMode="gray">
            <a:xfrm>
              <a:off x="3921573" y="5181307"/>
              <a:ext cx="499991"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Tutor/</a:t>
              </a:r>
            </a:p>
            <a:p>
              <a:pPr algn="ctr"/>
              <a:r>
                <a:rPr lang="en-US" sz="1050" smtClean="0">
                  <a:effectLst/>
                  <a:latin typeface="Arial"/>
                </a:rPr>
                <a:t>Advisor</a:t>
              </a:r>
            </a:p>
            <a:p>
              <a:pPr algn="ctr"/>
              <a:r>
                <a:rPr lang="en-US" sz="1050" smtClean="0">
                  <a:effectLst/>
                  <a:latin typeface="Arial"/>
                </a:rPr>
                <a:t>Mgmt</a:t>
              </a:r>
              <a:endParaRPr lang="en-US" sz="1050" dirty="0">
                <a:effectLst/>
                <a:latin typeface="Arial"/>
              </a:endParaRPr>
            </a:p>
          </p:txBody>
        </p:sp>
        <p:sp>
          <p:nvSpPr>
            <p:cNvPr id="214" name="TextBox 213"/>
            <p:cNvSpPr txBox="1"/>
            <p:nvPr>
              <p:custDataLst>
                <p:tags r:id="rId49"/>
              </p:custDataLst>
            </p:nvPr>
          </p:nvSpPr>
          <p:spPr bwMode="gray">
            <a:xfrm>
              <a:off x="7098973" y="5181307"/>
              <a:ext cx="948679" cy="496407"/>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Assessment of</a:t>
              </a:r>
            </a:p>
            <a:p>
              <a:pPr algn="ctr"/>
              <a:r>
                <a:rPr lang="en-US" sz="1050" smtClean="0">
                  <a:effectLst/>
                  <a:latin typeface="Arial"/>
                </a:rPr>
                <a:t>Student</a:t>
              </a:r>
            </a:p>
            <a:p>
              <a:pPr algn="ctr"/>
              <a:r>
                <a:rPr lang="en-US" sz="1050" smtClean="0">
                  <a:effectLst/>
                  <a:latin typeface="Arial"/>
                </a:rPr>
                <a:t>Engagement</a:t>
              </a:r>
              <a:endParaRPr lang="en-US" sz="1050">
                <a:effectLst/>
                <a:latin typeface="Arial"/>
              </a:endParaRPr>
            </a:p>
          </p:txBody>
        </p:sp>
        <p:sp>
          <p:nvSpPr>
            <p:cNvPr id="210" name="TextBox 209"/>
            <p:cNvSpPr txBox="1"/>
            <p:nvPr>
              <p:custDataLst>
                <p:tags r:id="rId50"/>
              </p:custDataLst>
            </p:nvPr>
          </p:nvSpPr>
          <p:spPr bwMode="gray">
            <a:xfrm>
              <a:off x="1316749" y="5181307"/>
              <a:ext cx="607026" cy="80791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Course </a:t>
              </a:r>
            </a:p>
            <a:p>
              <a:pPr algn="ctr"/>
              <a:r>
                <a:rPr lang="en-US" sz="1050" smtClean="0">
                  <a:effectLst/>
                  <a:latin typeface="Arial"/>
                </a:rPr>
                <a:t>Planning</a:t>
              </a:r>
            </a:p>
            <a:p>
              <a:pPr algn="ctr"/>
              <a:r>
                <a:rPr lang="en-US" sz="1050" smtClean="0">
                  <a:effectLst/>
                  <a:latin typeface="Arial"/>
                </a:rPr>
                <a:t>&amp; Degree</a:t>
              </a:r>
            </a:p>
            <a:p>
              <a:pPr algn="ctr"/>
              <a:r>
                <a:rPr lang="en-US" sz="1050" smtClean="0">
                  <a:effectLst/>
                  <a:latin typeface="Arial"/>
                </a:rPr>
                <a:t>Tracking/</a:t>
              </a:r>
            </a:p>
            <a:p>
              <a:pPr algn="ctr"/>
              <a:r>
                <a:rPr lang="en-US" sz="1050" smtClean="0">
                  <a:effectLst/>
                  <a:latin typeface="Arial"/>
                </a:rPr>
                <a:t>Auditing</a:t>
              </a:r>
              <a:endParaRPr lang="en-US" sz="1050" dirty="0">
                <a:effectLst/>
                <a:latin typeface="Arial"/>
              </a:endParaRPr>
            </a:p>
          </p:txBody>
        </p:sp>
        <p:sp>
          <p:nvSpPr>
            <p:cNvPr id="215" name="TextBox 214"/>
            <p:cNvSpPr txBox="1"/>
            <p:nvPr>
              <p:custDataLst>
                <p:tags r:id="rId51"/>
              </p:custDataLst>
            </p:nvPr>
          </p:nvSpPr>
          <p:spPr bwMode="gray">
            <a:xfrm>
              <a:off x="5442755" y="5181307"/>
              <a:ext cx="859371" cy="661877"/>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Automation &amp;</a:t>
              </a:r>
            </a:p>
            <a:p>
              <a:pPr algn="ctr"/>
              <a:r>
                <a:rPr lang="en-US" sz="1050" smtClean="0">
                  <a:effectLst/>
                  <a:latin typeface="Arial"/>
                </a:rPr>
                <a:t>Facilitation of</a:t>
              </a:r>
            </a:p>
            <a:p>
              <a:pPr algn="ctr"/>
              <a:r>
                <a:rPr lang="en-US" sz="1050" smtClean="0">
                  <a:effectLst/>
                  <a:latin typeface="Arial"/>
                </a:rPr>
                <a:t>Transfer </a:t>
              </a:r>
            </a:p>
            <a:p>
              <a:pPr algn="ctr"/>
              <a:r>
                <a:rPr lang="en-US" sz="1050" smtClean="0">
                  <a:effectLst/>
                  <a:latin typeface="Arial"/>
                </a:rPr>
                <a:t>Credits</a:t>
              </a:r>
              <a:endParaRPr lang="en-US" sz="1050" dirty="0">
                <a:effectLst/>
                <a:latin typeface="Arial"/>
              </a:endParaRPr>
            </a:p>
          </p:txBody>
        </p:sp>
        <p:sp>
          <p:nvSpPr>
            <p:cNvPr id="216" name="TextBox 215"/>
            <p:cNvSpPr txBox="1"/>
            <p:nvPr>
              <p:custDataLst>
                <p:tags r:id="rId52"/>
              </p:custDataLst>
            </p:nvPr>
          </p:nvSpPr>
          <p:spPr bwMode="gray">
            <a:xfrm>
              <a:off x="2112184" y="5181307"/>
              <a:ext cx="717026" cy="33093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Analytics &amp;</a:t>
              </a:r>
            </a:p>
            <a:p>
              <a:pPr algn="ctr"/>
              <a:r>
                <a:rPr lang="en-US" sz="1050" smtClean="0">
                  <a:effectLst/>
                  <a:latin typeface="Arial"/>
                </a:rPr>
                <a:t>Reporting</a:t>
              </a:r>
              <a:endParaRPr lang="en-US" sz="1050" dirty="0">
                <a:effectLst/>
                <a:latin typeface="Arial"/>
              </a:endParaRPr>
            </a:p>
          </p:txBody>
        </p:sp>
        <p:sp>
          <p:nvSpPr>
            <p:cNvPr id="209" name="TextBox 208"/>
            <p:cNvSpPr txBox="1"/>
            <p:nvPr>
              <p:custDataLst>
                <p:tags r:id="rId53"/>
              </p:custDataLst>
            </p:nvPr>
          </p:nvSpPr>
          <p:spPr bwMode="gray">
            <a:xfrm>
              <a:off x="2924028" y="5181307"/>
              <a:ext cx="794211" cy="496407"/>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Identification </a:t>
              </a:r>
            </a:p>
            <a:p>
              <a:pPr algn="ctr"/>
              <a:r>
                <a:rPr lang="en-US" sz="1050" smtClean="0">
                  <a:effectLst/>
                  <a:latin typeface="Arial"/>
                </a:rPr>
                <a:t>of at-risk</a:t>
              </a:r>
            </a:p>
            <a:p>
              <a:pPr algn="ctr"/>
              <a:r>
                <a:rPr lang="en-US" sz="1050" smtClean="0">
                  <a:effectLst/>
                  <a:latin typeface="Arial"/>
                </a:rPr>
                <a:t>Students</a:t>
              </a:r>
              <a:endParaRPr lang="en-US" sz="1050" dirty="0">
                <a:effectLst/>
                <a:latin typeface="Arial"/>
              </a:endParaRPr>
            </a:p>
          </p:txBody>
        </p:sp>
        <p:sp>
          <p:nvSpPr>
            <p:cNvPr id="248" name="TextBox 247"/>
            <p:cNvSpPr txBox="1"/>
            <p:nvPr>
              <p:custDataLst>
                <p:tags r:id="rId54"/>
              </p:custDataLst>
            </p:nvPr>
          </p:nvSpPr>
          <p:spPr bwMode="gray">
            <a:xfrm>
              <a:off x="6569039" y="3793126"/>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6%</a:t>
              </a:r>
              <a:endParaRPr lang="en-US" sz="1050">
                <a:solidFill>
                  <a:schemeClr val="bg1"/>
                </a:solidFill>
                <a:effectLst/>
                <a:latin typeface="Arial"/>
              </a:endParaRPr>
            </a:p>
          </p:txBody>
        </p:sp>
        <p:sp>
          <p:nvSpPr>
            <p:cNvPr id="268" name="TextBox 267"/>
            <p:cNvSpPr txBox="1"/>
            <p:nvPr>
              <p:custDataLst>
                <p:tags r:id="rId55"/>
              </p:custDataLst>
            </p:nvPr>
          </p:nvSpPr>
          <p:spPr bwMode="gray">
            <a:xfrm>
              <a:off x="2316860" y="313369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0%</a:t>
              </a:r>
              <a:endParaRPr lang="en-US" sz="1050" dirty="0">
                <a:solidFill>
                  <a:schemeClr val="bg1"/>
                </a:solidFill>
                <a:effectLst/>
                <a:latin typeface="Arial"/>
              </a:endParaRPr>
            </a:p>
          </p:txBody>
        </p:sp>
        <p:sp>
          <p:nvSpPr>
            <p:cNvPr id="249" name="TextBox 248"/>
            <p:cNvSpPr txBox="1"/>
            <p:nvPr>
              <p:custDataLst>
                <p:tags r:id="rId56"/>
              </p:custDataLst>
            </p:nvPr>
          </p:nvSpPr>
          <p:spPr bwMode="gray">
            <a:xfrm>
              <a:off x="5718603" y="4772633"/>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9%</a:t>
              </a:r>
              <a:endParaRPr lang="en-US" sz="1050">
                <a:solidFill>
                  <a:schemeClr val="bg1"/>
                </a:solidFill>
                <a:effectLst/>
                <a:latin typeface="Arial"/>
              </a:endParaRPr>
            </a:p>
          </p:txBody>
        </p:sp>
        <p:sp>
          <p:nvSpPr>
            <p:cNvPr id="129" name="TextBox 128"/>
            <p:cNvSpPr txBox="1"/>
            <p:nvPr>
              <p:custDataLst>
                <p:tags r:id="rId57"/>
              </p:custDataLst>
            </p:nvPr>
          </p:nvSpPr>
          <p:spPr bwMode="gray">
            <a:xfrm>
              <a:off x="2316860" y="444115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42%</a:t>
              </a:r>
              <a:endParaRPr lang="en-US" sz="1050">
                <a:solidFill>
                  <a:schemeClr val="bg1"/>
                </a:solidFill>
                <a:effectLst/>
                <a:latin typeface="Arial"/>
              </a:endParaRPr>
            </a:p>
          </p:txBody>
        </p:sp>
        <p:sp>
          <p:nvSpPr>
            <p:cNvPr id="128" name="TextBox 127"/>
            <p:cNvSpPr txBox="1"/>
            <p:nvPr>
              <p:custDataLst>
                <p:tags r:id="rId58"/>
              </p:custDataLst>
            </p:nvPr>
          </p:nvSpPr>
          <p:spPr bwMode="gray">
            <a:xfrm>
              <a:off x="1466425" y="4219586"/>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8%</a:t>
              </a:r>
              <a:endParaRPr lang="en-US" sz="1050">
                <a:solidFill>
                  <a:schemeClr val="bg1"/>
                </a:solidFill>
                <a:effectLst/>
                <a:latin typeface="Arial"/>
              </a:endParaRPr>
            </a:p>
          </p:txBody>
        </p:sp>
        <p:sp>
          <p:nvSpPr>
            <p:cNvPr id="256" name="TextBox 255"/>
            <p:cNvSpPr txBox="1"/>
            <p:nvPr>
              <p:custDataLst>
                <p:tags r:id="rId59"/>
              </p:custDataLst>
            </p:nvPr>
          </p:nvSpPr>
          <p:spPr bwMode="gray">
            <a:xfrm>
              <a:off x="8269910" y="4473658"/>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2%</a:t>
              </a:r>
              <a:endParaRPr lang="en-US" sz="1050">
                <a:solidFill>
                  <a:schemeClr val="bg1"/>
                </a:solidFill>
                <a:effectLst/>
                <a:latin typeface="Arial"/>
              </a:endParaRPr>
            </a:p>
          </p:txBody>
        </p:sp>
        <p:sp>
          <p:nvSpPr>
            <p:cNvPr id="250" name="TextBox 249"/>
            <p:cNvSpPr txBox="1"/>
            <p:nvPr>
              <p:custDataLst>
                <p:tags r:id="rId60"/>
              </p:custDataLst>
            </p:nvPr>
          </p:nvSpPr>
          <p:spPr bwMode="gray">
            <a:xfrm>
              <a:off x="5718603" y="3819655"/>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49%</a:t>
              </a:r>
              <a:endParaRPr lang="en-US" sz="1050">
                <a:solidFill>
                  <a:schemeClr val="bg1"/>
                </a:solidFill>
                <a:effectLst/>
                <a:latin typeface="Arial"/>
              </a:endParaRPr>
            </a:p>
          </p:txBody>
        </p:sp>
        <p:sp>
          <p:nvSpPr>
            <p:cNvPr id="270" name="TextBox 269"/>
            <p:cNvSpPr txBox="1"/>
            <p:nvPr>
              <p:custDataLst>
                <p:tags r:id="rId61"/>
              </p:custDataLst>
            </p:nvPr>
          </p:nvSpPr>
          <p:spPr bwMode="gray">
            <a:xfrm>
              <a:off x="3167296" y="3449455"/>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6%</a:t>
              </a:r>
              <a:endParaRPr lang="en-US" sz="1050">
                <a:solidFill>
                  <a:schemeClr val="bg1"/>
                </a:solidFill>
                <a:effectLst/>
                <a:latin typeface="Arial"/>
              </a:endParaRPr>
            </a:p>
          </p:txBody>
        </p:sp>
        <p:sp>
          <p:nvSpPr>
            <p:cNvPr id="251" name="TextBox 250"/>
            <p:cNvSpPr txBox="1"/>
            <p:nvPr>
              <p:custDataLst>
                <p:tags r:id="rId62"/>
              </p:custDataLst>
            </p:nvPr>
          </p:nvSpPr>
          <p:spPr bwMode="gray">
            <a:xfrm>
              <a:off x="7419475" y="3816195"/>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5%</a:t>
              </a:r>
              <a:endParaRPr lang="en-US" sz="1050">
                <a:solidFill>
                  <a:schemeClr val="bg1"/>
                </a:solidFill>
                <a:effectLst/>
                <a:latin typeface="Arial"/>
              </a:endParaRPr>
            </a:p>
          </p:txBody>
        </p:sp>
        <p:sp>
          <p:nvSpPr>
            <p:cNvPr id="264" name="TextBox 263"/>
            <p:cNvSpPr txBox="1"/>
            <p:nvPr>
              <p:custDataLst>
                <p:tags r:id="rId63"/>
              </p:custDataLst>
            </p:nvPr>
          </p:nvSpPr>
          <p:spPr bwMode="gray">
            <a:xfrm>
              <a:off x="1466425" y="2883488"/>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7%</a:t>
              </a:r>
              <a:endParaRPr lang="en-US" sz="1050">
                <a:solidFill>
                  <a:schemeClr val="bg1"/>
                </a:solidFill>
                <a:effectLst/>
                <a:latin typeface="Arial"/>
              </a:endParaRPr>
            </a:p>
          </p:txBody>
        </p:sp>
        <p:sp>
          <p:nvSpPr>
            <p:cNvPr id="259" name="TextBox 258"/>
            <p:cNvSpPr txBox="1"/>
            <p:nvPr>
              <p:custDataLst>
                <p:tags r:id="rId64"/>
              </p:custDataLst>
            </p:nvPr>
          </p:nvSpPr>
          <p:spPr bwMode="gray">
            <a:xfrm>
              <a:off x="4868167" y="388475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40%</a:t>
              </a:r>
              <a:endParaRPr lang="en-US" sz="1050">
                <a:solidFill>
                  <a:schemeClr val="bg1"/>
                </a:solidFill>
                <a:effectLst/>
                <a:latin typeface="Arial"/>
              </a:endParaRPr>
            </a:p>
          </p:txBody>
        </p:sp>
        <p:sp>
          <p:nvSpPr>
            <p:cNvPr id="271" name="TextBox 270"/>
            <p:cNvSpPr txBox="1"/>
            <p:nvPr>
              <p:custDataLst>
                <p:tags r:id="rId65"/>
              </p:custDataLst>
            </p:nvPr>
          </p:nvSpPr>
          <p:spPr bwMode="gray">
            <a:xfrm>
              <a:off x="4017732" y="3744822"/>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49%</a:t>
              </a:r>
              <a:endParaRPr lang="en-US" sz="1050">
                <a:solidFill>
                  <a:schemeClr val="bg1"/>
                </a:solidFill>
                <a:effectLst/>
                <a:latin typeface="Arial"/>
              </a:endParaRPr>
            </a:p>
          </p:txBody>
        </p:sp>
        <p:sp>
          <p:nvSpPr>
            <p:cNvPr id="252" name="TextBox 251"/>
            <p:cNvSpPr txBox="1"/>
            <p:nvPr>
              <p:custDataLst>
                <p:tags r:id="rId66"/>
              </p:custDataLst>
            </p:nvPr>
          </p:nvSpPr>
          <p:spPr bwMode="gray">
            <a:xfrm>
              <a:off x="7419475" y="481353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6%</a:t>
              </a:r>
              <a:endParaRPr lang="en-US" sz="1050">
                <a:solidFill>
                  <a:schemeClr val="bg1"/>
                </a:solidFill>
                <a:effectLst/>
                <a:latin typeface="Arial"/>
              </a:endParaRPr>
            </a:p>
          </p:txBody>
        </p:sp>
        <p:sp>
          <p:nvSpPr>
            <p:cNvPr id="253" name="TextBox 252"/>
            <p:cNvSpPr txBox="1"/>
            <p:nvPr>
              <p:custDataLst>
                <p:tags r:id="rId67"/>
              </p:custDataLst>
            </p:nvPr>
          </p:nvSpPr>
          <p:spPr bwMode="gray">
            <a:xfrm>
              <a:off x="1466425" y="2245927"/>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94%</a:t>
              </a:r>
              <a:endParaRPr lang="en-US" sz="1050">
                <a:effectLst/>
                <a:latin typeface="Arial"/>
              </a:endParaRPr>
            </a:p>
          </p:txBody>
        </p:sp>
        <p:sp>
          <p:nvSpPr>
            <p:cNvPr id="254" name="TextBox 253"/>
            <p:cNvSpPr txBox="1"/>
            <p:nvPr>
              <p:custDataLst>
                <p:tags r:id="rId68"/>
              </p:custDataLst>
            </p:nvPr>
          </p:nvSpPr>
          <p:spPr bwMode="gray">
            <a:xfrm>
              <a:off x="6569039" y="2886037"/>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72%</a:t>
              </a:r>
              <a:endParaRPr lang="en-US" sz="1050">
                <a:effectLst/>
                <a:latin typeface="Arial"/>
              </a:endParaRPr>
            </a:p>
          </p:txBody>
        </p:sp>
        <p:sp>
          <p:nvSpPr>
            <p:cNvPr id="255" name="TextBox 254"/>
            <p:cNvSpPr txBox="1"/>
            <p:nvPr>
              <p:custDataLst>
                <p:tags r:id="rId69"/>
              </p:custDataLst>
            </p:nvPr>
          </p:nvSpPr>
          <p:spPr bwMode="gray">
            <a:xfrm>
              <a:off x="7419475" y="292344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70%</a:t>
              </a:r>
              <a:endParaRPr lang="en-US" sz="1050">
                <a:effectLst/>
                <a:latin typeface="Arial"/>
              </a:endParaRPr>
            </a:p>
          </p:txBody>
        </p:sp>
        <p:sp>
          <p:nvSpPr>
            <p:cNvPr id="260" name="TextBox 259"/>
            <p:cNvSpPr txBox="1"/>
            <p:nvPr>
              <p:custDataLst>
                <p:tags r:id="rId70"/>
              </p:custDataLst>
            </p:nvPr>
          </p:nvSpPr>
          <p:spPr bwMode="gray">
            <a:xfrm>
              <a:off x="4868167" y="3202448"/>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60%</a:t>
              </a:r>
              <a:endParaRPr lang="en-US" sz="1050" dirty="0">
                <a:effectLst/>
                <a:latin typeface="Arial"/>
              </a:endParaRPr>
            </a:p>
          </p:txBody>
        </p:sp>
        <p:sp>
          <p:nvSpPr>
            <p:cNvPr id="261" name="TextBox 260"/>
            <p:cNvSpPr txBox="1"/>
            <p:nvPr>
              <p:custDataLst>
                <p:tags r:id="rId71"/>
              </p:custDataLst>
            </p:nvPr>
          </p:nvSpPr>
          <p:spPr bwMode="gray">
            <a:xfrm>
              <a:off x="4017732" y="2926696"/>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70%</a:t>
              </a:r>
              <a:endParaRPr lang="en-US" sz="1050">
                <a:effectLst/>
                <a:latin typeface="Arial"/>
              </a:endParaRPr>
            </a:p>
          </p:txBody>
        </p:sp>
        <p:sp>
          <p:nvSpPr>
            <p:cNvPr id="266" name="TextBox 265"/>
            <p:cNvSpPr txBox="1"/>
            <p:nvPr>
              <p:custDataLst>
                <p:tags r:id="rId72"/>
              </p:custDataLst>
            </p:nvPr>
          </p:nvSpPr>
          <p:spPr bwMode="gray">
            <a:xfrm>
              <a:off x="3167296" y="2530437"/>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84%</a:t>
              </a:r>
              <a:endParaRPr lang="en-US" sz="1050">
                <a:effectLst/>
                <a:latin typeface="Arial"/>
              </a:endParaRPr>
            </a:p>
          </p:txBody>
        </p:sp>
        <p:sp>
          <p:nvSpPr>
            <p:cNvPr id="272" name="TextBox 271"/>
            <p:cNvSpPr txBox="1"/>
            <p:nvPr>
              <p:custDataLst>
                <p:tags r:id="rId73"/>
              </p:custDataLst>
            </p:nvPr>
          </p:nvSpPr>
          <p:spPr bwMode="gray">
            <a:xfrm>
              <a:off x="8269910" y="3905001"/>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36%</a:t>
              </a:r>
              <a:endParaRPr lang="en-US" sz="1050">
                <a:effectLst/>
                <a:latin typeface="Arial"/>
              </a:endParaRPr>
            </a:p>
          </p:txBody>
        </p:sp>
        <p:sp>
          <p:nvSpPr>
            <p:cNvPr id="136" name="TextBox 135"/>
            <p:cNvSpPr txBox="1"/>
            <p:nvPr>
              <p:custDataLst>
                <p:tags r:id="rId74"/>
              </p:custDataLst>
            </p:nvPr>
          </p:nvSpPr>
          <p:spPr bwMode="gray">
            <a:xfrm>
              <a:off x="4868167" y="4742592"/>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1%</a:t>
              </a:r>
              <a:endParaRPr lang="en-US" sz="1050">
                <a:solidFill>
                  <a:schemeClr val="bg1"/>
                </a:solidFill>
                <a:effectLst/>
                <a:latin typeface="Arial"/>
              </a:endParaRPr>
            </a:p>
          </p:txBody>
        </p:sp>
        <p:sp>
          <p:nvSpPr>
            <p:cNvPr id="135" name="TextBox 134"/>
            <p:cNvSpPr txBox="1"/>
            <p:nvPr>
              <p:custDataLst>
                <p:tags r:id="rId75"/>
              </p:custDataLst>
            </p:nvPr>
          </p:nvSpPr>
          <p:spPr bwMode="gray">
            <a:xfrm>
              <a:off x="4017732" y="4740536"/>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1%</a:t>
              </a:r>
              <a:endParaRPr lang="en-US" sz="1050">
                <a:solidFill>
                  <a:schemeClr val="bg1"/>
                </a:solidFill>
                <a:effectLst/>
                <a:latin typeface="Arial"/>
              </a:endParaRPr>
            </a:p>
          </p:txBody>
        </p:sp>
        <p:sp>
          <p:nvSpPr>
            <p:cNvPr id="133" name="TextBox 132"/>
            <p:cNvSpPr txBox="1"/>
            <p:nvPr>
              <p:custDataLst>
                <p:tags r:id="rId76"/>
              </p:custDataLst>
            </p:nvPr>
          </p:nvSpPr>
          <p:spPr bwMode="gray">
            <a:xfrm>
              <a:off x="3167296" y="4643298"/>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8%</a:t>
              </a:r>
              <a:endParaRPr lang="en-US" sz="1050">
                <a:solidFill>
                  <a:schemeClr val="bg1"/>
                </a:solidFill>
                <a:effectLst/>
                <a:latin typeface="Arial"/>
              </a:endParaRPr>
            </a:p>
          </p:txBody>
        </p:sp>
        <p:sp>
          <p:nvSpPr>
            <p:cNvPr id="131" name="TextBox 130"/>
            <p:cNvSpPr txBox="1"/>
            <p:nvPr>
              <p:custDataLst>
                <p:tags r:id="rId77"/>
              </p:custDataLst>
            </p:nvPr>
          </p:nvSpPr>
          <p:spPr bwMode="gray">
            <a:xfrm>
              <a:off x="8307353" y="4980219"/>
              <a:ext cx="232788" cy="161583"/>
            </a:xfrm>
            <a:prstGeom prst="rect">
              <a:avLst/>
            </a:prstGeom>
            <a:solidFill>
              <a:schemeClr val="accent1"/>
            </a:solid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4%</a:t>
              </a:r>
              <a:endParaRPr lang="en-US" sz="1050">
                <a:solidFill>
                  <a:schemeClr val="bg1"/>
                </a:solidFill>
                <a:effectLst/>
                <a:latin typeface="Arial"/>
              </a:endParaRPr>
            </a:p>
          </p:txBody>
        </p:sp>
        <p:sp>
          <p:nvSpPr>
            <p:cNvPr id="273" name="TextBox 272"/>
            <p:cNvSpPr txBox="1"/>
            <p:nvPr>
              <p:custDataLst>
                <p:tags r:id="rId78"/>
              </p:custDataLst>
            </p:nvPr>
          </p:nvSpPr>
          <p:spPr bwMode="gray">
            <a:xfrm>
              <a:off x="5718603" y="3012167"/>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67%</a:t>
              </a:r>
              <a:endParaRPr lang="en-US" sz="1050">
                <a:effectLst/>
                <a:latin typeface="Arial"/>
              </a:endParaRPr>
            </a:p>
          </p:txBody>
        </p:sp>
        <p:sp>
          <p:nvSpPr>
            <p:cNvPr id="274" name="TextBox 273"/>
            <p:cNvSpPr txBox="1"/>
            <p:nvPr>
              <p:custDataLst>
                <p:tags r:id="rId79"/>
              </p:custDataLst>
            </p:nvPr>
          </p:nvSpPr>
          <p:spPr bwMode="gray">
            <a:xfrm>
              <a:off x="2316860" y="2303205"/>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92%</a:t>
              </a:r>
              <a:endParaRPr lang="en-US" sz="1050">
                <a:effectLst/>
                <a:latin typeface="Arial"/>
              </a:endParaRPr>
            </a:p>
          </p:txBody>
        </p:sp>
        <p:sp>
          <p:nvSpPr>
            <p:cNvPr id="275" name="TextBox 274"/>
            <p:cNvSpPr txBox="1"/>
            <p:nvPr>
              <p:custDataLst>
                <p:tags r:id="rId80"/>
              </p:custDataLst>
            </p:nvPr>
          </p:nvSpPr>
          <p:spPr bwMode="gray">
            <a:xfrm>
              <a:off x="6569039" y="4809169"/>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6%</a:t>
              </a:r>
              <a:endParaRPr lang="en-US" sz="1050">
                <a:solidFill>
                  <a:schemeClr val="bg1"/>
                </a:solidFill>
                <a:effectLst/>
                <a:latin typeface="Arial"/>
              </a:endParaRPr>
            </a:p>
          </p:txBody>
        </p:sp>
        <p:sp>
          <p:nvSpPr>
            <p:cNvPr id="137" name="TextBox 136"/>
            <p:cNvSpPr txBox="1"/>
            <p:nvPr>
              <p:custDataLst>
                <p:tags r:id="rId81"/>
              </p:custDataLst>
            </p:nvPr>
          </p:nvSpPr>
          <p:spPr bwMode="gray">
            <a:xfrm>
              <a:off x="1415837" y="6212285"/>
              <a:ext cx="1046359" cy="165469"/>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Widespread Use</a:t>
              </a:r>
              <a:endParaRPr lang="en-US" sz="1050">
                <a:effectLst/>
                <a:latin typeface="Arial"/>
              </a:endParaRPr>
            </a:p>
          </p:txBody>
        </p:sp>
        <p:sp>
          <p:nvSpPr>
            <p:cNvPr id="92" name="TextBox 91"/>
            <p:cNvSpPr txBox="1"/>
            <p:nvPr>
              <p:custDataLst>
                <p:tags r:id="rId82"/>
              </p:custDataLst>
            </p:nvPr>
          </p:nvSpPr>
          <p:spPr bwMode="gray">
            <a:xfrm>
              <a:off x="2809845" y="6212285"/>
              <a:ext cx="749108" cy="165469"/>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dirty="0" smtClean="0">
                  <a:effectLst/>
                  <a:latin typeface="Arial"/>
                </a:rPr>
                <a:t>Limited Use</a:t>
              </a:r>
              <a:endParaRPr lang="en-US" sz="1050" dirty="0">
                <a:effectLst/>
                <a:latin typeface="Arial"/>
              </a:endParaRPr>
            </a:p>
          </p:txBody>
        </p:sp>
        <p:sp>
          <p:nvSpPr>
            <p:cNvPr id="138" name="Rectangle 137"/>
            <p:cNvSpPr/>
            <p:nvPr>
              <p:custDataLst>
                <p:tags r:id="rId83"/>
              </p:custDataLst>
            </p:nvPr>
          </p:nvSpPr>
          <p:spPr bwMode="gray">
            <a:xfrm>
              <a:off x="1250621" y="6212285"/>
              <a:ext cx="146018" cy="146018"/>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7" name="Rectangle 96"/>
            <p:cNvSpPr/>
            <p:nvPr>
              <p:custDataLst>
                <p:tags r:id="rId84"/>
              </p:custDataLst>
            </p:nvPr>
          </p:nvSpPr>
          <p:spPr bwMode="gray">
            <a:xfrm>
              <a:off x="2644629" y="6212285"/>
              <a:ext cx="146018" cy="146018"/>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grpSp>
      <p:grpSp>
        <p:nvGrpSpPr>
          <p:cNvPr id="158" name="Group 157"/>
          <p:cNvGrpSpPr/>
          <p:nvPr/>
        </p:nvGrpSpPr>
        <p:grpSpPr>
          <a:xfrm>
            <a:off x="1254545" y="1812360"/>
            <a:ext cx="2468914" cy="4204187"/>
            <a:chOff x="1285901" y="1812360"/>
            <a:chExt cx="2467618" cy="4204187"/>
          </a:xfrm>
        </p:grpSpPr>
        <p:sp>
          <p:nvSpPr>
            <p:cNvPr id="183" name="Rectangle 182"/>
            <p:cNvSpPr/>
            <p:nvPr/>
          </p:nvSpPr>
          <p:spPr>
            <a:xfrm>
              <a:off x="1285901" y="1812360"/>
              <a:ext cx="2467618" cy="4204187"/>
            </a:xfrm>
            <a:prstGeom prst="rect">
              <a:avLst/>
            </a:prstGeom>
            <a:noFill/>
            <a:ln w="6350" cmpd="sng">
              <a:solidFill>
                <a:srgbClr val="00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7" name="TextBox 156"/>
            <p:cNvSpPr txBox="1"/>
            <p:nvPr/>
          </p:nvSpPr>
          <p:spPr>
            <a:xfrm>
              <a:off x="1285901" y="1834682"/>
              <a:ext cx="2432339" cy="276999"/>
            </a:xfrm>
            <a:prstGeom prst="rect">
              <a:avLst/>
            </a:prstGeom>
            <a:noFill/>
          </p:spPr>
          <p:txBody>
            <a:bodyPr wrap="square" rtlCol="0">
              <a:spAutoFit/>
            </a:bodyPr>
            <a:lstStyle/>
            <a:p>
              <a:pPr algn="ctr"/>
              <a:r>
                <a:rPr lang="en-US" sz="1200" b="1" dirty="0" smtClean="0"/>
                <a:t>Core Applications</a:t>
              </a:r>
              <a:endParaRPr lang="en-US" sz="1200" b="1" dirty="0"/>
            </a:p>
          </p:txBody>
        </p:sp>
      </p:grpSp>
      <p:grpSp>
        <p:nvGrpSpPr>
          <p:cNvPr id="159" name="Group 158"/>
          <p:cNvGrpSpPr/>
          <p:nvPr/>
        </p:nvGrpSpPr>
        <p:grpSpPr>
          <a:xfrm>
            <a:off x="3796632" y="1812361"/>
            <a:ext cx="4997964" cy="4204186"/>
            <a:chOff x="3847708" y="1812361"/>
            <a:chExt cx="4932507" cy="4204186"/>
          </a:xfrm>
        </p:grpSpPr>
        <p:sp>
          <p:nvSpPr>
            <p:cNvPr id="184" name="Rectangle 183"/>
            <p:cNvSpPr/>
            <p:nvPr/>
          </p:nvSpPr>
          <p:spPr>
            <a:xfrm>
              <a:off x="3847708" y="1812361"/>
              <a:ext cx="4932506" cy="4204186"/>
            </a:xfrm>
            <a:prstGeom prst="rect">
              <a:avLst/>
            </a:prstGeom>
            <a:noFill/>
            <a:ln w="6350" cmpd="sng">
              <a:solidFill>
                <a:srgbClr val="00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7" name="TextBox 216"/>
            <p:cNvSpPr txBox="1"/>
            <p:nvPr/>
          </p:nvSpPr>
          <p:spPr>
            <a:xfrm>
              <a:off x="3847708" y="1823632"/>
              <a:ext cx="4932507" cy="276999"/>
            </a:xfrm>
            <a:prstGeom prst="rect">
              <a:avLst/>
            </a:prstGeom>
            <a:noFill/>
          </p:spPr>
          <p:txBody>
            <a:bodyPr wrap="square" rtlCol="0">
              <a:spAutoFit/>
            </a:bodyPr>
            <a:lstStyle/>
            <a:p>
              <a:pPr algn="ctr"/>
              <a:r>
                <a:rPr lang="en-US" sz="1200" b="1" dirty="0" smtClean="0"/>
                <a:t>Limited Use Applications</a:t>
              </a:r>
              <a:endParaRPr lang="en-US" sz="1200" b="1" dirty="0"/>
            </a:p>
          </p:txBody>
        </p:sp>
      </p:grpSp>
    </p:spTree>
    <p:extLst>
      <p:ext uri="{BB962C8B-B14F-4D97-AF65-F5344CB8AC3E}">
        <p14:creationId xmlns:p14="http://schemas.microsoft.com/office/powerpoint/2010/main" val="36689810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6061281-BD0D-6F47-BBB8-8F6BE6AA34E7}" type="slidenum">
              <a:rPr lang="en-US" smtClean="0"/>
              <a:t>22</a:t>
            </a:fld>
            <a:endParaRPr lang="en-US"/>
          </a:p>
        </p:txBody>
      </p:sp>
      <p:sp>
        <p:nvSpPr>
          <p:cNvPr id="4" name="Content Placeholder 3"/>
          <p:cNvSpPr>
            <a:spLocks noGrp="1"/>
          </p:cNvSpPr>
          <p:nvPr>
            <p:ph idx="14"/>
          </p:nvPr>
        </p:nvSpPr>
        <p:spPr/>
        <p:txBody>
          <a:bodyPr/>
          <a:lstStyle/>
          <a:p>
            <a:r>
              <a:rPr lang="en-US" dirty="0" smtClean="0"/>
              <a:t>Institutions Fall in to Three Categories With Respect To Technology Use in Advising</a:t>
            </a:r>
            <a:endParaRPr lang="en-US" dirty="0"/>
          </a:p>
        </p:txBody>
      </p:sp>
      <p:sp>
        <p:nvSpPr>
          <p:cNvPr id="8" name="Content Placeholder 7"/>
          <p:cNvSpPr>
            <a:spLocks noGrp="1"/>
          </p:cNvSpPr>
          <p:nvPr>
            <p:ph idx="13"/>
          </p:nvPr>
        </p:nvSpPr>
        <p:spPr/>
        <p:txBody>
          <a:bodyPr>
            <a:normAutofit/>
          </a:bodyPr>
          <a:lstStyle/>
          <a:p>
            <a:r>
              <a:rPr lang="en-US" sz="900" dirty="0"/>
              <a:t>Sources: </a:t>
            </a:r>
            <a:r>
              <a:rPr lang="en-US" sz="900" dirty="0" smtClean="0"/>
              <a:t>Tyton Partners Analysis</a:t>
            </a:r>
            <a:endParaRPr lang="en-US" sz="900" dirty="0"/>
          </a:p>
        </p:txBody>
      </p:sp>
      <p:grpSp>
        <p:nvGrpSpPr>
          <p:cNvPr id="15" name="Group 14"/>
          <p:cNvGrpSpPr/>
          <p:nvPr>
            <p:custDataLst>
              <p:tags r:id="rId1"/>
            </p:custDataLst>
          </p:nvPr>
        </p:nvGrpSpPr>
        <p:grpSpPr>
          <a:xfrm>
            <a:off x="3706983" y="2360618"/>
            <a:ext cx="4131494" cy="4131494"/>
            <a:chOff x="3706983" y="2360618"/>
            <a:chExt cx="4131494" cy="4131494"/>
          </a:xfrm>
        </p:grpSpPr>
        <p:sp>
          <p:nvSpPr>
            <p:cNvPr id="3" name="Pie 2"/>
            <p:cNvSpPr/>
            <p:nvPr>
              <p:custDataLst>
                <p:tags r:id="rId2"/>
              </p:custDataLst>
            </p:nvPr>
          </p:nvSpPr>
          <p:spPr bwMode="gray">
            <a:xfrm>
              <a:off x="3706983" y="2360618"/>
              <a:ext cx="4131494" cy="4131494"/>
            </a:xfrm>
            <a:prstGeom prst="pie">
              <a:avLst>
                <a:gd name="adj1" fmla="val 20266848"/>
                <a:gd name="adj2" fmla="val 11454048"/>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solidFill>
                  <a:schemeClr val="tx1"/>
                </a:solidFill>
                <a:effectLst/>
              </a:endParaRPr>
            </a:p>
          </p:txBody>
        </p:sp>
        <p:sp>
          <p:nvSpPr>
            <p:cNvPr id="6" name="Pie 5"/>
            <p:cNvSpPr/>
            <p:nvPr>
              <p:custDataLst>
                <p:tags r:id="rId3"/>
              </p:custDataLst>
            </p:nvPr>
          </p:nvSpPr>
          <p:spPr bwMode="gray">
            <a:xfrm>
              <a:off x="3706983" y="2360618"/>
              <a:ext cx="4131494" cy="4131494"/>
            </a:xfrm>
            <a:prstGeom prst="pie">
              <a:avLst>
                <a:gd name="adj1" fmla="val 11454048"/>
                <a:gd name="adj2" fmla="val 17761249"/>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solidFill>
                  <a:schemeClr val="tx1"/>
                </a:solidFill>
                <a:effectLst/>
              </a:endParaRPr>
            </a:p>
          </p:txBody>
        </p:sp>
        <p:sp>
          <p:nvSpPr>
            <p:cNvPr id="7" name="Pie 6"/>
            <p:cNvSpPr/>
            <p:nvPr>
              <p:custDataLst>
                <p:tags r:id="rId4"/>
              </p:custDataLst>
            </p:nvPr>
          </p:nvSpPr>
          <p:spPr bwMode="gray">
            <a:xfrm>
              <a:off x="3706983" y="2360618"/>
              <a:ext cx="4131494" cy="4131494"/>
            </a:xfrm>
            <a:prstGeom prst="pie">
              <a:avLst>
                <a:gd name="adj1" fmla="val 17761249"/>
                <a:gd name="adj2" fmla="val 20266848"/>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solidFill>
                  <a:schemeClr val="tx1"/>
                </a:solidFill>
                <a:effectLst/>
              </a:endParaRPr>
            </a:p>
          </p:txBody>
        </p:sp>
        <p:sp>
          <p:nvSpPr>
            <p:cNvPr id="9" name="TextBox 8"/>
            <p:cNvSpPr txBox="1"/>
            <p:nvPr>
              <p:custDataLst>
                <p:tags r:id="rId5"/>
              </p:custDataLst>
            </p:nvPr>
          </p:nvSpPr>
          <p:spPr bwMode="gray">
            <a:xfrm>
              <a:off x="4677847" y="3225327"/>
              <a:ext cx="1266769" cy="553998"/>
            </a:xfrm>
            <a:prstGeom prst="rect">
              <a:avLst/>
            </a:prstGeom>
            <a:solidFill>
              <a:schemeClr val="accent3"/>
            </a:solid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dirty="0" smtClean="0">
                  <a:solidFill>
                    <a:schemeClr val="bg1"/>
                  </a:solidFill>
                  <a:effectLst/>
                  <a:latin typeface="Arial"/>
                </a:rPr>
                <a:t>Limited </a:t>
              </a:r>
            </a:p>
            <a:p>
              <a:pPr algn="ctr"/>
              <a:r>
                <a:rPr lang="en-US" sz="1200" dirty="0" smtClean="0">
                  <a:solidFill>
                    <a:schemeClr val="bg1"/>
                  </a:solidFill>
                  <a:effectLst/>
                  <a:latin typeface="Arial"/>
                </a:rPr>
                <a:t>Technology Users</a:t>
              </a:r>
            </a:p>
            <a:p>
              <a:pPr algn="ctr"/>
              <a:r>
                <a:rPr lang="en-US" sz="1200" dirty="0" smtClean="0">
                  <a:solidFill>
                    <a:schemeClr val="bg1"/>
                  </a:solidFill>
                  <a:effectLst/>
                  <a:latin typeface="Arial"/>
                </a:rPr>
                <a:t>29%</a:t>
              </a:r>
              <a:endParaRPr lang="en-US" sz="1200" dirty="0">
                <a:solidFill>
                  <a:schemeClr val="bg1"/>
                </a:solidFill>
                <a:effectLst/>
                <a:latin typeface="Arial"/>
              </a:endParaRPr>
            </a:p>
          </p:txBody>
        </p:sp>
        <p:sp>
          <p:nvSpPr>
            <p:cNvPr id="10" name="TextBox 9"/>
            <p:cNvSpPr txBox="1"/>
            <p:nvPr>
              <p:custDataLst>
                <p:tags r:id="rId6"/>
              </p:custDataLst>
            </p:nvPr>
          </p:nvSpPr>
          <p:spPr bwMode="gray">
            <a:xfrm>
              <a:off x="6317716" y="3316641"/>
              <a:ext cx="672381" cy="553998"/>
            </a:xfrm>
            <a:prstGeom prst="rect">
              <a:avLst/>
            </a:prstGeom>
            <a:solidFill>
              <a:schemeClr val="accent1"/>
            </a:solid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solidFill>
                    <a:schemeClr val="bg1"/>
                  </a:solidFill>
                  <a:effectLst/>
                  <a:latin typeface="Arial"/>
                </a:rPr>
                <a:t>IPASS </a:t>
              </a:r>
            </a:p>
            <a:p>
              <a:pPr algn="ctr"/>
              <a:r>
                <a:rPr lang="en-US" sz="1200" smtClean="0">
                  <a:solidFill>
                    <a:schemeClr val="bg1"/>
                  </a:solidFill>
                  <a:effectLst/>
                  <a:latin typeface="Arial"/>
                </a:rPr>
                <a:t>Adopters</a:t>
              </a:r>
            </a:p>
            <a:p>
              <a:pPr algn="ctr"/>
              <a:r>
                <a:rPr lang="en-US" sz="1200" smtClean="0">
                  <a:solidFill>
                    <a:schemeClr val="bg1"/>
                  </a:solidFill>
                  <a:effectLst/>
                  <a:latin typeface="Arial"/>
                </a:rPr>
                <a:t>12%</a:t>
              </a:r>
              <a:endParaRPr lang="en-US" sz="1200" dirty="0">
                <a:solidFill>
                  <a:schemeClr val="bg1"/>
                </a:solidFill>
                <a:effectLst/>
                <a:latin typeface="Arial"/>
              </a:endParaRPr>
            </a:p>
          </p:txBody>
        </p:sp>
        <p:sp>
          <p:nvSpPr>
            <p:cNvPr id="11" name="TextBox 10"/>
            <p:cNvSpPr txBox="1"/>
            <p:nvPr>
              <p:custDataLst>
                <p:tags r:id="rId7"/>
              </p:custDataLst>
            </p:nvPr>
          </p:nvSpPr>
          <p:spPr bwMode="gray">
            <a:xfrm>
              <a:off x="5241197" y="5177205"/>
              <a:ext cx="1266769" cy="55399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dirty="0" smtClean="0">
                  <a:solidFill>
                    <a:schemeClr val="bg1"/>
                  </a:solidFill>
                  <a:effectLst/>
                  <a:latin typeface="Arial"/>
                </a:rPr>
                <a:t>Moderate </a:t>
              </a:r>
            </a:p>
            <a:p>
              <a:pPr algn="ctr"/>
              <a:r>
                <a:rPr lang="en-US" sz="1200" dirty="0" smtClean="0">
                  <a:solidFill>
                    <a:schemeClr val="bg1"/>
                  </a:solidFill>
                  <a:effectLst/>
                  <a:latin typeface="Arial"/>
                </a:rPr>
                <a:t>Technology Users</a:t>
              </a:r>
            </a:p>
            <a:p>
              <a:pPr algn="ctr"/>
              <a:r>
                <a:rPr lang="en-US" sz="1200" dirty="0" smtClean="0">
                  <a:solidFill>
                    <a:schemeClr val="bg1"/>
                  </a:solidFill>
                  <a:effectLst/>
                  <a:latin typeface="Arial"/>
                </a:rPr>
                <a:t>59%</a:t>
              </a:r>
              <a:endParaRPr lang="en-US" sz="1200" dirty="0">
                <a:solidFill>
                  <a:schemeClr val="bg1"/>
                </a:solidFill>
                <a:effectLst/>
                <a:latin typeface="Arial"/>
              </a:endParaRPr>
            </a:p>
          </p:txBody>
        </p:sp>
      </p:grpSp>
      <p:sp>
        <p:nvSpPr>
          <p:cNvPr id="14" name="TextBox 13"/>
          <p:cNvSpPr txBox="1"/>
          <p:nvPr/>
        </p:nvSpPr>
        <p:spPr>
          <a:xfrm>
            <a:off x="6821991" y="2212371"/>
            <a:ext cx="1802305" cy="830997"/>
          </a:xfrm>
          <a:prstGeom prst="rect">
            <a:avLst/>
          </a:prstGeom>
          <a:noFill/>
        </p:spPr>
        <p:txBody>
          <a:bodyPr wrap="square" rtlCol="0">
            <a:spAutoFit/>
          </a:bodyPr>
          <a:lstStyle/>
          <a:p>
            <a:pPr algn="r"/>
            <a:r>
              <a:rPr lang="en-US" sz="1200" i="1" dirty="0" smtClean="0"/>
              <a:t>Institutions whose stakeholders reported widespread use of all “Core Applications”</a:t>
            </a:r>
            <a:endParaRPr lang="en-US" sz="1200" i="1" dirty="0"/>
          </a:p>
        </p:txBody>
      </p:sp>
      <p:sp>
        <p:nvSpPr>
          <p:cNvPr id="16" name="TextBox 15"/>
          <p:cNvSpPr txBox="1"/>
          <p:nvPr/>
        </p:nvSpPr>
        <p:spPr>
          <a:xfrm>
            <a:off x="2558930" y="5565849"/>
            <a:ext cx="1753124" cy="830997"/>
          </a:xfrm>
          <a:prstGeom prst="rect">
            <a:avLst/>
          </a:prstGeom>
          <a:noFill/>
        </p:spPr>
        <p:txBody>
          <a:bodyPr wrap="square" rtlCol="0">
            <a:spAutoFit/>
          </a:bodyPr>
          <a:lstStyle/>
          <a:p>
            <a:r>
              <a:rPr lang="en-US" sz="1200" i="1" dirty="0" smtClean="0"/>
              <a:t>Institutions whose stakeholders reported widespread use in one application area</a:t>
            </a:r>
            <a:endParaRPr lang="en-US" sz="1200" i="1" dirty="0"/>
          </a:p>
        </p:txBody>
      </p:sp>
      <p:sp>
        <p:nvSpPr>
          <p:cNvPr id="17" name="TextBox 16"/>
          <p:cNvSpPr txBox="1"/>
          <p:nvPr/>
        </p:nvSpPr>
        <p:spPr>
          <a:xfrm>
            <a:off x="3193685" y="1911915"/>
            <a:ext cx="1618060" cy="1015663"/>
          </a:xfrm>
          <a:prstGeom prst="rect">
            <a:avLst/>
          </a:prstGeom>
          <a:noFill/>
        </p:spPr>
        <p:txBody>
          <a:bodyPr wrap="square" rtlCol="0">
            <a:spAutoFit/>
          </a:bodyPr>
          <a:lstStyle/>
          <a:p>
            <a:r>
              <a:rPr lang="en-US" sz="1200" i="1" dirty="0" smtClean="0"/>
              <a:t>Institutions whose stakeholders reported limited use or no technology for all applications</a:t>
            </a:r>
            <a:endParaRPr lang="en-US" sz="1200" i="1" dirty="0"/>
          </a:p>
        </p:txBody>
      </p:sp>
      <p:sp>
        <p:nvSpPr>
          <p:cNvPr id="18" name="TextBox 17"/>
          <p:cNvSpPr txBox="1"/>
          <p:nvPr/>
        </p:nvSpPr>
        <p:spPr>
          <a:xfrm>
            <a:off x="409467" y="1176131"/>
            <a:ext cx="8157260" cy="461665"/>
          </a:xfrm>
          <a:prstGeom prst="rect">
            <a:avLst/>
          </a:prstGeom>
          <a:noFill/>
        </p:spPr>
        <p:txBody>
          <a:bodyPr wrap="square" rtlCol="0">
            <a:spAutoFit/>
          </a:bodyPr>
          <a:lstStyle/>
          <a:p>
            <a:pPr algn="ctr"/>
            <a:r>
              <a:rPr lang="en-US" sz="1200" b="1" dirty="0" smtClean="0"/>
              <a:t>Advising Technology Use Categories: Respondent Breakdown (%)</a:t>
            </a:r>
            <a:endParaRPr lang="en-US" sz="1200" b="1" dirty="0"/>
          </a:p>
          <a:p>
            <a:pPr algn="ctr"/>
            <a:r>
              <a:rPr lang="en-US" sz="1200" dirty="0" smtClean="0"/>
              <a:t>Type; n = 1,096</a:t>
            </a:r>
            <a:endParaRPr lang="en-US" sz="1200" dirty="0"/>
          </a:p>
        </p:txBody>
      </p:sp>
      <p:sp>
        <p:nvSpPr>
          <p:cNvPr id="5" name="TextBox 4"/>
          <p:cNvSpPr txBox="1"/>
          <p:nvPr/>
        </p:nvSpPr>
        <p:spPr>
          <a:xfrm>
            <a:off x="409467" y="1619791"/>
            <a:ext cx="2214261" cy="3693318"/>
          </a:xfrm>
          <a:prstGeom prst="rect">
            <a:avLst/>
          </a:prstGeom>
          <a:noFill/>
          <a:ln>
            <a:solidFill>
              <a:schemeClr val="tx1"/>
            </a:solidFill>
            <a:prstDash val="dash"/>
          </a:ln>
        </p:spPr>
        <p:txBody>
          <a:bodyPr wrap="square" rtlCol="0">
            <a:spAutoFit/>
          </a:bodyPr>
          <a:lstStyle/>
          <a:p>
            <a:r>
              <a:rPr lang="en-US" sz="1200" b="1" dirty="0" smtClean="0"/>
              <a:t>Core Applications:</a:t>
            </a:r>
          </a:p>
          <a:p>
            <a:endParaRPr lang="en-US" sz="600" b="1" dirty="0" smtClean="0"/>
          </a:p>
          <a:p>
            <a:pPr marL="171450" indent="-171450">
              <a:buFont typeface="Arial"/>
              <a:buChar char="•"/>
            </a:pPr>
            <a:r>
              <a:rPr lang="en-US" sz="1200" dirty="0"/>
              <a:t>Course </a:t>
            </a:r>
            <a:r>
              <a:rPr lang="en-US" sz="1200" dirty="0" smtClean="0"/>
              <a:t>Planning &amp; Degree Tracking/Auditing</a:t>
            </a:r>
          </a:p>
          <a:p>
            <a:pPr marL="171450" indent="-171450">
              <a:buFont typeface="Arial"/>
              <a:buChar char="•"/>
            </a:pPr>
            <a:r>
              <a:rPr lang="en-US" sz="1200" dirty="0"/>
              <a:t>Analytics </a:t>
            </a:r>
            <a:r>
              <a:rPr lang="en-US" sz="1200" dirty="0" smtClean="0"/>
              <a:t>&amp; Reporting</a:t>
            </a:r>
          </a:p>
          <a:p>
            <a:pPr marL="171450" indent="-171450">
              <a:buFont typeface="Arial"/>
              <a:buChar char="•"/>
            </a:pPr>
            <a:r>
              <a:rPr lang="en-US" sz="1200" dirty="0"/>
              <a:t>Identification </a:t>
            </a:r>
            <a:r>
              <a:rPr lang="en-US" sz="1200" dirty="0" smtClean="0"/>
              <a:t>of </a:t>
            </a:r>
            <a:r>
              <a:rPr lang="en-US" sz="1200" dirty="0"/>
              <a:t>at-</a:t>
            </a:r>
            <a:r>
              <a:rPr lang="en-US" sz="1200" dirty="0" smtClean="0"/>
              <a:t>risk Students</a:t>
            </a:r>
            <a:endParaRPr lang="en-US" sz="1200" dirty="0"/>
          </a:p>
          <a:p>
            <a:endParaRPr lang="en-US" sz="1200" b="1" dirty="0" smtClean="0"/>
          </a:p>
          <a:p>
            <a:r>
              <a:rPr lang="en-US" sz="1200" b="1" dirty="0" smtClean="0"/>
              <a:t>Limited Use Applications:</a:t>
            </a:r>
          </a:p>
          <a:p>
            <a:endParaRPr lang="en-US" sz="1200" b="1" dirty="0"/>
          </a:p>
          <a:p>
            <a:pPr marL="171450" indent="-171450">
              <a:buFont typeface="Arial"/>
              <a:buChar char="•"/>
            </a:pPr>
            <a:r>
              <a:rPr lang="en-US" sz="1200" dirty="0"/>
              <a:t>Tutor</a:t>
            </a:r>
            <a:r>
              <a:rPr lang="en-US" sz="1200" dirty="0" smtClean="0"/>
              <a:t>/Advisor Management</a:t>
            </a:r>
          </a:p>
          <a:p>
            <a:pPr marL="171450" indent="-171450">
              <a:buFont typeface="Arial"/>
              <a:buChar char="•"/>
            </a:pPr>
            <a:r>
              <a:rPr lang="en-US" sz="1200" dirty="0"/>
              <a:t>Automation </a:t>
            </a:r>
            <a:r>
              <a:rPr lang="en-US" sz="1200" dirty="0" smtClean="0"/>
              <a:t>&amp; Facilitation of Transfer Credits</a:t>
            </a:r>
          </a:p>
          <a:p>
            <a:pPr marL="171450" indent="-171450">
              <a:buFont typeface="Arial"/>
              <a:buChar char="•"/>
            </a:pPr>
            <a:r>
              <a:rPr lang="en-US" sz="1200" dirty="0" smtClean="0"/>
              <a:t>Academic Tutoring</a:t>
            </a:r>
          </a:p>
          <a:p>
            <a:pPr marL="171450" indent="-171450">
              <a:buFont typeface="Arial"/>
              <a:buChar char="•"/>
            </a:pPr>
            <a:r>
              <a:rPr lang="en-US" sz="1200" dirty="0"/>
              <a:t>Assessment </a:t>
            </a:r>
            <a:r>
              <a:rPr lang="en-US" sz="1200" dirty="0" smtClean="0"/>
              <a:t>of Student Engagement</a:t>
            </a:r>
          </a:p>
          <a:p>
            <a:pPr marL="171450" indent="-171450">
              <a:buFont typeface="Arial"/>
              <a:buChar char="•"/>
            </a:pPr>
            <a:r>
              <a:rPr lang="en-US" sz="1200" dirty="0" smtClean="0"/>
              <a:t>Connecting Students to Various Supplementary Resources</a:t>
            </a:r>
          </a:p>
          <a:p>
            <a:pPr marL="171450" indent="-171450">
              <a:buFont typeface="Arial"/>
              <a:buChar char="•"/>
            </a:pPr>
            <a:r>
              <a:rPr lang="en-US" sz="1200" dirty="0" smtClean="0"/>
              <a:t>Virtual Coaching</a:t>
            </a:r>
          </a:p>
        </p:txBody>
      </p:sp>
    </p:spTree>
    <p:extLst>
      <p:ext uri="{BB962C8B-B14F-4D97-AF65-F5344CB8AC3E}">
        <p14:creationId xmlns:p14="http://schemas.microsoft.com/office/powerpoint/2010/main" val="373928339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6061281-BD0D-6F47-BBB8-8F6BE6AA34E7}" type="slidenum">
              <a:rPr lang="en-US" smtClean="0"/>
              <a:t>23</a:t>
            </a:fld>
            <a:endParaRPr lang="en-US" dirty="0"/>
          </a:p>
        </p:txBody>
      </p:sp>
      <p:sp>
        <p:nvSpPr>
          <p:cNvPr id="3" name="Content Placeholder 2"/>
          <p:cNvSpPr>
            <a:spLocks noGrp="1"/>
          </p:cNvSpPr>
          <p:nvPr>
            <p:ph idx="13"/>
          </p:nvPr>
        </p:nvSpPr>
        <p:spPr/>
        <p:txBody>
          <a:bodyPr>
            <a:normAutofit/>
          </a:bodyPr>
          <a:lstStyle/>
          <a:p>
            <a:r>
              <a:rPr lang="en-US" sz="900" dirty="0"/>
              <a:t>Sources: </a:t>
            </a:r>
            <a:r>
              <a:rPr lang="en-US" sz="900" dirty="0" smtClean="0"/>
              <a:t>Tyton Partners Analysis</a:t>
            </a:r>
            <a:endParaRPr lang="en-US" sz="900" dirty="0"/>
          </a:p>
        </p:txBody>
      </p:sp>
      <p:sp>
        <p:nvSpPr>
          <p:cNvPr id="4" name="Content Placeholder 3"/>
          <p:cNvSpPr>
            <a:spLocks noGrp="1"/>
          </p:cNvSpPr>
          <p:nvPr>
            <p:ph idx="14"/>
          </p:nvPr>
        </p:nvSpPr>
        <p:spPr/>
        <p:txBody>
          <a:bodyPr>
            <a:normAutofit/>
          </a:bodyPr>
          <a:lstStyle/>
          <a:p>
            <a:r>
              <a:rPr lang="en-US" dirty="0"/>
              <a:t>Segments Vary Across Key Dimensions</a:t>
            </a:r>
          </a:p>
        </p:txBody>
      </p:sp>
      <p:sp>
        <p:nvSpPr>
          <p:cNvPr id="86" name="Rectangle 85"/>
          <p:cNvSpPr/>
          <p:nvPr/>
        </p:nvSpPr>
        <p:spPr>
          <a:xfrm>
            <a:off x="559528" y="1366870"/>
            <a:ext cx="2694540" cy="586813"/>
          </a:xfrm>
          <a:prstGeom prst="rect">
            <a:avLst/>
          </a:prstGeom>
          <a:solidFill>
            <a:srgbClr val="00B050"/>
          </a:solidFill>
          <a:ln>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b="1" dirty="0" smtClean="0"/>
              <a:t>IPASS Adopters</a:t>
            </a:r>
            <a:endParaRPr lang="en-US" b="1" dirty="0"/>
          </a:p>
          <a:p>
            <a:pPr lvl="0" algn="ctr"/>
            <a:r>
              <a:rPr lang="en-US" b="1" dirty="0" smtClean="0"/>
              <a:t>12%</a:t>
            </a:r>
            <a:endParaRPr lang="en-US" b="1" dirty="0"/>
          </a:p>
        </p:txBody>
      </p:sp>
      <p:sp>
        <p:nvSpPr>
          <p:cNvPr id="87" name="Rectangle 86"/>
          <p:cNvSpPr/>
          <p:nvPr/>
        </p:nvSpPr>
        <p:spPr>
          <a:xfrm>
            <a:off x="568823" y="1989565"/>
            <a:ext cx="2683584" cy="3573315"/>
          </a:xfrm>
          <a:prstGeom prst="rect">
            <a:avLst/>
          </a:prstGeom>
          <a:solidFill>
            <a:srgbClr val="A0F2A8"/>
          </a:solidFill>
          <a:ln>
            <a:noFill/>
          </a:ln>
        </p:spPr>
        <p:style>
          <a:lnRef idx="1">
            <a:schemeClr val="accent1"/>
          </a:lnRef>
          <a:fillRef idx="3">
            <a:schemeClr val="accent1"/>
          </a:fillRef>
          <a:effectRef idx="2">
            <a:schemeClr val="accent1"/>
          </a:effectRef>
          <a:fontRef idx="minor">
            <a:schemeClr val="lt1"/>
          </a:fontRef>
        </p:style>
        <p:txBody>
          <a:bodyPr rtlCol="0" anchor="t"/>
          <a:lstStyle/>
          <a:p>
            <a:pPr marL="285750" indent="-285750">
              <a:buFont typeface="Arial" panose="020B0604020202020204" pitchFamily="34" charset="0"/>
              <a:buChar char="•"/>
            </a:pPr>
            <a:r>
              <a:rPr lang="en-US" sz="1400" dirty="0" smtClean="0">
                <a:solidFill>
                  <a:schemeClr val="tx1"/>
                </a:solidFill>
              </a:rPr>
              <a:t>More frequently institutionally centralized</a:t>
            </a:r>
          </a:p>
          <a:p>
            <a:pPr marL="285750" indent="-285750">
              <a:buFont typeface="Arial" panose="020B0604020202020204" pitchFamily="34" charset="0"/>
              <a:buChar char="•"/>
            </a:pPr>
            <a:r>
              <a:rPr lang="en-US" sz="1400" dirty="0" smtClean="0">
                <a:solidFill>
                  <a:schemeClr val="tx1"/>
                </a:solidFill>
              </a:rPr>
              <a:t>Showing greater growth in spending on technology associated with planning and well-funded in institutional budget</a:t>
            </a:r>
          </a:p>
          <a:p>
            <a:pPr marL="285750" indent="-285750">
              <a:buFont typeface="Arial" panose="020B0604020202020204" pitchFamily="34" charset="0"/>
              <a:buChar char="•"/>
            </a:pPr>
            <a:r>
              <a:rPr lang="en-US" sz="1400" dirty="0" smtClean="0">
                <a:solidFill>
                  <a:schemeClr val="tx1"/>
                </a:solidFill>
              </a:rPr>
              <a:t>Top barriers include limited faculty time, limited budget, and students not taking advantage of resources</a:t>
            </a:r>
          </a:p>
          <a:p>
            <a:pPr marL="285750" indent="-285750">
              <a:buFont typeface="Arial" panose="020B0604020202020204" pitchFamily="34" charset="0"/>
              <a:buChar char="•"/>
            </a:pPr>
            <a:r>
              <a:rPr lang="en-US" sz="1400" dirty="0" smtClean="0">
                <a:solidFill>
                  <a:schemeClr val="tx1"/>
                </a:solidFill>
              </a:rPr>
              <a:t>Clearer ownership</a:t>
            </a:r>
          </a:p>
          <a:p>
            <a:pPr marL="285750" indent="-285750">
              <a:buFont typeface="Arial" panose="020B0604020202020204" pitchFamily="34" charset="0"/>
              <a:buChar char="•"/>
            </a:pPr>
            <a:r>
              <a:rPr lang="en-US" sz="1400" dirty="0" smtClean="0">
                <a:solidFill>
                  <a:schemeClr val="tx1"/>
                </a:solidFill>
              </a:rPr>
              <a:t>Content more heavily weighted toward goal setting and career planning</a:t>
            </a:r>
            <a:endParaRPr lang="en-US" sz="1400" dirty="0">
              <a:solidFill>
                <a:schemeClr val="tx1"/>
              </a:solidFill>
            </a:endParaRPr>
          </a:p>
        </p:txBody>
      </p:sp>
      <p:sp>
        <p:nvSpPr>
          <p:cNvPr id="88" name="Rectangle 87"/>
          <p:cNvSpPr/>
          <p:nvPr/>
        </p:nvSpPr>
        <p:spPr>
          <a:xfrm>
            <a:off x="3273264" y="1381526"/>
            <a:ext cx="2694540" cy="590149"/>
          </a:xfrm>
          <a:prstGeom prst="rect">
            <a:avLst/>
          </a:prstGeom>
          <a:solidFill>
            <a:schemeClr val="accent6"/>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lvl="0" algn="ctr"/>
            <a:r>
              <a:rPr lang="en-US" b="1" dirty="0" smtClean="0"/>
              <a:t>Moderate Tech. Users</a:t>
            </a:r>
            <a:endParaRPr lang="en-US" b="1" dirty="0"/>
          </a:p>
          <a:p>
            <a:pPr lvl="0" algn="ctr"/>
            <a:r>
              <a:rPr lang="en-US" b="1" dirty="0" smtClean="0"/>
              <a:t>59%</a:t>
            </a:r>
            <a:endParaRPr lang="en-US" dirty="0"/>
          </a:p>
        </p:txBody>
      </p:sp>
      <p:sp>
        <p:nvSpPr>
          <p:cNvPr id="89" name="Rectangle 88"/>
          <p:cNvSpPr/>
          <p:nvPr/>
        </p:nvSpPr>
        <p:spPr>
          <a:xfrm>
            <a:off x="3273264" y="1975277"/>
            <a:ext cx="2694540" cy="3585122"/>
          </a:xfrm>
          <a:prstGeom prst="rect">
            <a:avLst/>
          </a:prstGeom>
          <a:solidFill>
            <a:schemeClr val="accent6">
              <a:lumMod val="40000"/>
              <a:lumOff val="60000"/>
            </a:schemeClr>
          </a:solidFill>
          <a:ln>
            <a:noFill/>
          </a:ln>
        </p:spPr>
        <p:style>
          <a:lnRef idx="1">
            <a:schemeClr val="accent2"/>
          </a:lnRef>
          <a:fillRef idx="3">
            <a:schemeClr val="accent2"/>
          </a:fillRef>
          <a:effectRef idx="2">
            <a:schemeClr val="accent2"/>
          </a:effectRef>
          <a:fontRef idx="minor">
            <a:schemeClr val="lt1"/>
          </a:fontRef>
        </p:style>
        <p:txBody>
          <a:bodyPr rtlCol="0" anchor="t"/>
          <a:lstStyle/>
          <a:p>
            <a:pPr marL="171450" indent="-171450" fontAlgn="b">
              <a:buFont typeface="Arial" panose="020B0604020202020204" pitchFamily="34" charset="0"/>
              <a:buChar char="•"/>
            </a:pPr>
            <a:r>
              <a:rPr lang="en-US" sz="1400" dirty="0" smtClean="0">
                <a:solidFill>
                  <a:schemeClr val="tx1"/>
                </a:solidFill>
              </a:rPr>
              <a:t>Fall directly between IPASS Adopters and limited tech. users in their perspective on achieving an ideal advising situation as well as communication and funding growth</a:t>
            </a:r>
          </a:p>
          <a:p>
            <a:pPr marL="171450" indent="-171450" fontAlgn="b">
              <a:buFont typeface="Arial" panose="020B0604020202020204" pitchFamily="34" charset="0"/>
              <a:buChar char="•"/>
            </a:pPr>
            <a:r>
              <a:rPr lang="en-US" sz="1400" dirty="0" smtClean="0">
                <a:solidFill>
                  <a:schemeClr val="tx1"/>
                </a:solidFill>
              </a:rPr>
              <a:t>Less clear ownership than IPASS Adopters</a:t>
            </a:r>
          </a:p>
          <a:p>
            <a:pPr marL="171450" indent="-171450" fontAlgn="b">
              <a:buFont typeface="Arial" panose="020B0604020202020204" pitchFamily="34" charset="0"/>
              <a:buChar char="•"/>
            </a:pPr>
            <a:r>
              <a:rPr lang="en-US" sz="1400" dirty="0" smtClean="0">
                <a:solidFill>
                  <a:schemeClr val="tx1"/>
                </a:solidFill>
              </a:rPr>
              <a:t>Top barriers include limited budget, limited advisor resources, and limited faculty time</a:t>
            </a:r>
          </a:p>
          <a:p>
            <a:pPr marL="171450" indent="-171450" fontAlgn="b">
              <a:buFont typeface="Arial" panose="020B0604020202020204" pitchFamily="34" charset="0"/>
              <a:buChar char="•"/>
            </a:pPr>
            <a:r>
              <a:rPr lang="en-US" sz="1400" dirty="0" smtClean="0">
                <a:solidFill>
                  <a:schemeClr val="tx1"/>
                </a:solidFill>
              </a:rPr>
              <a:t>More optimistic on tools for planning and advising than others</a:t>
            </a:r>
          </a:p>
        </p:txBody>
      </p:sp>
      <p:sp>
        <p:nvSpPr>
          <p:cNvPr id="90" name="Rectangle 89"/>
          <p:cNvSpPr/>
          <p:nvPr/>
        </p:nvSpPr>
        <p:spPr>
          <a:xfrm>
            <a:off x="5947010" y="1381526"/>
            <a:ext cx="2694538" cy="590149"/>
          </a:xfrm>
          <a:prstGeom prst="rect">
            <a:avLst/>
          </a:prstGeom>
          <a:ln>
            <a:noFill/>
          </a:ln>
        </p:spPr>
        <p:style>
          <a:lnRef idx="1">
            <a:schemeClr val="accent4"/>
          </a:lnRef>
          <a:fillRef idx="3">
            <a:schemeClr val="accent4"/>
          </a:fillRef>
          <a:effectRef idx="2">
            <a:schemeClr val="accent4"/>
          </a:effectRef>
          <a:fontRef idx="minor">
            <a:schemeClr val="lt1"/>
          </a:fontRef>
        </p:style>
        <p:txBody>
          <a:bodyPr rtlCol="0" anchor="ctr"/>
          <a:lstStyle/>
          <a:p>
            <a:pPr lvl="0" algn="ctr"/>
            <a:r>
              <a:rPr lang="en-US" b="1" dirty="0" smtClean="0"/>
              <a:t>Limited Tech. Users</a:t>
            </a:r>
            <a:endParaRPr lang="en-US" b="1" dirty="0"/>
          </a:p>
          <a:p>
            <a:pPr algn="ctr"/>
            <a:r>
              <a:rPr lang="en-US" b="1" dirty="0" smtClean="0"/>
              <a:t>29%</a:t>
            </a:r>
            <a:endParaRPr lang="en-US" b="1" dirty="0"/>
          </a:p>
        </p:txBody>
      </p:sp>
      <p:sp>
        <p:nvSpPr>
          <p:cNvPr id="92" name="Rectangle 91"/>
          <p:cNvSpPr/>
          <p:nvPr/>
        </p:nvSpPr>
        <p:spPr>
          <a:xfrm>
            <a:off x="5956304" y="1960619"/>
            <a:ext cx="2683582" cy="3607025"/>
          </a:xfrm>
          <a:prstGeom prst="rect">
            <a:avLst/>
          </a:prstGeom>
          <a:solidFill>
            <a:schemeClr val="accent4">
              <a:lumMod val="40000"/>
              <a:lumOff val="60000"/>
            </a:schemeClr>
          </a:solidFill>
          <a:ln>
            <a:noFill/>
          </a:ln>
        </p:spPr>
        <p:style>
          <a:lnRef idx="1">
            <a:schemeClr val="accent4"/>
          </a:lnRef>
          <a:fillRef idx="3">
            <a:schemeClr val="accent4"/>
          </a:fillRef>
          <a:effectRef idx="2">
            <a:schemeClr val="accent4"/>
          </a:effectRef>
          <a:fontRef idx="minor">
            <a:schemeClr val="lt1"/>
          </a:fontRef>
        </p:style>
        <p:txBody>
          <a:bodyPr rtlCol="0" anchor="t"/>
          <a:lstStyle/>
          <a:p>
            <a:pPr marL="171450" indent="-171450" fontAlgn="b">
              <a:buFont typeface="Arial" panose="020B0604020202020204" pitchFamily="34" charset="0"/>
              <a:buChar char="•"/>
            </a:pPr>
            <a:r>
              <a:rPr lang="en-US" sz="1400" dirty="0" smtClean="0">
                <a:solidFill>
                  <a:schemeClr val="tx1"/>
                </a:solidFill>
              </a:rPr>
              <a:t>Across the board, less clear on ownership, communication, and funding</a:t>
            </a:r>
          </a:p>
          <a:p>
            <a:pPr marL="171450" indent="-171450" fontAlgn="b">
              <a:buFont typeface="Arial" panose="020B0604020202020204" pitchFamily="34" charset="0"/>
              <a:buChar char="•"/>
            </a:pPr>
            <a:r>
              <a:rPr lang="en-US" sz="1400" dirty="0" smtClean="0">
                <a:solidFill>
                  <a:schemeClr val="tx1"/>
                </a:solidFill>
              </a:rPr>
              <a:t>Very unlikely to recommend any planning and advising tools to a colleague</a:t>
            </a:r>
          </a:p>
          <a:p>
            <a:pPr marL="171450" indent="-171450" fontAlgn="b">
              <a:buFont typeface="Arial" panose="020B0604020202020204" pitchFamily="34" charset="0"/>
              <a:buChar char="•"/>
            </a:pPr>
            <a:r>
              <a:rPr lang="en-US" sz="1400" dirty="0" smtClean="0">
                <a:solidFill>
                  <a:schemeClr val="tx1"/>
                </a:solidFill>
              </a:rPr>
              <a:t>Top barriers include limited budget, lack of coordination across departments, and technology integration challenges</a:t>
            </a:r>
          </a:p>
          <a:p>
            <a:pPr fontAlgn="b"/>
            <a:endParaRPr lang="en-US" sz="1600" dirty="0">
              <a:solidFill>
                <a:schemeClr val="tx1"/>
              </a:solidFill>
            </a:endParaRPr>
          </a:p>
          <a:p>
            <a:pPr marL="171450" indent="-171450" fontAlgn="b">
              <a:buFont typeface="Arial" panose="020B0604020202020204" pitchFamily="34" charset="0"/>
              <a:buChar char="•"/>
            </a:pPr>
            <a:endParaRPr lang="en-US" sz="1600" dirty="0">
              <a:solidFill>
                <a:schemeClr val="tx1"/>
              </a:solidFill>
            </a:endParaRPr>
          </a:p>
        </p:txBody>
      </p:sp>
      <p:sp>
        <p:nvSpPr>
          <p:cNvPr id="93" name="TextBox 92"/>
          <p:cNvSpPr txBox="1"/>
          <p:nvPr/>
        </p:nvSpPr>
        <p:spPr>
          <a:xfrm>
            <a:off x="4227411" y="5987589"/>
            <a:ext cx="544002" cy="307777"/>
          </a:xfrm>
          <a:prstGeom prst="rect">
            <a:avLst/>
          </a:prstGeom>
          <a:noFill/>
        </p:spPr>
        <p:txBody>
          <a:bodyPr wrap="none" rtlCol="0">
            <a:spAutoFit/>
          </a:bodyPr>
          <a:lstStyle/>
          <a:p>
            <a:r>
              <a:rPr lang="en-US" sz="1400" b="1" dirty="0" smtClean="0"/>
              <a:t>19%</a:t>
            </a:r>
          </a:p>
        </p:txBody>
      </p:sp>
      <p:sp>
        <p:nvSpPr>
          <p:cNvPr id="94" name="TextBox 93"/>
          <p:cNvSpPr txBox="1"/>
          <p:nvPr/>
        </p:nvSpPr>
        <p:spPr>
          <a:xfrm>
            <a:off x="7062544" y="5987589"/>
            <a:ext cx="543739" cy="307777"/>
          </a:xfrm>
          <a:prstGeom prst="rect">
            <a:avLst/>
          </a:prstGeom>
          <a:noFill/>
        </p:spPr>
        <p:txBody>
          <a:bodyPr wrap="none" rtlCol="0">
            <a:spAutoFit/>
          </a:bodyPr>
          <a:lstStyle/>
          <a:p>
            <a:r>
              <a:rPr lang="en-US" sz="1400" b="1" dirty="0" smtClean="0"/>
              <a:t>10%</a:t>
            </a:r>
          </a:p>
        </p:txBody>
      </p:sp>
      <p:sp>
        <p:nvSpPr>
          <p:cNvPr id="95" name="TextBox 94"/>
          <p:cNvSpPr txBox="1"/>
          <p:nvPr/>
        </p:nvSpPr>
        <p:spPr>
          <a:xfrm>
            <a:off x="-10108" y="5664419"/>
            <a:ext cx="1782924" cy="1015663"/>
          </a:xfrm>
          <a:prstGeom prst="rect">
            <a:avLst/>
          </a:prstGeom>
          <a:noFill/>
        </p:spPr>
        <p:txBody>
          <a:bodyPr wrap="square" rtlCol="0">
            <a:spAutoFit/>
          </a:bodyPr>
          <a:lstStyle/>
          <a:p>
            <a:r>
              <a:rPr lang="en-US" sz="1200" dirty="0" smtClean="0"/>
              <a:t>*</a:t>
            </a:r>
            <a:r>
              <a:rPr lang="en-US" sz="1200" i="1" dirty="0"/>
              <a:t>Overall, my institution successfully achieves an ideal advising situation  </a:t>
            </a:r>
            <a:r>
              <a:rPr lang="en-US" sz="1200" i="1" dirty="0" smtClean="0"/>
              <a:t>(% who agree)</a:t>
            </a:r>
            <a:endParaRPr lang="en-US" sz="1200" i="1" dirty="0"/>
          </a:p>
        </p:txBody>
      </p:sp>
      <p:sp>
        <p:nvSpPr>
          <p:cNvPr id="96" name="TextBox 95"/>
          <p:cNvSpPr txBox="1"/>
          <p:nvPr/>
        </p:nvSpPr>
        <p:spPr>
          <a:xfrm>
            <a:off x="1608847" y="5987589"/>
            <a:ext cx="662010" cy="307778"/>
          </a:xfrm>
          <a:prstGeom prst="rect">
            <a:avLst/>
          </a:prstGeom>
          <a:noFill/>
        </p:spPr>
        <p:txBody>
          <a:bodyPr wrap="square" rtlCol="0">
            <a:spAutoFit/>
          </a:bodyPr>
          <a:lstStyle/>
          <a:p>
            <a:r>
              <a:rPr lang="en-US" sz="1400" b="1" dirty="0" smtClean="0"/>
              <a:t>35%</a:t>
            </a:r>
          </a:p>
        </p:txBody>
      </p:sp>
    </p:spTree>
    <p:extLst>
      <p:ext uri="{BB962C8B-B14F-4D97-AF65-F5344CB8AC3E}">
        <p14:creationId xmlns:p14="http://schemas.microsoft.com/office/powerpoint/2010/main" val="15550756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6061281-BD0D-6F47-BBB8-8F6BE6AA34E7}" type="slidenum">
              <a:rPr lang="en-US" smtClean="0"/>
              <a:t>24</a:t>
            </a:fld>
            <a:endParaRPr lang="en-US"/>
          </a:p>
        </p:txBody>
      </p:sp>
      <p:sp>
        <p:nvSpPr>
          <p:cNvPr id="3" name="Content Placeholder 2"/>
          <p:cNvSpPr>
            <a:spLocks noGrp="1"/>
          </p:cNvSpPr>
          <p:nvPr>
            <p:ph idx="13"/>
          </p:nvPr>
        </p:nvSpPr>
        <p:spPr/>
        <p:txBody>
          <a:bodyPr>
            <a:normAutofit/>
          </a:bodyPr>
          <a:lstStyle/>
          <a:p>
            <a:r>
              <a:rPr lang="en-US" sz="900" dirty="0"/>
              <a:t>Sources: </a:t>
            </a:r>
            <a:r>
              <a:rPr lang="en-US" sz="900" dirty="0" smtClean="0"/>
              <a:t>Tyton Partners Analysis</a:t>
            </a:r>
            <a:endParaRPr lang="en-US" sz="900" dirty="0"/>
          </a:p>
        </p:txBody>
      </p:sp>
      <p:sp>
        <p:nvSpPr>
          <p:cNvPr id="4" name="Content Placeholder 3"/>
          <p:cNvSpPr>
            <a:spLocks noGrp="1"/>
          </p:cNvSpPr>
          <p:nvPr>
            <p:ph idx="14"/>
          </p:nvPr>
        </p:nvSpPr>
        <p:spPr/>
        <p:txBody>
          <a:bodyPr/>
          <a:lstStyle/>
          <a:p>
            <a:r>
              <a:rPr lang="en-US" dirty="0" smtClean="0"/>
              <a:t>IPASS Adopters Are More Satisfied With Their Tools But There Is Significant Room For Improvement</a:t>
            </a:r>
            <a:endParaRPr lang="en-US" dirty="0"/>
          </a:p>
        </p:txBody>
      </p:sp>
      <p:grpSp>
        <p:nvGrpSpPr>
          <p:cNvPr id="81" name="Group 80"/>
          <p:cNvGrpSpPr/>
          <p:nvPr>
            <p:custDataLst>
              <p:tags r:id="rId1"/>
            </p:custDataLst>
          </p:nvPr>
        </p:nvGrpSpPr>
        <p:grpSpPr>
          <a:xfrm>
            <a:off x="570450" y="1951015"/>
            <a:ext cx="8044346" cy="4406663"/>
            <a:chOff x="570450" y="1951015"/>
            <a:chExt cx="8044346" cy="4406663"/>
          </a:xfrm>
        </p:grpSpPr>
        <p:sp>
          <p:nvSpPr>
            <p:cNvPr id="6" name="Rectangle 5"/>
            <p:cNvSpPr/>
            <p:nvPr>
              <p:custDataLst>
                <p:tags r:id="rId2"/>
              </p:custDataLst>
            </p:nvPr>
          </p:nvSpPr>
          <p:spPr bwMode="gray">
            <a:xfrm>
              <a:off x="5183387" y="4042198"/>
              <a:ext cx="1166667" cy="1649051"/>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7" name="Rectangle 6"/>
            <p:cNvSpPr/>
            <p:nvPr>
              <p:custDataLst>
                <p:tags r:id="rId3"/>
              </p:custDataLst>
            </p:nvPr>
          </p:nvSpPr>
          <p:spPr bwMode="gray">
            <a:xfrm>
              <a:off x="7050053" y="3170737"/>
              <a:ext cx="1166667" cy="2520512"/>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8" name="Rectangle 7"/>
            <p:cNvSpPr/>
            <p:nvPr>
              <p:custDataLst>
                <p:tags r:id="rId4"/>
              </p:custDataLst>
            </p:nvPr>
          </p:nvSpPr>
          <p:spPr bwMode="gray">
            <a:xfrm>
              <a:off x="1450053" y="3946825"/>
              <a:ext cx="1166667" cy="1744422"/>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 name="Rectangle 8"/>
            <p:cNvSpPr/>
            <p:nvPr>
              <p:custDataLst>
                <p:tags r:id="rId5"/>
              </p:custDataLst>
            </p:nvPr>
          </p:nvSpPr>
          <p:spPr bwMode="gray">
            <a:xfrm>
              <a:off x="3316720" y="4510048"/>
              <a:ext cx="1166667" cy="1181200"/>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 name="Rectangle 9"/>
            <p:cNvSpPr/>
            <p:nvPr>
              <p:custDataLst>
                <p:tags r:id="rId6"/>
              </p:custDataLst>
            </p:nvPr>
          </p:nvSpPr>
          <p:spPr bwMode="gray">
            <a:xfrm>
              <a:off x="5183387" y="2281472"/>
              <a:ext cx="1166667" cy="684904"/>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1" name="Rectangle 10"/>
            <p:cNvSpPr/>
            <p:nvPr>
              <p:custDataLst>
                <p:tags r:id="rId7"/>
              </p:custDataLst>
            </p:nvPr>
          </p:nvSpPr>
          <p:spPr bwMode="gray">
            <a:xfrm>
              <a:off x="7050053" y="2281472"/>
              <a:ext cx="1166667" cy="256423"/>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2" name="Rectangle 11"/>
            <p:cNvSpPr/>
            <p:nvPr>
              <p:custDataLst>
                <p:tags r:id="rId8"/>
              </p:custDataLst>
            </p:nvPr>
          </p:nvSpPr>
          <p:spPr bwMode="gray">
            <a:xfrm>
              <a:off x="1450053" y="2281472"/>
              <a:ext cx="1166667" cy="648246"/>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3" name="Rectangle 12"/>
            <p:cNvSpPr/>
            <p:nvPr>
              <p:custDataLst>
                <p:tags r:id="rId9"/>
              </p:custDataLst>
            </p:nvPr>
          </p:nvSpPr>
          <p:spPr bwMode="gray">
            <a:xfrm>
              <a:off x="3316720" y="2281472"/>
              <a:ext cx="1166667" cy="990050"/>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4" name="Rectangle 13"/>
            <p:cNvSpPr/>
            <p:nvPr>
              <p:custDataLst>
                <p:tags r:id="rId10"/>
              </p:custDataLst>
            </p:nvPr>
          </p:nvSpPr>
          <p:spPr bwMode="gray">
            <a:xfrm>
              <a:off x="3316720" y="3271521"/>
              <a:ext cx="1166667" cy="1238526"/>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5" name="Rectangle 14"/>
            <p:cNvSpPr/>
            <p:nvPr>
              <p:custDataLst>
                <p:tags r:id="rId11"/>
              </p:custDataLst>
            </p:nvPr>
          </p:nvSpPr>
          <p:spPr bwMode="gray">
            <a:xfrm>
              <a:off x="5183387" y="2966376"/>
              <a:ext cx="1166667" cy="1075822"/>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6" name="Rectangle 15"/>
            <p:cNvSpPr/>
            <p:nvPr>
              <p:custDataLst>
                <p:tags r:id="rId12"/>
              </p:custDataLst>
            </p:nvPr>
          </p:nvSpPr>
          <p:spPr bwMode="gray">
            <a:xfrm>
              <a:off x="1450053" y="2929717"/>
              <a:ext cx="1166667" cy="1017107"/>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7" name="Rectangle 16"/>
            <p:cNvSpPr/>
            <p:nvPr>
              <p:custDataLst>
                <p:tags r:id="rId13"/>
              </p:custDataLst>
            </p:nvPr>
          </p:nvSpPr>
          <p:spPr bwMode="gray">
            <a:xfrm>
              <a:off x="7050053" y="2537894"/>
              <a:ext cx="1166667" cy="632842"/>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cxnSp>
          <p:nvCxnSpPr>
            <p:cNvPr id="61" name="Straight Connector 60"/>
            <p:cNvCxnSpPr/>
            <p:nvPr>
              <p:custDataLst>
                <p:tags r:id="rId14"/>
              </p:custDataLst>
            </p:nvPr>
          </p:nvCxnSpPr>
          <p:spPr bwMode="gray">
            <a:xfrm flipV="1">
              <a:off x="1100053" y="2281472"/>
              <a:ext cx="0" cy="3409776"/>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custDataLst>
                <p:tags r:id="rId15"/>
              </p:custDataLst>
            </p:nvPr>
          </p:nvCxnSpPr>
          <p:spPr bwMode="gray">
            <a:xfrm>
              <a:off x="1100053" y="5691248"/>
              <a:ext cx="7466668"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custDataLst>
                <p:tags r:id="rId16"/>
              </p:custDataLst>
            </p:nvPr>
          </p:nvCxnSpPr>
          <p:spPr bwMode="gray">
            <a:xfrm flipH="1">
              <a:off x="1049253" y="5350270"/>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custDataLst>
                <p:tags r:id="rId17"/>
              </p:custDataLst>
            </p:nvPr>
          </p:nvCxnSpPr>
          <p:spPr bwMode="gray">
            <a:xfrm flipH="1">
              <a:off x="1049253" y="4668315"/>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p:custDataLst>
                <p:tags r:id="rId18"/>
              </p:custDataLst>
            </p:nvPr>
          </p:nvCxnSpPr>
          <p:spPr bwMode="gray">
            <a:xfrm flipH="1">
              <a:off x="1049253" y="3645383"/>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custDataLst>
                <p:tags r:id="rId19"/>
              </p:custDataLst>
            </p:nvPr>
          </p:nvCxnSpPr>
          <p:spPr bwMode="gray">
            <a:xfrm flipH="1">
              <a:off x="1049253" y="4327337"/>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p:custDataLst>
                <p:tags r:id="rId20"/>
              </p:custDataLst>
            </p:nvPr>
          </p:nvCxnSpPr>
          <p:spPr bwMode="gray">
            <a:xfrm flipH="1">
              <a:off x="1049253" y="5009293"/>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custDataLst>
                <p:tags r:id="rId21"/>
              </p:custDataLst>
            </p:nvPr>
          </p:nvCxnSpPr>
          <p:spPr bwMode="gray">
            <a:xfrm flipH="1">
              <a:off x="1049253" y="3304405"/>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p:custDataLst>
                <p:tags r:id="rId22"/>
              </p:custDataLst>
            </p:nvPr>
          </p:nvCxnSpPr>
          <p:spPr bwMode="gray">
            <a:xfrm flipH="1">
              <a:off x="1049253" y="2281472"/>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p:custDataLst>
                <p:tags r:id="rId23"/>
              </p:custDataLst>
            </p:nvPr>
          </p:nvCxnSpPr>
          <p:spPr bwMode="gray">
            <a:xfrm flipH="1">
              <a:off x="1049253" y="3986360"/>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custDataLst>
                <p:tags r:id="rId24"/>
              </p:custDataLst>
            </p:nvPr>
          </p:nvCxnSpPr>
          <p:spPr bwMode="gray">
            <a:xfrm flipH="1">
              <a:off x="1049253" y="2622450"/>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custDataLst>
                <p:tags r:id="rId25"/>
              </p:custDataLst>
            </p:nvPr>
          </p:nvCxnSpPr>
          <p:spPr bwMode="gray">
            <a:xfrm flipH="1">
              <a:off x="1049253" y="2963427"/>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custDataLst>
                <p:tags r:id="rId26"/>
              </p:custDataLst>
            </p:nvPr>
          </p:nvCxnSpPr>
          <p:spPr bwMode="gray">
            <a:xfrm flipH="1">
              <a:off x="1049253" y="5691248"/>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41" name="TextBox 40"/>
            <p:cNvSpPr txBox="1"/>
            <p:nvPr>
              <p:custDataLst>
                <p:tags r:id="rId27"/>
              </p:custDataLst>
            </p:nvPr>
          </p:nvSpPr>
          <p:spPr bwMode="gray">
            <a:xfrm>
              <a:off x="700176" y="4235004"/>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40%</a:t>
              </a:r>
              <a:endParaRPr lang="en-US" sz="1200">
                <a:effectLst/>
                <a:latin typeface="Arial"/>
              </a:endParaRPr>
            </a:p>
          </p:txBody>
        </p:sp>
        <p:sp>
          <p:nvSpPr>
            <p:cNvPr id="38" name="TextBox 37"/>
            <p:cNvSpPr txBox="1"/>
            <p:nvPr>
              <p:custDataLst>
                <p:tags r:id="rId28"/>
              </p:custDataLst>
            </p:nvPr>
          </p:nvSpPr>
          <p:spPr bwMode="gray">
            <a:xfrm>
              <a:off x="700176" y="4916960"/>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20%</a:t>
              </a:r>
              <a:endParaRPr lang="en-US" sz="1200">
                <a:effectLst/>
                <a:latin typeface="Arial"/>
              </a:endParaRPr>
            </a:p>
          </p:txBody>
        </p:sp>
        <p:sp>
          <p:nvSpPr>
            <p:cNvPr id="33" name="TextBox 32"/>
            <p:cNvSpPr txBox="1"/>
            <p:nvPr>
              <p:custDataLst>
                <p:tags r:id="rId29"/>
              </p:custDataLst>
            </p:nvPr>
          </p:nvSpPr>
          <p:spPr bwMode="gray">
            <a:xfrm>
              <a:off x="700176" y="5257937"/>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10%</a:t>
              </a:r>
              <a:endParaRPr lang="en-US" sz="1200">
                <a:effectLst/>
                <a:latin typeface="Arial"/>
              </a:endParaRPr>
            </a:p>
          </p:txBody>
        </p:sp>
        <p:sp>
          <p:nvSpPr>
            <p:cNvPr id="42" name="TextBox 41"/>
            <p:cNvSpPr txBox="1"/>
            <p:nvPr>
              <p:custDataLst>
                <p:tags r:id="rId30"/>
              </p:custDataLst>
            </p:nvPr>
          </p:nvSpPr>
          <p:spPr bwMode="gray">
            <a:xfrm>
              <a:off x="700176" y="4575982"/>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30%</a:t>
              </a:r>
              <a:endParaRPr lang="en-US" sz="1200">
                <a:effectLst/>
                <a:latin typeface="Arial"/>
              </a:endParaRPr>
            </a:p>
          </p:txBody>
        </p:sp>
        <p:sp>
          <p:nvSpPr>
            <p:cNvPr id="35" name="TextBox 34"/>
            <p:cNvSpPr txBox="1"/>
            <p:nvPr>
              <p:custDataLst>
                <p:tags r:id="rId31"/>
              </p:custDataLst>
            </p:nvPr>
          </p:nvSpPr>
          <p:spPr bwMode="gray">
            <a:xfrm>
              <a:off x="785761" y="5598915"/>
              <a:ext cx="266045"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0%</a:t>
              </a:r>
              <a:endParaRPr lang="en-US" sz="1200">
                <a:effectLst/>
                <a:latin typeface="Arial"/>
              </a:endParaRPr>
            </a:p>
          </p:txBody>
        </p:sp>
        <p:sp>
          <p:nvSpPr>
            <p:cNvPr id="31" name="TextBox 30"/>
            <p:cNvSpPr txBox="1"/>
            <p:nvPr>
              <p:custDataLst>
                <p:tags r:id="rId32"/>
              </p:custDataLst>
            </p:nvPr>
          </p:nvSpPr>
          <p:spPr bwMode="gray">
            <a:xfrm>
              <a:off x="700176" y="3212072"/>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70%</a:t>
              </a:r>
              <a:endParaRPr lang="en-US" sz="1200">
                <a:effectLst/>
                <a:latin typeface="Arial"/>
              </a:endParaRPr>
            </a:p>
          </p:txBody>
        </p:sp>
        <p:sp>
          <p:nvSpPr>
            <p:cNvPr id="32" name="TextBox 31"/>
            <p:cNvSpPr txBox="1"/>
            <p:nvPr>
              <p:custDataLst>
                <p:tags r:id="rId33"/>
              </p:custDataLst>
            </p:nvPr>
          </p:nvSpPr>
          <p:spPr bwMode="gray">
            <a:xfrm>
              <a:off x="700176" y="3553049"/>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60%</a:t>
              </a:r>
              <a:endParaRPr lang="en-US" sz="1200">
                <a:effectLst/>
                <a:latin typeface="Arial"/>
              </a:endParaRPr>
            </a:p>
          </p:txBody>
        </p:sp>
        <p:sp>
          <p:nvSpPr>
            <p:cNvPr id="43" name="TextBox 42"/>
            <p:cNvSpPr txBox="1"/>
            <p:nvPr>
              <p:custDataLst>
                <p:tags r:id="rId34"/>
              </p:custDataLst>
            </p:nvPr>
          </p:nvSpPr>
          <p:spPr bwMode="gray">
            <a:xfrm>
              <a:off x="700176" y="2871094"/>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80%</a:t>
              </a:r>
              <a:endParaRPr lang="en-US" sz="1200">
                <a:effectLst/>
                <a:latin typeface="Arial"/>
              </a:endParaRPr>
            </a:p>
          </p:txBody>
        </p:sp>
        <p:sp>
          <p:nvSpPr>
            <p:cNvPr id="62" name="TextBox 61"/>
            <p:cNvSpPr txBox="1"/>
            <p:nvPr>
              <p:custDataLst>
                <p:tags r:id="rId35"/>
              </p:custDataLst>
            </p:nvPr>
          </p:nvSpPr>
          <p:spPr bwMode="gray">
            <a:xfrm>
              <a:off x="700176" y="2530117"/>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90%</a:t>
              </a:r>
              <a:endParaRPr lang="en-US" sz="1200">
                <a:effectLst/>
                <a:latin typeface="Arial"/>
              </a:endParaRPr>
            </a:p>
          </p:txBody>
        </p:sp>
        <p:sp>
          <p:nvSpPr>
            <p:cNvPr id="63" name="TextBox 62"/>
            <p:cNvSpPr txBox="1"/>
            <p:nvPr>
              <p:custDataLst>
                <p:tags r:id="rId36"/>
              </p:custDataLst>
            </p:nvPr>
          </p:nvSpPr>
          <p:spPr bwMode="gray">
            <a:xfrm>
              <a:off x="700176" y="3894027"/>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50%</a:t>
              </a:r>
              <a:endParaRPr lang="en-US" sz="1200">
                <a:effectLst/>
                <a:latin typeface="Arial"/>
              </a:endParaRPr>
            </a:p>
          </p:txBody>
        </p:sp>
        <p:sp>
          <p:nvSpPr>
            <p:cNvPr id="64" name="TextBox 63"/>
            <p:cNvSpPr txBox="1"/>
            <p:nvPr>
              <p:custDataLst>
                <p:tags r:id="rId37"/>
              </p:custDataLst>
            </p:nvPr>
          </p:nvSpPr>
          <p:spPr bwMode="gray">
            <a:xfrm>
              <a:off x="614591" y="2189139"/>
              <a:ext cx="437215"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100%</a:t>
              </a:r>
              <a:endParaRPr lang="en-US" sz="1200">
                <a:effectLst/>
                <a:latin typeface="Arial"/>
              </a:endParaRPr>
            </a:p>
          </p:txBody>
        </p:sp>
        <p:sp>
          <p:nvSpPr>
            <p:cNvPr id="44" name="TextBox 43"/>
            <p:cNvSpPr txBox="1"/>
            <p:nvPr>
              <p:custDataLst>
                <p:tags r:id="rId38"/>
              </p:custDataLst>
            </p:nvPr>
          </p:nvSpPr>
          <p:spPr bwMode="gray">
            <a:xfrm>
              <a:off x="5133335" y="5754748"/>
              <a:ext cx="1266769" cy="369332"/>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dirty="0" smtClean="0">
                  <a:effectLst/>
                  <a:latin typeface="Arial"/>
                </a:rPr>
                <a:t>Moderate</a:t>
              </a:r>
            </a:p>
            <a:p>
              <a:pPr algn="ctr"/>
              <a:r>
                <a:rPr lang="en-US" sz="1200" dirty="0" smtClean="0">
                  <a:effectLst/>
                  <a:latin typeface="Arial"/>
                </a:rPr>
                <a:t>Technology Users</a:t>
              </a:r>
              <a:endParaRPr lang="en-US" sz="1200" dirty="0">
                <a:effectLst/>
                <a:latin typeface="Arial"/>
              </a:endParaRPr>
            </a:p>
          </p:txBody>
        </p:sp>
        <p:sp>
          <p:nvSpPr>
            <p:cNvPr id="34" name="TextBox 33"/>
            <p:cNvSpPr txBox="1"/>
            <p:nvPr>
              <p:custDataLst>
                <p:tags r:id="rId39"/>
              </p:custDataLst>
            </p:nvPr>
          </p:nvSpPr>
          <p:spPr bwMode="gray">
            <a:xfrm>
              <a:off x="570450" y="6173012"/>
              <a:ext cx="360046"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r>
                <a:rPr lang="en-US" sz="1200" smtClean="0">
                  <a:effectLst/>
                  <a:latin typeface="Arial"/>
                </a:rPr>
                <a:t>NPS</a:t>
              </a:r>
              <a:endParaRPr lang="en-US" sz="1200">
                <a:effectLst/>
                <a:latin typeface="Arial"/>
              </a:endParaRPr>
            </a:p>
          </p:txBody>
        </p:sp>
        <p:sp>
          <p:nvSpPr>
            <p:cNvPr id="45" name="TextBox 44"/>
            <p:cNvSpPr txBox="1"/>
            <p:nvPr>
              <p:custDataLst>
                <p:tags r:id="rId40"/>
              </p:custDataLst>
            </p:nvPr>
          </p:nvSpPr>
          <p:spPr bwMode="gray">
            <a:xfrm>
              <a:off x="1849043" y="5754748"/>
              <a:ext cx="368687"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Total</a:t>
              </a:r>
              <a:endParaRPr lang="en-US" sz="1200">
                <a:effectLst/>
                <a:latin typeface="Arial"/>
              </a:endParaRPr>
            </a:p>
          </p:txBody>
        </p:sp>
        <p:sp>
          <p:nvSpPr>
            <p:cNvPr id="46" name="TextBox 45"/>
            <p:cNvSpPr txBox="1"/>
            <p:nvPr>
              <p:custDataLst>
                <p:tags r:id="rId41"/>
              </p:custDataLst>
            </p:nvPr>
          </p:nvSpPr>
          <p:spPr bwMode="gray">
            <a:xfrm>
              <a:off x="7000001" y="5754748"/>
              <a:ext cx="1266769" cy="369332"/>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dirty="0" smtClean="0">
                  <a:effectLst/>
                  <a:latin typeface="Arial"/>
                </a:rPr>
                <a:t>Limited</a:t>
              </a:r>
            </a:p>
            <a:p>
              <a:pPr algn="ctr"/>
              <a:r>
                <a:rPr lang="en-US" sz="1200" dirty="0" smtClean="0">
                  <a:effectLst/>
                  <a:latin typeface="Arial"/>
                </a:rPr>
                <a:t>Technology Users</a:t>
              </a:r>
              <a:endParaRPr lang="en-US" sz="1200" dirty="0">
                <a:effectLst/>
                <a:latin typeface="Arial"/>
              </a:endParaRPr>
            </a:p>
          </p:txBody>
        </p:sp>
        <p:sp>
          <p:nvSpPr>
            <p:cNvPr id="47" name="TextBox 46"/>
            <p:cNvSpPr txBox="1"/>
            <p:nvPr>
              <p:custDataLst>
                <p:tags r:id="rId42"/>
              </p:custDataLst>
            </p:nvPr>
          </p:nvSpPr>
          <p:spPr bwMode="gray">
            <a:xfrm>
              <a:off x="3563863" y="5754748"/>
              <a:ext cx="672381" cy="369332"/>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pPr algn="ctr"/>
              <a:r>
                <a:rPr lang="en-US" sz="1200" smtClean="0">
                  <a:effectLst/>
                  <a:latin typeface="Arial"/>
                </a:rPr>
                <a:t>IPASS </a:t>
              </a:r>
            </a:p>
            <a:p>
              <a:pPr algn="ctr"/>
              <a:r>
                <a:rPr lang="en-US" sz="1200" smtClean="0">
                  <a:effectLst/>
                  <a:latin typeface="Arial"/>
                </a:rPr>
                <a:t>Adopters</a:t>
              </a:r>
              <a:endParaRPr lang="en-US" sz="1200" dirty="0">
                <a:effectLst/>
                <a:latin typeface="Arial"/>
              </a:endParaRPr>
            </a:p>
          </p:txBody>
        </p:sp>
        <p:sp>
          <p:nvSpPr>
            <p:cNvPr id="65" name="TextBox 64"/>
            <p:cNvSpPr txBox="1"/>
            <p:nvPr>
              <p:custDataLst>
                <p:tags r:id="rId43"/>
              </p:custDataLst>
            </p:nvPr>
          </p:nvSpPr>
          <p:spPr bwMode="gray">
            <a:xfrm>
              <a:off x="5590904" y="4774390"/>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solidFill>
                    <a:schemeClr val="bg1"/>
                  </a:solidFill>
                  <a:effectLst/>
                  <a:latin typeface="Arial"/>
                </a:rPr>
                <a:t>48%</a:t>
              </a:r>
              <a:endParaRPr lang="en-US" sz="1200">
                <a:solidFill>
                  <a:schemeClr val="bg1"/>
                </a:solidFill>
                <a:effectLst/>
                <a:latin typeface="Arial"/>
              </a:endParaRPr>
            </a:p>
          </p:txBody>
        </p:sp>
        <p:sp>
          <p:nvSpPr>
            <p:cNvPr id="67" name="TextBox 66"/>
            <p:cNvSpPr txBox="1"/>
            <p:nvPr>
              <p:custDataLst>
                <p:tags r:id="rId44"/>
              </p:custDataLst>
            </p:nvPr>
          </p:nvSpPr>
          <p:spPr bwMode="gray">
            <a:xfrm>
              <a:off x="3724238" y="5008314"/>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solidFill>
                    <a:schemeClr val="bg1"/>
                  </a:solidFill>
                  <a:effectLst/>
                  <a:latin typeface="Arial"/>
                </a:rPr>
                <a:t>35%</a:t>
              </a:r>
              <a:endParaRPr lang="en-US" sz="1200">
                <a:solidFill>
                  <a:schemeClr val="bg1"/>
                </a:solidFill>
                <a:effectLst/>
                <a:latin typeface="Arial"/>
              </a:endParaRPr>
            </a:p>
          </p:txBody>
        </p:sp>
        <p:sp>
          <p:nvSpPr>
            <p:cNvPr id="68" name="TextBox 67"/>
            <p:cNvSpPr txBox="1"/>
            <p:nvPr>
              <p:custDataLst>
                <p:tags r:id="rId45"/>
              </p:custDataLst>
            </p:nvPr>
          </p:nvSpPr>
          <p:spPr bwMode="gray">
            <a:xfrm>
              <a:off x="7457571" y="4338659"/>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solidFill>
                    <a:schemeClr val="bg1"/>
                  </a:solidFill>
                  <a:effectLst/>
                  <a:latin typeface="Arial"/>
                </a:rPr>
                <a:t>74%</a:t>
              </a:r>
              <a:endParaRPr lang="en-US" sz="1200">
                <a:solidFill>
                  <a:schemeClr val="bg1"/>
                </a:solidFill>
                <a:effectLst/>
                <a:latin typeface="Arial"/>
              </a:endParaRPr>
            </a:p>
          </p:txBody>
        </p:sp>
        <p:sp>
          <p:nvSpPr>
            <p:cNvPr id="82" name="TextBox 81"/>
            <p:cNvSpPr txBox="1"/>
            <p:nvPr>
              <p:custDataLst>
                <p:tags r:id="rId46"/>
              </p:custDataLst>
            </p:nvPr>
          </p:nvSpPr>
          <p:spPr bwMode="gray">
            <a:xfrm>
              <a:off x="3724238" y="2684164"/>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solidFill>
                    <a:schemeClr val="bg1"/>
                  </a:solidFill>
                  <a:effectLst/>
                  <a:latin typeface="Arial"/>
                </a:rPr>
                <a:t>29%</a:t>
              </a:r>
              <a:endParaRPr lang="en-US" sz="1200">
                <a:solidFill>
                  <a:schemeClr val="bg1"/>
                </a:solidFill>
                <a:effectLst/>
                <a:latin typeface="Arial"/>
              </a:endParaRPr>
            </a:p>
          </p:txBody>
        </p:sp>
        <p:sp>
          <p:nvSpPr>
            <p:cNvPr id="83" name="TextBox 82"/>
            <p:cNvSpPr txBox="1"/>
            <p:nvPr>
              <p:custDataLst>
                <p:tags r:id="rId47"/>
              </p:custDataLst>
            </p:nvPr>
          </p:nvSpPr>
          <p:spPr bwMode="gray">
            <a:xfrm>
              <a:off x="1857572" y="2513261"/>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solidFill>
                    <a:schemeClr val="bg1"/>
                  </a:solidFill>
                  <a:effectLst/>
                  <a:latin typeface="Arial"/>
                </a:rPr>
                <a:t>19%</a:t>
              </a:r>
              <a:endParaRPr lang="en-US" sz="1200">
                <a:solidFill>
                  <a:schemeClr val="bg1"/>
                </a:solidFill>
                <a:effectLst/>
                <a:latin typeface="Arial"/>
              </a:endParaRPr>
            </a:p>
          </p:txBody>
        </p:sp>
        <p:sp>
          <p:nvSpPr>
            <p:cNvPr id="84" name="TextBox 83"/>
            <p:cNvSpPr txBox="1"/>
            <p:nvPr>
              <p:custDataLst>
                <p:tags r:id="rId48"/>
              </p:custDataLst>
            </p:nvPr>
          </p:nvSpPr>
          <p:spPr bwMode="gray">
            <a:xfrm>
              <a:off x="3724238" y="3798451"/>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solidFill>
                    <a:schemeClr val="bg1"/>
                  </a:solidFill>
                  <a:effectLst/>
                  <a:latin typeface="Arial"/>
                </a:rPr>
                <a:t>36%</a:t>
              </a:r>
              <a:endParaRPr lang="en-US" sz="1200">
                <a:solidFill>
                  <a:schemeClr val="bg1"/>
                </a:solidFill>
                <a:effectLst/>
                <a:latin typeface="Arial"/>
              </a:endParaRPr>
            </a:p>
          </p:txBody>
        </p:sp>
        <p:sp>
          <p:nvSpPr>
            <p:cNvPr id="85" name="TextBox 84"/>
            <p:cNvSpPr txBox="1"/>
            <p:nvPr>
              <p:custDataLst>
                <p:tags r:id="rId49"/>
              </p:custDataLst>
            </p:nvPr>
          </p:nvSpPr>
          <p:spPr bwMode="gray">
            <a:xfrm>
              <a:off x="1857572" y="3345938"/>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solidFill>
                    <a:schemeClr val="bg1"/>
                  </a:solidFill>
                  <a:effectLst/>
                  <a:latin typeface="Arial"/>
                </a:rPr>
                <a:t>30%</a:t>
              </a:r>
              <a:endParaRPr lang="en-US" sz="1200">
                <a:solidFill>
                  <a:schemeClr val="bg1"/>
                </a:solidFill>
                <a:effectLst/>
                <a:latin typeface="Arial"/>
              </a:endParaRPr>
            </a:p>
          </p:txBody>
        </p:sp>
        <p:sp>
          <p:nvSpPr>
            <p:cNvPr id="86" name="TextBox 85"/>
            <p:cNvSpPr txBox="1"/>
            <p:nvPr>
              <p:custDataLst>
                <p:tags r:id="rId50"/>
              </p:custDataLst>
            </p:nvPr>
          </p:nvSpPr>
          <p:spPr bwMode="gray">
            <a:xfrm>
              <a:off x="5590904" y="3411954"/>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solidFill>
                    <a:schemeClr val="bg1"/>
                  </a:solidFill>
                  <a:effectLst/>
                  <a:latin typeface="Arial"/>
                </a:rPr>
                <a:t>32%</a:t>
              </a:r>
              <a:endParaRPr lang="en-US" sz="1200">
                <a:solidFill>
                  <a:schemeClr val="bg1"/>
                </a:solidFill>
                <a:effectLst/>
                <a:latin typeface="Arial"/>
              </a:endParaRPr>
            </a:p>
          </p:txBody>
        </p:sp>
        <p:sp>
          <p:nvSpPr>
            <p:cNvPr id="87" name="TextBox 86"/>
            <p:cNvSpPr txBox="1"/>
            <p:nvPr>
              <p:custDataLst>
                <p:tags r:id="rId51"/>
              </p:custDataLst>
            </p:nvPr>
          </p:nvSpPr>
          <p:spPr bwMode="gray">
            <a:xfrm>
              <a:off x="1857572" y="4726703"/>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solidFill>
                    <a:schemeClr val="bg1"/>
                  </a:solidFill>
                  <a:effectLst/>
                  <a:latin typeface="Arial"/>
                </a:rPr>
                <a:t>51%</a:t>
              </a:r>
              <a:endParaRPr lang="en-US" sz="1200">
                <a:solidFill>
                  <a:schemeClr val="bg1"/>
                </a:solidFill>
                <a:effectLst/>
                <a:latin typeface="Arial"/>
              </a:endParaRPr>
            </a:p>
          </p:txBody>
        </p:sp>
        <p:sp>
          <p:nvSpPr>
            <p:cNvPr id="88" name="TextBox 87"/>
            <p:cNvSpPr txBox="1"/>
            <p:nvPr>
              <p:custDataLst>
                <p:tags r:id="rId52"/>
              </p:custDataLst>
            </p:nvPr>
          </p:nvSpPr>
          <p:spPr bwMode="gray">
            <a:xfrm>
              <a:off x="7457571" y="2761982"/>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solidFill>
                    <a:schemeClr val="bg1"/>
                  </a:solidFill>
                  <a:effectLst/>
                  <a:latin typeface="Arial"/>
                </a:rPr>
                <a:t>19%</a:t>
              </a:r>
              <a:endParaRPr lang="en-US" sz="1200">
                <a:solidFill>
                  <a:schemeClr val="bg1"/>
                </a:solidFill>
                <a:effectLst/>
                <a:latin typeface="Arial"/>
              </a:endParaRPr>
            </a:p>
          </p:txBody>
        </p:sp>
        <p:sp>
          <p:nvSpPr>
            <p:cNvPr id="36" name="TextBox 35"/>
            <p:cNvSpPr txBox="1"/>
            <p:nvPr>
              <p:custDataLst>
                <p:tags r:id="rId53"/>
              </p:custDataLst>
            </p:nvPr>
          </p:nvSpPr>
          <p:spPr bwMode="gray">
            <a:xfrm>
              <a:off x="7431948" y="6173012"/>
              <a:ext cx="402876"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effectLst/>
                  <a:latin typeface="Arial"/>
                </a:rPr>
                <a:t>-66%</a:t>
              </a:r>
              <a:endParaRPr lang="en-US" sz="1200">
                <a:effectLst/>
                <a:latin typeface="Arial"/>
              </a:endParaRPr>
            </a:p>
          </p:txBody>
        </p:sp>
        <p:sp>
          <p:nvSpPr>
            <p:cNvPr id="89" name="TextBox 88"/>
            <p:cNvSpPr txBox="1"/>
            <p:nvPr>
              <p:custDataLst>
                <p:tags r:id="rId54"/>
              </p:custDataLst>
            </p:nvPr>
          </p:nvSpPr>
          <p:spPr bwMode="gray">
            <a:xfrm>
              <a:off x="7500364" y="2317350"/>
              <a:ext cx="266045"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solidFill>
                    <a:schemeClr val="bg1"/>
                  </a:solidFill>
                  <a:effectLst/>
                  <a:latin typeface="Arial"/>
                </a:rPr>
                <a:t>8%</a:t>
              </a:r>
              <a:endParaRPr lang="en-US" sz="1200">
                <a:solidFill>
                  <a:schemeClr val="bg1"/>
                </a:solidFill>
                <a:effectLst/>
                <a:latin typeface="Arial"/>
              </a:endParaRPr>
            </a:p>
          </p:txBody>
        </p:sp>
        <p:sp>
          <p:nvSpPr>
            <p:cNvPr id="90" name="TextBox 89"/>
            <p:cNvSpPr txBox="1"/>
            <p:nvPr>
              <p:custDataLst>
                <p:tags r:id="rId55"/>
              </p:custDataLst>
            </p:nvPr>
          </p:nvSpPr>
          <p:spPr bwMode="gray">
            <a:xfrm>
              <a:off x="5590904" y="2531591"/>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solidFill>
                    <a:schemeClr val="bg1"/>
                  </a:solidFill>
                  <a:effectLst/>
                  <a:latin typeface="Arial"/>
                </a:rPr>
                <a:t>20%</a:t>
              </a:r>
              <a:endParaRPr lang="en-US" sz="1200">
                <a:solidFill>
                  <a:schemeClr val="bg1"/>
                </a:solidFill>
                <a:effectLst/>
                <a:latin typeface="Arial"/>
              </a:endParaRPr>
            </a:p>
          </p:txBody>
        </p:sp>
        <p:sp>
          <p:nvSpPr>
            <p:cNvPr id="37" name="TextBox 36"/>
            <p:cNvSpPr txBox="1"/>
            <p:nvPr>
              <p:custDataLst>
                <p:tags r:id="rId56"/>
              </p:custDataLst>
            </p:nvPr>
          </p:nvSpPr>
          <p:spPr bwMode="gray">
            <a:xfrm>
              <a:off x="1831949" y="6173012"/>
              <a:ext cx="402876"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effectLst/>
                  <a:latin typeface="Arial"/>
                </a:rPr>
                <a:t>-32%</a:t>
              </a:r>
              <a:endParaRPr lang="en-US" sz="1200">
                <a:effectLst/>
                <a:latin typeface="Arial"/>
              </a:endParaRPr>
            </a:p>
          </p:txBody>
        </p:sp>
        <p:sp>
          <p:nvSpPr>
            <p:cNvPr id="39" name="TextBox 38"/>
            <p:cNvSpPr txBox="1"/>
            <p:nvPr>
              <p:custDataLst>
                <p:tags r:id="rId57"/>
              </p:custDataLst>
            </p:nvPr>
          </p:nvSpPr>
          <p:spPr bwMode="gray">
            <a:xfrm>
              <a:off x="5565281" y="6173012"/>
              <a:ext cx="402876"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effectLst/>
                  <a:latin typeface="Arial"/>
                </a:rPr>
                <a:t>-28%</a:t>
              </a:r>
              <a:endParaRPr lang="en-US" sz="1200">
                <a:effectLst/>
                <a:latin typeface="Arial"/>
              </a:endParaRPr>
            </a:p>
          </p:txBody>
        </p:sp>
        <p:sp>
          <p:nvSpPr>
            <p:cNvPr id="40" name="TextBox 39"/>
            <p:cNvSpPr txBox="1"/>
            <p:nvPr>
              <p:custDataLst>
                <p:tags r:id="rId58"/>
              </p:custDataLst>
            </p:nvPr>
          </p:nvSpPr>
          <p:spPr bwMode="gray">
            <a:xfrm>
              <a:off x="3741408" y="6173012"/>
              <a:ext cx="317291"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ctr"/>
              <a:r>
                <a:rPr lang="en-US" sz="1200" smtClean="0">
                  <a:effectLst/>
                  <a:latin typeface="Arial"/>
                </a:rPr>
                <a:t>-6%</a:t>
              </a:r>
              <a:endParaRPr lang="en-US" sz="1200">
                <a:effectLst/>
                <a:latin typeface="Arial"/>
              </a:endParaRPr>
            </a:p>
          </p:txBody>
        </p:sp>
        <p:sp>
          <p:nvSpPr>
            <p:cNvPr id="149" name="TextBox 148"/>
            <p:cNvSpPr txBox="1"/>
            <p:nvPr>
              <p:custDataLst>
                <p:tags r:id="rId59"/>
              </p:custDataLst>
            </p:nvPr>
          </p:nvSpPr>
          <p:spPr bwMode="gray">
            <a:xfrm>
              <a:off x="6215044" y="1951015"/>
              <a:ext cx="102707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r>
                <a:rPr lang="en-US" sz="1200" smtClean="0">
                  <a:effectLst/>
                  <a:latin typeface="Arial"/>
                </a:rPr>
                <a:t>Passives (7-8)</a:t>
              </a:r>
              <a:endParaRPr lang="en-US" sz="1200" dirty="0">
                <a:effectLst/>
                <a:latin typeface="Arial"/>
              </a:endParaRPr>
            </a:p>
          </p:txBody>
        </p:sp>
        <p:sp>
          <p:nvSpPr>
            <p:cNvPr id="150" name="TextBox 149"/>
            <p:cNvSpPr txBox="1"/>
            <p:nvPr>
              <p:custDataLst>
                <p:tags r:id="rId60"/>
              </p:custDataLst>
            </p:nvPr>
          </p:nvSpPr>
          <p:spPr bwMode="gray">
            <a:xfrm>
              <a:off x="4763182" y="1951015"/>
              <a:ext cx="1206657"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r>
                <a:rPr lang="en-US" sz="1200" smtClean="0">
                  <a:effectLst/>
                  <a:latin typeface="Arial"/>
                </a:rPr>
                <a:t>Promoters (9-10)</a:t>
              </a:r>
              <a:endParaRPr lang="en-US" sz="1200" dirty="0">
                <a:effectLst/>
                <a:latin typeface="Arial"/>
              </a:endParaRPr>
            </a:p>
          </p:txBody>
        </p:sp>
        <p:sp>
          <p:nvSpPr>
            <p:cNvPr id="151" name="TextBox 150"/>
            <p:cNvSpPr txBox="1"/>
            <p:nvPr>
              <p:custDataLst>
                <p:tags r:id="rId61"/>
              </p:custDataLst>
            </p:nvPr>
          </p:nvSpPr>
          <p:spPr bwMode="gray">
            <a:xfrm>
              <a:off x="7493725" y="1951015"/>
              <a:ext cx="1121071"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t">
              <a:spAutoFit/>
            </a:bodyPr>
            <a:lstStyle/>
            <a:p>
              <a:r>
                <a:rPr lang="en-US" sz="1200" smtClean="0">
                  <a:effectLst/>
                  <a:latin typeface="Arial"/>
                </a:rPr>
                <a:t>Detractors (0-6)</a:t>
              </a:r>
              <a:endParaRPr lang="en-US" sz="1200" dirty="0">
                <a:effectLst/>
                <a:latin typeface="Arial"/>
              </a:endParaRPr>
            </a:p>
          </p:txBody>
        </p:sp>
        <p:sp>
          <p:nvSpPr>
            <p:cNvPr id="152" name="Rectangle 151"/>
            <p:cNvSpPr/>
            <p:nvPr>
              <p:custDataLst>
                <p:tags r:id="rId62"/>
              </p:custDataLst>
            </p:nvPr>
          </p:nvSpPr>
          <p:spPr bwMode="gray">
            <a:xfrm>
              <a:off x="4579807" y="1951015"/>
              <a:ext cx="166878" cy="166878"/>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53" name="Rectangle 152"/>
            <p:cNvSpPr/>
            <p:nvPr>
              <p:custDataLst>
                <p:tags r:id="rId63"/>
              </p:custDataLst>
            </p:nvPr>
          </p:nvSpPr>
          <p:spPr bwMode="gray">
            <a:xfrm>
              <a:off x="7310350" y="1951015"/>
              <a:ext cx="166878" cy="166878"/>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54" name="Rectangle 153"/>
            <p:cNvSpPr/>
            <p:nvPr>
              <p:custDataLst>
                <p:tags r:id="rId64"/>
              </p:custDataLst>
            </p:nvPr>
          </p:nvSpPr>
          <p:spPr bwMode="gray">
            <a:xfrm>
              <a:off x="6031669" y="1951015"/>
              <a:ext cx="166878" cy="166878"/>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grpSp>
      <p:sp>
        <p:nvSpPr>
          <p:cNvPr id="66" name="TextBox 65"/>
          <p:cNvSpPr txBox="1"/>
          <p:nvPr/>
        </p:nvSpPr>
        <p:spPr>
          <a:xfrm>
            <a:off x="526142" y="1140849"/>
            <a:ext cx="8040585" cy="646331"/>
          </a:xfrm>
          <a:prstGeom prst="rect">
            <a:avLst/>
          </a:prstGeom>
          <a:noFill/>
        </p:spPr>
        <p:txBody>
          <a:bodyPr wrap="square" rtlCol="0">
            <a:spAutoFit/>
          </a:bodyPr>
          <a:lstStyle/>
          <a:p>
            <a:pPr algn="ctr"/>
            <a:r>
              <a:rPr lang="en-US" sz="1200" b="1" dirty="0"/>
              <a:t>How likely are you to recommend the </a:t>
            </a:r>
            <a:r>
              <a:rPr lang="en-US" sz="1200" b="1" dirty="0" smtClean="0"/>
              <a:t>primary tool you use for planning </a:t>
            </a:r>
            <a:r>
              <a:rPr lang="en-US" sz="1200" b="1" dirty="0"/>
              <a:t>and advising </a:t>
            </a:r>
            <a:r>
              <a:rPr lang="en-US" sz="1200" b="1" dirty="0" smtClean="0"/>
              <a:t>to </a:t>
            </a:r>
            <a:r>
              <a:rPr lang="en-US" sz="1200" b="1" dirty="0"/>
              <a:t>a friend or colleague in your institution or others</a:t>
            </a:r>
            <a:r>
              <a:rPr lang="en-US" sz="1200" b="1" dirty="0" smtClean="0"/>
              <a:t>? (Scale of 0-10)</a:t>
            </a:r>
            <a:endParaRPr lang="en-US" sz="1200" b="1" dirty="0"/>
          </a:p>
          <a:p>
            <a:pPr algn="ctr"/>
            <a:r>
              <a:rPr lang="en-US" sz="1200" dirty="0" smtClean="0"/>
              <a:t>By </a:t>
            </a:r>
            <a:r>
              <a:rPr lang="en-US" sz="1200" dirty="0"/>
              <a:t>Advising Technology Use Categories; </a:t>
            </a:r>
            <a:r>
              <a:rPr lang="en-US" sz="1200" dirty="0" smtClean="0"/>
              <a:t>n = 1,096</a:t>
            </a:r>
            <a:endParaRPr lang="en-US" sz="1200" dirty="0"/>
          </a:p>
        </p:txBody>
      </p:sp>
    </p:spTree>
    <p:extLst>
      <p:ext uri="{BB962C8B-B14F-4D97-AF65-F5344CB8AC3E}">
        <p14:creationId xmlns:p14="http://schemas.microsoft.com/office/powerpoint/2010/main" val="314531264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4</a:t>
            </a:r>
          </a:p>
        </p:txBody>
      </p:sp>
      <p:sp>
        <p:nvSpPr>
          <p:cNvPr id="3" name="Text Placeholder 2"/>
          <p:cNvSpPr>
            <a:spLocks noGrp="1"/>
          </p:cNvSpPr>
          <p:nvPr>
            <p:ph type="body" idx="1"/>
          </p:nvPr>
        </p:nvSpPr>
        <p:spPr/>
        <p:txBody>
          <a:bodyPr/>
          <a:lstStyle/>
          <a:p>
            <a:r>
              <a:rPr lang="en-US" dirty="0"/>
              <a:t>Institutional Segmentation</a:t>
            </a:r>
          </a:p>
        </p:txBody>
      </p:sp>
    </p:spTree>
    <p:extLst>
      <p:ext uri="{BB962C8B-B14F-4D97-AF65-F5344CB8AC3E}">
        <p14:creationId xmlns:p14="http://schemas.microsoft.com/office/powerpoint/2010/main" val="283050402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6061281-BD0D-6F47-BBB8-8F6BE6AA34E7}" type="slidenum">
              <a:rPr lang="en-US" smtClean="0"/>
              <a:pPr/>
              <a:t>26</a:t>
            </a:fld>
            <a:endParaRPr lang="en-US" dirty="0"/>
          </a:p>
        </p:txBody>
      </p:sp>
      <p:graphicFrame>
        <p:nvGraphicFramePr>
          <p:cNvPr id="9" name="Content Placeholder 8"/>
          <p:cNvGraphicFramePr>
            <a:graphicFrameLocks noGrp="1"/>
          </p:cNvGraphicFramePr>
          <p:nvPr>
            <p:ph idx="13"/>
            <p:extLst>
              <p:ext uri="{D42A27DB-BD31-4B8C-83A1-F6EECF244321}">
                <p14:modId xmlns:p14="http://schemas.microsoft.com/office/powerpoint/2010/main" val="2299399969"/>
              </p:ext>
            </p:extLst>
          </p:nvPr>
        </p:nvGraphicFramePr>
        <p:xfrm>
          <a:off x="3348050" y="1115171"/>
          <a:ext cx="5346229" cy="5031116"/>
        </p:xfrm>
        <a:graphic>
          <a:graphicData uri="http://schemas.openxmlformats.org/drawingml/2006/chart">
            <c:chart xmlns:c="http://schemas.openxmlformats.org/drawingml/2006/chart" xmlns:r="http://schemas.openxmlformats.org/officeDocument/2006/relationships" r:id="rId2"/>
          </a:graphicData>
        </a:graphic>
      </p:graphicFrame>
      <p:sp>
        <p:nvSpPr>
          <p:cNvPr id="4" name="Content Placeholder 3"/>
          <p:cNvSpPr>
            <a:spLocks noGrp="1"/>
          </p:cNvSpPr>
          <p:nvPr>
            <p:ph idx="14"/>
          </p:nvPr>
        </p:nvSpPr>
        <p:spPr/>
        <p:txBody>
          <a:bodyPr>
            <a:normAutofit/>
          </a:bodyPr>
          <a:lstStyle/>
          <a:p>
            <a:r>
              <a:rPr lang="en-US" dirty="0" smtClean="0"/>
              <a:t>Equipped Navigators, Low Fuel, Check Engine Differ in Advising Outcomes, Approach to Impacting Advising</a:t>
            </a:r>
            <a:endParaRPr lang="en-US" dirty="0"/>
          </a:p>
        </p:txBody>
      </p:sp>
      <p:sp>
        <p:nvSpPr>
          <p:cNvPr id="10" name="TextBox 9"/>
          <p:cNvSpPr txBox="1"/>
          <p:nvPr/>
        </p:nvSpPr>
        <p:spPr>
          <a:xfrm>
            <a:off x="6759005" y="2378416"/>
            <a:ext cx="2275663" cy="1200329"/>
          </a:xfrm>
          <a:prstGeom prst="rect">
            <a:avLst/>
          </a:prstGeom>
          <a:noFill/>
        </p:spPr>
        <p:txBody>
          <a:bodyPr wrap="square" rtlCol="0">
            <a:spAutoFit/>
          </a:bodyPr>
          <a:lstStyle/>
          <a:p>
            <a:pPr algn="r"/>
            <a:r>
              <a:rPr lang="en-US" sz="1200" i="1" dirty="0"/>
              <a:t>Positive view of advising success and </a:t>
            </a:r>
            <a:r>
              <a:rPr lang="en-US" sz="1200" i="1" dirty="0" smtClean="0"/>
              <a:t>have strong ownership, alignment, and coordination on student success initiatives.</a:t>
            </a:r>
            <a:endParaRPr lang="en-US" sz="1200" i="1" dirty="0"/>
          </a:p>
          <a:p>
            <a:pPr algn="r"/>
            <a:endParaRPr lang="en-US" sz="1200" dirty="0"/>
          </a:p>
        </p:txBody>
      </p:sp>
      <p:sp>
        <p:nvSpPr>
          <p:cNvPr id="11" name="TextBox 10"/>
          <p:cNvSpPr txBox="1"/>
          <p:nvPr/>
        </p:nvSpPr>
        <p:spPr>
          <a:xfrm>
            <a:off x="2408718" y="5381209"/>
            <a:ext cx="3303052" cy="1200329"/>
          </a:xfrm>
          <a:prstGeom prst="rect">
            <a:avLst/>
          </a:prstGeom>
          <a:noFill/>
        </p:spPr>
        <p:txBody>
          <a:bodyPr wrap="square" rtlCol="0">
            <a:spAutoFit/>
          </a:bodyPr>
          <a:lstStyle/>
          <a:p>
            <a:pPr>
              <a:defRPr/>
            </a:pPr>
            <a:r>
              <a:rPr lang="en-US" sz="1200" i="1" dirty="0"/>
              <a:t>Do not view themselves as having yet achieved success. Less inclined to look to </a:t>
            </a:r>
            <a:r>
              <a:rPr lang="en-US" sz="1200" i="1" dirty="0" smtClean="0"/>
              <a:t>Technology </a:t>
            </a:r>
            <a:r>
              <a:rPr lang="en-US" sz="1200" i="1" dirty="0"/>
              <a:t>as a solution for planning and advising </a:t>
            </a:r>
            <a:r>
              <a:rPr lang="en-US" sz="1200" i="1" dirty="0" smtClean="0"/>
              <a:t>but </a:t>
            </a:r>
            <a:r>
              <a:rPr lang="en-US" sz="1200" i="1" dirty="0"/>
              <a:t>equally struggle with the lack the ownership, coordination, and effective integration.</a:t>
            </a:r>
          </a:p>
        </p:txBody>
      </p:sp>
      <p:sp>
        <p:nvSpPr>
          <p:cNvPr id="12" name="TextBox 11"/>
          <p:cNvSpPr txBox="1"/>
          <p:nvPr/>
        </p:nvSpPr>
        <p:spPr>
          <a:xfrm>
            <a:off x="6671415" y="4789251"/>
            <a:ext cx="2377851" cy="1569660"/>
          </a:xfrm>
          <a:prstGeom prst="rect">
            <a:avLst/>
          </a:prstGeom>
          <a:noFill/>
        </p:spPr>
        <p:txBody>
          <a:bodyPr wrap="square" rtlCol="0">
            <a:spAutoFit/>
          </a:bodyPr>
          <a:lstStyle/>
          <a:p>
            <a:pPr algn="r"/>
            <a:r>
              <a:rPr lang="en-US" sz="1200" i="1" dirty="0"/>
              <a:t>Do not view themselves as having yet achieved success. More favorable toward </a:t>
            </a:r>
            <a:r>
              <a:rPr lang="en-US" sz="1200" i="1" dirty="0" smtClean="0"/>
              <a:t>Technology </a:t>
            </a:r>
            <a:r>
              <a:rPr lang="en-US" sz="1200" i="1" dirty="0"/>
              <a:t>adoption to improve </a:t>
            </a:r>
            <a:r>
              <a:rPr lang="en-US" sz="1200" i="1" dirty="0" smtClean="0"/>
              <a:t>advising but struggle with technology integration and </a:t>
            </a:r>
            <a:r>
              <a:rPr lang="en-US" sz="1200" i="1" dirty="0"/>
              <a:t>lack </a:t>
            </a:r>
            <a:r>
              <a:rPr lang="en-US" sz="1200" i="1" dirty="0" smtClean="0"/>
              <a:t>strong ownership and coordination.</a:t>
            </a:r>
            <a:endParaRPr lang="en-US" sz="1200" i="1" dirty="0"/>
          </a:p>
        </p:txBody>
      </p:sp>
      <p:sp>
        <p:nvSpPr>
          <p:cNvPr id="8" name="TextBox 7"/>
          <p:cNvSpPr txBox="1"/>
          <p:nvPr/>
        </p:nvSpPr>
        <p:spPr>
          <a:xfrm>
            <a:off x="216304" y="1787776"/>
            <a:ext cx="3117148" cy="3139320"/>
          </a:xfrm>
          <a:prstGeom prst="rect">
            <a:avLst/>
          </a:prstGeom>
          <a:noFill/>
          <a:ln>
            <a:solidFill>
              <a:schemeClr val="tx1"/>
            </a:solidFill>
            <a:prstDash val="dash"/>
          </a:ln>
        </p:spPr>
        <p:txBody>
          <a:bodyPr wrap="square" rtlCol="0">
            <a:spAutoFit/>
          </a:bodyPr>
          <a:lstStyle/>
          <a:p>
            <a:r>
              <a:rPr lang="en-US" sz="1200" b="1" dirty="0" smtClean="0"/>
              <a:t>“Slider” Variables Used to Define Clusters:</a:t>
            </a:r>
          </a:p>
          <a:p>
            <a:endParaRPr lang="en-US" sz="600" b="1" dirty="0"/>
          </a:p>
          <a:p>
            <a:pPr marL="171450" indent="-171450">
              <a:buFont typeface="Arial"/>
              <a:buChar char="•"/>
            </a:pPr>
            <a:r>
              <a:rPr lang="en-US" sz="1200" b="1" dirty="0" smtClean="0"/>
              <a:t>Coordination: </a:t>
            </a:r>
            <a:r>
              <a:rPr lang="en-US" sz="1200" dirty="0" smtClean="0"/>
              <a:t>Level of cross</a:t>
            </a:r>
            <a:r>
              <a:rPr lang="en-US" sz="1200" dirty="0"/>
              <a:t>-departmental collaboration in support of student </a:t>
            </a:r>
            <a:r>
              <a:rPr lang="en-US" sz="1200" dirty="0" smtClean="0"/>
              <a:t>success</a:t>
            </a:r>
          </a:p>
          <a:p>
            <a:pPr marL="171450" indent="-171450">
              <a:buFont typeface="Arial"/>
              <a:buChar char="•"/>
            </a:pPr>
            <a:r>
              <a:rPr lang="en-US" sz="1200" b="1" dirty="0"/>
              <a:t>Ownership: </a:t>
            </a:r>
            <a:r>
              <a:rPr lang="en-US" sz="1200" dirty="0"/>
              <a:t>Clarity of Ownership over Student Success and </a:t>
            </a:r>
            <a:r>
              <a:rPr lang="en-US" sz="1200" dirty="0" smtClean="0"/>
              <a:t>Retention</a:t>
            </a:r>
          </a:p>
          <a:p>
            <a:pPr marL="171450" indent="-171450">
              <a:buFont typeface="Arial"/>
              <a:buChar char="•"/>
            </a:pPr>
            <a:r>
              <a:rPr lang="en-US" sz="1200" b="1" dirty="0" smtClean="0"/>
              <a:t>Technology vs. People: </a:t>
            </a:r>
            <a:r>
              <a:rPr lang="en-US" sz="1200" dirty="0" smtClean="0"/>
              <a:t>Degree to which Technology or People have the </a:t>
            </a:r>
            <a:r>
              <a:rPr lang="en-US" sz="1200" dirty="0"/>
              <a:t>greatest potential to improve academic planning and advising</a:t>
            </a:r>
            <a:endParaRPr lang="en-US" sz="1200" dirty="0" smtClean="0"/>
          </a:p>
          <a:p>
            <a:pPr marL="171450" indent="-171450">
              <a:buFont typeface="Arial"/>
              <a:buChar char="•"/>
            </a:pPr>
            <a:r>
              <a:rPr lang="en-US" sz="1200" b="1" dirty="0" smtClean="0"/>
              <a:t>Technology Effectiveness: </a:t>
            </a:r>
            <a:r>
              <a:rPr lang="en-US" sz="1200" dirty="0" smtClean="0"/>
              <a:t>Extent to which Technology </a:t>
            </a:r>
            <a:r>
              <a:rPr lang="en-US" sz="1200" dirty="0"/>
              <a:t>used today </a:t>
            </a:r>
            <a:r>
              <a:rPr lang="en-US" sz="1200" dirty="0" smtClean="0"/>
              <a:t>effectively</a:t>
            </a:r>
            <a:r>
              <a:rPr lang="en-US" sz="1200" dirty="0"/>
              <a:t> </a:t>
            </a:r>
            <a:r>
              <a:rPr lang="en-US" sz="1200" dirty="0" smtClean="0"/>
              <a:t>enhances advising function</a:t>
            </a:r>
          </a:p>
          <a:p>
            <a:pPr marL="171450" indent="-171450">
              <a:buFont typeface="Arial"/>
              <a:buChar char="•"/>
            </a:pPr>
            <a:r>
              <a:rPr lang="en-US" sz="1200" b="1" dirty="0" smtClean="0"/>
              <a:t>Outcomes: </a:t>
            </a:r>
            <a:r>
              <a:rPr lang="en-US" sz="1200" dirty="0" smtClean="0"/>
              <a:t>Degree to which institution achieves an ideal advising situation</a:t>
            </a:r>
            <a:endParaRPr lang="en-US" sz="1200" b="1" dirty="0" smtClean="0"/>
          </a:p>
        </p:txBody>
      </p:sp>
      <p:sp>
        <p:nvSpPr>
          <p:cNvPr id="14" name="TextBox 13"/>
          <p:cNvSpPr txBox="1"/>
          <p:nvPr/>
        </p:nvSpPr>
        <p:spPr>
          <a:xfrm>
            <a:off x="3474397" y="1857077"/>
            <a:ext cx="1386836" cy="1200329"/>
          </a:xfrm>
          <a:prstGeom prst="rect">
            <a:avLst/>
          </a:prstGeom>
          <a:noFill/>
        </p:spPr>
        <p:txBody>
          <a:bodyPr wrap="square" rtlCol="0">
            <a:spAutoFit/>
          </a:bodyPr>
          <a:lstStyle/>
          <a:p>
            <a:r>
              <a:rPr lang="en-US" sz="1200" i="1" dirty="0"/>
              <a:t>Institutions </a:t>
            </a:r>
            <a:r>
              <a:rPr lang="en-US" sz="1200" i="1" dirty="0" smtClean="0"/>
              <a:t>that did </a:t>
            </a:r>
            <a:r>
              <a:rPr lang="en-US" sz="1200" i="1" dirty="0"/>
              <a:t>not report widespread use of any planning and advising </a:t>
            </a:r>
            <a:r>
              <a:rPr lang="en-US" sz="1200" i="1" dirty="0" smtClean="0"/>
              <a:t>Technology. </a:t>
            </a:r>
            <a:endParaRPr lang="en-US" sz="1200" dirty="0"/>
          </a:p>
        </p:txBody>
      </p:sp>
      <p:sp>
        <p:nvSpPr>
          <p:cNvPr id="3" name="Rectangle 2"/>
          <p:cNvSpPr/>
          <p:nvPr/>
        </p:nvSpPr>
        <p:spPr>
          <a:xfrm>
            <a:off x="3464233" y="1115171"/>
            <a:ext cx="2184702" cy="3270230"/>
          </a:xfrm>
          <a:prstGeom prst="rect">
            <a:avLst/>
          </a:prstGeom>
          <a:solidFill>
            <a:schemeClr val="bg1">
              <a:lumMod val="75000"/>
              <a:alpha val="27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r>
              <a:rPr lang="en-US" sz="1000" b="1" i="1" dirty="0" smtClean="0">
                <a:solidFill>
                  <a:schemeClr val="tx1"/>
                </a:solidFill>
              </a:rPr>
              <a:t>Not Included in Cluster Analysis</a:t>
            </a:r>
            <a:endParaRPr lang="en-US" sz="1000" b="1" i="1" dirty="0">
              <a:solidFill>
                <a:schemeClr val="tx1"/>
              </a:solidFill>
            </a:endParaRPr>
          </a:p>
        </p:txBody>
      </p:sp>
      <p:sp>
        <p:nvSpPr>
          <p:cNvPr id="99" name="Content Placeholder 2"/>
          <p:cNvSpPr txBox="1">
            <a:spLocks/>
          </p:cNvSpPr>
          <p:nvPr/>
        </p:nvSpPr>
        <p:spPr>
          <a:xfrm>
            <a:off x="526143" y="6126165"/>
            <a:ext cx="6291218" cy="643102"/>
          </a:xfrm>
          <a:prstGeom prst="rect">
            <a:avLst/>
          </a:prstGeom>
        </p:spPr>
        <p:txBody>
          <a:bodyPr vert="horz" lIns="91440" tIns="45720" rIns="91440" bIns="45720" rtlCol="0" anchor="b">
            <a:normAutofit/>
          </a:bodyPr>
          <a:lstStyle>
            <a:lvl1pPr marL="0" indent="0" algn="l" defTabSz="457200" rtl="0" eaLnBrk="1" latinLnBrk="0" hangingPunct="1">
              <a:spcBef>
                <a:spcPct val="20000"/>
              </a:spcBef>
              <a:buClrTx/>
              <a:buFontTx/>
              <a:buNone/>
              <a:defRPr sz="1000" i="1" kern="1200">
                <a:solidFill>
                  <a:schemeClr val="tx1"/>
                </a:solidFill>
                <a:latin typeface="Arial"/>
                <a:ea typeface="+mn-ea"/>
                <a:cs typeface="Arial"/>
              </a:defRPr>
            </a:lvl1pPr>
            <a:lvl2pPr marL="173037" indent="0" algn="l" defTabSz="457200" rtl="0" eaLnBrk="1" latinLnBrk="0" hangingPunct="1">
              <a:spcBef>
                <a:spcPct val="20000"/>
              </a:spcBef>
              <a:buFontTx/>
              <a:buNone/>
              <a:defRPr sz="1400" kern="1200">
                <a:solidFill>
                  <a:schemeClr val="tx1"/>
                </a:solidFill>
                <a:latin typeface="Arial"/>
                <a:ea typeface="+mn-ea"/>
                <a:cs typeface="Arial"/>
              </a:defRPr>
            </a:lvl2pPr>
            <a:lvl3pPr marL="346075" indent="0" algn="l" defTabSz="457200" rtl="0" eaLnBrk="1" latinLnBrk="0" hangingPunct="1">
              <a:spcBef>
                <a:spcPct val="20000"/>
              </a:spcBef>
              <a:buFontTx/>
              <a:buNone/>
              <a:defRPr sz="1400" kern="1200">
                <a:solidFill>
                  <a:schemeClr val="tx1"/>
                </a:solidFill>
                <a:latin typeface="Arial"/>
                <a:ea typeface="+mn-ea"/>
                <a:cs typeface="Arial"/>
              </a:defRPr>
            </a:lvl3pPr>
            <a:lvl4pPr marL="517525" indent="0" algn="l" defTabSz="457200" rtl="0" eaLnBrk="1" latinLnBrk="0" hangingPunct="1">
              <a:spcBef>
                <a:spcPct val="20000"/>
              </a:spcBef>
              <a:buFontTx/>
              <a:buNone/>
              <a:defRPr sz="1400" kern="1200">
                <a:solidFill>
                  <a:schemeClr val="tx1"/>
                </a:solidFill>
                <a:latin typeface="Arial"/>
                <a:ea typeface="+mn-ea"/>
                <a:cs typeface="Arial"/>
              </a:defRPr>
            </a:lvl4pPr>
            <a:lvl5pPr marL="690562" indent="0" algn="l" defTabSz="457200" rtl="0" eaLnBrk="1" latinLnBrk="0" hangingPunct="1">
              <a:spcBef>
                <a:spcPct val="20000"/>
              </a:spcBef>
              <a:buFontTx/>
              <a:buNone/>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900" dirty="0"/>
              <a:t>Sources: Tyton Partners Analysis</a:t>
            </a:r>
          </a:p>
        </p:txBody>
      </p:sp>
    </p:spTree>
    <p:extLst>
      <p:ext uri="{BB962C8B-B14F-4D97-AF65-F5344CB8AC3E}">
        <p14:creationId xmlns:p14="http://schemas.microsoft.com/office/powerpoint/2010/main" val="353785296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6061281-BD0D-6F47-BBB8-8F6BE6AA34E7}" type="slidenum">
              <a:rPr lang="en-US" smtClean="0"/>
              <a:t>27</a:t>
            </a:fld>
            <a:endParaRPr lang="en-US"/>
          </a:p>
        </p:txBody>
      </p:sp>
      <p:sp>
        <p:nvSpPr>
          <p:cNvPr id="4" name="Content Placeholder 3"/>
          <p:cNvSpPr>
            <a:spLocks noGrp="1"/>
          </p:cNvSpPr>
          <p:nvPr>
            <p:ph idx="14"/>
          </p:nvPr>
        </p:nvSpPr>
        <p:spPr/>
        <p:txBody>
          <a:bodyPr/>
          <a:lstStyle/>
          <a:p>
            <a:r>
              <a:rPr lang="en-US" dirty="0" smtClean="0"/>
              <a:t>Equipped Navigators Are Much </a:t>
            </a:r>
            <a:r>
              <a:rPr lang="en-US" dirty="0"/>
              <a:t>More Likely to Report an Ideal Advising </a:t>
            </a:r>
            <a:r>
              <a:rPr lang="en-US" dirty="0" smtClean="0"/>
              <a:t>Situation…</a:t>
            </a:r>
            <a:endParaRPr lang="en-US" dirty="0"/>
          </a:p>
        </p:txBody>
      </p:sp>
      <p:grpSp>
        <p:nvGrpSpPr>
          <p:cNvPr id="87" name="Group 86"/>
          <p:cNvGrpSpPr/>
          <p:nvPr>
            <p:custDataLst>
              <p:tags r:id="rId1"/>
            </p:custDataLst>
          </p:nvPr>
        </p:nvGrpSpPr>
        <p:grpSpPr>
          <a:xfrm>
            <a:off x="835254" y="2189138"/>
            <a:ext cx="7756884" cy="4032367"/>
            <a:chOff x="835254" y="2189138"/>
            <a:chExt cx="7756884" cy="4032367"/>
          </a:xfrm>
        </p:grpSpPr>
        <p:sp>
          <p:nvSpPr>
            <p:cNvPr id="28" name="Rectangle 27"/>
            <p:cNvSpPr/>
            <p:nvPr>
              <p:custDataLst>
                <p:tags r:id="rId2"/>
              </p:custDataLst>
            </p:nvPr>
          </p:nvSpPr>
          <p:spPr bwMode="gray">
            <a:xfrm>
              <a:off x="1661564" y="2329675"/>
              <a:ext cx="1136160" cy="1771231"/>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 name="Rectangle 2"/>
            <p:cNvSpPr/>
            <p:nvPr>
              <p:custDataLst>
                <p:tags r:id="rId3"/>
              </p:custDataLst>
            </p:nvPr>
          </p:nvSpPr>
          <p:spPr bwMode="gray">
            <a:xfrm>
              <a:off x="7115131" y="3341688"/>
              <a:ext cx="1136160" cy="2002760"/>
            </a:xfrm>
            <a:prstGeom prst="rect">
              <a:avLst/>
            </a:prstGeom>
            <a:solidFill>
              <a:schemeClr val="accent3">
                <a:lumMod val="60000"/>
                <a:lumOff val="40000"/>
              </a:schemeClr>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0" name="Rectangle 9"/>
            <p:cNvSpPr/>
            <p:nvPr>
              <p:custDataLst>
                <p:tags r:id="rId4"/>
              </p:custDataLst>
            </p:nvPr>
          </p:nvSpPr>
          <p:spPr bwMode="gray">
            <a:xfrm>
              <a:off x="3479419" y="3458435"/>
              <a:ext cx="1136160" cy="2002236"/>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7" name="Rectangle 6"/>
            <p:cNvSpPr/>
            <p:nvPr>
              <p:custDataLst>
                <p:tags r:id="rId5"/>
              </p:custDataLst>
            </p:nvPr>
          </p:nvSpPr>
          <p:spPr bwMode="gray">
            <a:xfrm>
              <a:off x="5297274" y="3801699"/>
              <a:ext cx="1136160" cy="1793094"/>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2" name="Rectangle 11"/>
            <p:cNvSpPr/>
            <p:nvPr>
              <p:custDataLst>
                <p:tags r:id="rId6"/>
              </p:custDataLst>
            </p:nvPr>
          </p:nvSpPr>
          <p:spPr bwMode="gray">
            <a:xfrm>
              <a:off x="3479419" y="5460673"/>
              <a:ext cx="1136160" cy="230575"/>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4" name="Rectangle 13"/>
            <p:cNvSpPr/>
            <p:nvPr>
              <p:custDataLst>
                <p:tags r:id="rId7"/>
              </p:custDataLst>
            </p:nvPr>
          </p:nvSpPr>
          <p:spPr bwMode="gray">
            <a:xfrm>
              <a:off x="5297274" y="5594793"/>
              <a:ext cx="1136160" cy="96453"/>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5" name="Rectangle 24"/>
            <p:cNvSpPr/>
            <p:nvPr>
              <p:custDataLst>
                <p:tags r:id="rId8"/>
              </p:custDataLst>
            </p:nvPr>
          </p:nvSpPr>
          <p:spPr bwMode="gray">
            <a:xfrm>
              <a:off x="7115131" y="5344447"/>
              <a:ext cx="1136160" cy="346799"/>
            </a:xfrm>
            <a:prstGeom prst="rect">
              <a:avLst/>
            </a:prstGeom>
            <a:solidFill>
              <a:schemeClr val="accent3">
                <a:lumMod val="50000"/>
              </a:schemeClr>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29" name="Rectangle 28"/>
            <p:cNvSpPr/>
            <p:nvPr>
              <p:custDataLst>
                <p:tags r:id="rId9"/>
              </p:custDataLst>
            </p:nvPr>
          </p:nvSpPr>
          <p:spPr bwMode="gray">
            <a:xfrm>
              <a:off x="1661564" y="4100906"/>
              <a:ext cx="1136160" cy="1590341"/>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6" name="Rectangle 15"/>
            <p:cNvSpPr/>
            <p:nvPr>
              <p:custDataLst>
                <p:tags r:id="rId10"/>
              </p:custDataLst>
            </p:nvPr>
          </p:nvSpPr>
          <p:spPr bwMode="gray">
            <a:xfrm>
              <a:off x="5297274" y="2281471"/>
              <a:ext cx="1136160" cy="1520229"/>
            </a:xfrm>
            <a:prstGeom prst="rect">
              <a:avLst/>
            </a:prstGeom>
            <a:solidFill>
              <a:srgbClr val="C1D0ED"/>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0" name="Rectangle 29"/>
            <p:cNvSpPr/>
            <p:nvPr>
              <p:custDataLst>
                <p:tags r:id="rId11"/>
              </p:custDataLst>
            </p:nvPr>
          </p:nvSpPr>
          <p:spPr bwMode="gray">
            <a:xfrm>
              <a:off x="1661564" y="2281471"/>
              <a:ext cx="1136160" cy="48204"/>
            </a:xfrm>
            <a:prstGeom prst="rect">
              <a:avLst/>
            </a:prstGeom>
            <a:solidFill>
              <a:srgbClr val="C1D0ED"/>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5" name="Rectangle 14"/>
            <p:cNvSpPr/>
            <p:nvPr>
              <p:custDataLst>
                <p:tags r:id="rId12"/>
              </p:custDataLst>
            </p:nvPr>
          </p:nvSpPr>
          <p:spPr bwMode="gray">
            <a:xfrm>
              <a:off x="3479419" y="2281471"/>
              <a:ext cx="1136160" cy="1176965"/>
            </a:xfrm>
            <a:prstGeom prst="rect">
              <a:avLst/>
            </a:prstGeom>
            <a:solidFill>
              <a:srgbClr val="C1D0ED"/>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6" name="Rectangle 25"/>
            <p:cNvSpPr/>
            <p:nvPr>
              <p:custDataLst>
                <p:tags r:id="rId13"/>
              </p:custDataLst>
            </p:nvPr>
          </p:nvSpPr>
          <p:spPr bwMode="gray">
            <a:xfrm>
              <a:off x="7115131" y="2281471"/>
              <a:ext cx="1136160" cy="1060217"/>
            </a:xfrm>
            <a:prstGeom prst="rect">
              <a:avLst/>
            </a:prstGeom>
            <a:solidFill>
              <a:schemeClr val="accent3">
                <a:lumMod val="20000"/>
                <a:lumOff val="80000"/>
              </a:schemeClr>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cxnSp>
          <p:nvCxnSpPr>
            <p:cNvPr id="71" name="Straight Connector 70"/>
            <p:cNvCxnSpPr/>
            <p:nvPr>
              <p:custDataLst>
                <p:tags r:id="rId14"/>
              </p:custDataLst>
            </p:nvPr>
          </p:nvCxnSpPr>
          <p:spPr bwMode="gray">
            <a:xfrm>
              <a:off x="1320716" y="5691247"/>
              <a:ext cx="7271422"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p:custDataLst>
                <p:tags r:id="rId15"/>
              </p:custDataLst>
            </p:nvPr>
          </p:nvCxnSpPr>
          <p:spPr bwMode="gray">
            <a:xfrm flipV="1">
              <a:off x="1320716" y="2281471"/>
              <a:ext cx="0" cy="3409776"/>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p:custDataLst>
                <p:tags r:id="rId16"/>
              </p:custDataLst>
            </p:nvPr>
          </p:nvCxnSpPr>
          <p:spPr bwMode="gray">
            <a:xfrm flipH="1">
              <a:off x="1269916" y="5009292"/>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p:custDataLst>
                <p:tags r:id="rId17"/>
              </p:custDataLst>
            </p:nvPr>
          </p:nvCxnSpPr>
          <p:spPr bwMode="gray">
            <a:xfrm flipH="1">
              <a:off x="1269916" y="3645381"/>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custDataLst>
                <p:tags r:id="rId18"/>
              </p:custDataLst>
            </p:nvPr>
          </p:nvCxnSpPr>
          <p:spPr bwMode="gray">
            <a:xfrm flipH="1">
              <a:off x="1269916" y="535026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custDataLst>
                <p:tags r:id="rId19"/>
              </p:custDataLst>
            </p:nvPr>
          </p:nvCxnSpPr>
          <p:spPr bwMode="gray">
            <a:xfrm flipH="1">
              <a:off x="1269916" y="5691247"/>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custDataLst>
                <p:tags r:id="rId20"/>
              </p:custDataLst>
            </p:nvPr>
          </p:nvCxnSpPr>
          <p:spPr bwMode="gray">
            <a:xfrm flipH="1">
              <a:off x="1269916" y="398635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custDataLst>
                <p:tags r:id="rId21"/>
              </p:custDataLst>
            </p:nvPr>
          </p:nvCxnSpPr>
          <p:spPr bwMode="gray">
            <a:xfrm flipH="1">
              <a:off x="1269916" y="4327337"/>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custDataLst>
                <p:tags r:id="rId22"/>
              </p:custDataLst>
            </p:nvPr>
          </p:nvCxnSpPr>
          <p:spPr bwMode="gray">
            <a:xfrm flipH="1">
              <a:off x="1269916" y="466831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custDataLst>
                <p:tags r:id="rId23"/>
              </p:custDataLst>
            </p:nvPr>
          </p:nvCxnSpPr>
          <p:spPr bwMode="gray">
            <a:xfrm flipH="1">
              <a:off x="1269916" y="2963426"/>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p:custDataLst>
                <p:tags r:id="rId24"/>
              </p:custDataLst>
            </p:nvPr>
          </p:nvCxnSpPr>
          <p:spPr bwMode="gray">
            <a:xfrm flipH="1">
              <a:off x="1269916" y="2622448"/>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custDataLst>
                <p:tags r:id="rId25"/>
              </p:custDataLst>
            </p:nvPr>
          </p:nvCxnSpPr>
          <p:spPr bwMode="gray">
            <a:xfrm flipH="1">
              <a:off x="1269916" y="2281471"/>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custDataLst>
                <p:tags r:id="rId26"/>
              </p:custDataLst>
            </p:nvPr>
          </p:nvCxnSpPr>
          <p:spPr bwMode="gray">
            <a:xfrm flipH="1">
              <a:off x="1269916" y="330440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32" name="TextBox 31"/>
            <p:cNvSpPr txBox="1"/>
            <p:nvPr>
              <p:custDataLst>
                <p:tags r:id="rId27"/>
              </p:custDataLst>
            </p:nvPr>
          </p:nvSpPr>
          <p:spPr bwMode="gray">
            <a:xfrm>
              <a:off x="920839" y="5257936"/>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10%</a:t>
              </a:r>
              <a:endParaRPr lang="en-US" sz="1200">
                <a:effectLst/>
                <a:latin typeface="Arial"/>
              </a:endParaRPr>
            </a:p>
          </p:txBody>
        </p:sp>
        <p:sp>
          <p:nvSpPr>
            <p:cNvPr id="33" name="TextBox 32"/>
            <p:cNvSpPr txBox="1"/>
            <p:nvPr>
              <p:custDataLst>
                <p:tags r:id="rId28"/>
              </p:custDataLst>
            </p:nvPr>
          </p:nvSpPr>
          <p:spPr bwMode="gray">
            <a:xfrm>
              <a:off x="920839" y="2530116"/>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90%</a:t>
              </a:r>
              <a:endParaRPr lang="en-US" sz="1200">
                <a:effectLst/>
                <a:latin typeface="Arial"/>
              </a:endParaRPr>
            </a:p>
          </p:txBody>
        </p:sp>
        <p:sp>
          <p:nvSpPr>
            <p:cNvPr id="34" name="TextBox 33"/>
            <p:cNvSpPr txBox="1"/>
            <p:nvPr>
              <p:custDataLst>
                <p:tags r:id="rId29"/>
              </p:custDataLst>
            </p:nvPr>
          </p:nvSpPr>
          <p:spPr bwMode="gray">
            <a:xfrm>
              <a:off x="1006424" y="5598914"/>
              <a:ext cx="266045"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0%</a:t>
              </a:r>
              <a:endParaRPr lang="en-US" sz="1200">
                <a:effectLst/>
                <a:latin typeface="Arial"/>
              </a:endParaRPr>
            </a:p>
          </p:txBody>
        </p:sp>
        <p:sp>
          <p:nvSpPr>
            <p:cNvPr id="35" name="TextBox 34"/>
            <p:cNvSpPr txBox="1"/>
            <p:nvPr>
              <p:custDataLst>
                <p:tags r:id="rId30"/>
              </p:custDataLst>
            </p:nvPr>
          </p:nvSpPr>
          <p:spPr bwMode="gray">
            <a:xfrm>
              <a:off x="835254" y="2189138"/>
              <a:ext cx="437215"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100%</a:t>
              </a:r>
              <a:endParaRPr lang="en-US" sz="1200">
                <a:effectLst/>
                <a:latin typeface="Arial"/>
              </a:endParaRPr>
            </a:p>
          </p:txBody>
        </p:sp>
        <p:sp>
          <p:nvSpPr>
            <p:cNvPr id="36" name="TextBox 35"/>
            <p:cNvSpPr txBox="1"/>
            <p:nvPr>
              <p:custDataLst>
                <p:tags r:id="rId31"/>
              </p:custDataLst>
            </p:nvPr>
          </p:nvSpPr>
          <p:spPr bwMode="gray">
            <a:xfrm>
              <a:off x="920839" y="3553048"/>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60%</a:t>
              </a:r>
              <a:endParaRPr lang="en-US" sz="1200" dirty="0">
                <a:effectLst/>
                <a:latin typeface="Arial"/>
              </a:endParaRPr>
            </a:p>
          </p:txBody>
        </p:sp>
        <p:sp>
          <p:nvSpPr>
            <p:cNvPr id="37" name="TextBox 36"/>
            <p:cNvSpPr txBox="1"/>
            <p:nvPr>
              <p:custDataLst>
                <p:tags r:id="rId32"/>
              </p:custDataLst>
            </p:nvPr>
          </p:nvSpPr>
          <p:spPr bwMode="gray">
            <a:xfrm>
              <a:off x="920839" y="4916958"/>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20%</a:t>
              </a:r>
              <a:endParaRPr lang="en-US" sz="1200">
                <a:effectLst/>
                <a:latin typeface="Arial"/>
              </a:endParaRPr>
            </a:p>
          </p:txBody>
        </p:sp>
        <p:sp>
          <p:nvSpPr>
            <p:cNvPr id="38" name="TextBox 37"/>
            <p:cNvSpPr txBox="1"/>
            <p:nvPr>
              <p:custDataLst>
                <p:tags r:id="rId33"/>
              </p:custDataLst>
            </p:nvPr>
          </p:nvSpPr>
          <p:spPr bwMode="gray">
            <a:xfrm>
              <a:off x="920839" y="3894025"/>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50%</a:t>
              </a:r>
              <a:endParaRPr lang="en-US" sz="1200">
                <a:effectLst/>
                <a:latin typeface="Arial"/>
              </a:endParaRPr>
            </a:p>
          </p:txBody>
        </p:sp>
        <p:sp>
          <p:nvSpPr>
            <p:cNvPr id="39" name="TextBox 38"/>
            <p:cNvSpPr txBox="1"/>
            <p:nvPr>
              <p:custDataLst>
                <p:tags r:id="rId34"/>
              </p:custDataLst>
            </p:nvPr>
          </p:nvSpPr>
          <p:spPr bwMode="gray">
            <a:xfrm>
              <a:off x="920839" y="3212071"/>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70%</a:t>
              </a:r>
              <a:endParaRPr lang="en-US" sz="1200">
                <a:effectLst/>
                <a:latin typeface="Arial"/>
              </a:endParaRPr>
            </a:p>
          </p:txBody>
        </p:sp>
        <p:sp>
          <p:nvSpPr>
            <p:cNvPr id="40" name="TextBox 39"/>
            <p:cNvSpPr txBox="1"/>
            <p:nvPr>
              <p:custDataLst>
                <p:tags r:id="rId35"/>
              </p:custDataLst>
            </p:nvPr>
          </p:nvSpPr>
          <p:spPr bwMode="gray">
            <a:xfrm>
              <a:off x="920839" y="4235004"/>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40%</a:t>
              </a:r>
              <a:endParaRPr lang="en-US" sz="1200">
                <a:effectLst/>
                <a:latin typeface="Arial"/>
              </a:endParaRPr>
            </a:p>
          </p:txBody>
        </p:sp>
        <p:sp>
          <p:nvSpPr>
            <p:cNvPr id="41" name="TextBox 40"/>
            <p:cNvSpPr txBox="1"/>
            <p:nvPr>
              <p:custDataLst>
                <p:tags r:id="rId36"/>
              </p:custDataLst>
            </p:nvPr>
          </p:nvSpPr>
          <p:spPr bwMode="gray">
            <a:xfrm>
              <a:off x="920839" y="4575981"/>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30%</a:t>
              </a:r>
              <a:endParaRPr lang="en-US" sz="1200">
                <a:effectLst/>
                <a:latin typeface="Arial"/>
              </a:endParaRPr>
            </a:p>
          </p:txBody>
        </p:sp>
        <p:sp>
          <p:nvSpPr>
            <p:cNvPr id="42" name="TextBox 41"/>
            <p:cNvSpPr txBox="1"/>
            <p:nvPr>
              <p:custDataLst>
                <p:tags r:id="rId37"/>
              </p:custDataLst>
            </p:nvPr>
          </p:nvSpPr>
          <p:spPr bwMode="gray">
            <a:xfrm>
              <a:off x="920839" y="2871093"/>
              <a:ext cx="351630" cy="184666"/>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21603" tIns="0" rIns="21603" bIns="0" rtlCol="0" anchor="ctr">
              <a:spAutoFit/>
            </a:bodyPr>
            <a:lstStyle/>
            <a:p>
              <a:pPr algn="r"/>
              <a:r>
                <a:rPr lang="en-US" sz="1200" smtClean="0">
                  <a:effectLst/>
                  <a:latin typeface="Arial"/>
                </a:rPr>
                <a:t>80%</a:t>
              </a:r>
              <a:endParaRPr lang="en-US" sz="1200">
                <a:effectLst/>
                <a:latin typeface="Arial"/>
              </a:endParaRPr>
            </a:p>
          </p:txBody>
        </p:sp>
        <p:sp>
          <p:nvSpPr>
            <p:cNvPr id="46" name="TextBox 45"/>
            <p:cNvSpPr txBox="1"/>
            <p:nvPr>
              <p:custDataLst>
                <p:tags r:id="rId38"/>
              </p:custDataLst>
            </p:nvPr>
          </p:nvSpPr>
          <p:spPr bwMode="gray">
            <a:xfrm>
              <a:off x="3720636" y="5754747"/>
              <a:ext cx="653726"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Low Fuels</a:t>
              </a:r>
              <a:endParaRPr lang="en-US" sz="1050" dirty="0">
                <a:effectLst/>
                <a:latin typeface="Arial"/>
              </a:endParaRPr>
            </a:p>
          </p:txBody>
        </p:sp>
        <p:sp>
          <p:nvSpPr>
            <p:cNvPr id="43" name="TextBox 42"/>
            <p:cNvSpPr txBox="1"/>
            <p:nvPr>
              <p:custDataLst>
                <p:tags r:id="rId39"/>
              </p:custDataLst>
            </p:nvPr>
          </p:nvSpPr>
          <p:spPr bwMode="gray">
            <a:xfrm>
              <a:off x="5393428" y="5754747"/>
              <a:ext cx="943854"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Check Engines</a:t>
              </a:r>
              <a:endParaRPr lang="en-US" sz="1050" dirty="0">
                <a:effectLst/>
                <a:latin typeface="Arial"/>
              </a:endParaRPr>
            </a:p>
          </p:txBody>
        </p:sp>
        <p:sp>
          <p:nvSpPr>
            <p:cNvPr id="64" name="TextBox 63"/>
            <p:cNvSpPr txBox="1"/>
            <p:nvPr>
              <p:custDataLst>
                <p:tags r:id="rId40"/>
              </p:custDataLst>
            </p:nvPr>
          </p:nvSpPr>
          <p:spPr bwMode="gray">
            <a:xfrm>
              <a:off x="6894475" y="5754747"/>
              <a:ext cx="1577469"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dirty="0" smtClean="0">
                  <a:effectLst/>
                  <a:latin typeface="Arial"/>
                </a:rPr>
                <a:t>Limited Technology Users</a:t>
              </a:r>
              <a:endParaRPr lang="en-US" sz="1050" dirty="0">
                <a:effectLst/>
                <a:latin typeface="Arial"/>
              </a:endParaRPr>
            </a:p>
          </p:txBody>
        </p:sp>
        <p:sp>
          <p:nvSpPr>
            <p:cNvPr id="45" name="TextBox 44"/>
            <p:cNvSpPr txBox="1"/>
            <p:nvPr>
              <p:custDataLst>
                <p:tags r:id="rId41"/>
              </p:custDataLst>
            </p:nvPr>
          </p:nvSpPr>
          <p:spPr bwMode="gray">
            <a:xfrm>
              <a:off x="1582795" y="5754747"/>
              <a:ext cx="129369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Equipped Navigators</a:t>
              </a:r>
              <a:endParaRPr lang="en-US" sz="1050" dirty="0">
                <a:effectLst/>
                <a:latin typeface="Arial"/>
              </a:endParaRPr>
            </a:p>
          </p:txBody>
        </p:sp>
        <p:sp>
          <p:nvSpPr>
            <p:cNvPr id="49" name="TextBox 48"/>
            <p:cNvSpPr txBox="1"/>
            <p:nvPr>
              <p:custDataLst>
                <p:tags r:id="rId42"/>
              </p:custDataLst>
            </p:nvPr>
          </p:nvSpPr>
          <p:spPr bwMode="gray">
            <a:xfrm>
              <a:off x="3890934" y="4378763"/>
              <a:ext cx="313130"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9%</a:t>
              </a:r>
              <a:endParaRPr lang="en-US" sz="1050">
                <a:solidFill>
                  <a:schemeClr val="bg1"/>
                </a:solidFill>
                <a:effectLst/>
                <a:latin typeface="Arial"/>
              </a:endParaRPr>
            </a:p>
          </p:txBody>
        </p:sp>
        <p:sp>
          <p:nvSpPr>
            <p:cNvPr id="75" name="TextBox 74"/>
            <p:cNvSpPr txBox="1"/>
            <p:nvPr>
              <p:custDataLst>
                <p:tags r:id="rId43"/>
              </p:custDataLst>
            </p:nvPr>
          </p:nvSpPr>
          <p:spPr bwMode="gray">
            <a:xfrm>
              <a:off x="2073079" y="3134499"/>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2%</a:t>
              </a:r>
              <a:endParaRPr lang="en-US" sz="1050">
                <a:solidFill>
                  <a:schemeClr val="bg1"/>
                </a:solidFill>
                <a:effectLst/>
                <a:latin typeface="Arial"/>
              </a:endParaRPr>
            </a:p>
          </p:txBody>
        </p:sp>
        <p:sp>
          <p:nvSpPr>
            <p:cNvPr id="48" name="TextBox 47"/>
            <p:cNvSpPr txBox="1"/>
            <p:nvPr>
              <p:custDataLst>
                <p:tags r:id="rId44"/>
              </p:custDataLst>
            </p:nvPr>
          </p:nvSpPr>
          <p:spPr bwMode="gray">
            <a:xfrm>
              <a:off x="5708790" y="4617455"/>
              <a:ext cx="313130"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3%</a:t>
              </a:r>
              <a:endParaRPr lang="en-US" sz="1050">
                <a:solidFill>
                  <a:schemeClr val="bg1"/>
                </a:solidFill>
                <a:effectLst/>
                <a:latin typeface="Arial"/>
              </a:endParaRPr>
            </a:p>
          </p:txBody>
        </p:sp>
        <p:sp>
          <p:nvSpPr>
            <p:cNvPr id="53" name="TextBox 52"/>
            <p:cNvSpPr txBox="1"/>
            <p:nvPr>
              <p:custDataLst>
                <p:tags r:id="rId45"/>
              </p:custDataLst>
            </p:nvPr>
          </p:nvSpPr>
          <p:spPr bwMode="gray">
            <a:xfrm>
              <a:off x="5708790" y="2960794"/>
              <a:ext cx="313130" cy="161583"/>
            </a:xfrm>
            <a:prstGeom prst="rect">
              <a:avLst/>
            </a:prstGeom>
            <a:noFill/>
            <a:ln cmpd="sng">
              <a:noFill/>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45%</a:t>
              </a:r>
              <a:endParaRPr lang="en-US" sz="1050">
                <a:effectLst/>
                <a:latin typeface="Arial"/>
              </a:endParaRPr>
            </a:p>
          </p:txBody>
        </p:sp>
        <p:sp>
          <p:nvSpPr>
            <p:cNvPr id="50" name="TextBox 49"/>
            <p:cNvSpPr txBox="1"/>
            <p:nvPr>
              <p:custDataLst>
                <p:tags r:id="rId46"/>
              </p:custDataLst>
            </p:nvPr>
          </p:nvSpPr>
          <p:spPr bwMode="gray">
            <a:xfrm>
              <a:off x="3890934" y="2789162"/>
              <a:ext cx="313130" cy="161583"/>
            </a:xfrm>
            <a:prstGeom prst="rect">
              <a:avLst/>
            </a:prstGeom>
            <a:noFill/>
            <a:ln cmpd="sng">
              <a:noFill/>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35%</a:t>
              </a:r>
              <a:endParaRPr lang="en-US" sz="1050">
                <a:effectLst/>
                <a:latin typeface="Arial"/>
              </a:endParaRPr>
            </a:p>
          </p:txBody>
        </p:sp>
        <p:sp>
          <p:nvSpPr>
            <p:cNvPr id="67" name="TextBox 66"/>
            <p:cNvSpPr txBox="1"/>
            <p:nvPr>
              <p:custDataLst>
                <p:tags r:id="rId47"/>
              </p:custDataLst>
            </p:nvPr>
          </p:nvSpPr>
          <p:spPr bwMode="gray">
            <a:xfrm>
              <a:off x="7529373" y="2730788"/>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31%</a:t>
              </a:r>
              <a:endParaRPr lang="en-US" sz="1050">
                <a:effectLst/>
                <a:latin typeface="Arial"/>
              </a:endParaRPr>
            </a:p>
          </p:txBody>
        </p:sp>
        <p:sp>
          <p:nvSpPr>
            <p:cNvPr id="73" name="TextBox 72"/>
            <p:cNvSpPr txBox="1"/>
            <p:nvPr>
              <p:custDataLst>
                <p:tags r:id="rId48"/>
              </p:custDataLst>
            </p:nvPr>
          </p:nvSpPr>
          <p:spPr bwMode="gray">
            <a:xfrm>
              <a:off x="2110522" y="2224782"/>
              <a:ext cx="238243" cy="161583"/>
            </a:xfrm>
            <a:prstGeom prst="rect">
              <a:avLst/>
            </a:prstGeom>
            <a:solidFill>
              <a:srgbClr val="C1D0ED"/>
            </a:solid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1%</a:t>
              </a:r>
              <a:endParaRPr lang="en-US" sz="1050">
                <a:effectLst/>
                <a:latin typeface="Arial"/>
              </a:endParaRPr>
            </a:p>
          </p:txBody>
        </p:sp>
        <p:sp>
          <p:nvSpPr>
            <p:cNvPr id="68" name="TextBox 67"/>
            <p:cNvSpPr txBox="1"/>
            <p:nvPr>
              <p:custDataLst>
                <p:tags r:id="rId49"/>
              </p:custDataLst>
            </p:nvPr>
          </p:nvSpPr>
          <p:spPr bwMode="gray">
            <a:xfrm>
              <a:off x="7529373" y="5437056"/>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0%</a:t>
              </a:r>
              <a:endParaRPr lang="en-US" sz="1050">
                <a:solidFill>
                  <a:schemeClr val="bg1"/>
                </a:solidFill>
                <a:effectLst/>
                <a:latin typeface="Arial"/>
              </a:endParaRPr>
            </a:p>
          </p:txBody>
        </p:sp>
        <p:sp>
          <p:nvSpPr>
            <p:cNvPr id="58" name="TextBox 57"/>
            <p:cNvSpPr txBox="1"/>
            <p:nvPr>
              <p:custDataLst>
                <p:tags r:id="rId50"/>
              </p:custDataLst>
            </p:nvPr>
          </p:nvSpPr>
          <p:spPr bwMode="gray">
            <a:xfrm>
              <a:off x="3928378" y="5495168"/>
              <a:ext cx="238243"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7%</a:t>
              </a:r>
              <a:endParaRPr lang="en-US" sz="1050">
                <a:solidFill>
                  <a:schemeClr val="bg1"/>
                </a:solidFill>
                <a:effectLst/>
                <a:latin typeface="Arial"/>
              </a:endParaRPr>
            </a:p>
          </p:txBody>
        </p:sp>
        <p:sp>
          <p:nvSpPr>
            <p:cNvPr id="69" name="TextBox 68"/>
            <p:cNvSpPr txBox="1"/>
            <p:nvPr>
              <p:custDataLst>
                <p:tags r:id="rId51"/>
              </p:custDataLst>
            </p:nvPr>
          </p:nvSpPr>
          <p:spPr bwMode="gray">
            <a:xfrm>
              <a:off x="7529373" y="4262275"/>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9%</a:t>
              </a:r>
              <a:endParaRPr lang="en-US" sz="1050">
                <a:solidFill>
                  <a:schemeClr val="bg1"/>
                </a:solidFill>
                <a:effectLst/>
                <a:latin typeface="Arial"/>
              </a:endParaRPr>
            </a:p>
          </p:txBody>
        </p:sp>
        <p:sp>
          <p:nvSpPr>
            <p:cNvPr id="74" name="TextBox 73"/>
            <p:cNvSpPr txBox="1"/>
            <p:nvPr>
              <p:custDataLst>
                <p:tags r:id="rId52"/>
              </p:custDataLst>
            </p:nvPr>
          </p:nvSpPr>
          <p:spPr bwMode="gray">
            <a:xfrm>
              <a:off x="2073079" y="4815284"/>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47%</a:t>
              </a:r>
              <a:endParaRPr lang="en-US" sz="1050">
                <a:solidFill>
                  <a:schemeClr val="bg1"/>
                </a:solidFill>
                <a:effectLst/>
                <a:latin typeface="Arial"/>
              </a:endParaRPr>
            </a:p>
          </p:txBody>
        </p:sp>
        <p:sp>
          <p:nvSpPr>
            <p:cNvPr id="57" name="TextBox 56"/>
            <p:cNvSpPr txBox="1"/>
            <p:nvPr>
              <p:custDataLst>
                <p:tags r:id="rId53"/>
              </p:custDataLst>
            </p:nvPr>
          </p:nvSpPr>
          <p:spPr bwMode="gray">
            <a:xfrm>
              <a:off x="5746234" y="5562229"/>
              <a:ext cx="238243" cy="161583"/>
            </a:xfrm>
            <a:prstGeom prst="rect">
              <a:avLst/>
            </a:prstGeom>
            <a:solidFill>
              <a:srgbClr val="05296E"/>
            </a:solid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a:t>
              </a:r>
              <a:endParaRPr lang="en-US" sz="1050">
                <a:solidFill>
                  <a:schemeClr val="bg1"/>
                </a:solidFill>
                <a:effectLst/>
                <a:latin typeface="Arial"/>
              </a:endParaRPr>
            </a:p>
          </p:txBody>
        </p:sp>
        <p:sp>
          <p:nvSpPr>
            <p:cNvPr id="100" name="TextBox 99"/>
            <p:cNvSpPr txBox="1"/>
            <p:nvPr>
              <p:custDataLst>
                <p:tags r:id="rId54"/>
              </p:custDataLst>
            </p:nvPr>
          </p:nvSpPr>
          <p:spPr bwMode="gray">
            <a:xfrm>
              <a:off x="2376233" y="6059922"/>
              <a:ext cx="47769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Neutral</a:t>
              </a:r>
              <a:endParaRPr lang="en-US" sz="1050">
                <a:effectLst/>
                <a:latin typeface="Arial"/>
              </a:endParaRPr>
            </a:p>
          </p:txBody>
        </p:sp>
        <p:sp>
          <p:nvSpPr>
            <p:cNvPr id="101" name="TextBox 100"/>
            <p:cNvSpPr txBox="1"/>
            <p:nvPr>
              <p:custDataLst>
                <p:tags r:id="rId55"/>
              </p:custDataLst>
            </p:nvPr>
          </p:nvSpPr>
          <p:spPr bwMode="gray">
            <a:xfrm>
              <a:off x="3253700" y="6059922"/>
              <a:ext cx="58250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Disagree</a:t>
              </a:r>
              <a:endParaRPr lang="en-US" sz="1050">
                <a:effectLst/>
                <a:latin typeface="Arial"/>
              </a:endParaRPr>
            </a:p>
          </p:txBody>
        </p:sp>
        <p:sp>
          <p:nvSpPr>
            <p:cNvPr id="102" name="TextBox 101"/>
            <p:cNvSpPr txBox="1"/>
            <p:nvPr>
              <p:custDataLst>
                <p:tags r:id="rId56"/>
              </p:custDataLst>
            </p:nvPr>
          </p:nvSpPr>
          <p:spPr bwMode="gray">
            <a:xfrm>
              <a:off x="1579583" y="6059922"/>
              <a:ext cx="415766"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Agree</a:t>
              </a:r>
              <a:endParaRPr lang="en-US" sz="1050" dirty="0">
                <a:effectLst/>
                <a:latin typeface="Arial"/>
              </a:endParaRPr>
            </a:p>
          </p:txBody>
        </p:sp>
        <p:sp>
          <p:nvSpPr>
            <p:cNvPr id="103" name="Rectangle 102"/>
            <p:cNvSpPr/>
            <p:nvPr>
              <p:custDataLst>
                <p:tags r:id="rId57"/>
              </p:custDataLst>
            </p:nvPr>
          </p:nvSpPr>
          <p:spPr bwMode="gray">
            <a:xfrm>
              <a:off x="3088484" y="6059922"/>
              <a:ext cx="146018" cy="146018"/>
            </a:xfrm>
            <a:prstGeom prst="rect">
              <a:avLst/>
            </a:prstGeom>
            <a:solidFill>
              <a:srgbClr val="C1D0ED"/>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4" name="Rectangle 103"/>
            <p:cNvSpPr/>
            <p:nvPr>
              <p:custDataLst>
                <p:tags r:id="rId58"/>
              </p:custDataLst>
            </p:nvPr>
          </p:nvSpPr>
          <p:spPr bwMode="gray">
            <a:xfrm>
              <a:off x="1414367" y="6059922"/>
              <a:ext cx="146018" cy="146018"/>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5" name="Rectangle 104"/>
            <p:cNvSpPr/>
            <p:nvPr>
              <p:custDataLst>
                <p:tags r:id="rId59"/>
              </p:custDataLst>
            </p:nvPr>
          </p:nvSpPr>
          <p:spPr bwMode="gray">
            <a:xfrm>
              <a:off x="2211017" y="6059922"/>
              <a:ext cx="146018" cy="146018"/>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grpSp>
      <p:sp>
        <p:nvSpPr>
          <p:cNvPr id="65" name="TextBox 64"/>
          <p:cNvSpPr txBox="1"/>
          <p:nvPr/>
        </p:nvSpPr>
        <p:spPr>
          <a:xfrm>
            <a:off x="526142" y="1140849"/>
            <a:ext cx="8040585" cy="461665"/>
          </a:xfrm>
          <a:prstGeom prst="rect">
            <a:avLst/>
          </a:prstGeom>
          <a:noFill/>
        </p:spPr>
        <p:txBody>
          <a:bodyPr wrap="square" rtlCol="0">
            <a:spAutoFit/>
          </a:bodyPr>
          <a:lstStyle/>
          <a:p>
            <a:pPr algn="ctr"/>
            <a:r>
              <a:rPr lang="en-US" sz="1200" b="1" dirty="0" smtClean="0"/>
              <a:t>Indicate where your personal and tendencies </a:t>
            </a:r>
            <a:r>
              <a:rPr lang="en-US" sz="1200" b="1" dirty="0"/>
              <a:t>fall on these dimensions.</a:t>
            </a:r>
          </a:p>
          <a:p>
            <a:pPr algn="ctr"/>
            <a:r>
              <a:rPr lang="en-US" sz="1200" dirty="0" smtClean="0"/>
              <a:t>By Segment; n = 839</a:t>
            </a:r>
            <a:endParaRPr lang="en-US" sz="1200" dirty="0"/>
          </a:p>
        </p:txBody>
      </p:sp>
      <p:sp>
        <p:nvSpPr>
          <p:cNvPr id="60" name="Content Placeholder 2"/>
          <p:cNvSpPr txBox="1">
            <a:spLocks/>
          </p:cNvSpPr>
          <p:nvPr/>
        </p:nvSpPr>
        <p:spPr>
          <a:xfrm>
            <a:off x="526143" y="6126165"/>
            <a:ext cx="6291218" cy="643102"/>
          </a:xfrm>
          <a:prstGeom prst="rect">
            <a:avLst/>
          </a:prstGeom>
        </p:spPr>
        <p:txBody>
          <a:bodyPr vert="horz" lIns="91440" tIns="45720" rIns="91440" bIns="45720" rtlCol="0" anchor="b">
            <a:normAutofit/>
          </a:bodyPr>
          <a:lstStyle>
            <a:lvl1pPr marL="0" indent="0" algn="l" defTabSz="457200" rtl="0" eaLnBrk="1" latinLnBrk="0" hangingPunct="1">
              <a:spcBef>
                <a:spcPct val="20000"/>
              </a:spcBef>
              <a:buClrTx/>
              <a:buFontTx/>
              <a:buNone/>
              <a:defRPr sz="1000" i="1" kern="1200">
                <a:solidFill>
                  <a:schemeClr val="tx1"/>
                </a:solidFill>
                <a:latin typeface="Arial"/>
                <a:ea typeface="+mn-ea"/>
                <a:cs typeface="Arial"/>
              </a:defRPr>
            </a:lvl1pPr>
            <a:lvl2pPr marL="173037" indent="0" algn="l" defTabSz="457200" rtl="0" eaLnBrk="1" latinLnBrk="0" hangingPunct="1">
              <a:spcBef>
                <a:spcPct val="20000"/>
              </a:spcBef>
              <a:buFontTx/>
              <a:buNone/>
              <a:defRPr sz="1400" kern="1200">
                <a:solidFill>
                  <a:schemeClr val="tx1"/>
                </a:solidFill>
                <a:latin typeface="Arial"/>
                <a:ea typeface="+mn-ea"/>
                <a:cs typeface="Arial"/>
              </a:defRPr>
            </a:lvl2pPr>
            <a:lvl3pPr marL="346075" indent="0" algn="l" defTabSz="457200" rtl="0" eaLnBrk="1" latinLnBrk="0" hangingPunct="1">
              <a:spcBef>
                <a:spcPct val="20000"/>
              </a:spcBef>
              <a:buFontTx/>
              <a:buNone/>
              <a:defRPr sz="1400" kern="1200">
                <a:solidFill>
                  <a:schemeClr val="tx1"/>
                </a:solidFill>
                <a:latin typeface="Arial"/>
                <a:ea typeface="+mn-ea"/>
                <a:cs typeface="Arial"/>
              </a:defRPr>
            </a:lvl3pPr>
            <a:lvl4pPr marL="517525" indent="0" algn="l" defTabSz="457200" rtl="0" eaLnBrk="1" latinLnBrk="0" hangingPunct="1">
              <a:spcBef>
                <a:spcPct val="20000"/>
              </a:spcBef>
              <a:buFontTx/>
              <a:buNone/>
              <a:defRPr sz="1400" kern="1200">
                <a:solidFill>
                  <a:schemeClr val="tx1"/>
                </a:solidFill>
                <a:latin typeface="Arial"/>
                <a:ea typeface="+mn-ea"/>
                <a:cs typeface="Arial"/>
              </a:defRPr>
            </a:lvl4pPr>
            <a:lvl5pPr marL="690562" indent="0" algn="l" defTabSz="457200" rtl="0" eaLnBrk="1" latinLnBrk="0" hangingPunct="1">
              <a:spcBef>
                <a:spcPct val="20000"/>
              </a:spcBef>
              <a:buFontTx/>
              <a:buNone/>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900" dirty="0"/>
              <a:t>Sources: Tyton Partners Analysis</a:t>
            </a:r>
          </a:p>
        </p:txBody>
      </p:sp>
      <p:sp>
        <p:nvSpPr>
          <p:cNvPr id="95" name="TextBox 94"/>
          <p:cNvSpPr txBox="1"/>
          <p:nvPr/>
        </p:nvSpPr>
        <p:spPr>
          <a:xfrm>
            <a:off x="452064" y="1744259"/>
            <a:ext cx="8242216" cy="276999"/>
          </a:xfrm>
          <a:prstGeom prst="rect">
            <a:avLst/>
          </a:prstGeom>
          <a:noFill/>
        </p:spPr>
        <p:txBody>
          <a:bodyPr wrap="square" rtlCol="0">
            <a:spAutoFit/>
          </a:bodyPr>
          <a:lstStyle/>
          <a:p>
            <a:pPr algn="ctr"/>
            <a:r>
              <a:rPr lang="en-US" sz="1200" i="1" dirty="0"/>
              <a:t>Overall, my institution successfully achieves an ideal advising situation </a:t>
            </a:r>
          </a:p>
        </p:txBody>
      </p:sp>
    </p:spTree>
    <p:extLst>
      <p:ext uri="{BB962C8B-B14F-4D97-AF65-F5344CB8AC3E}">
        <p14:creationId xmlns:p14="http://schemas.microsoft.com/office/powerpoint/2010/main" val="176929075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6061281-BD0D-6F47-BBB8-8F6BE6AA34E7}" type="slidenum">
              <a:rPr lang="en-US" smtClean="0"/>
              <a:t>28</a:t>
            </a:fld>
            <a:endParaRPr lang="en-US"/>
          </a:p>
        </p:txBody>
      </p:sp>
      <p:sp>
        <p:nvSpPr>
          <p:cNvPr id="4" name="Content Placeholder 3"/>
          <p:cNvSpPr>
            <a:spLocks noGrp="1"/>
          </p:cNvSpPr>
          <p:nvPr>
            <p:ph idx="14"/>
          </p:nvPr>
        </p:nvSpPr>
        <p:spPr/>
        <p:txBody>
          <a:bodyPr>
            <a:normAutofit/>
          </a:bodyPr>
          <a:lstStyle/>
          <a:p>
            <a:r>
              <a:rPr lang="en-US" dirty="0" smtClean="0"/>
              <a:t>…And Even More Likely to Report Strong Communication Channels</a:t>
            </a:r>
            <a:endParaRPr lang="en-US" dirty="0"/>
          </a:p>
        </p:txBody>
      </p:sp>
      <p:grpSp>
        <p:nvGrpSpPr>
          <p:cNvPr id="87" name="Group 86"/>
          <p:cNvGrpSpPr/>
          <p:nvPr>
            <p:custDataLst>
              <p:tags r:id="rId1"/>
            </p:custDataLst>
          </p:nvPr>
        </p:nvGrpSpPr>
        <p:grpSpPr>
          <a:xfrm>
            <a:off x="879892" y="2200680"/>
            <a:ext cx="7712247" cy="4020825"/>
            <a:chOff x="879892" y="2200680"/>
            <a:chExt cx="7712247" cy="4020825"/>
          </a:xfrm>
        </p:grpSpPr>
        <p:sp>
          <p:nvSpPr>
            <p:cNvPr id="28" name="Rectangle 27"/>
            <p:cNvSpPr/>
            <p:nvPr>
              <p:custDataLst>
                <p:tags r:id="rId2"/>
              </p:custDataLst>
            </p:nvPr>
          </p:nvSpPr>
          <p:spPr bwMode="gray">
            <a:xfrm>
              <a:off x="1661565" y="2335102"/>
              <a:ext cx="1136160" cy="1038480"/>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 name="Rectangle 2"/>
            <p:cNvSpPr/>
            <p:nvPr>
              <p:custDataLst>
                <p:tags r:id="rId3"/>
              </p:custDataLst>
            </p:nvPr>
          </p:nvSpPr>
          <p:spPr bwMode="gray">
            <a:xfrm>
              <a:off x="7115132" y="2840690"/>
              <a:ext cx="1136160" cy="1863471"/>
            </a:xfrm>
            <a:prstGeom prst="rect">
              <a:avLst/>
            </a:prstGeom>
            <a:solidFill>
              <a:schemeClr val="accent3">
                <a:lumMod val="60000"/>
                <a:lumOff val="40000"/>
              </a:schemeClr>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0" name="Rectangle 9"/>
            <p:cNvSpPr/>
            <p:nvPr>
              <p:custDataLst>
                <p:tags r:id="rId4"/>
              </p:custDataLst>
            </p:nvPr>
          </p:nvSpPr>
          <p:spPr bwMode="gray">
            <a:xfrm>
              <a:off x="3479420" y="2672229"/>
              <a:ext cx="1136160" cy="2371679"/>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7" name="Rectangle 6"/>
            <p:cNvSpPr/>
            <p:nvPr>
              <p:custDataLst>
                <p:tags r:id="rId5"/>
              </p:custDataLst>
            </p:nvPr>
          </p:nvSpPr>
          <p:spPr bwMode="gray">
            <a:xfrm>
              <a:off x="5297275" y="2822868"/>
              <a:ext cx="1136160" cy="2274875"/>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2" name="Rectangle 11"/>
            <p:cNvSpPr/>
            <p:nvPr>
              <p:custDataLst>
                <p:tags r:id="rId6"/>
              </p:custDataLst>
            </p:nvPr>
          </p:nvSpPr>
          <p:spPr bwMode="gray">
            <a:xfrm>
              <a:off x="3479420" y="5043908"/>
              <a:ext cx="1136160" cy="647338"/>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4" name="Rectangle 13"/>
            <p:cNvSpPr/>
            <p:nvPr>
              <p:custDataLst>
                <p:tags r:id="rId7"/>
              </p:custDataLst>
            </p:nvPr>
          </p:nvSpPr>
          <p:spPr bwMode="gray">
            <a:xfrm>
              <a:off x="5297275" y="5097742"/>
              <a:ext cx="1136160" cy="593504"/>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5" name="Rectangle 4"/>
            <p:cNvSpPr/>
            <p:nvPr>
              <p:custDataLst>
                <p:tags r:id="rId8"/>
              </p:custDataLst>
            </p:nvPr>
          </p:nvSpPr>
          <p:spPr bwMode="gray">
            <a:xfrm>
              <a:off x="7115132" y="4704161"/>
              <a:ext cx="1136160" cy="987085"/>
            </a:xfrm>
            <a:prstGeom prst="rect">
              <a:avLst/>
            </a:prstGeom>
            <a:solidFill>
              <a:schemeClr val="accent3">
                <a:lumMod val="50000"/>
              </a:schemeClr>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29" name="Rectangle 28"/>
            <p:cNvSpPr/>
            <p:nvPr>
              <p:custDataLst>
                <p:tags r:id="rId9"/>
              </p:custDataLst>
            </p:nvPr>
          </p:nvSpPr>
          <p:spPr bwMode="gray">
            <a:xfrm>
              <a:off x="1661565" y="3373582"/>
              <a:ext cx="1136160" cy="2317665"/>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6" name="Rectangle 15"/>
            <p:cNvSpPr/>
            <p:nvPr>
              <p:custDataLst>
                <p:tags r:id="rId10"/>
              </p:custDataLst>
            </p:nvPr>
          </p:nvSpPr>
          <p:spPr bwMode="gray">
            <a:xfrm>
              <a:off x="5297275" y="2281471"/>
              <a:ext cx="1136160" cy="541397"/>
            </a:xfrm>
            <a:prstGeom prst="rect">
              <a:avLst/>
            </a:prstGeom>
            <a:solidFill>
              <a:srgbClr val="C1D0ED"/>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0" name="Rectangle 29"/>
            <p:cNvSpPr/>
            <p:nvPr>
              <p:custDataLst>
                <p:tags r:id="rId11"/>
              </p:custDataLst>
            </p:nvPr>
          </p:nvSpPr>
          <p:spPr bwMode="gray">
            <a:xfrm>
              <a:off x="1661565" y="2281471"/>
              <a:ext cx="1136160" cy="53631"/>
            </a:xfrm>
            <a:prstGeom prst="rect">
              <a:avLst/>
            </a:prstGeom>
            <a:solidFill>
              <a:srgbClr val="C1D0ED"/>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5" name="Rectangle 14"/>
            <p:cNvSpPr/>
            <p:nvPr>
              <p:custDataLst>
                <p:tags r:id="rId12"/>
              </p:custDataLst>
            </p:nvPr>
          </p:nvSpPr>
          <p:spPr bwMode="gray">
            <a:xfrm>
              <a:off x="3479420" y="2281471"/>
              <a:ext cx="1136160" cy="390758"/>
            </a:xfrm>
            <a:prstGeom prst="rect">
              <a:avLst/>
            </a:prstGeom>
            <a:solidFill>
              <a:srgbClr val="C1D0ED"/>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6" name="Rectangle 5"/>
            <p:cNvSpPr/>
            <p:nvPr>
              <p:custDataLst>
                <p:tags r:id="rId13"/>
              </p:custDataLst>
            </p:nvPr>
          </p:nvSpPr>
          <p:spPr bwMode="gray">
            <a:xfrm>
              <a:off x="7115132" y="2281471"/>
              <a:ext cx="1136160" cy="559219"/>
            </a:xfrm>
            <a:prstGeom prst="rect">
              <a:avLst/>
            </a:prstGeom>
            <a:solidFill>
              <a:schemeClr val="accent3">
                <a:lumMod val="20000"/>
                <a:lumOff val="80000"/>
              </a:schemeClr>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cxnSp>
          <p:nvCxnSpPr>
            <p:cNvPr id="71" name="Straight Connector 70"/>
            <p:cNvCxnSpPr/>
            <p:nvPr>
              <p:custDataLst>
                <p:tags r:id="rId14"/>
              </p:custDataLst>
            </p:nvPr>
          </p:nvCxnSpPr>
          <p:spPr bwMode="gray">
            <a:xfrm>
              <a:off x="1320717" y="5691247"/>
              <a:ext cx="7271422"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p:custDataLst>
                <p:tags r:id="rId15"/>
              </p:custDataLst>
            </p:nvPr>
          </p:nvCxnSpPr>
          <p:spPr bwMode="gray">
            <a:xfrm flipV="1">
              <a:off x="1320717" y="2281471"/>
              <a:ext cx="0" cy="3409776"/>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p:custDataLst>
                <p:tags r:id="rId16"/>
              </p:custDataLst>
            </p:nvPr>
          </p:nvCxnSpPr>
          <p:spPr bwMode="gray">
            <a:xfrm flipH="1">
              <a:off x="1269917" y="5009292"/>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p:custDataLst>
                <p:tags r:id="rId17"/>
              </p:custDataLst>
            </p:nvPr>
          </p:nvCxnSpPr>
          <p:spPr bwMode="gray">
            <a:xfrm flipH="1">
              <a:off x="1269917" y="3645381"/>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custDataLst>
                <p:tags r:id="rId18"/>
              </p:custDataLst>
            </p:nvPr>
          </p:nvCxnSpPr>
          <p:spPr bwMode="gray">
            <a:xfrm flipH="1">
              <a:off x="1269917" y="535026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custDataLst>
                <p:tags r:id="rId19"/>
              </p:custDataLst>
            </p:nvPr>
          </p:nvCxnSpPr>
          <p:spPr bwMode="gray">
            <a:xfrm flipH="1">
              <a:off x="1269917" y="5691247"/>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custDataLst>
                <p:tags r:id="rId20"/>
              </p:custDataLst>
            </p:nvPr>
          </p:nvCxnSpPr>
          <p:spPr bwMode="gray">
            <a:xfrm flipH="1">
              <a:off x="1269917" y="398635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custDataLst>
                <p:tags r:id="rId21"/>
              </p:custDataLst>
            </p:nvPr>
          </p:nvCxnSpPr>
          <p:spPr bwMode="gray">
            <a:xfrm flipH="1">
              <a:off x="1269917" y="4327337"/>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custDataLst>
                <p:tags r:id="rId22"/>
              </p:custDataLst>
            </p:nvPr>
          </p:nvCxnSpPr>
          <p:spPr bwMode="gray">
            <a:xfrm flipH="1">
              <a:off x="1269917" y="466831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custDataLst>
                <p:tags r:id="rId23"/>
              </p:custDataLst>
            </p:nvPr>
          </p:nvCxnSpPr>
          <p:spPr bwMode="gray">
            <a:xfrm flipH="1">
              <a:off x="1269917" y="2963426"/>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p:custDataLst>
                <p:tags r:id="rId24"/>
              </p:custDataLst>
            </p:nvPr>
          </p:nvCxnSpPr>
          <p:spPr bwMode="gray">
            <a:xfrm flipH="1">
              <a:off x="1269917" y="2622448"/>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custDataLst>
                <p:tags r:id="rId25"/>
              </p:custDataLst>
            </p:nvPr>
          </p:nvCxnSpPr>
          <p:spPr bwMode="gray">
            <a:xfrm flipH="1">
              <a:off x="1269917" y="2281471"/>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custDataLst>
                <p:tags r:id="rId26"/>
              </p:custDataLst>
            </p:nvPr>
          </p:nvCxnSpPr>
          <p:spPr bwMode="gray">
            <a:xfrm flipH="1">
              <a:off x="1269917" y="330440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32" name="TextBox 31"/>
            <p:cNvSpPr txBox="1"/>
            <p:nvPr>
              <p:custDataLst>
                <p:tags r:id="rId27"/>
              </p:custDataLst>
            </p:nvPr>
          </p:nvSpPr>
          <p:spPr bwMode="gray">
            <a:xfrm>
              <a:off x="956639" y="5269477"/>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a:t>
              </a:r>
              <a:endParaRPr lang="en-US" sz="1050">
                <a:effectLst/>
                <a:latin typeface="Arial"/>
              </a:endParaRPr>
            </a:p>
          </p:txBody>
        </p:sp>
        <p:sp>
          <p:nvSpPr>
            <p:cNvPr id="33" name="TextBox 32"/>
            <p:cNvSpPr txBox="1"/>
            <p:nvPr>
              <p:custDataLst>
                <p:tags r:id="rId28"/>
              </p:custDataLst>
            </p:nvPr>
          </p:nvSpPr>
          <p:spPr bwMode="gray">
            <a:xfrm>
              <a:off x="956639" y="2541657"/>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90%</a:t>
              </a:r>
              <a:endParaRPr lang="en-US" sz="1050">
                <a:effectLst/>
                <a:latin typeface="Arial"/>
              </a:endParaRPr>
            </a:p>
          </p:txBody>
        </p:sp>
        <p:sp>
          <p:nvSpPr>
            <p:cNvPr id="34" name="TextBox 33"/>
            <p:cNvSpPr txBox="1"/>
            <p:nvPr>
              <p:custDataLst>
                <p:tags r:id="rId29"/>
              </p:custDataLst>
            </p:nvPr>
          </p:nvSpPr>
          <p:spPr bwMode="gray">
            <a:xfrm>
              <a:off x="1031526" y="5610456"/>
              <a:ext cx="238243"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0%</a:t>
              </a:r>
              <a:endParaRPr lang="en-US" sz="1050">
                <a:effectLst/>
                <a:latin typeface="Arial"/>
              </a:endParaRPr>
            </a:p>
          </p:txBody>
        </p:sp>
        <p:sp>
          <p:nvSpPr>
            <p:cNvPr id="35" name="TextBox 34"/>
            <p:cNvSpPr txBox="1"/>
            <p:nvPr>
              <p:custDataLst>
                <p:tags r:id="rId30"/>
              </p:custDataLst>
            </p:nvPr>
          </p:nvSpPr>
          <p:spPr bwMode="gray">
            <a:xfrm>
              <a:off x="879892" y="2200680"/>
              <a:ext cx="38987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0%</a:t>
              </a:r>
              <a:endParaRPr lang="en-US" sz="1050">
                <a:effectLst/>
                <a:latin typeface="Arial"/>
              </a:endParaRPr>
            </a:p>
          </p:txBody>
        </p:sp>
        <p:sp>
          <p:nvSpPr>
            <p:cNvPr id="36" name="TextBox 35"/>
            <p:cNvSpPr txBox="1"/>
            <p:nvPr>
              <p:custDataLst>
                <p:tags r:id="rId31"/>
              </p:custDataLst>
            </p:nvPr>
          </p:nvSpPr>
          <p:spPr bwMode="gray">
            <a:xfrm>
              <a:off x="956639" y="3564590"/>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60%</a:t>
              </a:r>
              <a:endParaRPr lang="en-US" sz="1050" dirty="0">
                <a:effectLst/>
                <a:latin typeface="Arial"/>
              </a:endParaRPr>
            </a:p>
          </p:txBody>
        </p:sp>
        <p:sp>
          <p:nvSpPr>
            <p:cNvPr id="37" name="TextBox 36"/>
            <p:cNvSpPr txBox="1"/>
            <p:nvPr>
              <p:custDataLst>
                <p:tags r:id="rId32"/>
              </p:custDataLst>
            </p:nvPr>
          </p:nvSpPr>
          <p:spPr bwMode="gray">
            <a:xfrm>
              <a:off x="956639" y="4928500"/>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20%</a:t>
              </a:r>
              <a:endParaRPr lang="en-US" sz="1050">
                <a:effectLst/>
                <a:latin typeface="Arial"/>
              </a:endParaRPr>
            </a:p>
          </p:txBody>
        </p:sp>
        <p:sp>
          <p:nvSpPr>
            <p:cNvPr id="38" name="TextBox 37"/>
            <p:cNvSpPr txBox="1"/>
            <p:nvPr>
              <p:custDataLst>
                <p:tags r:id="rId33"/>
              </p:custDataLst>
            </p:nvPr>
          </p:nvSpPr>
          <p:spPr bwMode="gray">
            <a:xfrm>
              <a:off x="956639" y="3905567"/>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50%</a:t>
              </a:r>
              <a:endParaRPr lang="en-US" sz="1050">
                <a:effectLst/>
                <a:latin typeface="Arial"/>
              </a:endParaRPr>
            </a:p>
          </p:txBody>
        </p:sp>
        <p:sp>
          <p:nvSpPr>
            <p:cNvPr id="39" name="TextBox 38"/>
            <p:cNvSpPr txBox="1"/>
            <p:nvPr>
              <p:custDataLst>
                <p:tags r:id="rId34"/>
              </p:custDataLst>
            </p:nvPr>
          </p:nvSpPr>
          <p:spPr bwMode="gray">
            <a:xfrm>
              <a:off x="956639" y="3223613"/>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70%</a:t>
              </a:r>
              <a:endParaRPr lang="en-US" sz="1050">
                <a:effectLst/>
                <a:latin typeface="Arial"/>
              </a:endParaRPr>
            </a:p>
          </p:txBody>
        </p:sp>
        <p:sp>
          <p:nvSpPr>
            <p:cNvPr id="40" name="TextBox 39"/>
            <p:cNvSpPr txBox="1"/>
            <p:nvPr>
              <p:custDataLst>
                <p:tags r:id="rId35"/>
              </p:custDataLst>
            </p:nvPr>
          </p:nvSpPr>
          <p:spPr bwMode="gray">
            <a:xfrm>
              <a:off x="956639" y="4246545"/>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40%</a:t>
              </a:r>
              <a:endParaRPr lang="en-US" sz="1050">
                <a:effectLst/>
                <a:latin typeface="Arial"/>
              </a:endParaRPr>
            </a:p>
          </p:txBody>
        </p:sp>
        <p:sp>
          <p:nvSpPr>
            <p:cNvPr id="41" name="TextBox 40"/>
            <p:cNvSpPr txBox="1"/>
            <p:nvPr>
              <p:custDataLst>
                <p:tags r:id="rId36"/>
              </p:custDataLst>
            </p:nvPr>
          </p:nvSpPr>
          <p:spPr bwMode="gray">
            <a:xfrm>
              <a:off x="956639" y="4587523"/>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30%</a:t>
              </a:r>
              <a:endParaRPr lang="en-US" sz="1050">
                <a:effectLst/>
                <a:latin typeface="Arial"/>
              </a:endParaRPr>
            </a:p>
          </p:txBody>
        </p:sp>
        <p:sp>
          <p:nvSpPr>
            <p:cNvPr id="42" name="TextBox 41"/>
            <p:cNvSpPr txBox="1"/>
            <p:nvPr>
              <p:custDataLst>
                <p:tags r:id="rId37"/>
              </p:custDataLst>
            </p:nvPr>
          </p:nvSpPr>
          <p:spPr bwMode="gray">
            <a:xfrm>
              <a:off x="956639" y="2882634"/>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80%</a:t>
              </a:r>
              <a:endParaRPr lang="en-US" sz="1050">
                <a:effectLst/>
                <a:latin typeface="Arial"/>
              </a:endParaRPr>
            </a:p>
          </p:txBody>
        </p:sp>
        <p:sp>
          <p:nvSpPr>
            <p:cNvPr id="46" name="TextBox 45"/>
            <p:cNvSpPr txBox="1"/>
            <p:nvPr>
              <p:custDataLst>
                <p:tags r:id="rId38"/>
              </p:custDataLst>
            </p:nvPr>
          </p:nvSpPr>
          <p:spPr bwMode="gray">
            <a:xfrm>
              <a:off x="3720637" y="5754747"/>
              <a:ext cx="653726"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Low Fuels</a:t>
              </a:r>
              <a:endParaRPr lang="en-US" sz="1050" dirty="0">
                <a:effectLst/>
                <a:latin typeface="Arial"/>
              </a:endParaRPr>
            </a:p>
          </p:txBody>
        </p:sp>
        <p:sp>
          <p:nvSpPr>
            <p:cNvPr id="43" name="TextBox 42"/>
            <p:cNvSpPr txBox="1"/>
            <p:nvPr>
              <p:custDataLst>
                <p:tags r:id="rId39"/>
              </p:custDataLst>
            </p:nvPr>
          </p:nvSpPr>
          <p:spPr bwMode="gray">
            <a:xfrm>
              <a:off x="5393430" y="5754747"/>
              <a:ext cx="943854"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Check Engines</a:t>
              </a:r>
              <a:endParaRPr lang="en-US" sz="1050" dirty="0">
                <a:effectLst/>
                <a:latin typeface="Arial"/>
              </a:endParaRPr>
            </a:p>
          </p:txBody>
        </p:sp>
        <p:sp>
          <p:nvSpPr>
            <p:cNvPr id="64" name="TextBox 63"/>
            <p:cNvSpPr txBox="1"/>
            <p:nvPr>
              <p:custDataLst>
                <p:tags r:id="rId40"/>
              </p:custDataLst>
            </p:nvPr>
          </p:nvSpPr>
          <p:spPr bwMode="gray">
            <a:xfrm>
              <a:off x="6894477" y="5754747"/>
              <a:ext cx="1577469"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dirty="0" smtClean="0">
                  <a:effectLst/>
                  <a:latin typeface="Arial"/>
                </a:rPr>
                <a:t>Limited Technology Users</a:t>
              </a:r>
              <a:endParaRPr lang="en-US" sz="1050" dirty="0">
                <a:effectLst/>
                <a:latin typeface="Arial"/>
              </a:endParaRPr>
            </a:p>
          </p:txBody>
        </p:sp>
        <p:sp>
          <p:nvSpPr>
            <p:cNvPr id="45" name="TextBox 44"/>
            <p:cNvSpPr txBox="1"/>
            <p:nvPr>
              <p:custDataLst>
                <p:tags r:id="rId41"/>
              </p:custDataLst>
            </p:nvPr>
          </p:nvSpPr>
          <p:spPr bwMode="gray">
            <a:xfrm>
              <a:off x="1582796" y="5754747"/>
              <a:ext cx="129369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Equipped Navigators</a:t>
              </a:r>
              <a:endParaRPr lang="en-US" sz="1050" dirty="0">
                <a:effectLst/>
                <a:latin typeface="Arial"/>
              </a:endParaRPr>
            </a:p>
          </p:txBody>
        </p:sp>
        <p:sp>
          <p:nvSpPr>
            <p:cNvPr id="49" name="TextBox 48"/>
            <p:cNvSpPr txBox="1"/>
            <p:nvPr>
              <p:custDataLst>
                <p:tags r:id="rId42"/>
              </p:custDataLst>
            </p:nvPr>
          </p:nvSpPr>
          <p:spPr bwMode="gray">
            <a:xfrm>
              <a:off x="3890935" y="3777277"/>
              <a:ext cx="313130"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70%</a:t>
              </a:r>
              <a:endParaRPr lang="en-US" sz="1050">
                <a:solidFill>
                  <a:schemeClr val="bg1"/>
                </a:solidFill>
                <a:effectLst/>
                <a:latin typeface="Arial"/>
              </a:endParaRPr>
            </a:p>
          </p:txBody>
        </p:sp>
        <p:sp>
          <p:nvSpPr>
            <p:cNvPr id="75" name="TextBox 74"/>
            <p:cNvSpPr txBox="1"/>
            <p:nvPr>
              <p:custDataLst>
                <p:tags r:id="rId43"/>
              </p:custDataLst>
            </p:nvPr>
          </p:nvSpPr>
          <p:spPr bwMode="gray">
            <a:xfrm>
              <a:off x="2073080" y="2773550"/>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0%</a:t>
              </a:r>
              <a:endParaRPr lang="en-US" sz="1050">
                <a:solidFill>
                  <a:schemeClr val="bg1"/>
                </a:solidFill>
                <a:effectLst/>
                <a:latin typeface="Arial"/>
              </a:endParaRPr>
            </a:p>
          </p:txBody>
        </p:sp>
        <p:sp>
          <p:nvSpPr>
            <p:cNvPr id="48" name="TextBox 47"/>
            <p:cNvSpPr txBox="1"/>
            <p:nvPr>
              <p:custDataLst>
                <p:tags r:id="rId44"/>
              </p:custDataLst>
            </p:nvPr>
          </p:nvSpPr>
          <p:spPr bwMode="gray">
            <a:xfrm>
              <a:off x="5708792" y="3879514"/>
              <a:ext cx="313130"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67%</a:t>
              </a:r>
              <a:endParaRPr lang="en-US" sz="1050">
                <a:solidFill>
                  <a:schemeClr val="bg1"/>
                </a:solidFill>
                <a:effectLst/>
                <a:latin typeface="Arial"/>
              </a:endParaRPr>
            </a:p>
          </p:txBody>
        </p:sp>
        <p:sp>
          <p:nvSpPr>
            <p:cNvPr id="53" name="TextBox 52"/>
            <p:cNvSpPr txBox="1"/>
            <p:nvPr>
              <p:custDataLst>
                <p:tags r:id="rId45"/>
              </p:custDataLst>
            </p:nvPr>
          </p:nvSpPr>
          <p:spPr bwMode="gray">
            <a:xfrm>
              <a:off x="5708792" y="2471378"/>
              <a:ext cx="313130" cy="161583"/>
            </a:xfrm>
            <a:prstGeom prst="rect">
              <a:avLst/>
            </a:prstGeom>
            <a:noFill/>
            <a:ln cmpd="sng">
              <a:noFill/>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16%</a:t>
              </a:r>
              <a:endParaRPr lang="en-US" sz="1050">
                <a:effectLst/>
                <a:latin typeface="Arial"/>
              </a:endParaRPr>
            </a:p>
          </p:txBody>
        </p:sp>
        <p:sp>
          <p:nvSpPr>
            <p:cNvPr id="50" name="TextBox 49"/>
            <p:cNvSpPr txBox="1"/>
            <p:nvPr>
              <p:custDataLst>
                <p:tags r:id="rId46"/>
              </p:custDataLst>
            </p:nvPr>
          </p:nvSpPr>
          <p:spPr bwMode="gray">
            <a:xfrm>
              <a:off x="3895932" y="2396058"/>
              <a:ext cx="303136" cy="161583"/>
            </a:xfrm>
            <a:prstGeom prst="rect">
              <a:avLst/>
            </a:prstGeom>
            <a:noFill/>
            <a:ln cmpd="sng">
              <a:noFill/>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11%</a:t>
              </a:r>
              <a:endParaRPr lang="en-US" sz="1050">
                <a:effectLst/>
                <a:latin typeface="Arial"/>
              </a:endParaRPr>
            </a:p>
          </p:txBody>
        </p:sp>
        <p:sp>
          <p:nvSpPr>
            <p:cNvPr id="67" name="TextBox 66"/>
            <p:cNvSpPr txBox="1"/>
            <p:nvPr>
              <p:custDataLst>
                <p:tags r:id="rId47"/>
              </p:custDataLst>
            </p:nvPr>
          </p:nvSpPr>
          <p:spPr bwMode="gray">
            <a:xfrm>
              <a:off x="7529375" y="2480289"/>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16%</a:t>
              </a:r>
              <a:endParaRPr lang="en-US" sz="1050">
                <a:effectLst/>
                <a:latin typeface="Arial"/>
              </a:endParaRPr>
            </a:p>
          </p:txBody>
        </p:sp>
        <p:sp>
          <p:nvSpPr>
            <p:cNvPr id="73" name="TextBox 72"/>
            <p:cNvSpPr txBox="1"/>
            <p:nvPr>
              <p:custDataLst>
                <p:tags r:id="rId48"/>
              </p:custDataLst>
            </p:nvPr>
          </p:nvSpPr>
          <p:spPr bwMode="gray">
            <a:xfrm>
              <a:off x="2110524" y="2227494"/>
              <a:ext cx="238243" cy="161583"/>
            </a:xfrm>
            <a:prstGeom prst="rect">
              <a:avLst/>
            </a:prstGeom>
            <a:solidFill>
              <a:srgbClr val="C1D0ED"/>
            </a:solid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2%</a:t>
              </a:r>
              <a:endParaRPr lang="en-US" sz="1050">
                <a:effectLst/>
                <a:latin typeface="Arial"/>
              </a:endParaRPr>
            </a:p>
          </p:txBody>
        </p:sp>
        <p:sp>
          <p:nvSpPr>
            <p:cNvPr id="68" name="TextBox 67"/>
            <p:cNvSpPr txBox="1"/>
            <p:nvPr>
              <p:custDataLst>
                <p:tags r:id="rId49"/>
              </p:custDataLst>
            </p:nvPr>
          </p:nvSpPr>
          <p:spPr bwMode="gray">
            <a:xfrm>
              <a:off x="7529375" y="5116913"/>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9%</a:t>
              </a:r>
              <a:endParaRPr lang="en-US" sz="1050">
                <a:solidFill>
                  <a:schemeClr val="bg1"/>
                </a:solidFill>
                <a:effectLst/>
                <a:latin typeface="Arial"/>
              </a:endParaRPr>
            </a:p>
          </p:txBody>
        </p:sp>
        <p:sp>
          <p:nvSpPr>
            <p:cNvPr id="58" name="TextBox 57"/>
            <p:cNvSpPr txBox="1"/>
            <p:nvPr>
              <p:custDataLst>
                <p:tags r:id="rId50"/>
              </p:custDataLst>
            </p:nvPr>
          </p:nvSpPr>
          <p:spPr bwMode="gray">
            <a:xfrm>
              <a:off x="3890935" y="5286786"/>
              <a:ext cx="313130"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9%</a:t>
              </a:r>
              <a:endParaRPr lang="en-US" sz="1050">
                <a:solidFill>
                  <a:schemeClr val="bg1"/>
                </a:solidFill>
                <a:effectLst/>
                <a:latin typeface="Arial"/>
              </a:endParaRPr>
            </a:p>
          </p:txBody>
        </p:sp>
        <p:sp>
          <p:nvSpPr>
            <p:cNvPr id="69" name="TextBox 68"/>
            <p:cNvSpPr txBox="1"/>
            <p:nvPr>
              <p:custDataLst>
                <p:tags r:id="rId51"/>
              </p:custDataLst>
            </p:nvPr>
          </p:nvSpPr>
          <p:spPr bwMode="gray">
            <a:xfrm>
              <a:off x="7529375" y="369163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5%</a:t>
              </a:r>
              <a:endParaRPr lang="en-US" sz="1050">
                <a:solidFill>
                  <a:schemeClr val="bg1"/>
                </a:solidFill>
                <a:effectLst/>
                <a:latin typeface="Arial"/>
              </a:endParaRPr>
            </a:p>
          </p:txBody>
        </p:sp>
        <p:sp>
          <p:nvSpPr>
            <p:cNvPr id="74" name="TextBox 73"/>
            <p:cNvSpPr txBox="1"/>
            <p:nvPr>
              <p:custDataLst>
                <p:tags r:id="rId52"/>
              </p:custDataLst>
            </p:nvPr>
          </p:nvSpPr>
          <p:spPr bwMode="gray">
            <a:xfrm>
              <a:off x="2073080" y="4451622"/>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68%</a:t>
              </a:r>
              <a:endParaRPr lang="en-US" sz="1050">
                <a:solidFill>
                  <a:schemeClr val="bg1"/>
                </a:solidFill>
                <a:effectLst/>
                <a:latin typeface="Arial"/>
              </a:endParaRPr>
            </a:p>
          </p:txBody>
        </p:sp>
        <p:sp>
          <p:nvSpPr>
            <p:cNvPr id="57" name="TextBox 56"/>
            <p:cNvSpPr txBox="1"/>
            <p:nvPr>
              <p:custDataLst>
                <p:tags r:id="rId53"/>
              </p:custDataLst>
            </p:nvPr>
          </p:nvSpPr>
          <p:spPr bwMode="gray">
            <a:xfrm>
              <a:off x="5708792" y="5313704"/>
              <a:ext cx="313130" cy="161583"/>
            </a:xfrm>
            <a:prstGeom prst="rect">
              <a:avLst/>
            </a:prstGeom>
            <a:noFill/>
            <a:ln cmpd="sng">
              <a:noFill/>
            </a:ln>
            <a:effectLst/>
            <a:extLst>
              <a:ext uri="{909E8E84-426E-40DD-AFC4-6F175D3DCCD1}">
                <a14:hiddenFill xmlns:a14="http://schemas.microsoft.com/office/drawing/2010/main">
                  <a:solidFill>
                    <a:srgbClr val="05296E"/>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7%</a:t>
              </a:r>
              <a:endParaRPr lang="en-US" sz="1050">
                <a:solidFill>
                  <a:schemeClr val="bg1"/>
                </a:solidFill>
                <a:effectLst/>
                <a:latin typeface="Arial"/>
              </a:endParaRPr>
            </a:p>
          </p:txBody>
        </p:sp>
        <p:sp>
          <p:nvSpPr>
            <p:cNvPr id="100" name="TextBox 99"/>
            <p:cNvSpPr txBox="1"/>
            <p:nvPr>
              <p:custDataLst>
                <p:tags r:id="rId54"/>
              </p:custDataLst>
            </p:nvPr>
          </p:nvSpPr>
          <p:spPr bwMode="gray">
            <a:xfrm>
              <a:off x="2380564" y="6059922"/>
              <a:ext cx="47769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Neutral</a:t>
              </a:r>
              <a:endParaRPr lang="en-US" sz="1050">
                <a:effectLst/>
                <a:latin typeface="Arial"/>
              </a:endParaRPr>
            </a:p>
          </p:txBody>
        </p:sp>
        <p:sp>
          <p:nvSpPr>
            <p:cNvPr id="101" name="TextBox 100"/>
            <p:cNvSpPr txBox="1"/>
            <p:nvPr>
              <p:custDataLst>
                <p:tags r:id="rId55"/>
              </p:custDataLst>
            </p:nvPr>
          </p:nvSpPr>
          <p:spPr bwMode="gray">
            <a:xfrm>
              <a:off x="3255625" y="6059922"/>
              <a:ext cx="58250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Disagree</a:t>
              </a:r>
              <a:endParaRPr lang="en-US" sz="1050">
                <a:effectLst/>
                <a:latin typeface="Arial"/>
              </a:endParaRPr>
            </a:p>
          </p:txBody>
        </p:sp>
        <p:sp>
          <p:nvSpPr>
            <p:cNvPr id="102" name="TextBox 101"/>
            <p:cNvSpPr txBox="1"/>
            <p:nvPr>
              <p:custDataLst>
                <p:tags r:id="rId56"/>
              </p:custDataLst>
            </p:nvPr>
          </p:nvSpPr>
          <p:spPr bwMode="gray">
            <a:xfrm>
              <a:off x="1579585" y="6059922"/>
              <a:ext cx="415766"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Agree</a:t>
              </a:r>
              <a:endParaRPr lang="en-US" sz="1050">
                <a:effectLst/>
                <a:latin typeface="Arial"/>
              </a:endParaRPr>
            </a:p>
          </p:txBody>
        </p:sp>
        <p:sp>
          <p:nvSpPr>
            <p:cNvPr id="103" name="Rectangle 102"/>
            <p:cNvSpPr/>
            <p:nvPr>
              <p:custDataLst>
                <p:tags r:id="rId57"/>
              </p:custDataLst>
            </p:nvPr>
          </p:nvSpPr>
          <p:spPr bwMode="gray">
            <a:xfrm>
              <a:off x="3090409" y="6059922"/>
              <a:ext cx="146018" cy="146018"/>
            </a:xfrm>
            <a:prstGeom prst="rect">
              <a:avLst/>
            </a:prstGeom>
            <a:solidFill>
              <a:srgbClr val="C1D0ED"/>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4" name="Rectangle 103"/>
            <p:cNvSpPr/>
            <p:nvPr>
              <p:custDataLst>
                <p:tags r:id="rId58"/>
              </p:custDataLst>
            </p:nvPr>
          </p:nvSpPr>
          <p:spPr bwMode="gray">
            <a:xfrm>
              <a:off x="1414369" y="6059922"/>
              <a:ext cx="146018" cy="146018"/>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5" name="Rectangle 104"/>
            <p:cNvSpPr/>
            <p:nvPr>
              <p:custDataLst>
                <p:tags r:id="rId59"/>
              </p:custDataLst>
            </p:nvPr>
          </p:nvSpPr>
          <p:spPr bwMode="gray">
            <a:xfrm>
              <a:off x="2215347" y="6059922"/>
              <a:ext cx="146018" cy="146018"/>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grpSp>
      <p:sp>
        <p:nvSpPr>
          <p:cNvPr id="65" name="TextBox 64"/>
          <p:cNvSpPr txBox="1"/>
          <p:nvPr/>
        </p:nvSpPr>
        <p:spPr>
          <a:xfrm>
            <a:off x="526142" y="1140849"/>
            <a:ext cx="8040585" cy="461665"/>
          </a:xfrm>
          <a:prstGeom prst="rect">
            <a:avLst/>
          </a:prstGeom>
          <a:noFill/>
        </p:spPr>
        <p:txBody>
          <a:bodyPr wrap="square" rtlCol="0">
            <a:spAutoFit/>
          </a:bodyPr>
          <a:lstStyle/>
          <a:p>
            <a:pPr algn="ctr"/>
            <a:r>
              <a:rPr lang="en-US" sz="1200" b="1" dirty="0" smtClean="0"/>
              <a:t>Indicate where your personal and tendencies </a:t>
            </a:r>
            <a:r>
              <a:rPr lang="en-US" sz="1200" b="1" dirty="0"/>
              <a:t>fall on these dimensions.</a:t>
            </a:r>
          </a:p>
          <a:p>
            <a:pPr algn="ctr"/>
            <a:r>
              <a:rPr lang="en-US" sz="1200" dirty="0" smtClean="0"/>
              <a:t>By Segment; n = 839</a:t>
            </a:r>
            <a:endParaRPr lang="en-US" sz="1200" dirty="0"/>
          </a:p>
        </p:txBody>
      </p:sp>
      <p:sp>
        <p:nvSpPr>
          <p:cNvPr id="66" name="TextBox 65"/>
          <p:cNvSpPr txBox="1"/>
          <p:nvPr/>
        </p:nvSpPr>
        <p:spPr>
          <a:xfrm>
            <a:off x="452064" y="1744259"/>
            <a:ext cx="8242216" cy="276999"/>
          </a:xfrm>
          <a:prstGeom prst="rect">
            <a:avLst/>
          </a:prstGeom>
          <a:noFill/>
        </p:spPr>
        <p:txBody>
          <a:bodyPr wrap="square" rtlCol="0">
            <a:spAutoFit/>
          </a:bodyPr>
          <a:lstStyle/>
          <a:p>
            <a:pPr algn="ctr"/>
            <a:r>
              <a:rPr lang="en-US" sz="1200" i="1" dirty="0"/>
              <a:t>Strong communication channels exist between stakeholders to facilitate collaborations at my </a:t>
            </a:r>
            <a:r>
              <a:rPr lang="en-US" sz="1200" i="1" dirty="0" smtClean="0"/>
              <a:t>institution</a:t>
            </a:r>
            <a:endParaRPr lang="en-US" sz="1200" i="1" dirty="0"/>
          </a:p>
        </p:txBody>
      </p:sp>
      <p:sp>
        <p:nvSpPr>
          <p:cNvPr id="62" name="Content Placeholder 2"/>
          <p:cNvSpPr txBox="1">
            <a:spLocks/>
          </p:cNvSpPr>
          <p:nvPr/>
        </p:nvSpPr>
        <p:spPr>
          <a:xfrm>
            <a:off x="526143" y="6126165"/>
            <a:ext cx="6291218" cy="643102"/>
          </a:xfrm>
          <a:prstGeom prst="rect">
            <a:avLst/>
          </a:prstGeom>
        </p:spPr>
        <p:txBody>
          <a:bodyPr vert="horz" lIns="91440" tIns="45720" rIns="91440" bIns="45720" rtlCol="0" anchor="b">
            <a:normAutofit/>
          </a:bodyPr>
          <a:lstStyle>
            <a:lvl1pPr marL="0" indent="0" algn="l" defTabSz="457200" rtl="0" eaLnBrk="1" latinLnBrk="0" hangingPunct="1">
              <a:spcBef>
                <a:spcPct val="20000"/>
              </a:spcBef>
              <a:buClrTx/>
              <a:buFontTx/>
              <a:buNone/>
              <a:defRPr sz="1000" i="1" kern="1200">
                <a:solidFill>
                  <a:schemeClr val="tx1"/>
                </a:solidFill>
                <a:latin typeface="Arial"/>
                <a:ea typeface="+mn-ea"/>
                <a:cs typeface="Arial"/>
              </a:defRPr>
            </a:lvl1pPr>
            <a:lvl2pPr marL="173037" indent="0" algn="l" defTabSz="457200" rtl="0" eaLnBrk="1" latinLnBrk="0" hangingPunct="1">
              <a:spcBef>
                <a:spcPct val="20000"/>
              </a:spcBef>
              <a:buFontTx/>
              <a:buNone/>
              <a:defRPr sz="1400" kern="1200">
                <a:solidFill>
                  <a:schemeClr val="tx1"/>
                </a:solidFill>
                <a:latin typeface="Arial"/>
                <a:ea typeface="+mn-ea"/>
                <a:cs typeface="Arial"/>
              </a:defRPr>
            </a:lvl2pPr>
            <a:lvl3pPr marL="346075" indent="0" algn="l" defTabSz="457200" rtl="0" eaLnBrk="1" latinLnBrk="0" hangingPunct="1">
              <a:spcBef>
                <a:spcPct val="20000"/>
              </a:spcBef>
              <a:buFontTx/>
              <a:buNone/>
              <a:defRPr sz="1400" kern="1200">
                <a:solidFill>
                  <a:schemeClr val="tx1"/>
                </a:solidFill>
                <a:latin typeface="Arial"/>
                <a:ea typeface="+mn-ea"/>
                <a:cs typeface="Arial"/>
              </a:defRPr>
            </a:lvl3pPr>
            <a:lvl4pPr marL="517525" indent="0" algn="l" defTabSz="457200" rtl="0" eaLnBrk="1" latinLnBrk="0" hangingPunct="1">
              <a:spcBef>
                <a:spcPct val="20000"/>
              </a:spcBef>
              <a:buFontTx/>
              <a:buNone/>
              <a:defRPr sz="1400" kern="1200">
                <a:solidFill>
                  <a:schemeClr val="tx1"/>
                </a:solidFill>
                <a:latin typeface="Arial"/>
                <a:ea typeface="+mn-ea"/>
                <a:cs typeface="Arial"/>
              </a:defRPr>
            </a:lvl4pPr>
            <a:lvl5pPr marL="690562" indent="0" algn="l" defTabSz="457200" rtl="0" eaLnBrk="1" latinLnBrk="0" hangingPunct="1">
              <a:spcBef>
                <a:spcPct val="20000"/>
              </a:spcBef>
              <a:buFontTx/>
              <a:buNone/>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900" dirty="0"/>
              <a:t>Sources: Tyton Partners Analysis</a:t>
            </a:r>
          </a:p>
        </p:txBody>
      </p:sp>
    </p:spTree>
    <p:extLst>
      <p:ext uri="{BB962C8B-B14F-4D97-AF65-F5344CB8AC3E}">
        <p14:creationId xmlns:p14="http://schemas.microsoft.com/office/powerpoint/2010/main" val="350099989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6061281-BD0D-6F47-BBB8-8F6BE6AA34E7}" type="slidenum">
              <a:rPr lang="en-US" smtClean="0"/>
              <a:t>29</a:t>
            </a:fld>
            <a:endParaRPr lang="en-US"/>
          </a:p>
        </p:txBody>
      </p:sp>
      <p:sp>
        <p:nvSpPr>
          <p:cNvPr id="4" name="Content Placeholder 3"/>
          <p:cNvSpPr>
            <a:spLocks noGrp="1"/>
          </p:cNvSpPr>
          <p:nvPr>
            <p:ph idx="14"/>
          </p:nvPr>
        </p:nvSpPr>
        <p:spPr/>
        <p:txBody>
          <a:bodyPr>
            <a:normAutofit/>
          </a:bodyPr>
          <a:lstStyle/>
          <a:p>
            <a:r>
              <a:rPr lang="en-US" dirty="0" smtClean="0"/>
              <a:t>Equipped Navigators Exhibit Clear Ownership Over Student Success Initiatives</a:t>
            </a:r>
            <a:endParaRPr lang="en-US" dirty="0"/>
          </a:p>
        </p:txBody>
      </p:sp>
      <p:grpSp>
        <p:nvGrpSpPr>
          <p:cNvPr id="61" name="Group 60"/>
          <p:cNvGrpSpPr/>
          <p:nvPr>
            <p:custDataLst>
              <p:tags r:id="rId1"/>
            </p:custDataLst>
          </p:nvPr>
        </p:nvGrpSpPr>
        <p:grpSpPr>
          <a:xfrm>
            <a:off x="879892" y="2200680"/>
            <a:ext cx="7712247" cy="4020825"/>
            <a:chOff x="879892" y="2200680"/>
            <a:chExt cx="7712247" cy="4020825"/>
          </a:xfrm>
        </p:grpSpPr>
        <p:sp>
          <p:nvSpPr>
            <p:cNvPr id="28" name="Rectangle 27"/>
            <p:cNvSpPr/>
            <p:nvPr>
              <p:custDataLst>
                <p:tags r:id="rId2"/>
              </p:custDataLst>
            </p:nvPr>
          </p:nvSpPr>
          <p:spPr bwMode="gray">
            <a:xfrm>
              <a:off x="1661565" y="2326871"/>
              <a:ext cx="1136160" cy="548546"/>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 name="Rectangle 2"/>
            <p:cNvSpPr/>
            <p:nvPr>
              <p:custDataLst>
                <p:tags r:id="rId3"/>
              </p:custDataLst>
            </p:nvPr>
          </p:nvSpPr>
          <p:spPr bwMode="gray">
            <a:xfrm>
              <a:off x="7115132" y="3226389"/>
              <a:ext cx="1136160" cy="1136190"/>
            </a:xfrm>
            <a:prstGeom prst="rect">
              <a:avLst/>
            </a:prstGeom>
            <a:solidFill>
              <a:schemeClr val="accent3">
                <a:lumMod val="60000"/>
                <a:lumOff val="40000"/>
              </a:schemeClr>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0" name="Rectangle 9"/>
            <p:cNvSpPr/>
            <p:nvPr>
              <p:custDataLst>
                <p:tags r:id="rId4"/>
              </p:custDataLst>
            </p:nvPr>
          </p:nvSpPr>
          <p:spPr bwMode="gray">
            <a:xfrm>
              <a:off x="3479420" y="3297883"/>
              <a:ext cx="1136160" cy="1776755"/>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7" name="Rectangle 6"/>
            <p:cNvSpPr/>
            <p:nvPr>
              <p:custDataLst>
                <p:tags r:id="rId5"/>
              </p:custDataLst>
            </p:nvPr>
          </p:nvSpPr>
          <p:spPr bwMode="gray">
            <a:xfrm>
              <a:off x="5297275" y="3032704"/>
              <a:ext cx="1136160" cy="1503251"/>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2" name="Rectangle 11"/>
            <p:cNvSpPr/>
            <p:nvPr>
              <p:custDataLst>
                <p:tags r:id="rId6"/>
              </p:custDataLst>
            </p:nvPr>
          </p:nvSpPr>
          <p:spPr bwMode="gray">
            <a:xfrm>
              <a:off x="3479420" y="5074639"/>
              <a:ext cx="1136160" cy="616608"/>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4" name="Rectangle 13"/>
            <p:cNvSpPr/>
            <p:nvPr>
              <p:custDataLst>
                <p:tags r:id="rId7"/>
              </p:custDataLst>
            </p:nvPr>
          </p:nvSpPr>
          <p:spPr bwMode="gray">
            <a:xfrm>
              <a:off x="5297275" y="4535955"/>
              <a:ext cx="1136160" cy="1155291"/>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5" name="Rectangle 4"/>
            <p:cNvSpPr/>
            <p:nvPr>
              <p:custDataLst>
                <p:tags r:id="rId8"/>
              </p:custDataLst>
            </p:nvPr>
          </p:nvSpPr>
          <p:spPr bwMode="gray">
            <a:xfrm>
              <a:off x="7115132" y="4362579"/>
              <a:ext cx="1136160" cy="1328668"/>
            </a:xfrm>
            <a:prstGeom prst="rect">
              <a:avLst/>
            </a:prstGeom>
            <a:solidFill>
              <a:schemeClr val="accent3">
                <a:lumMod val="50000"/>
              </a:schemeClr>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29" name="Rectangle 28"/>
            <p:cNvSpPr/>
            <p:nvPr>
              <p:custDataLst>
                <p:tags r:id="rId9"/>
              </p:custDataLst>
            </p:nvPr>
          </p:nvSpPr>
          <p:spPr bwMode="gray">
            <a:xfrm>
              <a:off x="1661565" y="2875417"/>
              <a:ext cx="1136160" cy="2815829"/>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6" name="Rectangle 15"/>
            <p:cNvSpPr/>
            <p:nvPr>
              <p:custDataLst>
                <p:tags r:id="rId10"/>
              </p:custDataLst>
            </p:nvPr>
          </p:nvSpPr>
          <p:spPr bwMode="gray">
            <a:xfrm>
              <a:off x="5297275" y="2281471"/>
              <a:ext cx="1136160" cy="751233"/>
            </a:xfrm>
            <a:prstGeom prst="rect">
              <a:avLst/>
            </a:prstGeom>
            <a:solidFill>
              <a:srgbClr val="C1D0ED"/>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0" name="Rectangle 29"/>
            <p:cNvSpPr/>
            <p:nvPr>
              <p:custDataLst>
                <p:tags r:id="rId11"/>
              </p:custDataLst>
            </p:nvPr>
          </p:nvSpPr>
          <p:spPr bwMode="gray">
            <a:xfrm>
              <a:off x="1661565" y="2281471"/>
              <a:ext cx="1136160" cy="45401"/>
            </a:xfrm>
            <a:prstGeom prst="rect">
              <a:avLst/>
            </a:prstGeom>
            <a:solidFill>
              <a:srgbClr val="C1D0ED"/>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5" name="Rectangle 14"/>
            <p:cNvSpPr/>
            <p:nvPr>
              <p:custDataLst>
                <p:tags r:id="rId12"/>
              </p:custDataLst>
            </p:nvPr>
          </p:nvSpPr>
          <p:spPr bwMode="gray">
            <a:xfrm>
              <a:off x="3479420" y="2281471"/>
              <a:ext cx="1136160" cy="1016412"/>
            </a:xfrm>
            <a:prstGeom prst="rect">
              <a:avLst/>
            </a:prstGeom>
            <a:solidFill>
              <a:srgbClr val="C1D0ED"/>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6" name="Rectangle 5"/>
            <p:cNvSpPr/>
            <p:nvPr>
              <p:custDataLst>
                <p:tags r:id="rId13"/>
              </p:custDataLst>
            </p:nvPr>
          </p:nvSpPr>
          <p:spPr bwMode="gray">
            <a:xfrm>
              <a:off x="7115132" y="2281471"/>
              <a:ext cx="1136160" cy="944918"/>
            </a:xfrm>
            <a:prstGeom prst="rect">
              <a:avLst/>
            </a:prstGeom>
            <a:solidFill>
              <a:schemeClr val="accent3">
                <a:lumMod val="20000"/>
                <a:lumOff val="80000"/>
              </a:schemeClr>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cxnSp>
          <p:nvCxnSpPr>
            <p:cNvPr id="25" name="Straight Connector 24"/>
            <p:cNvCxnSpPr/>
            <p:nvPr>
              <p:custDataLst>
                <p:tags r:id="rId14"/>
              </p:custDataLst>
            </p:nvPr>
          </p:nvCxnSpPr>
          <p:spPr bwMode="gray">
            <a:xfrm>
              <a:off x="1320717" y="5691247"/>
              <a:ext cx="7271422"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custDataLst>
                <p:tags r:id="rId15"/>
              </p:custDataLst>
            </p:nvPr>
          </p:nvCxnSpPr>
          <p:spPr bwMode="gray">
            <a:xfrm flipV="1">
              <a:off x="1320717" y="2281471"/>
              <a:ext cx="0" cy="3409776"/>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custDataLst>
                <p:tags r:id="rId16"/>
              </p:custDataLst>
            </p:nvPr>
          </p:nvCxnSpPr>
          <p:spPr bwMode="gray">
            <a:xfrm flipH="1">
              <a:off x="1269917" y="5009292"/>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custDataLst>
                <p:tags r:id="rId17"/>
              </p:custDataLst>
            </p:nvPr>
          </p:nvCxnSpPr>
          <p:spPr bwMode="gray">
            <a:xfrm flipH="1">
              <a:off x="1269917" y="3645381"/>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custDataLst>
                <p:tags r:id="rId18"/>
              </p:custDataLst>
            </p:nvPr>
          </p:nvCxnSpPr>
          <p:spPr bwMode="gray">
            <a:xfrm flipH="1">
              <a:off x="1269917" y="535026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custDataLst>
                <p:tags r:id="rId19"/>
              </p:custDataLst>
            </p:nvPr>
          </p:nvCxnSpPr>
          <p:spPr bwMode="gray">
            <a:xfrm flipH="1">
              <a:off x="1269917" y="5691247"/>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custDataLst>
                <p:tags r:id="rId20"/>
              </p:custDataLst>
            </p:nvPr>
          </p:nvCxnSpPr>
          <p:spPr bwMode="gray">
            <a:xfrm flipH="1">
              <a:off x="1269917" y="398635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custDataLst>
                <p:tags r:id="rId21"/>
              </p:custDataLst>
            </p:nvPr>
          </p:nvCxnSpPr>
          <p:spPr bwMode="gray">
            <a:xfrm flipH="1">
              <a:off x="1269917" y="4327337"/>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custDataLst>
                <p:tags r:id="rId22"/>
              </p:custDataLst>
            </p:nvPr>
          </p:nvCxnSpPr>
          <p:spPr bwMode="gray">
            <a:xfrm flipH="1">
              <a:off x="1269917" y="466831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custDataLst>
                <p:tags r:id="rId23"/>
              </p:custDataLst>
            </p:nvPr>
          </p:nvCxnSpPr>
          <p:spPr bwMode="gray">
            <a:xfrm flipH="1">
              <a:off x="1269917" y="2963426"/>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custDataLst>
                <p:tags r:id="rId24"/>
              </p:custDataLst>
            </p:nvPr>
          </p:nvCxnSpPr>
          <p:spPr bwMode="gray">
            <a:xfrm flipH="1">
              <a:off x="1269917" y="2622448"/>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custDataLst>
                <p:tags r:id="rId25"/>
              </p:custDataLst>
            </p:nvPr>
          </p:nvCxnSpPr>
          <p:spPr bwMode="gray">
            <a:xfrm flipH="1">
              <a:off x="1269917" y="2281471"/>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custDataLst>
                <p:tags r:id="rId26"/>
              </p:custDataLst>
            </p:nvPr>
          </p:nvCxnSpPr>
          <p:spPr bwMode="gray">
            <a:xfrm flipH="1">
              <a:off x="1269917" y="330440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32" name="TextBox 31"/>
            <p:cNvSpPr txBox="1"/>
            <p:nvPr>
              <p:custDataLst>
                <p:tags r:id="rId27"/>
              </p:custDataLst>
            </p:nvPr>
          </p:nvSpPr>
          <p:spPr bwMode="gray">
            <a:xfrm>
              <a:off x="956639" y="5269477"/>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a:t>
              </a:r>
              <a:endParaRPr lang="en-US" sz="1050">
                <a:effectLst/>
                <a:latin typeface="Arial"/>
              </a:endParaRPr>
            </a:p>
          </p:txBody>
        </p:sp>
        <p:sp>
          <p:nvSpPr>
            <p:cNvPr id="33" name="TextBox 32"/>
            <p:cNvSpPr txBox="1"/>
            <p:nvPr>
              <p:custDataLst>
                <p:tags r:id="rId28"/>
              </p:custDataLst>
            </p:nvPr>
          </p:nvSpPr>
          <p:spPr bwMode="gray">
            <a:xfrm>
              <a:off x="956639" y="2541657"/>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90%</a:t>
              </a:r>
              <a:endParaRPr lang="en-US" sz="1050">
                <a:effectLst/>
                <a:latin typeface="Arial"/>
              </a:endParaRPr>
            </a:p>
          </p:txBody>
        </p:sp>
        <p:sp>
          <p:nvSpPr>
            <p:cNvPr id="34" name="TextBox 33"/>
            <p:cNvSpPr txBox="1"/>
            <p:nvPr>
              <p:custDataLst>
                <p:tags r:id="rId29"/>
              </p:custDataLst>
            </p:nvPr>
          </p:nvSpPr>
          <p:spPr bwMode="gray">
            <a:xfrm>
              <a:off x="1031526" y="5610456"/>
              <a:ext cx="238243"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0%</a:t>
              </a:r>
              <a:endParaRPr lang="en-US" sz="1050">
                <a:effectLst/>
                <a:latin typeface="Arial"/>
              </a:endParaRPr>
            </a:p>
          </p:txBody>
        </p:sp>
        <p:sp>
          <p:nvSpPr>
            <p:cNvPr id="35" name="TextBox 34"/>
            <p:cNvSpPr txBox="1"/>
            <p:nvPr>
              <p:custDataLst>
                <p:tags r:id="rId30"/>
              </p:custDataLst>
            </p:nvPr>
          </p:nvSpPr>
          <p:spPr bwMode="gray">
            <a:xfrm>
              <a:off x="879892" y="2200680"/>
              <a:ext cx="38987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0%</a:t>
              </a:r>
              <a:endParaRPr lang="en-US" sz="1050">
                <a:effectLst/>
                <a:latin typeface="Arial"/>
              </a:endParaRPr>
            </a:p>
          </p:txBody>
        </p:sp>
        <p:sp>
          <p:nvSpPr>
            <p:cNvPr id="36" name="TextBox 35"/>
            <p:cNvSpPr txBox="1"/>
            <p:nvPr>
              <p:custDataLst>
                <p:tags r:id="rId31"/>
              </p:custDataLst>
            </p:nvPr>
          </p:nvSpPr>
          <p:spPr bwMode="gray">
            <a:xfrm>
              <a:off x="956639" y="3564590"/>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60%</a:t>
              </a:r>
              <a:endParaRPr lang="en-US" sz="1050" dirty="0">
                <a:effectLst/>
                <a:latin typeface="Arial"/>
              </a:endParaRPr>
            </a:p>
          </p:txBody>
        </p:sp>
        <p:sp>
          <p:nvSpPr>
            <p:cNvPr id="37" name="TextBox 36"/>
            <p:cNvSpPr txBox="1"/>
            <p:nvPr>
              <p:custDataLst>
                <p:tags r:id="rId32"/>
              </p:custDataLst>
            </p:nvPr>
          </p:nvSpPr>
          <p:spPr bwMode="gray">
            <a:xfrm>
              <a:off x="956639" y="4928500"/>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20%</a:t>
              </a:r>
              <a:endParaRPr lang="en-US" sz="1050">
                <a:effectLst/>
                <a:latin typeface="Arial"/>
              </a:endParaRPr>
            </a:p>
          </p:txBody>
        </p:sp>
        <p:sp>
          <p:nvSpPr>
            <p:cNvPr id="38" name="TextBox 37"/>
            <p:cNvSpPr txBox="1"/>
            <p:nvPr>
              <p:custDataLst>
                <p:tags r:id="rId33"/>
              </p:custDataLst>
            </p:nvPr>
          </p:nvSpPr>
          <p:spPr bwMode="gray">
            <a:xfrm>
              <a:off x="956639" y="3905567"/>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50%</a:t>
              </a:r>
              <a:endParaRPr lang="en-US" sz="1050">
                <a:effectLst/>
                <a:latin typeface="Arial"/>
              </a:endParaRPr>
            </a:p>
          </p:txBody>
        </p:sp>
        <p:sp>
          <p:nvSpPr>
            <p:cNvPr id="39" name="TextBox 38"/>
            <p:cNvSpPr txBox="1"/>
            <p:nvPr>
              <p:custDataLst>
                <p:tags r:id="rId34"/>
              </p:custDataLst>
            </p:nvPr>
          </p:nvSpPr>
          <p:spPr bwMode="gray">
            <a:xfrm>
              <a:off x="956639" y="3223613"/>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70%</a:t>
              </a:r>
              <a:endParaRPr lang="en-US" sz="1050">
                <a:effectLst/>
                <a:latin typeface="Arial"/>
              </a:endParaRPr>
            </a:p>
          </p:txBody>
        </p:sp>
        <p:sp>
          <p:nvSpPr>
            <p:cNvPr id="40" name="TextBox 39"/>
            <p:cNvSpPr txBox="1"/>
            <p:nvPr>
              <p:custDataLst>
                <p:tags r:id="rId35"/>
              </p:custDataLst>
            </p:nvPr>
          </p:nvSpPr>
          <p:spPr bwMode="gray">
            <a:xfrm>
              <a:off x="956639" y="4246545"/>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40%</a:t>
              </a:r>
              <a:endParaRPr lang="en-US" sz="1050">
                <a:effectLst/>
                <a:latin typeface="Arial"/>
              </a:endParaRPr>
            </a:p>
          </p:txBody>
        </p:sp>
        <p:sp>
          <p:nvSpPr>
            <p:cNvPr id="41" name="TextBox 40"/>
            <p:cNvSpPr txBox="1"/>
            <p:nvPr>
              <p:custDataLst>
                <p:tags r:id="rId36"/>
              </p:custDataLst>
            </p:nvPr>
          </p:nvSpPr>
          <p:spPr bwMode="gray">
            <a:xfrm>
              <a:off x="956639" y="4587523"/>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30%</a:t>
              </a:r>
              <a:endParaRPr lang="en-US" sz="1050">
                <a:effectLst/>
                <a:latin typeface="Arial"/>
              </a:endParaRPr>
            </a:p>
          </p:txBody>
        </p:sp>
        <p:sp>
          <p:nvSpPr>
            <p:cNvPr id="42" name="TextBox 41"/>
            <p:cNvSpPr txBox="1"/>
            <p:nvPr>
              <p:custDataLst>
                <p:tags r:id="rId37"/>
              </p:custDataLst>
            </p:nvPr>
          </p:nvSpPr>
          <p:spPr bwMode="gray">
            <a:xfrm>
              <a:off x="956639" y="2882634"/>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80%</a:t>
              </a:r>
              <a:endParaRPr lang="en-US" sz="1050">
                <a:effectLst/>
                <a:latin typeface="Arial"/>
              </a:endParaRPr>
            </a:p>
          </p:txBody>
        </p:sp>
        <p:sp>
          <p:nvSpPr>
            <p:cNvPr id="46" name="TextBox 45"/>
            <p:cNvSpPr txBox="1"/>
            <p:nvPr>
              <p:custDataLst>
                <p:tags r:id="rId38"/>
              </p:custDataLst>
            </p:nvPr>
          </p:nvSpPr>
          <p:spPr bwMode="gray">
            <a:xfrm>
              <a:off x="3720637" y="5754747"/>
              <a:ext cx="653726"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Low Fuels</a:t>
              </a:r>
              <a:endParaRPr lang="en-US" sz="1050" dirty="0">
                <a:effectLst/>
                <a:latin typeface="Arial"/>
              </a:endParaRPr>
            </a:p>
          </p:txBody>
        </p:sp>
        <p:sp>
          <p:nvSpPr>
            <p:cNvPr id="43" name="TextBox 42"/>
            <p:cNvSpPr txBox="1"/>
            <p:nvPr>
              <p:custDataLst>
                <p:tags r:id="rId39"/>
              </p:custDataLst>
            </p:nvPr>
          </p:nvSpPr>
          <p:spPr bwMode="gray">
            <a:xfrm>
              <a:off x="5393430" y="5754747"/>
              <a:ext cx="943854"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Check Engines</a:t>
              </a:r>
              <a:endParaRPr lang="en-US" sz="1050" dirty="0">
                <a:effectLst/>
                <a:latin typeface="Arial"/>
              </a:endParaRPr>
            </a:p>
          </p:txBody>
        </p:sp>
        <p:sp>
          <p:nvSpPr>
            <p:cNvPr id="64" name="TextBox 63"/>
            <p:cNvSpPr txBox="1"/>
            <p:nvPr>
              <p:custDataLst>
                <p:tags r:id="rId40"/>
              </p:custDataLst>
            </p:nvPr>
          </p:nvSpPr>
          <p:spPr bwMode="gray">
            <a:xfrm>
              <a:off x="6894477" y="5754747"/>
              <a:ext cx="1577469"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dirty="0" smtClean="0">
                  <a:effectLst/>
                  <a:latin typeface="Arial"/>
                </a:rPr>
                <a:t>Limited Technology Users</a:t>
              </a:r>
              <a:endParaRPr lang="en-US" sz="1050" dirty="0">
                <a:effectLst/>
                <a:latin typeface="Arial"/>
              </a:endParaRPr>
            </a:p>
          </p:txBody>
        </p:sp>
        <p:sp>
          <p:nvSpPr>
            <p:cNvPr id="45" name="TextBox 44"/>
            <p:cNvSpPr txBox="1"/>
            <p:nvPr>
              <p:custDataLst>
                <p:tags r:id="rId41"/>
              </p:custDataLst>
            </p:nvPr>
          </p:nvSpPr>
          <p:spPr bwMode="gray">
            <a:xfrm>
              <a:off x="1582796" y="5754747"/>
              <a:ext cx="129369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Equipped Navigators</a:t>
              </a:r>
              <a:endParaRPr lang="en-US" sz="1050" dirty="0">
                <a:effectLst/>
                <a:latin typeface="Arial"/>
              </a:endParaRPr>
            </a:p>
          </p:txBody>
        </p:sp>
        <p:sp>
          <p:nvSpPr>
            <p:cNvPr id="49" name="TextBox 48"/>
            <p:cNvSpPr txBox="1"/>
            <p:nvPr>
              <p:custDataLst>
                <p:tags r:id="rId42"/>
              </p:custDataLst>
            </p:nvPr>
          </p:nvSpPr>
          <p:spPr bwMode="gray">
            <a:xfrm>
              <a:off x="3890935" y="4105469"/>
              <a:ext cx="313130"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2%</a:t>
              </a:r>
              <a:endParaRPr lang="en-US" sz="1050">
                <a:solidFill>
                  <a:schemeClr val="bg1"/>
                </a:solidFill>
                <a:effectLst/>
                <a:latin typeface="Arial"/>
              </a:endParaRPr>
            </a:p>
          </p:txBody>
        </p:sp>
        <p:sp>
          <p:nvSpPr>
            <p:cNvPr id="75" name="TextBox 74"/>
            <p:cNvSpPr txBox="1"/>
            <p:nvPr>
              <p:custDataLst>
                <p:tags r:id="rId43"/>
              </p:custDataLst>
            </p:nvPr>
          </p:nvSpPr>
          <p:spPr bwMode="gray">
            <a:xfrm>
              <a:off x="2073080" y="2520353"/>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6%</a:t>
              </a:r>
              <a:endParaRPr lang="en-US" sz="1050">
                <a:solidFill>
                  <a:schemeClr val="bg1"/>
                </a:solidFill>
                <a:effectLst/>
                <a:latin typeface="Arial"/>
              </a:endParaRPr>
            </a:p>
          </p:txBody>
        </p:sp>
        <p:sp>
          <p:nvSpPr>
            <p:cNvPr id="48" name="TextBox 47"/>
            <p:cNvSpPr txBox="1"/>
            <p:nvPr>
              <p:custDataLst>
                <p:tags r:id="rId44"/>
              </p:custDataLst>
            </p:nvPr>
          </p:nvSpPr>
          <p:spPr bwMode="gray">
            <a:xfrm>
              <a:off x="5708792" y="3703538"/>
              <a:ext cx="313130" cy="161583"/>
            </a:xfrm>
            <a:prstGeom prst="rect">
              <a:avLst/>
            </a:prstGeom>
            <a:noFill/>
            <a:ln cmpd="sng">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44%</a:t>
              </a:r>
              <a:endParaRPr lang="en-US" sz="1050">
                <a:solidFill>
                  <a:schemeClr val="bg1"/>
                </a:solidFill>
                <a:effectLst/>
                <a:latin typeface="Arial"/>
              </a:endParaRPr>
            </a:p>
          </p:txBody>
        </p:sp>
        <p:sp>
          <p:nvSpPr>
            <p:cNvPr id="53" name="TextBox 52"/>
            <p:cNvSpPr txBox="1"/>
            <p:nvPr>
              <p:custDataLst>
                <p:tags r:id="rId45"/>
              </p:custDataLst>
            </p:nvPr>
          </p:nvSpPr>
          <p:spPr bwMode="gray">
            <a:xfrm>
              <a:off x="5708792" y="2576296"/>
              <a:ext cx="313130" cy="161583"/>
            </a:xfrm>
            <a:prstGeom prst="rect">
              <a:avLst/>
            </a:prstGeom>
            <a:noFill/>
            <a:ln cmpd="sng">
              <a:noFill/>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22%</a:t>
              </a:r>
              <a:endParaRPr lang="en-US" sz="1050">
                <a:effectLst/>
                <a:latin typeface="Arial"/>
              </a:endParaRPr>
            </a:p>
          </p:txBody>
        </p:sp>
        <p:sp>
          <p:nvSpPr>
            <p:cNvPr id="50" name="TextBox 49"/>
            <p:cNvSpPr txBox="1"/>
            <p:nvPr>
              <p:custDataLst>
                <p:tags r:id="rId46"/>
              </p:custDataLst>
            </p:nvPr>
          </p:nvSpPr>
          <p:spPr bwMode="gray">
            <a:xfrm>
              <a:off x="3893663" y="2708885"/>
              <a:ext cx="307675" cy="161583"/>
            </a:xfrm>
            <a:prstGeom prst="rect">
              <a:avLst/>
            </a:prstGeom>
            <a:noFill/>
            <a:ln cmpd="sng">
              <a:noFill/>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30%</a:t>
              </a:r>
              <a:endParaRPr lang="en-US" sz="1050">
                <a:effectLst/>
                <a:latin typeface="Arial"/>
              </a:endParaRPr>
            </a:p>
          </p:txBody>
        </p:sp>
        <p:sp>
          <p:nvSpPr>
            <p:cNvPr id="67" name="TextBox 66"/>
            <p:cNvSpPr txBox="1"/>
            <p:nvPr>
              <p:custDataLst>
                <p:tags r:id="rId47"/>
              </p:custDataLst>
            </p:nvPr>
          </p:nvSpPr>
          <p:spPr bwMode="gray">
            <a:xfrm>
              <a:off x="7529375" y="2673139"/>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28%</a:t>
              </a:r>
              <a:endParaRPr lang="en-US" sz="1050">
                <a:effectLst/>
                <a:latin typeface="Arial"/>
              </a:endParaRPr>
            </a:p>
          </p:txBody>
        </p:sp>
        <p:sp>
          <p:nvSpPr>
            <p:cNvPr id="73" name="TextBox 72"/>
            <p:cNvSpPr txBox="1"/>
            <p:nvPr>
              <p:custDataLst>
                <p:tags r:id="rId48"/>
              </p:custDataLst>
            </p:nvPr>
          </p:nvSpPr>
          <p:spPr bwMode="gray">
            <a:xfrm>
              <a:off x="2110524" y="2223380"/>
              <a:ext cx="238243" cy="161583"/>
            </a:xfrm>
            <a:prstGeom prst="rect">
              <a:avLst/>
            </a:prstGeom>
            <a:solidFill>
              <a:srgbClr val="C1D0ED"/>
            </a:solid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1%</a:t>
              </a:r>
              <a:endParaRPr lang="en-US" sz="1050">
                <a:effectLst/>
                <a:latin typeface="Arial"/>
              </a:endParaRPr>
            </a:p>
          </p:txBody>
        </p:sp>
        <p:sp>
          <p:nvSpPr>
            <p:cNvPr id="68" name="TextBox 67"/>
            <p:cNvSpPr txBox="1"/>
            <p:nvPr>
              <p:custDataLst>
                <p:tags r:id="rId49"/>
              </p:custDataLst>
            </p:nvPr>
          </p:nvSpPr>
          <p:spPr bwMode="gray">
            <a:xfrm>
              <a:off x="7529375" y="4946121"/>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9%</a:t>
              </a:r>
              <a:endParaRPr lang="en-US" sz="1050">
                <a:solidFill>
                  <a:schemeClr val="bg1"/>
                </a:solidFill>
                <a:effectLst/>
                <a:latin typeface="Arial"/>
              </a:endParaRPr>
            </a:p>
          </p:txBody>
        </p:sp>
        <p:sp>
          <p:nvSpPr>
            <p:cNvPr id="58" name="TextBox 57"/>
            <p:cNvSpPr txBox="1"/>
            <p:nvPr>
              <p:custDataLst>
                <p:tags r:id="rId50"/>
              </p:custDataLst>
            </p:nvPr>
          </p:nvSpPr>
          <p:spPr bwMode="gray">
            <a:xfrm>
              <a:off x="3890935" y="5302152"/>
              <a:ext cx="313130"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8%</a:t>
              </a:r>
              <a:endParaRPr lang="en-US" sz="1050">
                <a:solidFill>
                  <a:schemeClr val="bg1"/>
                </a:solidFill>
                <a:effectLst/>
                <a:latin typeface="Arial"/>
              </a:endParaRPr>
            </a:p>
          </p:txBody>
        </p:sp>
        <p:sp>
          <p:nvSpPr>
            <p:cNvPr id="69" name="TextBox 68"/>
            <p:cNvSpPr txBox="1"/>
            <p:nvPr>
              <p:custDataLst>
                <p:tags r:id="rId51"/>
              </p:custDataLst>
            </p:nvPr>
          </p:nvSpPr>
          <p:spPr bwMode="gray">
            <a:xfrm>
              <a:off x="7529375" y="3713693"/>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3%</a:t>
              </a:r>
              <a:endParaRPr lang="en-US" sz="1050">
                <a:solidFill>
                  <a:schemeClr val="bg1"/>
                </a:solidFill>
                <a:effectLst/>
                <a:latin typeface="Arial"/>
              </a:endParaRPr>
            </a:p>
          </p:txBody>
        </p:sp>
        <p:sp>
          <p:nvSpPr>
            <p:cNvPr id="74" name="TextBox 73"/>
            <p:cNvSpPr txBox="1"/>
            <p:nvPr>
              <p:custDataLst>
                <p:tags r:id="rId52"/>
              </p:custDataLst>
            </p:nvPr>
          </p:nvSpPr>
          <p:spPr bwMode="gray">
            <a:xfrm>
              <a:off x="2073080" y="4202541"/>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83%</a:t>
              </a:r>
              <a:endParaRPr lang="en-US" sz="1050">
                <a:solidFill>
                  <a:schemeClr val="bg1"/>
                </a:solidFill>
                <a:effectLst/>
                <a:latin typeface="Arial"/>
              </a:endParaRPr>
            </a:p>
          </p:txBody>
        </p:sp>
        <p:sp>
          <p:nvSpPr>
            <p:cNvPr id="57" name="TextBox 56"/>
            <p:cNvSpPr txBox="1"/>
            <p:nvPr>
              <p:custDataLst>
                <p:tags r:id="rId53"/>
              </p:custDataLst>
            </p:nvPr>
          </p:nvSpPr>
          <p:spPr bwMode="gray">
            <a:xfrm>
              <a:off x="5708792" y="5032810"/>
              <a:ext cx="313130" cy="161583"/>
            </a:xfrm>
            <a:prstGeom prst="rect">
              <a:avLst/>
            </a:prstGeom>
            <a:noFill/>
            <a:ln cmpd="sng">
              <a:noFill/>
            </a:ln>
            <a:effectLst/>
            <a:extLst>
              <a:ext uri="{909E8E84-426E-40DD-AFC4-6F175D3DCCD1}">
                <a14:hiddenFill xmlns:a14="http://schemas.microsoft.com/office/drawing/2010/main">
                  <a:solidFill>
                    <a:srgbClr val="05296E"/>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4%</a:t>
              </a:r>
              <a:endParaRPr lang="en-US" sz="1050">
                <a:solidFill>
                  <a:schemeClr val="bg1"/>
                </a:solidFill>
                <a:effectLst/>
                <a:latin typeface="Arial"/>
              </a:endParaRPr>
            </a:p>
          </p:txBody>
        </p:sp>
        <p:sp>
          <p:nvSpPr>
            <p:cNvPr id="100" name="TextBox 99"/>
            <p:cNvSpPr txBox="1"/>
            <p:nvPr>
              <p:custDataLst>
                <p:tags r:id="rId54"/>
              </p:custDataLst>
            </p:nvPr>
          </p:nvSpPr>
          <p:spPr bwMode="gray">
            <a:xfrm>
              <a:off x="2380564" y="6059922"/>
              <a:ext cx="47769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Neutral</a:t>
              </a:r>
              <a:endParaRPr lang="en-US" sz="1050">
                <a:effectLst/>
                <a:latin typeface="Arial"/>
              </a:endParaRPr>
            </a:p>
          </p:txBody>
        </p:sp>
        <p:sp>
          <p:nvSpPr>
            <p:cNvPr id="101" name="TextBox 100"/>
            <p:cNvSpPr txBox="1"/>
            <p:nvPr>
              <p:custDataLst>
                <p:tags r:id="rId55"/>
              </p:custDataLst>
            </p:nvPr>
          </p:nvSpPr>
          <p:spPr bwMode="gray">
            <a:xfrm>
              <a:off x="3255625" y="6059922"/>
              <a:ext cx="58250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Disagree</a:t>
              </a:r>
              <a:endParaRPr lang="en-US" sz="1050">
                <a:effectLst/>
                <a:latin typeface="Arial"/>
              </a:endParaRPr>
            </a:p>
          </p:txBody>
        </p:sp>
        <p:sp>
          <p:nvSpPr>
            <p:cNvPr id="102" name="TextBox 101"/>
            <p:cNvSpPr txBox="1"/>
            <p:nvPr>
              <p:custDataLst>
                <p:tags r:id="rId56"/>
              </p:custDataLst>
            </p:nvPr>
          </p:nvSpPr>
          <p:spPr bwMode="gray">
            <a:xfrm>
              <a:off x="1579585" y="6059922"/>
              <a:ext cx="415766"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Agree</a:t>
              </a:r>
              <a:endParaRPr lang="en-US" sz="1050">
                <a:effectLst/>
                <a:latin typeface="Arial"/>
              </a:endParaRPr>
            </a:p>
          </p:txBody>
        </p:sp>
        <p:sp>
          <p:nvSpPr>
            <p:cNvPr id="103" name="Rectangle 102"/>
            <p:cNvSpPr/>
            <p:nvPr>
              <p:custDataLst>
                <p:tags r:id="rId57"/>
              </p:custDataLst>
            </p:nvPr>
          </p:nvSpPr>
          <p:spPr bwMode="gray">
            <a:xfrm>
              <a:off x="3090409" y="6059922"/>
              <a:ext cx="146018" cy="146018"/>
            </a:xfrm>
            <a:prstGeom prst="rect">
              <a:avLst/>
            </a:prstGeom>
            <a:solidFill>
              <a:srgbClr val="C1D0ED"/>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4" name="Rectangle 103"/>
            <p:cNvSpPr/>
            <p:nvPr>
              <p:custDataLst>
                <p:tags r:id="rId58"/>
              </p:custDataLst>
            </p:nvPr>
          </p:nvSpPr>
          <p:spPr bwMode="gray">
            <a:xfrm>
              <a:off x="1414369" y="6059922"/>
              <a:ext cx="146018" cy="146018"/>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5" name="Rectangle 104"/>
            <p:cNvSpPr/>
            <p:nvPr>
              <p:custDataLst>
                <p:tags r:id="rId59"/>
              </p:custDataLst>
            </p:nvPr>
          </p:nvSpPr>
          <p:spPr bwMode="gray">
            <a:xfrm>
              <a:off x="2215347" y="6059922"/>
              <a:ext cx="146018" cy="146018"/>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grpSp>
      <p:sp>
        <p:nvSpPr>
          <p:cNvPr id="65" name="TextBox 64"/>
          <p:cNvSpPr txBox="1"/>
          <p:nvPr/>
        </p:nvSpPr>
        <p:spPr>
          <a:xfrm>
            <a:off x="526142" y="1140849"/>
            <a:ext cx="8040585" cy="461665"/>
          </a:xfrm>
          <a:prstGeom prst="rect">
            <a:avLst/>
          </a:prstGeom>
          <a:noFill/>
        </p:spPr>
        <p:txBody>
          <a:bodyPr wrap="square" rtlCol="0">
            <a:spAutoFit/>
          </a:bodyPr>
          <a:lstStyle/>
          <a:p>
            <a:pPr algn="ctr"/>
            <a:r>
              <a:rPr lang="en-US" sz="1200" b="1" dirty="0" smtClean="0"/>
              <a:t>Indicate where your personal and tendencies </a:t>
            </a:r>
            <a:r>
              <a:rPr lang="en-US" sz="1200" b="1" dirty="0"/>
              <a:t>fall on these dimensions.</a:t>
            </a:r>
          </a:p>
          <a:p>
            <a:pPr algn="ctr"/>
            <a:r>
              <a:rPr lang="en-US" sz="1200" dirty="0" smtClean="0"/>
              <a:t>By Segment; n = 839</a:t>
            </a:r>
            <a:endParaRPr lang="en-US" sz="1200" dirty="0"/>
          </a:p>
        </p:txBody>
      </p:sp>
      <p:sp>
        <p:nvSpPr>
          <p:cNvPr id="66" name="TextBox 65"/>
          <p:cNvSpPr txBox="1"/>
          <p:nvPr/>
        </p:nvSpPr>
        <p:spPr>
          <a:xfrm>
            <a:off x="452064" y="1744259"/>
            <a:ext cx="8242216" cy="276999"/>
          </a:xfrm>
          <a:prstGeom prst="rect">
            <a:avLst/>
          </a:prstGeom>
          <a:noFill/>
        </p:spPr>
        <p:txBody>
          <a:bodyPr wrap="square" rtlCol="0">
            <a:spAutoFit/>
          </a:bodyPr>
          <a:lstStyle/>
          <a:p>
            <a:pPr algn="ctr"/>
            <a:r>
              <a:rPr lang="en-US" sz="1200" i="1" dirty="0"/>
              <a:t>Clear ownership over student success initiatives exists at my institution </a:t>
            </a:r>
          </a:p>
        </p:txBody>
      </p:sp>
      <p:sp>
        <p:nvSpPr>
          <p:cNvPr id="62" name="Content Placeholder 2"/>
          <p:cNvSpPr txBox="1">
            <a:spLocks/>
          </p:cNvSpPr>
          <p:nvPr/>
        </p:nvSpPr>
        <p:spPr>
          <a:xfrm>
            <a:off x="526143" y="6126165"/>
            <a:ext cx="6291218" cy="643102"/>
          </a:xfrm>
          <a:prstGeom prst="rect">
            <a:avLst/>
          </a:prstGeom>
        </p:spPr>
        <p:txBody>
          <a:bodyPr vert="horz" lIns="91440" tIns="45720" rIns="91440" bIns="45720" rtlCol="0" anchor="b">
            <a:normAutofit/>
          </a:bodyPr>
          <a:lstStyle>
            <a:lvl1pPr marL="0" indent="0" algn="l" defTabSz="457200" rtl="0" eaLnBrk="1" latinLnBrk="0" hangingPunct="1">
              <a:spcBef>
                <a:spcPct val="20000"/>
              </a:spcBef>
              <a:buClrTx/>
              <a:buFontTx/>
              <a:buNone/>
              <a:defRPr sz="1000" i="1" kern="1200">
                <a:solidFill>
                  <a:schemeClr val="tx1"/>
                </a:solidFill>
                <a:latin typeface="Arial"/>
                <a:ea typeface="+mn-ea"/>
                <a:cs typeface="Arial"/>
              </a:defRPr>
            </a:lvl1pPr>
            <a:lvl2pPr marL="173037" indent="0" algn="l" defTabSz="457200" rtl="0" eaLnBrk="1" latinLnBrk="0" hangingPunct="1">
              <a:spcBef>
                <a:spcPct val="20000"/>
              </a:spcBef>
              <a:buFontTx/>
              <a:buNone/>
              <a:defRPr sz="1400" kern="1200">
                <a:solidFill>
                  <a:schemeClr val="tx1"/>
                </a:solidFill>
                <a:latin typeface="Arial"/>
                <a:ea typeface="+mn-ea"/>
                <a:cs typeface="Arial"/>
              </a:defRPr>
            </a:lvl2pPr>
            <a:lvl3pPr marL="346075" indent="0" algn="l" defTabSz="457200" rtl="0" eaLnBrk="1" latinLnBrk="0" hangingPunct="1">
              <a:spcBef>
                <a:spcPct val="20000"/>
              </a:spcBef>
              <a:buFontTx/>
              <a:buNone/>
              <a:defRPr sz="1400" kern="1200">
                <a:solidFill>
                  <a:schemeClr val="tx1"/>
                </a:solidFill>
                <a:latin typeface="Arial"/>
                <a:ea typeface="+mn-ea"/>
                <a:cs typeface="Arial"/>
              </a:defRPr>
            </a:lvl3pPr>
            <a:lvl4pPr marL="517525" indent="0" algn="l" defTabSz="457200" rtl="0" eaLnBrk="1" latinLnBrk="0" hangingPunct="1">
              <a:spcBef>
                <a:spcPct val="20000"/>
              </a:spcBef>
              <a:buFontTx/>
              <a:buNone/>
              <a:defRPr sz="1400" kern="1200">
                <a:solidFill>
                  <a:schemeClr val="tx1"/>
                </a:solidFill>
                <a:latin typeface="Arial"/>
                <a:ea typeface="+mn-ea"/>
                <a:cs typeface="Arial"/>
              </a:defRPr>
            </a:lvl4pPr>
            <a:lvl5pPr marL="690562" indent="0" algn="l" defTabSz="457200" rtl="0" eaLnBrk="1" latinLnBrk="0" hangingPunct="1">
              <a:spcBef>
                <a:spcPct val="20000"/>
              </a:spcBef>
              <a:buFontTx/>
              <a:buNone/>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900" dirty="0"/>
              <a:t>Sources: Tyton Partners Analysis</a:t>
            </a:r>
          </a:p>
        </p:txBody>
      </p:sp>
    </p:spTree>
    <p:extLst>
      <p:ext uri="{BB962C8B-B14F-4D97-AF65-F5344CB8AC3E}">
        <p14:creationId xmlns:p14="http://schemas.microsoft.com/office/powerpoint/2010/main" val="34111190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526142" y="1139826"/>
            <a:ext cx="8055429" cy="5233626"/>
          </a:xfrm>
        </p:spPr>
        <p:txBody>
          <a:bodyPr>
            <a:noAutofit/>
          </a:bodyPr>
          <a:lstStyle/>
          <a:p>
            <a:endParaRPr lang="en-US" sz="1600" dirty="0" smtClean="0"/>
          </a:p>
          <a:p>
            <a:r>
              <a:rPr lang="en-US" sz="1600" dirty="0" smtClean="0"/>
              <a:t>In </a:t>
            </a:r>
            <a:r>
              <a:rPr lang="en-US" sz="1600" dirty="0"/>
              <a:t>October and November 2015, </a:t>
            </a:r>
            <a:r>
              <a:rPr lang="en-US" sz="1600" dirty="0" err="1"/>
              <a:t>Tyton</a:t>
            </a:r>
            <a:r>
              <a:rPr lang="en-US" sz="1600" dirty="0"/>
              <a:t> Partners, with support from the Bill and Melinda Gates Foundation and in collaboration with National Association of Student Personnel Administrators in Higher Education (NASPA), National Association for College Admission Counseling (NACAC), and the National Academic Advising Association (NACADA), developed and administered its first annual survey to a national sample of postsecondary administrators, faculty, and advisors.  </a:t>
            </a:r>
            <a:endParaRPr lang="en-US" sz="1600" dirty="0" smtClean="0"/>
          </a:p>
          <a:p>
            <a:pPr lvl="1"/>
            <a:r>
              <a:rPr lang="en-US" sz="1600" dirty="0" smtClean="0"/>
              <a:t>Nationally representative sample of 1,400 respondents representing 1,096 institutions</a:t>
            </a:r>
          </a:p>
          <a:p>
            <a:pPr lvl="1"/>
            <a:r>
              <a:rPr lang="en-US" sz="1600" dirty="0" smtClean="0"/>
              <a:t>Respondents were a mix of student affairs administrators, student success administrators, academic advisors and admissions counselors</a:t>
            </a:r>
          </a:p>
          <a:p>
            <a:pPr lvl="1"/>
            <a:r>
              <a:rPr lang="en-US" sz="1600" b="1" i="1" dirty="0" smtClean="0"/>
              <a:t>Published report and interactive data site forthcoming in May 2015</a:t>
            </a:r>
            <a:endParaRPr lang="en-US" sz="1600" b="1" i="1" dirty="0"/>
          </a:p>
          <a:p>
            <a:endParaRPr lang="en-US" sz="1600" dirty="0" smtClean="0"/>
          </a:p>
          <a:p>
            <a:r>
              <a:rPr lang="en-US" sz="1600" i="1" dirty="0" smtClean="0"/>
              <a:t>Driving Toward a Degree:  The Evolution of Planning and Advising in Higher Education, </a:t>
            </a:r>
            <a:r>
              <a:rPr lang="en-US" sz="1600" dirty="0" smtClean="0"/>
              <a:t>a 2015 two-part series focused on the vendor landscape of academic advising technology and institutional selection of technology in this space</a:t>
            </a:r>
          </a:p>
          <a:p>
            <a:pPr lvl="1"/>
            <a:r>
              <a:rPr lang="en-US" sz="1600" b="1" i="1" dirty="0" smtClean="0"/>
              <a:t>Available for free at </a:t>
            </a:r>
            <a:r>
              <a:rPr lang="en-US" sz="1600" b="1" i="1" dirty="0" err="1" smtClean="0"/>
              <a:t>tytonpartners.com</a:t>
            </a:r>
            <a:r>
              <a:rPr lang="en-US" sz="1600" b="1" i="1" dirty="0" smtClean="0"/>
              <a:t>/library</a:t>
            </a:r>
          </a:p>
          <a:p>
            <a:pPr marL="171450" lvl="1" indent="0">
              <a:buNone/>
            </a:pPr>
            <a:endParaRPr lang="en-US" sz="1600" b="1" i="1" dirty="0"/>
          </a:p>
          <a:p>
            <a:pPr marL="0" indent="0">
              <a:buNone/>
            </a:pPr>
            <a:r>
              <a:rPr lang="en-US" sz="1600" b="1" i="1" dirty="0"/>
              <a:t>All survey data used for this presentation was prepared by Babson Survey Research Group in partnership with </a:t>
            </a:r>
            <a:r>
              <a:rPr lang="en-US" sz="1600" b="1" i="1" dirty="0" err="1"/>
              <a:t>Tyton</a:t>
            </a:r>
            <a:r>
              <a:rPr lang="en-US" sz="1600" b="1" i="1" dirty="0"/>
              <a:t> Partners.</a:t>
            </a:r>
          </a:p>
          <a:p>
            <a:endParaRPr lang="en-US" sz="1600" b="1" i="1" dirty="0"/>
          </a:p>
        </p:txBody>
      </p:sp>
      <p:sp>
        <p:nvSpPr>
          <p:cNvPr id="3" name="Slide Number Placeholder 2"/>
          <p:cNvSpPr>
            <a:spLocks noGrp="1"/>
          </p:cNvSpPr>
          <p:nvPr>
            <p:ph type="sldNum" sz="quarter" idx="12"/>
          </p:nvPr>
        </p:nvSpPr>
        <p:spPr/>
        <p:txBody>
          <a:bodyPr/>
          <a:lstStyle/>
          <a:p>
            <a:fld id="{56061281-BD0D-6F47-BBB8-8F6BE6AA34E7}" type="slidenum">
              <a:rPr lang="en-US" smtClean="0"/>
              <a:pPr/>
              <a:t>3</a:t>
            </a:fld>
            <a:endParaRPr lang="en-US" dirty="0"/>
          </a:p>
        </p:txBody>
      </p:sp>
      <p:sp>
        <p:nvSpPr>
          <p:cNvPr id="8" name="Content Placeholder 7"/>
          <p:cNvSpPr>
            <a:spLocks noGrp="1"/>
          </p:cNvSpPr>
          <p:nvPr>
            <p:ph idx="14"/>
          </p:nvPr>
        </p:nvSpPr>
        <p:spPr/>
        <p:txBody>
          <a:bodyPr/>
          <a:lstStyle/>
          <a:p>
            <a:r>
              <a:rPr lang="en-US" dirty="0" smtClean="0"/>
              <a:t>Market Insights Grounded in Fundamental Research</a:t>
            </a:r>
            <a:endParaRPr lang="en-US" dirty="0"/>
          </a:p>
        </p:txBody>
      </p:sp>
      <p:sp>
        <p:nvSpPr>
          <p:cNvPr id="9" name="Content Placeholder 6"/>
          <p:cNvSpPr>
            <a:spLocks noGrp="1"/>
          </p:cNvSpPr>
          <p:nvPr>
            <p:ph idx="13"/>
          </p:nvPr>
        </p:nvSpPr>
        <p:spPr>
          <a:xfrm>
            <a:off x="0" y="6205540"/>
            <a:ext cx="6291218" cy="643102"/>
          </a:xfrm>
        </p:spPr>
        <p:txBody>
          <a:bodyPr/>
          <a:lstStyle/>
          <a:p>
            <a:r>
              <a:rPr lang="en-US" dirty="0" smtClean="0"/>
              <a:t>For News and Announcements Follow us:  @</a:t>
            </a:r>
            <a:r>
              <a:rPr lang="en-US" dirty="0" err="1" smtClean="0"/>
              <a:t>tytonpartners.com</a:t>
            </a:r>
            <a:endParaRPr lang="en-US" dirty="0"/>
          </a:p>
        </p:txBody>
      </p:sp>
    </p:spTree>
    <p:extLst>
      <p:ext uri="{BB962C8B-B14F-4D97-AF65-F5344CB8AC3E}">
        <p14:creationId xmlns:p14="http://schemas.microsoft.com/office/powerpoint/2010/main" val="84608289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6061281-BD0D-6F47-BBB8-8F6BE6AA34E7}" type="slidenum">
              <a:rPr lang="en-US" smtClean="0"/>
              <a:t>30</a:t>
            </a:fld>
            <a:endParaRPr lang="en-US"/>
          </a:p>
        </p:txBody>
      </p:sp>
      <p:sp>
        <p:nvSpPr>
          <p:cNvPr id="4" name="Content Placeholder 3"/>
          <p:cNvSpPr>
            <a:spLocks noGrp="1"/>
          </p:cNvSpPr>
          <p:nvPr>
            <p:ph idx="14"/>
          </p:nvPr>
        </p:nvSpPr>
        <p:spPr/>
        <p:txBody>
          <a:bodyPr>
            <a:normAutofit fontScale="92500"/>
          </a:bodyPr>
          <a:lstStyle/>
          <a:p>
            <a:r>
              <a:rPr lang="en-US" dirty="0" smtClean="0"/>
              <a:t>Equipped Navigators Report Significantly Higher Staff Growth, While Low Fuels Lead Slightly in Tech. Spending Growth</a:t>
            </a:r>
            <a:endParaRPr lang="en-US" dirty="0"/>
          </a:p>
        </p:txBody>
      </p:sp>
      <p:sp>
        <p:nvSpPr>
          <p:cNvPr id="86" name="Content Placeholder 2"/>
          <p:cNvSpPr txBox="1">
            <a:spLocks/>
          </p:cNvSpPr>
          <p:nvPr/>
        </p:nvSpPr>
        <p:spPr>
          <a:xfrm>
            <a:off x="526143" y="6126165"/>
            <a:ext cx="6291218" cy="643102"/>
          </a:xfrm>
          <a:prstGeom prst="rect">
            <a:avLst/>
          </a:prstGeom>
        </p:spPr>
        <p:txBody>
          <a:bodyPr vert="horz" lIns="91440" tIns="45720" rIns="91440" bIns="45720" rtlCol="0" anchor="b">
            <a:normAutofit/>
          </a:bodyPr>
          <a:lstStyle>
            <a:lvl1pPr marL="0" indent="0" algn="l" defTabSz="457200" rtl="0" eaLnBrk="1" latinLnBrk="0" hangingPunct="1">
              <a:spcBef>
                <a:spcPct val="20000"/>
              </a:spcBef>
              <a:buClrTx/>
              <a:buFontTx/>
              <a:buNone/>
              <a:defRPr sz="1000" i="1" kern="1200">
                <a:solidFill>
                  <a:schemeClr val="tx1"/>
                </a:solidFill>
                <a:latin typeface="Arial"/>
                <a:ea typeface="+mn-ea"/>
                <a:cs typeface="Arial"/>
              </a:defRPr>
            </a:lvl1pPr>
            <a:lvl2pPr marL="173037" indent="0" algn="l" defTabSz="457200" rtl="0" eaLnBrk="1" latinLnBrk="0" hangingPunct="1">
              <a:spcBef>
                <a:spcPct val="20000"/>
              </a:spcBef>
              <a:buFontTx/>
              <a:buNone/>
              <a:defRPr sz="1400" kern="1200">
                <a:solidFill>
                  <a:schemeClr val="tx1"/>
                </a:solidFill>
                <a:latin typeface="Arial"/>
                <a:ea typeface="+mn-ea"/>
                <a:cs typeface="Arial"/>
              </a:defRPr>
            </a:lvl2pPr>
            <a:lvl3pPr marL="346075" indent="0" algn="l" defTabSz="457200" rtl="0" eaLnBrk="1" latinLnBrk="0" hangingPunct="1">
              <a:spcBef>
                <a:spcPct val="20000"/>
              </a:spcBef>
              <a:buFontTx/>
              <a:buNone/>
              <a:defRPr sz="1400" kern="1200">
                <a:solidFill>
                  <a:schemeClr val="tx1"/>
                </a:solidFill>
                <a:latin typeface="Arial"/>
                <a:ea typeface="+mn-ea"/>
                <a:cs typeface="Arial"/>
              </a:defRPr>
            </a:lvl3pPr>
            <a:lvl4pPr marL="517525" indent="0" algn="l" defTabSz="457200" rtl="0" eaLnBrk="1" latinLnBrk="0" hangingPunct="1">
              <a:spcBef>
                <a:spcPct val="20000"/>
              </a:spcBef>
              <a:buFontTx/>
              <a:buNone/>
              <a:defRPr sz="1400" kern="1200">
                <a:solidFill>
                  <a:schemeClr val="tx1"/>
                </a:solidFill>
                <a:latin typeface="Arial"/>
                <a:ea typeface="+mn-ea"/>
                <a:cs typeface="Arial"/>
              </a:defRPr>
            </a:lvl4pPr>
            <a:lvl5pPr marL="690562" indent="0" algn="l" defTabSz="457200" rtl="0" eaLnBrk="1" latinLnBrk="0" hangingPunct="1">
              <a:spcBef>
                <a:spcPct val="20000"/>
              </a:spcBef>
              <a:buFontTx/>
              <a:buNone/>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900" dirty="0"/>
              <a:t>Sources: Tyton Partners Analysis</a:t>
            </a:r>
          </a:p>
        </p:txBody>
      </p:sp>
      <p:grpSp>
        <p:nvGrpSpPr>
          <p:cNvPr id="193" name="Group 192"/>
          <p:cNvGrpSpPr/>
          <p:nvPr>
            <p:custDataLst>
              <p:tags r:id="rId1"/>
            </p:custDataLst>
          </p:nvPr>
        </p:nvGrpSpPr>
        <p:grpSpPr>
          <a:xfrm>
            <a:off x="794005" y="2209068"/>
            <a:ext cx="3687360" cy="4226708"/>
            <a:chOff x="794005" y="2209068"/>
            <a:chExt cx="3687360" cy="4226708"/>
          </a:xfrm>
        </p:grpSpPr>
        <p:sp>
          <p:nvSpPr>
            <p:cNvPr id="75" name="Rectangle 74"/>
            <p:cNvSpPr/>
            <p:nvPr>
              <p:custDataLst>
                <p:tags r:id="rId47"/>
              </p:custDataLst>
            </p:nvPr>
          </p:nvSpPr>
          <p:spPr bwMode="gray">
            <a:xfrm>
              <a:off x="1308663" y="4765989"/>
              <a:ext cx="520115" cy="840115"/>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5" name="Rectangle 4"/>
            <p:cNvSpPr/>
            <p:nvPr>
              <p:custDataLst>
                <p:tags r:id="rId48"/>
              </p:custDataLst>
            </p:nvPr>
          </p:nvSpPr>
          <p:spPr bwMode="gray">
            <a:xfrm>
              <a:off x="3805216" y="3798750"/>
              <a:ext cx="520115" cy="1370715"/>
            </a:xfrm>
            <a:prstGeom prst="rect">
              <a:avLst/>
            </a:prstGeom>
            <a:solidFill>
              <a:schemeClr val="accent3">
                <a:lumMod val="60000"/>
                <a:lumOff val="40000"/>
              </a:schemeClr>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88" name="Rectangle 87"/>
            <p:cNvSpPr/>
            <p:nvPr>
              <p:custDataLst>
                <p:tags r:id="rId49"/>
              </p:custDataLst>
            </p:nvPr>
          </p:nvSpPr>
          <p:spPr bwMode="gray">
            <a:xfrm>
              <a:off x="2140847" y="4859948"/>
              <a:ext cx="520115" cy="746155"/>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6" name="Rectangle 5"/>
            <p:cNvSpPr/>
            <p:nvPr>
              <p:custDataLst>
                <p:tags r:id="rId50"/>
              </p:custDataLst>
            </p:nvPr>
          </p:nvSpPr>
          <p:spPr bwMode="gray">
            <a:xfrm>
              <a:off x="3805216" y="5169465"/>
              <a:ext cx="520115" cy="436639"/>
            </a:xfrm>
            <a:prstGeom prst="rect">
              <a:avLst/>
            </a:prstGeom>
            <a:solidFill>
              <a:schemeClr val="accent3">
                <a:lumMod val="50000"/>
              </a:schemeClr>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83" name="Rectangle 82"/>
            <p:cNvSpPr/>
            <p:nvPr>
              <p:custDataLst>
                <p:tags r:id="rId51"/>
              </p:custDataLst>
            </p:nvPr>
          </p:nvSpPr>
          <p:spPr bwMode="gray">
            <a:xfrm>
              <a:off x="2973031" y="5058923"/>
              <a:ext cx="520115" cy="547180"/>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79" name="Rectangle 78"/>
            <p:cNvSpPr/>
            <p:nvPr>
              <p:custDataLst>
                <p:tags r:id="rId52"/>
              </p:custDataLst>
            </p:nvPr>
          </p:nvSpPr>
          <p:spPr bwMode="gray">
            <a:xfrm>
              <a:off x="2973031" y="3959036"/>
              <a:ext cx="520115" cy="1099888"/>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85" name="Rectangle 84"/>
            <p:cNvSpPr/>
            <p:nvPr>
              <p:custDataLst>
                <p:tags r:id="rId53"/>
              </p:custDataLst>
            </p:nvPr>
          </p:nvSpPr>
          <p:spPr bwMode="gray">
            <a:xfrm>
              <a:off x="2140847" y="3572140"/>
              <a:ext cx="520115" cy="1287808"/>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87" name="Rectangle 86"/>
            <p:cNvSpPr/>
            <p:nvPr>
              <p:custDataLst>
                <p:tags r:id="rId54"/>
              </p:custDataLst>
            </p:nvPr>
          </p:nvSpPr>
          <p:spPr bwMode="gray">
            <a:xfrm>
              <a:off x="1308663" y="2903365"/>
              <a:ext cx="520115" cy="1862624"/>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cxnSp>
          <p:nvCxnSpPr>
            <p:cNvPr id="184" name="Straight Connector 183"/>
            <p:cNvCxnSpPr/>
            <p:nvPr>
              <p:custDataLst>
                <p:tags r:id="rId55"/>
              </p:custDataLst>
            </p:nvPr>
          </p:nvCxnSpPr>
          <p:spPr bwMode="gray">
            <a:xfrm>
              <a:off x="1152628" y="5606104"/>
              <a:ext cx="3328737"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85" name="Straight Connector 184"/>
            <p:cNvCxnSpPr/>
            <p:nvPr>
              <p:custDataLst>
                <p:tags r:id="rId56"/>
              </p:custDataLst>
            </p:nvPr>
          </p:nvCxnSpPr>
          <p:spPr bwMode="gray">
            <a:xfrm flipV="1">
              <a:off x="1152628" y="2289859"/>
              <a:ext cx="0" cy="3316245"/>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86" name="Straight Connector 185"/>
            <p:cNvCxnSpPr/>
            <p:nvPr>
              <p:custDataLst>
                <p:tags r:id="rId57"/>
              </p:custDataLst>
            </p:nvPr>
          </p:nvCxnSpPr>
          <p:spPr bwMode="gray">
            <a:xfrm flipH="1">
              <a:off x="1101828" y="339527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87" name="Straight Connector 186"/>
            <p:cNvCxnSpPr/>
            <p:nvPr>
              <p:custDataLst>
                <p:tags r:id="rId58"/>
              </p:custDataLst>
            </p:nvPr>
          </p:nvCxnSpPr>
          <p:spPr bwMode="gray">
            <a:xfrm flipH="1">
              <a:off x="1101828" y="4500688"/>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88" name="Straight Connector 187"/>
            <p:cNvCxnSpPr/>
            <p:nvPr>
              <p:custDataLst>
                <p:tags r:id="rId59"/>
              </p:custDataLst>
            </p:nvPr>
          </p:nvCxnSpPr>
          <p:spPr bwMode="gray">
            <a:xfrm flipH="1">
              <a:off x="1101828" y="560610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89" name="Straight Connector 188"/>
            <p:cNvCxnSpPr/>
            <p:nvPr>
              <p:custDataLst>
                <p:tags r:id="rId60"/>
              </p:custDataLst>
            </p:nvPr>
          </p:nvCxnSpPr>
          <p:spPr bwMode="gray">
            <a:xfrm flipH="1">
              <a:off x="1101828" y="3947982"/>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90" name="Straight Connector 189"/>
            <p:cNvCxnSpPr/>
            <p:nvPr>
              <p:custDataLst>
                <p:tags r:id="rId61"/>
              </p:custDataLst>
            </p:nvPr>
          </p:nvCxnSpPr>
          <p:spPr bwMode="gray">
            <a:xfrm flipH="1">
              <a:off x="1101828" y="5053396"/>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91" name="Straight Connector 190"/>
            <p:cNvCxnSpPr/>
            <p:nvPr>
              <p:custDataLst>
                <p:tags r:id="rId62"/>
              </p:custDataLst>
            </p:nvPr>
          </p:nvCxnSpPr>
          <p:spPr bwMode="gray">
            <a:xfrm flipH="1">
              <a:off x="1101828" y="228985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92" name="Straight Connector 191"/>
            <p:cNvCxnSpPr/>
            <p:nvPr>
              <p:custDataLst>
                <p:tags r:id="rId63"/>
              </p:custDataLst>
            </p:nvPr>
          </p:nvCxnSpPr>
          <p:spPr bwMode="gray">
            <a:xfrm flipH="1">
              <a:off x="1101828" y="2842566"/>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20" name="TextBox 119"/>
            <p:cNvSpPr txBox="1"/>
            <p:nvPr>
              <p:custDataLst>
                <p:tags r:id="rId64"/>
              </p:custDataLst>
            </p:nvPr>
          </p:nvSpPr>
          <p:spPr bwMode="gray">
            <a:xfrm>
              <a:off x="868892" y="5525312"/>
              <a:ext cx="23278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0%</a:t>
              </a:r>
              <a:endParaRPr lang="en-US" sz="1050">
                <a:effectLst/>
                <a:latin typeface="Arial"/>
              </a:endParaRPr>
            </a:p>
          </p:txBody>
        </p:sp>
        <p:sp>
          <p:nvSpPr>
            <p:cNvPr id="104" name="TextBox 103"/>
            <p:cNvSpPr txBox="1"/>
            <p:nvPr>
              <p:custDataLst>
                <p:tags r:id="rId65"/>
              </p:custDataLst>
            </p:nvPr>
          </p:nvSpPr>
          <p:spPr bwMode="gray">
            <a:xfrm>
              <a:off x="794005" y="2209068"/>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60%</a:t>
              </a:r>
              <a:endParaRPr lang="en-US" sz="1050" dirty="0">
                <a:effectLst/>
                <a:latin typeface="Arial"/>
              </a:endParaRPr>
            </a:p>
          </p:txBody>
        </p:sp>
        <p:sp>
          <p:nvSpPr>
            <p:cNvPr id="113" name="TextBox 112"/>
            <p:cNvSpPr txBox="1"/>
            <p:nvPr>
              <p:custDataLst>
                <p:tags r:id="rId66"/>
              </p:custDataLst>
            </p:nvPr>
          </p:nvSpPr>
          <p:spPr bwMode="gray">
            <a:xfrm>
              <a:off x="794005" y="4419896"/>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20%</a:t>
              </a:r>
              <a:endParaRPr lang="en-US" sz="1050">
                <a:effectLst/>
                <a:latin typeface="Arial"/>
              </a:endParaRPr>
            </a:p>
          </p:txBody>
        </p:sp>
        <p:sp>
          <p:nvSpPr>
            <p:cNvPr id="106" name="TextBox 105"/>
            <p:cNvSpPr txBox="1"/>
            <p:nvPr>
              <p:custDataLst>
                <p:tags r:id="rId67"/>
              </p:custDataLst>
            </p:nvPr>
          </p:nvSpPr>
          <p:spPr bwMode="gray">
            <a:xfrm>
              <a:off x="794005" y="3867190"/>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30%</a:t>
              </a:r>
              <a:endParaRPr lang="en-US" sz="1050">
                <a:effectLst/>
                <a:latin typeface="Arial"/>
              </a:endParaRPr>
            </a:p>
          </p:txBody>
        </p:sp>
        <p:sp>
          <p:nvSpPr>
            <p:cNvPr id="102" name="TextBox 101"/>
            <p:cNvSpPr txBox="1"/>
            <p:nvPr>
              <p:custDataLst>
                <p:tags r:id="rId68"/>
              </p:custDataLst>
            </p:nvPr>
          </p:nvSpPr>
          <p:spPr bwMode="gray">
            <a:xfrm>
              <a:off x="794005" y="276177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50%</a:t>
              </a:r>
              <a:endParaRPr lang="en-US" sz="1050">
                <a:effectLst/>
                <a:latin typeface="Arial"/>
              </a:endParaRPr>
            </a:p>
          </p:txBody>
        </p:sp>
        <p:sp>
          <p:nvSpPr>
            <p:cNvPr id="107" name="TextBox 106"/>
            <p:cNvSpPr txBox="1"/>
            <p:nvPr>
              <p:custDataLst>
                <p:tags r:id="rId69"/>
              </p:custDataLst>
            </p:nvPr>
          </p:nvSpPr>
          <p:spPr bwMode="gray">
            <a:xfrm>
              <a:off x="794005" y="3314482"/>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40%</a:t>
              </a:r>
              <a:endParaRPr lang="en-US" sz="1050">
                <a:effectLst/>
                <a:latin typeface="Arial"/>
              </a:endParaRPr>
            </a:p>
          </p:txBody>
        </p:sp>
        <p:sp>
          <p:nvSpPr>
            <p:cNvPr id="112" name="TextBox 111"/>
            <p:cNvSpPr txBox="1"/>
            <p:nvPr>
              <p:custDataLst>
                <p:tags r:id="rId70"/>
              </p:custDataLst>
            </p:nvPr>
          </p:nvSpPr>
          <p:spPr bwMode="gray">
            <a:xfrm>
              <a:off x="794005" y="4972605"/>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a:t>
              </a:r>
              <a:endParaRPr lang="en-US" sz="1050">
                <a:effectLst/>
                <a:latin typeface="Arial"/>
              </a:endParaRPr>
            </a:p>
          </p:txBody>
        </p:sp>
        <p:sp>
          <p:nvSpPr>
            <p:cNvPr id="123" name="TextBox 122"/>
            <p:cNvSpPr txBox="1"/>
            <p:nvPr>
              <p:custDataLst>
                <p:tags r:id="rId71"/>
              </p:custDataLst>
            </p:nvPr>
          </p:nvSpPr>
          <p:spPr bwMode="gray">
            <a:xfrm>
              <a:off x="1227830" y="5669604"/>
              <a:ext cx="681782"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Equipped </a:t>
              </a:r>
            </a:p>
            <a:p>
              <a:pPr algn="ctr"/>
              <a:r>
                <a:rPr lang="en-US" sz="1050" smtClean="0">
                  <a:effectLst/>
                  <a:latin typeface="Arial"/>
                </a:rPr>
                <a:t>Navigators</a:t>
              </a:r>
              <a:endParaRPr lang="en-US" sz="1050" dirty="0">
                <a:effectLst/>
                <a:latin typeface="Arial"/>
              </a:endParaRPr>
            </a:p>
          </p:txBody>
        </p:sp>
        <p:sp>
          <p:nvSpPr>
            <p:cNvPr id="122" name="TextBox 121"/>
            <p:cNvSpPr txBox="1"/>
            <p:nvPr>
              <p:custDataLst>
                <p:tags r:id="rId72"/>
              </p:custDataLst>
            </p:nvPr>
          </p:nvSpPr>
          <p:spPr bwMode="gray">
            <a:xfrm>
              <a:off x="2074042" y="5669604"/>
              <a:ext cx="653726"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Low Fuels</a:t>
              </a:r>
              <a:endParaRPr lang="en-US" sz="1050" dirty="0">
                <a:effectLst/>
                <a:latin typeface="Arial"/>
              </a:endParaRPr>
            </a:p>
          </p:txBody>
        </p:sp>
        <p:sp>
          <p:nvSpPr>
            <p:cNvPr id="121" name="TextBox 120"/>
            <p:cNvSpPr txBox="1"/>
            <p:nvPr>
              <p:custDataLst>
                <p:tags r:id="rId73"/>
              </p:custDataLst>
            </p:nvPr>
          </p:nvSpPr>
          <p:spPr bwMode="gray">
            <a:xfrm>
              <a:off x="2970345" y="5669604"/>
              <a:ext cx="525486"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Check </a:t>
              </a:r>
            </a:p>
            <a:p>
              <a:pPr algn="ctr"/>
              <a:r>
                <a:rPr lang="en-US" sz="1050" smtClean="0">
                  <a:effectLst/>
                  <a:latin typeface="Arial"/>
                </a:rPr>
                <a:t>Engines</a:t>
              </a:r>
              <a:endParaRPr lang="en-US" sz="1050" dirty="0">
                <a:effectLst/>
                <a:latin typeface="Arial"/>
              </a:endParaRPr>
            </a:p>
          </p:txBody>
        </p:sp>
        <p:sp>
          <p:nvSpPr>
            <p:cNvPr id="20" name="TextBox 19"/>
            <p:cNvSpPr txBox="1"/>
            <p:nvPr>
              <p:custDataLst>
                <p:tags r:id="rId74"/>
              </p:custDataLst>
            </p:nvPr>
          </p:nvSpPr>
          <p:spPr bwMode="gray">
            <a:xfrm>
              <a:off x="3690753" y="5669604"/>
              <a:ext cx="749042"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dirty="0" smtClean="0">
                  <a:effectLst/>
                  <a:latin typeface="Arial"/>
                </a:rPr>
                <a:t>Limited </a:t>
              </a:r>
            </a:p>
            <a:p>
              <a:pPr algn="ctr"/>
              <a:r>
                <a:rPr lang="en-US" sz="1050" dirty="0" smtClean="0">
                  <a:effectLst/>
                  <a:latin typeface="Arial"/>
                </a:rPr>
                <a:t>Tech. Users</a:t>
              </a:r>
              <a:endParaRPr lang="en-US" sz="1050" dirty="0">
                <a:effectLst/>
                <a:latin typeface="Arial"/>
              </a:endParaRPr>
            </a:p>
          </p:txBody>
        </p:sp>
        <p:sp>
          <p:nvSpPr>
            <p:cNvPr id="21" name="TextBox 20"/>
            <p:cNvSpPr txBox="1"/>
            <p:nvPr>
              <p:custDataLst>
                <p:tags r:id="rId75"/>
              </p:custDataLst>
            </p:nvPr>
          </p:nvSpPr>
          <p:spPr bwMode="gray">
            <a:xfrm>
              <a:off x="3911436" y="4403316"/>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5%</a:t>
              </a:r>
              <a:endParaRPr lang="en-US" sz="1050">
                <a:solidFill>
                  <a:schemeClr val="bg1"/>
                </a:solidFill>
                <a:effectLst/>
                <a:latin typeface="Arial"/>
              </a:endParaRPr>
            </a:p>
          </p:txBody>
        </p:sp>
        <p:sp>
          <p:nvSpPr>
            <p:cNvPr id="129" name="TextBox 128"/>
            <p:cNvSpPr txBox="1"/>
            <p:nvPr>
              <p:custDataLst>
                <p:tags r:id="rId76"/>
              </p:custDataLst>
            </p:nvPr>
          </p:nvSpPr>
          <p:spPr bwMode="gray">
            <a:xfrm>
              <a:off x="1414883" y="5105255"/>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5%</a:t>
              </a:r>
              <a:endParaRPr lang="en-US" sz="1050">
                <a:solidFill>
                  <a:schemeClr val="bg1"/>
                </a:solidFill>
                <a:effectLst/>
                <a:latin typeface="Arial"/>
              </a:endParaRPr>
            </a:p>
          </p:txBody>
        </p:sp>
        <p:sp>
          <p:nvSpPr>
            <p:cNvPr id="130" name="TextBox 129"/>
            <p:cNvSpPr txBox="1"/>
            <p:nvPr>
              <p:custDataLst>
                <p:tags r:id="rId77"/>
              </p:custDataLst>
            </p:nvPr>
          </p:nvSpPr>
          <p:spPr bwMode="gray">
            <a:xfrm>
              <a:off x="2247067" y="5152234"/>
              <a:ext cx="30767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4%</a:t>
              </a:r>
              <a:endParaRPr lang="en-US" sz="1050">
                <a:solidFill>
                  <a:schemeClr val="bg1"/>
                </a:solidFill>
                <a:effectLst/>
                <a:latin typeface="Arial"/>
              </a:endParaRPr>
            </a:p>
          </p:txBody>
        </p:sp>
        <p:sp>
          <p:nvSpPr>
            <p:cNvPr id="127" name="TextBox 126"/>
            <p:cNvSpPr txBox="1"/>
            <p:nvPr>
              <p:custDataLst>
                <p:tags r:id="rId78"/>
              </p:custDataLst>
            </p:nvPr>
          </p:nvSpPr>
          <p:spPr bwMode="gray">
            <a:xfrm>
              <a:off x="1414883" y="375388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4%</a:t>
              </a:r>
              <a:endParaRPr lang="en-US" sz="1050">
                <a:solidFill>
                  <a:schemeClr val="bg1"/>
                </a:solidFill>
                <a:effectLst/>
                <a:latin typeface="Arial"/>
              </a:endParaRPr>
            </a:p>
          </p:txBody>
        </p:sp>
        <p:sp>
          <p:nvSpPr>
            <p:cNvPr id="124" name="TextBox 123"/>
            <p:cNvSpPr txBox="1"/>
            <p:nvPr>
              <p:custDataLst>
                <p:tags r:id="rId79"/>
              </p:custDataLst>
            </p:nvPr>
          </p:nvSpPr>
          <p:spPr bwMode="gray">
            <a:xfrm>
              <a:off x="2247067" y="4135253"/>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3%</a:t>
              </a:r>
              <a:endParaRPr lang="en-US" sz="1050">
                <a:solidFill>
                  <a:schemeClr val="bg1"/>
                </a:solidFill>
                <a:effectLst/>
                <a:latin typeface="Arial"/>
              </a:endParaRPr>
            </a:p>
          </p:txBody>
        </p:sp>
        <p:sp>
          <p:nvSpPr>
            <p:cNvPr id="131" name="TextBox 130"/>
            <p:cNvSpPr txBox="1"/>
            <p:nvPr>
              <p:custDataLst>
                <p:tags r:id="rId80"/>
              </p:custDataLst>
            </p:nvPr>
          </p:nvSpPr>
          <p:spPr bwMode="gray">
            <a:xfrm>
              <a:off x="3079251" y="4428189"/>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0%</a:t>
              </a:r>
              <a:endParaRPr lang="en-US" sz="1050">
                <a:solidFill>
                  <a:schemeClr val="bg1"/>
                </a:solidFill>
                <a:effectLst/>
                <a:latin typeface="Arial"/>
              </a:endParaRPr>
            </a:p>
          </p:txBody>
        </p:sp>
        <p:sp>
          <p:nvSpPr>
            <p:cNvPr id="128" name="TextBox 127"/>
            <p:cNvSpPr txBox="1"/>
            <p:nvPr>
              <p:custDataLst>
                <p:tags r:id="rId81"/>
              </p:custDataLst>
            </p:nvPr>
          </p:nvSpPr>
          <p:spPr bwMode="gray">
            <a:xfrm>
              <a:off x="1414883" y="2703682"/>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49%</a:t>
              </a:r>
              <a:endParaRPr lang="en-US" sz="1050">
                <a:effectLst/>
                <a:latin typeface="Arial"/>
              </a:endParaRPr>
            </a:p>
          </p:txBody>
        </p:sp>
        <p:sp>
          <p:nvSpPr>
            <p:cNvPr id="125" name="TextBox 124"/>
            <p:cNvSpPr txBox="1"/>
            <p:nvPr>
              <p:custDataLst>
                <p:tags r:id="rId82"/>
              </p:custDataLst>
            </p:nvPr>
          </p:nvSpPr>
          <p:spPr bwMode="gray">
            <a:xfrm>
              <a:off x="3079251" y="3759353"/>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30%</a:t>
              </a:r>
              <a:endParaRPr lang="en-US" sz="1050">
                <a:effectLst/>
                <a:latin typeface="Arial"/>
              </a:endParaRPr>
            </a:p>
          </p:txBody>
        </p:sp>
        <p:sp>
          <p:nvSpPr>
            <p:cNvPr id="22" name="TextBox 21"/>
            <p:cNvSpPr txBox="1"/>
            <p:nvPr>
              <p:custDataLst>
                <p:tags r:id="rId83"/>
              </p:custDataLst>
            </p:nvPr>
          </p:nvSpPr>
          <p:spPr bwMode="gray">
            <a:xfrm>
              <a:off x="3911436" y="3599067"/>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33%</a:t>
              </a:r>
              <a:endParaRPr lang="en-US" sz="1050">
                <a:effectLst/>
                <a:latin typeface="Arial"/>
              </a:endParaRPr>
            </a:p>
          </p:txBody>
        </p:sp>
        <p:sp>
          <p:nvSpPr>
            <p:cNvPr id="132" name="TextBox 131"/>
            <p:cNvSpPr txBox="1"/>
            <p:nvPr>
              <p:custDataLst>
                <p:tags r:id="rId84"/>
              </p:custDataLst>
            </p:nvPr>
          </p:nvSpPr>
          <p:spPr bwMode="gray">
            <a:xfrm>
              <a:off x="3079251" y="5251721"/>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0%</a:t>
              </a:r>
              <a:endParaRPr lang="en-US" sz="1050">
                <a:solidFill>
                  <a:schemeClr val="bg1"/>
                </a:solidFill>
                <a:effectLst/>
                <a:latin typeface="Arial"/>
              </a:endParaRPr>
            </a:p>
          </p:txBody>
        </p:sp>
        <p:sp>
          <p:nvSpPr>
            <p:cNvPr id="23" name="TextBox 22"/>
            <p:cNvSpPr txBox="1"/>
            <p:nvPr>
              <p:custDataLst>
                <p:tags r:id="rId85"/>
              </p:custDataLst>
            </p:nvPr>
          </p:nvSpPr>
          <p:spPr bwMode="gray">
            <a:xfrm>
              <a:off x="3948880" y="5306993"/>
              <a:ext cx="23278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8%</a:t>
              </a:r>
              <a:endParaRPr lang="en-US" sz="1050">
                <a:solidFill>
                  <a:schemeClr val="bg1"/>
                </a:solidFill>
                <a:effectLst/>
                <a:latin typeface="Arial"/>
              </a:endParaRPr>
            </a:p>
          </p:txBody>
        </p:sp>
        <p:sp>
          <p:nvSpPr>
            <p:cNvPr id="126" name="TextBox 125"/>
            <p:cNvSpPr txBox="1"/>
            <p:nvPr>
              <p:custDataLst>
                <p:tags r:id="rId86"/>
              </p:custDataLst>
            </p:nvPr>
          </p:nvSpPr>
          <p:spPr bwMode="gray">
            <a:xfrm>
              <a:off x="2247067" y="3372457"/>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37%</a:t>
              </a:r>
              <a:endParaRPr lang="en-US" sz="1050">
                <a:effectLst/>
                <a:latin typeface="Arial"/>
              </a:endParaRPr>
            </a:p>
          </p:txBody>
        </p:sp>
        <p:sp>
          <p:nvSpPr>
            <p:cNvPr id="133" name="TextBox 132"/>
            <p:cNvSpPr txBox="1"/>
            <p:nvPr>
              <p:custDataLst>
                <p:tags r:id="rId87"/>
              </p:custDataLst>
            </p:nvPr>
          </p:nvSpPr>
          <p:spPr bwMode="gray">
            <a:xfrm>
              <a:off x="1122250" y="6274193"/>
              <a:ext cx="1141039"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dirty="0" smtClean="0">
                  <a:effectLst/>
                  <a:latin typeface="Arial"/>
                </a:rPr>
                <a:t>Grown Moderately</a:t>
              </a:r>
              <a:endParaRPr lang="en-US" sz="1050" dirty="0">
                <a:effectLst/>
                <a:latin typeface="Arial"/>
              </a:endParaRPr>
            </a:p>
          </p:txBody>
        </p:sp>
        <p:sp>
          <p:nvSpPr>
            <p:cNvPr id="134" name="TextBox 133"/>
            <p:cNvSpPr txBox="1"/>
            <p:nvPr>
              <p:custDataLst>
                <p:tags r:id="rId88"/>
              </p:custDataLst>
            </p:nvPr>
          </p:nvSpPr>
          <p:spPr bwMode="gray">
            <a:xfrm>
              <a:off x="1122249" y="6088939"/>
              <a:ext cx="2500386"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Grown Significantly (at least 50% growth)</a:t>
              </a:r>
              <a:endParaRPr lang="en-US" sz="1050">
                <a:effectLst/>
                <a:latin typeface="Arial"/>
              </a:endParaRPr>
            </a:p>
          </p:txBody>
        </p:sp>
        <p:sp>
          <p:nvSpPr>
            <p:cNvPr id="135" name="Rectangle 134"/>
            <p:cNvSpPr/>
            <p:nvPr>
              <p:custDataLst>
                <p:tags r:id="rId89"/>
              </p:custDataLst>
            </p:nvPr>
          </p:nvSpPr>
          <p:spPr bwMode="gray">
            <a:xfrm>
              <a:off x="957033" y="6274193"/>
              <a:ext cx="146018" cy="146018"/>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36" name="Rectangle 135"/>
            <p:cNvSpPr/>
            <p:nvPr>
              <p:custDataLst>
                <p:tags r:id="rId90"/>
              </p:custDataLst>
            </p:nvPr>
          </p:nvSpPr>
          <p:spPr bwMode="gray">
            <a:xfrm>
              <a:off x="957033" y="6088939"/>
              <a:ext cx="146018" cy="146018"/>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grpSp>
      <p:sp>
        <p:nvSpPr>
          <p:cNvPr id="137" name="TextBox 136"/>
          <p:cNvSpPr txBox="1"/>
          <p:nvPr/>
        </p:nvSpPr>
        <p:spPr>
          <a:xfrm>
            <a:off x="526143" y="1249126"/>
            <a:ext cx="3971463" cy="830997"/>
          </a:xfrm>
          <a:prstGeom prst="rect">
            <a:avLst/>
          </a:prstGeom>
          <a:noFill/>
        </p:spPr>
        <p:txBody>
          <a:bodyPr wrap="square" rtlCol="0">
            <a:spAutoFit/>
          </a:bodyPr>
          <a:lstStyle/>
          <a:p>
            <a:pPr algn="ctr"/>
            <a:r>
              <a:rPr lang="en-US" sz="1200" b="1" dirty="0"/>
              <a:t>Over the past 3 years how has the level of staff across the institution dedicated to undergraduate academic planning and advising changed?</a:t>
            </a:r>
          </a:p>
          <a:p>
            <a:pPr algn="ctr"/>
            <a:r>
              <a:rPr lang="en-US" sz="1200" dirty="0" smtClean="0"/>
              <a:t>By Segment; n = 839</a:t>
            </a:r>
            <a:endParaRPr lang="en-US" sz="1200" dirty="0"/>
          </a:p>
        </p:txBody>
      </p:sp>
      <p:grpSp>
        <p:nvGrpSpPr>
          <p:cNvPr id="99" name="Group 98"/>
          <p:cNvGrpSpPr/>
          <p:nvPr>
            <p:custDataLst>
              <p:tags r:id="rId2"/>
            </p:custDataLst>
          </p:nvPr>
        </p:nvGrpSpPr>
        <p:grpSpPr>
          <a:xfrm>
            <a:off x="4904776" y="2237659"/>
            <a:ext cx="3687362" cy="4205543"/>
            <a:chOff x="4904776" y="2223390"/>
            <a:chExt cx="3687362" cy="4205543"/>
          </a:xfrm>
        </p:grpSpPr>
        <p:sp>
          <p:nvSpPr>
            <p:cNvPr id="101" name="Rectangle 100"/>
            <p:cNvSpPr/>
            <p:nvPr>
              <p:custDataLst>
                <p:tags r:id="rId3"/>
              </p:custDataLst>
            </p:nvPr>
          </p:nvSpPr>
          <p:spPr bwMode="gray">
            <a:xfrm>
              <a:off x="5419434" y="4736131"/>
              <a:ext cx="520115" cy="854469"/>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5" name="Rectangle 24"/>
            <p:cNvSpPr/>
            <p:nvPr>
              <p:custDataLst>
                <p:tags r:id="rId4"/>
              </p:custDataLst>
            </p:nvPr>
          </p:nvSpPr>
          <p:spPr bwMode="gray">
            <a:xfrm>
              <a:off x="7915987" y="4193872"/>
              <a:ext cx="520116" cy="1046176"/>
            </a:xfrm>
            <a:prstGeom prst="rect">
              <a:avLst/>
            </a:prstGeom>
            <a:solidFill>
              <a:schemeClr val="accent3">
                <a:lumMod val="60000"/>
                <a:lumOff val="40000"/>
              </a:schemeClr>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42" name="Rectangle 141"/>
            <p:cNvSpPr/>
            <p:nvPr>
              <p:custDataLst>
                <p:tags r:id="rId5"/>
              </p:custDataLst>
            </p:nvPr>
          </p:nvSpPr>
          <p:spPr bwMode="gray">
            <a:xfrm>
              <a:off x="6251618" y="4489649"/>
              <a:ext cx="520115" cy="1100950"/>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6" name="Rectangle 25"/>
            <p:cNvSpPr/>
            <p:nvPr>
              <p:custDataLst>
                <p:tags r:id="rId6"/>
              </p:custDataLst>
            </p:nvPr>
          </p:nvSpPr>
          <p:spPr bwMode="gray">
            <a:xfrm>
              <a:off x="7915987" y="5240049"/>
              <a:ext cx="520116" cy="350551"/>
            </a:xfrm>
            <a:prstGeom prst="rect">
              <a:avLst/>
            </a:prstGeom>
            <a:solidFill>
              <a:schemeClr val="accent3">
                <a:lumMod val="50000"/>
              </a:schemeClr>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9" name="Rectangle 138"/>
            <p:cNvSpPr/>
            <p:nvPr>
              <p:custDataLst>
                <p:tags r:id="rId7"/>
              </p:custDataLst>
            </p:nvPr>
          </p:nvSpPr>
          <p:spPr bwMode="gray">
            <a:xfrm>
              <a:off x="7083803" y="4993568"/>
              <a:ext cx="520115" cy="597033"/>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38" name="Rectangle 137"/>
            <p:cNvSpPr/>
            <p:nvPr>
              <p:custDataLst>
                <p:tags r:id="rId8"/>
              </p:custDataLst>
            </p:nvPr>
          </p:nvSpPr>
          <p:spPr bwMode="gray">
            <a:xfrm>
              <a:off x="7083803" y="3448950"/>
              <a:ext cx="520115" cy="1544617"/>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40" name="Rectangle 139"/>
            <p:cNvSpPr/>
            <p:nvPr>
              <p:custDataLst>
                <p:tags r:id="rId9"/>
              </p:custDataLst>
            </p:nvPr>
          </p:nvSpPr>
          <p:spPr bwMode="gray">
            <a:xfrm>
              <a:off x="6251618" y="2567094"/>
              <a:ext cx="520115" cy="1922555"/>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41" name="Rectangle 140"/>
            <p:cNvSpPr/>
            <p:nvPr>
              <p:custDataLst>
                <p:tags r:id="rId10"/>
              </p:custDataLst>
            </p:nvPr>
          </p:nvSpPr>
          <p:spPr bwMode="gray">
            <a:xfrm>
              <a:off x="5419434" y="2676642"/>
              <a:ext cx="520115" cy="2059489"/>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cxnSp>
          <p:nvCxnSpPr>
            <p:cNvPr id="27" name="Straight Connector 26"/>
            <p:cNvCxnSpPr/>
            <p:nvPr>
              <p:custDataLst>
                <p:tags r:id="rId11"/>
              </p:custDataLst>
            </p:nvPr>
          </p:nvCxnSpPr>
          <p:spPr bwMode="gray">
            <a:xfrm>
              <a:off x="5263399" y="5590600"/>
              <a:ext cx="3328739"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custDataLst>
                <p:tags r:id="rId12"/>
              </p:custDataLst>
            </p:nvPr>
          </p:nvCxnSpPr>
          <p:spPr bwMode="gray">
            <a:xfrm flipV="1">
              <a:off x="5263399" y="2304181"/>
              <a:ext cx="0" cy="3286419"/>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custDataLst>
                <p:tags r:id="rId13"/>
              </p:custDataLst>
            </p:nvPr>
          </p:nvCxnSpPr>
          <p:spPr bwMode="gray">
            <a:xfrm flipH="1">
              <a:off x="5212599" y="339965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p:nvPr>
              <p:custDataLst>
                <p:tags r:id="rId14"/>
              </p:custDataLst>
            </p:nvPr>
          </p:nvCxnSpPr>
          <p:spPr bwMode="gray">
            <a:xfrm flipH="1">
              <a:off x="5212599" y="4495127"/>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p:custDataLst>
                <p:tags r:id="rId15"/>
              </p:custDataLst>
            </p:nvPr>
          </p:nvCxnSpPr>
          <p:spPr bwMode="gray">
            <a:xfrm flipH="1">
              <a:off x="5212599" y="5590600"/>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p:custDataLst>
                <p:tags r:id="rId16"/>
              </p:custDataLst>
            </p:nvPr>
          </p:nvCxnSpPr>
          <p:spPr bwMode="gray">
            <a:xfrm flipH="1">
              <a:off x="5212599" y="3947391"/>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p:custDataLst>
                <p:tags r:id="rId17"/>
              </p:custDataLst>
            </p:nvPr>
          </p:nvCxnSpPr>
          <p:spPr bwMode="gray">
            <a:xfrm flipH="1">
              <a:off x="5212599" y="504286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p:custDataLst>
                <p:tags r:id="rId18"/>
              </p:custDataLst>
            </p:nvPr>
          </p:nvCxnSpPr>
          <p:spPr bwMode="gray">
            <a:xfrm flipH="1">
              <a:off x="5212599" y="2304181"/>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p:custDataLst>
                <p:tags r:id="rId19"/>
              </p:custDataLst>
            </p:nvPr>
          </p:nvCxnSpPr>
          <p:spPr bwMode="gray">
            <a:xfrm flipH="1">
              <a:off x="5212599" y="2851917"/>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66" name="TextBox 165"/>
            <p:cNvSpPr txBox="1"/>
            <p:nvPr>
              <p:custDataLst>
                <p:tags r:id="rId20"/>
              </p:custDataLst>
            </p:nvPr>
          </p:nvSpPr>
          <p:spPr bwMode="gray">
            <a:xfrm>
              <a:off x="4979663" y="5509808"/>
              <a:ext cx="23278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0%</a:t>
              </a:r>
              <a:endParaRPr lang="en-US" sz="1050">
                <a:effectLst/>
                <a:latin typeface="Arial"/>
              </a:endParaRPr>
            </a:p>
          </p:txBody>
        </p:sp>
        <p:sp>
          <p:nvSpPr>
            <p:cNvPr id="157" name="TextBox 156"/>
            <p:cNvSpPr txBox="1"/>
            <p:nvPr>
              <p:custDataLst>
                <p:tags r:id="rId21"/>
              </p:custDataLst>
            </p:nvPr>
          </p:nvSpPr>
          <p:spPr bwMode="gray">
            <a:xfrm>
              <a:off x="4904776" y="2223390"/>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60%</a:t>
              </a:r>
              <a:endParaRPr lang="en-US" sz="1050" dirty="0">
                <a:effectLst/>
                <a:latin typeface="Arial"/>
              </a:endParaRPr>
            </a:p>
          </p:txBody>
        </p:sp>
        <p:sp>
          <p:nvSpPr>
            <p:cNvPr id="165" name="TextBox 164"/>
            <p:cNvSpPr txBox="1"/>
            <p:nvPr>
              <p:custDataLst>
                <p:tags r:id="rId22"/>
              </p:custDataLst>
            </p:nvPr>
          </p:nvSpPr>
          <p:spPr bwMode="gray">
            <a:xfrm>
              <a:off x="4904776" y="4414335"/>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20%</a:t>
              </a:r>
              <a:endParaRPr lang="en-US" sz="1050">
                <a:effectLst/>
                <a:latin typeface="Arial"/>
              </a:endParaRPr>
            </a:p>
          </p:txBody>
        </p:sp>
        <p:sp>
          <p:nvSpPr>
            <p:cNvPr id="158" name="TextBox 157"/>
            <p:cNvSpPr txBox="1"/>
            <p:nvPr>
              <p:custDataLst>
                <p:tags r:id="rId23"/>
              </p:custDataLst>
            </p:nvPr>
          </p:nvSpPr>
          <p:spPr bwMode="gray">
            <a:xfrm>
              <a:off x="4904776" y="3866600"/>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30%</a:t>
              </a:r>
              <a:endParaRPr lang="en-US" sz="1050">
                <a:effectLst/>
                <a:latin typeface="Arial"/>
              </a:endParaRPr>
            </a:p>
          </p:txBody>
        </p:sp>
        <p:sp>
          <p:nvSpPr>
            <p:cNvPr id="156" name="TextBox 155"/>
            <p:cNvSpPr txBox="1"/>
            <p:nvPr>
              <p:custDataLst>
                <p:tags r:id="rId24"/>
              </p:custDataLst>
            </p:nvPr>
          </p:nvSpPr>
          <p:spPr bwMode="gray">
            <a:xfrm>
              <a:off x="4904776" y="2771125"/>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50%</a:t>
              </a:r>
              <a:endParaRPr lang="en-US" sz="1050">
                <a:effectLst/>
                <a:latin typeface="Arial"/>
              </a:endParaRPr>
            </a:p>
          </p:txBody>
        </p:sp>
        <p:sp>
          <p:nvSpPr>
            <p:cNvPr id="159" name="TextBox 158"/>
            <p:cNvSpPr txBox="1"/>
            <p:nvPr>
              <p:custDataLst>
                <p:tags r:id="rId25"/>
              </p:custDataLst>
            </p:nvPr>
          </p:nvSpPr>
          <p:spPr bwMode="gray">
            <a:xfrm>
              <a:off x="4904776" y="3318863"/>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40%</a:t>
              </a:r>
              <a:endParaRPr lang="en-US" sz="1050">
                <a:effectLst/>
                <a:latin typeface="Arial"/>
              </a:endParaRPr>
            </a:p>
          </p:txBody>
        </p:sp>
        <p:sp>
          <p:nvSpPr>
            <p:cNvPr id="164" name="TextBox 163"/>
            <p:cNvSpPr txBox="1"/>
            <p:nvPr>
              <p:custDataLst>
                <p:tags r:id="rId26"/>
              </p:custDataLst>
            </p:nvPr>
          </p:nvSpPr>
          <p:spPr bwMode="gray">
            <a:xfrm>
              <a:off x="4904776" y="4962072"/>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a:t>
              </a:r>
              <a:endParaRPr lang="en-US" sz="1050">
                <a:effectLst/>
                <a:latin typeface="Arial"/>
              </a:endParaRPr>
            </a:p>
          </p:txBody>
        </p:sp>
        <p:sp>
          <p:nvSpPr>
            <p:cNvPr id="169" name="TextBox 168"/>
            <p:cNvSpPr txBox="1"/>
            <p:nvPr>
              <p:custDataLst>
                <p:tags r:id="rId27"/>
              </p:custDataLst>
            </p:nvPr>
          </p:nvSpPr>
          <p:spPr bwMode="gray">
            <a:xfrm>
              <a:off x="5338601" y="5654100"/>
              <a:ext cx="681782"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Equipped </a:t>
              </a:r>
            </a:p>
            <a:p>
              <a:pPr algn="ctr"/>
              <a:r>
                <a:rPr lang="en-US" sz="1050" smtClean="0">
                  <a:effectLst/>
                  <a:latin typeface="Arial"/>
                </a:rPr>
                <a:t>Navigators</a:t>
              </a:r>
              <a:endParaRPr lang="en-US" sz="1050" dirty="0">
                <a:effectLst/>
                <a:latin typeface="Arial"/>
              </a:endParaRPr>
            </a:p>
          </p:txBody>
        </p:sp>
        <p:sp>
          <p:nvSpPr>
            <p:cNvPr id="168" name="TextBox 167"/>
            <p:cNvSpPr txBox="1"/>
            <p:nvPr>
              <p:custDataLst>
                <p:tags r:id="rId28"/>
              </p:custDataLst>
            </p:nvPr>
          </p:nvSpPr>
          <p:spPr bwMode="gray">
            <a:xfrm>
              <a:off x="6184813" y="5654100"/>
              <a:ext cx="653726"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Low Fuels</a:t>
              </a:r>
              <a:endParaRPr lang="en-US" sz="1050" dirty="0">
                <a:effectLst/>
                <a:latin typeface="Arial"/>
              </a:endParaRPr>
            </a:p>
          </p:txBody>
        </p:sp>
        <p:sp>
          <p:nvSpPr>
            <p:cNvPr id="167" name="TextBox 166"/>
            <p:cNvSpPr txBox="1"/>
            <p:nvPr>
              <p:custDataLst>
                <p:tags r:id="rId29"/>
              </p:custDataLst>
            </p:nvPr>
          </p:nvSpPr>
          <p:spPr bwMode="gray">
            <a:xfrm>
              <a:off x="7081117" y="5654100"/>
              <a:ext cx="525486"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Check </a:t>
              </a:r>
            </a:p>
            <a:p>
              <a:pPr algn="ctr"/>
              <a:r>
                <a:rPr lang="en-US" sz="1050" smtClean="0">
                  <a:effectLst/>
                  <a:latin typeface="Arial"/>
                </a:rPr>
                <a:t>Engines</a:t>
              </a:r>
              <a:endParaRPr lang="en-US" sz="1050" dirty="0">
                <a:effectLst/>
                <a:latin typeface="Arial"/>
              </a:endParaRPr>
            </a:p>
          </p:txBody>
        </p:sp>
        <p:sp>
          <p:nvSpPr>
            <p:cNvPr id="95" name="TextBox 94"/>
            <p:cNvSpPr txBox="1"/>
            <p:nvPr>
              <p:custDataLst>
                <p:tags r:id="rId30"/>
              </p:custDataLst>
            </p:nvPr>
          </p:nvSpPr>
          <p:spPr bwMode="gray">
            <a:xfrm>
              <a:off x="7801524" y="5654100"/>
              <a:ext cx="749042"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dirty="0" smtClean="0">
                  <a:effectLst/>
                  <a:latin typeface="Arial"/>
                </a:rPr>
                <a:t>Limited </a:t>
              </a:r>
            </a:p>
            <a:p>
              <a:pPr algn="ctr"/>
              <a:r>
                <a:rPr lang="en-US" sz="1050" dirty="0" smtClean="0">
                  <a:effectLst/>
                  <a:latin typeface="Arial"/>
                </a:rPr>
                <a:t>Tech. Users</a:t>
              </a:r>
              <a:endParaRPr lang="en-US" sz="1050" dirty="0">
                <a:effectLst/>
                <a:latin typeface="Arial"/>
              </a:endParaRPr>
            </a:p>
          </p:txBody>
        </p:sp>
        <p:sp>
          <p:nvSpPr>
            <p:cNvPr id="96" name="TextBox 95"/>
            <p:cNvSpPr txBox="1"/>
            <p:nvPr>
              <p:custDataLst>
                <p:tags r:id="rId31"/>
              </p:custDataLst>
            </p:nvPr>
          </p:nvSpPr>
          <p:spPr bwMode="gray">
            <a:xfrm>
              <a:off x="8022208" y="4636169"/>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9%</a:t>
              </a:r>
              <a:endParaRPr lang="en-US" sz="1050">
                <a:solidFill>
                  <a:schemeClr val="bg1"/>
                </a:solidFill>
                <a:effectLst/>
                <a:latin typeface="Arial"/>
              </a:endParaRPr>
            </a:p>
          </p:txBody>
        </p:sp>
        <p:sp>
          <p:nvSpPr>
            <p:cNvPr id="175" name="TextBox 174"/>
            <p:cNvSpPr txBox="1"/>
            <p:nvPr>
              <p:custDataLst>
                <p:tags r:id="rId32"/>
              </p:custDataLst>
            </p:nvPr>
          </p:nvSpPr>
          <p:spPr bwMode="gray">
            <a:xfrm>
              <a:off x="5525655" y="508257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6%</a:t>
              </a:r>
              <a:endParaRPr lang="en-US" sz="1050">
                <a:solidFill>
                  <a:schemeClr val="bg1"/>
                </a:solidFill>
                <a:effectLst/>
                <a:latin typeface="Arial"/>
              </a:endParaRPr>
            </a:p>
          </p:txBody>
        </p:sp>
        <p:sp>
          <p:nvSpPr>
            <p:cNvPr id="176" name="TextBox 175"/>
            <p:cNvSpPr txBox="1"/>
            <p:nvPr>
              <p:custDataLst>
                <p:tags r:id="rId33"/>
              </p:custDataLst>
            </p:nvPr>
          </p:nvSpPr>
          <p:spPr bwMode="gray">
            <a:xfrm>
              <a:off x="6357839" y="4959333"/>
              <a:ext cx="307675" cy="161583"/>
            </a:xfrm>
            <a:prstGeom prst="rect">
              <a:avLst/>
            </a:prstGeom>
            <a:noFill/>
            <a:ln cmpd="sng">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0%</a:t>
              </a:r>
              <a:endParaRPr lang="en-US" sz="1050">
                <a:solidFill>
                  <a:schemeClr val="bg1"/>
                </a:solidFill>
                <a:effectLst/>
                <a:latin typeface="Arial"/>
              </a:endParaRPr>
            </a:p>
          </p:txBody>
        </p:sp>
        <p:sp>
          <p:nvSpPr>
            <p:cNvPr id="173" name="TextBox 172"/>
            <p:cNvSpPr txBox="1"/>
            <p:nvPr>
              <p:custDataLst>
                <p:tags r:id="rId34"/>
              </p:custDataLst>
            </p:nvPr>
          </p:nvSpPr>
          <p:spPr bwMode="gray">
            <a:xfrm>
              <a:off x="5525655" y="3625595"/>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8%</a:t>
              </a:r>
              <a:endParaRPr lang="en-US" sz="1050">
                <a:solidFill>
                  <a:schemeClr val="bg1"/>
                </a:solidFill>
                <a:effectLst/>
                <a:latin typeface="Arial"/>
              </a:endParaRPr>
            </a:p>
          </p:txBody>
        </p:sp>
        <p:sp>
          <p:nvSpPr>
            <p:cNvPr id="170" name="TextBox 169"/>
            <p:cNvSpPr txBox="1"/>
            <p:nvPr>
              <p:custDataLst>
                <p:tags r:id="rId35"/>
              </p:custDataLst>
            </p:nvPr>
          </p:nvSpPr>
          <p:spPr bwMode="gray">
            <a:xfrm>
              <a:off x="6357839" y="3447581"/>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35%</a:t>
              </a:r>
              <a:endParaRPr lang="en-US" sz="1050">
                <a:solidFill>
                  <a:schemeClr val="bg1"/>
                </a:solidFill>
                <a:effectLst/>
                <a:latin typeface="Arial"/>
              </a:endParaRPr>
            </a:p>
          </p:txBody>
        </p:sp>
        <p:sp>
          <p:nvSpPr>
            <p:cNvPr id="177" name="TextBox 176"/>
            <p:cNvSpPr txBox="1"/>
            <p:nvPr>
              <p:custDataLst>
                <p:tags r:id="rId36"/>
              </p:custDataLst>
            </p:nvPr>
          </p:nvSpPr>
          <p:spPr bwMode="gray">
            <a:xfrm>
              <a:off x="7190023" y="4140467"/>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8%</a:t>
              </a:r>
              <a:endParaRPr lang="en-US" sz="1050">
                <a:solidFill>
                  <a:schemeClr val="bg1"/>
                </a:solidFill>
                <a:effectLst/>
                <a:latin typeface="Arial"/>
              </a:endParaRPr>
            </a:p>
          </p:txBody>
        </p:sp>
        <p:sp>
          <p:nvSpPr>
            <p:cNvPr id="174" name="TextBox 173"/>
            <p:cNvSpPr txBox="1"/>
            <p:nvPr>
              <p:custDataLst>
                <p:tags r:id="rId37"/>
              </p:custDataLst>
            </p:nvPr>
          </p:nvSpPr>
          <p:spPr bwMode="gray">
            <a:xfrm>
              <a:off x="5525655" y="2476959"/>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53%</a:t>
              </a:r>
              <a:endParaRPr lang="en-US" sz="1050">
                <a:effectLst/>
                <a:latin typeface="Arial"/>
              </a:endParaRPr>
            </a:p>
          </p:txBody>
        </p:sp>
        <p:sp>
          <p:nvSpPr>
            <p:cNvPr id="171" name="TextBox 170"/>
            <p:cNvSpPr txBox="1"/>
            <p:nvPr>
              <p:custDataLst>
                <p:tags r:id="rId38"/>
              </p:custDataLst>
            </p:nvPr>
          </p:nvSpPr>
          <p:spPr bwMode="gray">
            <a:xfrm>
              <a:off x="7190023" y="3249267"/>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39%</a:t>
              </a:r>
              <a:endParaRPr lang="en-US" sz="1050">
                <a:effectLst/>
                <a:latin typeface="Arial"/>
              </a:endParaRPr>
            </a:p>
          </p:txBody>
        </p:sp>
        <p:sp>
          <p:nvSpPr>
            <p:cNvPr id="97" name="TextBox 96"/>
            <p:cNvSpPr txBox="1"/>
            <p:nvPr>
              <p:custDataLst>
                <p:tags r:id="rId39"/>
              </p:custDataLst>
            </p:nvPr>
          </p:nvSpPr>
          <p:spPr bwMode="gray">
            <a:xfrm>
              <a:off x="8022208" y="3994188"/>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26%</a:t>
              </a:r>
              <a:endParaRPr lang="en-US" sz="1050">
                <a:effectLst/>
                <a:latin typeface="Arial"/>
              </a:endParaRPr>
            </a:p>
          </p:txBody>
        </p:sp>
        <p:sp>
          <p:nvSpPr>
            <p:cNvPr id="178" name="TextBox 177"/>
            <p:cNvSpPr txBox="1"/>
            <p:nvPr>
              <p:custDataLst>
                <p:tags r:id="rId40"/>
              </p:custDataLst>
            </p:nvPr>
          </p:nvSpPr>
          <p:spPr bwMode="gray">
            <a:xfrm>
              <a:off x="7195020" y="5211292"/>
              <a:ext cx="297681"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1%</a:t>
              </a:r>
              <a:endParaRPr lang="en-US" sz="1050">
                <a:solidFill>
                  <a:schemeClr val="bg1"/>
                </a:solidFill>
                <a:effectLst/>
                <a:latin typeface="Arial"/>
              </a:endParaRPr>
            </a:p>
          </p:txBody>
        </p:sp>
        <p:sp>
          <p:nvSpPr>
            <p:cNvPr id="98" name="TextBox 97"/>
            <p:cNvSpPr txBox="1"/>
            <p:nvPr>
              <p:custDataLst>
                <p:tags r:id="rId41"/>
              </p:custDataLst>
            </p:nvPr>
          </p:nvSpPr>
          <p:spPr bwMode="gray">
            <a:xfrm>
              <a:off x="8059651" y="5334533"/>
              <a:ext cx="23278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6%</a:t>
              </a:r>
              <a:endParaRPr lang="en-US" sz="1050">
                <a:solidFill>
                  <a:schemeClr val="bg1"/>
                </a:solidFill>
                <a:effectLst/>
                <a:latin typeface="Arial"/>
              </a:endParaRPr>
            </a:p>
          </p:txBody>
        </p:sp>
        <p:sp>
          <p:nvSpPr>
            <p:cNvPr id="172" name="TextBox 171"/>
            <p:cNvSpPr txBox="1"/>
            <p:nvPr>
              <p:custDataLst>
                <p:tags r:id="rId42"/>
              </p:custDataLst>
            </p:nvPr>
          </p:nvSpPr>
          <p:spPr bwMode="gray">
            <a:xfrm>
              <a:off x="6357839" y="2367411"/>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55%</a:t>
              </a:r>
              <a:endParaRPr lang="en-US" sz="1050">
                <a:effectLst/>
                <a:latin typeface="Arial"/>
              </a:endParaRPr>
            </a:p>
          </p:txBody>
        </p:sp>
        <p:sp>
          <p:nvSpPr>
            <p:cNvPr id="179" name="TextBox 178"/>
            <p:cNvSpPr txBox="1"/>
            <p:nvPr>
              <p:custDataLst>
                <p:tags r:id="rId43"/>
              </p:custDataLst>
            </p:nvPr>
          </p:nvSpPr>
          <p:spPr bwMode="gray">
            <a:xfrm>
              <a:off x="5233022" y="6267350"/>
              <a:ext cx="1141039"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dirty="0" smtClean="0">
                  <a:effectLst/>
                  <a:latin typeface="Arial"/>
                </a:rPr>
                <a:t>Grown Moderately</a:t>
              </a:r>
              <a:endParaRPr lang="en-US" sz="1050" dirty="0">
                <a:effectLst/>
                <a:latin typeface="Arial"/>
              </a:endParaRPr>
            </a:p>
          </p:txBody>
        </p:sp>
        <p:sp>
          <p:nvSpPr>
            <p:cNvPr id="180" name="TextBox 179"/>
            <p:cNvSpPr txBox="1"/>
            <p:nvPr>
              <p:custDataLst>
                <p:tags r:id="rId44"/>
              </p:custDataLst>
            </p:nvPr>
          </p:nvSpPr>
          <p:spPr bwMode="gray">
            <a:xfrm>
              <a:off x="5233022" y="6082095"/>
              <a:ext cx="2500386"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Grown Significantly (at least 50% growth)</a:t>
              </a:r>
              <a:endParaRPr lang="en-US" sz="1050">
                <a:effectLst/>
                <a:latin typeface="Arial"/>
              </a:endParaRPr>
            </a:p>
          </p:txBody>
        </p:sp>
        <p:sp>
          <p:nvSpPr>
            <p:cNvPr id="181" name="Rectangle 180"/>
            <p:cNvSpPr/>
            <p:nvPr>
              <p:custDataLst>
                <p:tags r:id="rId45"/>
              </p:custDataLst>
            </p:nvPr>
          </p:nvSpPr>
          <p:spPr bwMode="gray">
            <a:xfrm>
              <a:off x="5067805" y="6267350"/>
              <a:ext cx="146018" cy="146018"/>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82" name="Rectangle 181"/>
            <p:cNvSpPr/>
            <p:nvPr>
              <p:custDataLst>
                <p:tags r:id="rId46"/>
              </p:custDataLst>
            </p:nvPr>
          </p:nvSpPr>
          <p:spPr bwMode="gray">
            <a:xfrm>
              <a:off x="5067805" y="6082095"/>
              <a:ext cx="146018" cy="146018"/>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grpSp>
      <p:sp>
        <p:nvSpPr>
          <p:cNvPr id="183" name="TextBox 182"/>
          <p:cNvSpPr txBox="1"/>
          <p:nvPr/>
        </p:nvSpPr>
        <p:spPr>
          <a:xfrm>
            <a:off x="4846383" y="1242281"/>
            <a:ext cx="3761995" cy="830997"/>
          </a:xfrm>
          <a:prstGeom prst="rect">
            <a:avLst/>
          </a:prstGeom>
          <a:noFill/>
        </p:spPr>
        <p:txBody>
          <a:bodyPr wrap="square" rtlCol="0">
            <a:spAutoFit/>
          </a:bodyPr>
          <a:lstStyle/>
          <a:p>
            <a:pPr algn="ctr"/>
            <a:r>
              <a:rPr lang="en-US" sz="1200" b="1" dirty="0"/>
              <a:t>Over the past 3 years how has the spending on </a:t>
            </a:r>
            <a:r>
              <a:rPr lang="en-US" sz="1200" b="1" dirty="0" smtClean="0"/>
              <a:t>Technology </a:t>
            </a:r>
            <a:r>
              <a:rPr lang="en-US" sz="1200" b="1" dirty="0"/>
              <a:t>allocated to student planning and advising changed at your institution? </a:t>
            </a:r>
            <a:endParaRPr lang="en-US" sz="1200" b="1" dirty="0" smtClean="0"/>
          </a:p>
          <a:p>
            <a:pPr algn="ctr"/>
            <a:r>
              <a:rPr lang="en-US" sz="1200" dirty="0" smtClean="0"/>
              <a:t>By Segment; n = 839</a:t>
            </a:r>
            <a:endParaRPr lang="en-US" sz="1200" dirty="0"/>
          </a:p>
        </p:txBody>
      </p:sp>
    </p:spTree>
    <p:extLst>
      <p:ext uri="{BB962C8B-B14F-4D97-AF65-F5344CB8AC3E}">
        <p14:creationId xmlns:p14="http://schemas.microsoft.com/office/powerpoint/2010/main" val="67605970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6061281-BD0D-6F47-BBB8-8F6BE6AA34E7}" type="slidenum">
              <a:rPr lang="en-US" smtClean="0"/>
              <a:t>31</a:t>
            </a:fld>
            <a:endParaRPr lang="en-US" dirty="0"/>
          </a:p>
        </p:txBody>
      </p:sp>
      <p:sp>
        <p:nvSpPr>
          <p:cNvPr id="4" name="Content Placeholder 3"/>
          <p:cNvSpPr>
            <a:spLocks noGrp="1"/>
          </p:cNvSpPr>
          <p:nvPr>
            <p:ph idx="14"/>
          </p:nvPr>
        </p:nvSpPr>
        <p:spPr/>
        <p:txBody>
          <a:bodyPr>
            <a:normAutofit/>
          </a:bodyPr>
          <a:lstStyle/>
          <a:p>
            <a:r>
              <a:rPr lang="en-US" dirty="0" smtClean="0"/>
              <a:t>Equipped Navigators Institutions Engage in More Goal Setting and Career Planning During Advising Sessions</a:t>
            </a:r>
          </a:p>
        </p:txBody>
      </p:sp>
      <p:grpSp>
        <p:nvGrpSpPr>
          <p:cNvPr id="66" name="Group 65"/>
          <p:cNvGrpSpPr/>
          <p:nvPr>
            <p:custDataLst>
              <p:tags r:id="rId1"/>
            </p:custDataLst>
          </p:nvPr>
        </p:nvGrpSpPr>
        <p:grpSpPr>
          <a:xfrm>
            <a:off x="544457" y="1910102"/>
            <a:ext cx="7823634" cy="4305404"/>
            <a:chOff x="544457" y="1910102"/>
            <a:chExt cx="7823634" cy="4305404"/>
          </a:xfrm>
        </p:grpSpPr>
        <p:sp>
          <p:nvSpPr>
            <p:cNvPr id="12" name="Rectangle 11"/>
            <p:cNvSpPr/>
            <p:nvPr>
              <p:custDataLst>
                <p:tags r:id="rId2"/>
              </p:custDataLst>
            </p:nvPr>
          </p:nvSpPr>
          <p:spPr bwMode="gray">
            <a:xfrm>
              <a:off x="1146504" y="2131657"/>
              <a:ext cx="811414" cy="3858767"/>
            </a:xfrm>
            <a:prstGeom prst="rect">
              <a:avLst/>
            </a:prstGeom>
            <a:solidFill>
              <a:schemeClr val="tx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 name="Rectangle 9"/>
            <p:cNvSpPr/>
            <p:nvPr>
              <p:custDataLst>
                <p:tags r:id="rId3"/>
              </p:custDataLst>
            </p:nvPr>
          </p:nvSpPr>
          <p:spPr bwMode="gray">
            <a:xfrm>
              <a:off x="5690424" y="3552797"/>
              <a:ext cx="811414" cy="2437627"/>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1" name="Rectangle 10"/>
            <p:cNvSpPr/>
            <p:nvPr>
              <p:custDataLst>
                <p:tags r:id="rId4"/>
              </p:custDataLst>
            </p:nvPr>
          </p:nvSpPr>
          <p:spPr bwMode="gray">
            <a:xfrm>
              <a:off x="4879010" y="2922081"/>
              <a:ext cx="811414" cy="3068343"/>
            </a:xfrm>
            <a:prstGeom prst="rect">
              <a:avLst/>
            </a:prstGeom>
            <a:solidFill>
              <a:schemeClr val="tx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3" name="Rectangle 2"/>
            <p:cNvSpPr/>
            <p:nvPr>
              <p:custDataLst>
                <p:tags r:id="rId5"/>
              </p:custDataLst>
            </p:nvPr>
          </p:nvSpPr>
          <p:spPr bwMode="gray">
            <a:xfrm>
              <a:off x="7313252" y="3407472"/>
              <a:ext cx="811414" cy="2582951"/>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5" name="Rectangle 4"/>
            <p:cNvSpPr/>
            <p:nvPr>
              <p:custDataLst>
                <p:tags r:id="rId6"/>
              </p:custDataLst>
            </p:nvPr>
          </p:nvSpPr>
          <p:spPr bwMode="gray">
            <a:xfrm>
              <a:off x="3580746" y="2639032"/>
              <a:ext cx="811414" cy="3351393"/>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8" name="Rectangle 7"/>
            <p:cNvSpPr/>
            <p:nvPr>
              <p:custDataLst>
                <p:tags r:id="rId7"/>
              </p:custDataLst>
            </p:nvPr>
          </p:nvSpPr>
          <p:spPr bwMode="gray">
            <a:xfrm>
              <a:off x="1957918" y="2905458"/>
              <a:ext cx="811414" cy="3084966"/>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 name="Rectangle 8"/>
            <p:cNvSpPr/>
            <p:nvPr>
              <p:custDataLst>
                <p:tags r:id="rId8"/>
              </p:custDataLst>
            </p:nvPr>
          </p:nvSpPr>
          <p:spPr bwMode="gray">
            <a:xfrm>
              <a:off x="6501837" y="3401259"/>
              <a:ext cx="811414" cy="2589164"/>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3" name="Rectangle 12"/>
            <p:cNvSpPr/>
            <p:nvPr>
              <p:custDataLst>
                <p:tags r:id="rId9"/>
              </p:custDataLst>
            </p:nvPr>
          </p:nvSpPr>
          <p:spPr bwMode="gray">
            <a:xfrm>
              <a:off x="2769333" y="2709099"/>
              <a:ext cx="811414" cy="3281325"/>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cxnSp>
          <p:nvCxnSpPr>
            <p:cNvPr id="44" name="Straight Connector 43"/>
            <p:cNvCxnSpPr/>
            <p:nvPr>
              <p:custDataLst>
                <p:tags r:id="rId10"/>
              </p:custDataLst>
            </p:nvPr>
          </p:nvCxnSpPr>
          <p:spPr bwMode="gray">
            <a:xfrm>
              <a:off x="903080" y="5990423"/>
              <a:ext cx="7465011"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custDataLst>
                <p:tags r:id="rId11"/>
              </p:custDataLst>
            </p:nvPr>
          </p:nvCxnSpPr>
          <p:spPr bwMode="gray">
            <a:xfrm flipV="1">
              <a:off x="903080" y="2024280"/>
              <a:ext cx="0" cy="3966143"/>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custDataLst>
                <p:tags r:id="rId12"/>
              </p:custDataLst>
            </p:nvPr>
          </p:nvCxnSpPr>
          <p:spPr bwMode="gray">
            <a:xfrm flipH="1">
              <a:off x="852280" y="4007352"/>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custDataLst>
                <p:tags r:id="rId13"/>
              </p:custDataLst>
            </p:nvPr>
          </p:nvCxnSpPr>
          <p:spPr bwMode="gray">
            <a:xfrm flipH="1">
              <a:off x="852280" y="2024280"/>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custDataLst>
                <p:tags r:id="rId14"/>
              </p:custDataLst>
            </p:nvPr>
          </p:nvCxnSpPr>
          <p:spPr bwMode="gray">
            <a:xfrm flipH="1">
              <a:off x="852280" y="4998888"/>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custDataLst>
                <p:tags r:id="rId15"/>
              </p:custDataLst>
            </p:nvPr>
          </p:nvCxnSpPr>
          <p:spPr bwMode="gray">
            <a:xfrm flipH="1">
              <a:off x="852280" y="5990423"/>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custDataLst>
                <p:tags r:id="rId16"/>
              </p:custDataLst>
            </p:nvPr>
          </p:nvCxnSpPr>
          <p:spPr bwMode="gray">
            <a:xfrm flipH="1">
              <a:off x="852280" y="3015816"/>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23" name="TextBox 22"/>
            <p:cNvSpPr txBox="1"/>
            <p:nvPr>
              <p:custDataLst>
                <p:tags r:id="rId17"/>
              </p:custDataLst>
            </p:nvPr>
          </p:nvSpPr>
          <p:spPr bwMode="gray">
            <a:xfrm>
              <a:off x="619344" y="5909632"/>
              <a:ext cx="23278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0%</a:t>
              </a:r>
              <a:endParaRPr lang="en-US" sz="1050">
                <a:effectLst/>
                <a:latin typeface="Arial"/>
              </a:endParaRPr>
            </a:p>
          </p:txBody>
        </p:sp>
        <p:sp>
          <p:nvSpPr>
            <p:cNvPr id="24" name="TextBox 23"/>
            <p:cNvSpPr txBox="1"/>
            <p:nvPr>
              <p:custDataLst>
                <p:tags r:id="rId18"/>
              </p:custDataLst>
            </p:nvPr>
          </p:nvSpPr>
          <p:spPr bwMode="gray">
            <a:xfrm>
              <a:off x="544457" y="293502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60%</a:t>
              </a:r>
              <a:endParaRPr lang="en-US" sz="1050">
                <a:effectLst/>
                <a:latin typeface="Arial"/>
              </a:endParaRPr>
            </a:p>
          </p:txBody>
        </p:sp>
        <p:sp>
          <p:nvSpPr>
            <p:cNvPr id="25" name="TextBox 24"/>
            <p:cNvSpPr txBox="1"/>
            <p:nvPr>
              <p:custDataLst>
                <p:tags r:id="rId19"/>
              </p:custDataLst>
            </p:nvPr>
          </p:nvSpPr>
          <p:spPr bwMode="gray">
            <a:xfrm>
              <a:off x="544457" y="1943488"/>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80%</a:t>
              </a:r>
              <a:endParaRPr lang="en-US" sz="1050">
                <a:effectLst/>
                <a:latin typeface="Arial"/>
              </a:endParaRPr>
            </a:p>
          </p:txBody>
        </p:sp>
        <p:sp>
          <p:nvSpPr>
            <p:cNvPr id="26" name="TextBox 25"/>
            <p:cNvSpPr txBox="1"/>
            <p:nvPr>
              <p:custDataLst>
                <p:tags r:id="rId20"/>
              </p:custDataLst>
            </p:nvPr>
          </p:nvSpPr>
          <p:spPr bwMode="gray">
            <a:xfrm>
              <a:off x="544457" y="3926560"/>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40%</a:t>
              </a:r>
              <a:endParaRPr lang="en-US" sz="1050">
                <a:effectLst/>
                <a:latin typeface="Arial"/>
              </a:endParaRPr>
            </a:p>
          </p:txBody>
        </p:sp>
        <p:sp>
          <p:nvSpPr>
            <p:cNvPr id="27" name="TextBox 26"/>
            <p:cNvSpPr txBox="1"/>
            <p:nvPr>
              <p:custDataLst>
                <p:tags r:id="rId21"/>
              </p:custDataLst>
            </p:nvPr>
          </p:nvSpPr>
          <p:spPr bwMode="gray">
            <a:xfrm>
              <a:off x="544457" y="4918096"/>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20%</a:t>
              </a:r>
              <a:endParaRPr lang="en-US" sz="1050">
                <a:effectLst/>
                <a:latin typeface="Arial"/>
              </a:endParaRPr>
            </a:p>
          </p:txBody>
        </p:sp>
        <p:sp>
          <p:nvSpPr>
            <p:cNvPr id="28" name="TextBox 27"/>
            <p:cNvSpPr txBox="1"/>
            <p:nvPr>
              <p:custDataLst>
                <p:tags r:id="rId22"/>
              </p:custDataLst>
            </p:nvPr>
          </p:nvSpPr>
          <p:spPr bwMode="gray">
            <a:xfrm>
              <a:off x="2379722" y="6053923"/>
              <a:ext cx="779221"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Goal Setting</a:t>
              </a:r>
              <a:endParaRPr lang="en-US" sz="1050">
                <a:effectLst/>
                <a:latin typeface="Arial"/>
              </a:endParaRPr>
            </a:p>
          </p:txBody>
        </p:sp>
        <p:sp>
          <p:nvSpPr>
            <p:cNvPr id="29" name="TextBox 28"/>
            <p:cNvSpPr txBox="1"/>
            <p:nvPr>
              <p:custDataLst>
                <p:tags r:id="rId23"/>
              </p:custDataLst>
            </p:nvPr>
          </p:nvSpPr>
          <p:spPr bwMode="gray">
            <a:xfrm>
              <a:off x="5996214" y="6053923"/>
              <a:ext cx="1011246"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Career Planning</a:t>
              </a:r>
              <a:endParaRPr lang="en-US" sz="1050">
                <a:effectLst/>
                <a:latin typeface="Arial"/>
              </a:endParaRPr>
            </a:p>
          </p:txBody>
        </p:sp>
        <p:sp>
          <p:nvSpPr>
            <p:cNvPr id="30" name="TextBox 29"/>
            <p:cNvSpPr txBox="1"/>
            <p:nvPr>
              <p:custDataLst>
                <p:tags r:id="rId24"/>
              </p:custDataLst>
            </p:nvPr>
          </p:nvSpPr>
          <p:spPr bwMode="gray">
            <a:xfrm>
              <a:off x="1398373" y="1931974"/>
              <a:ext cx="307675" cy="161583"/>
            </a:xfrm>
            <a:prstGeom prst="rect">
              <a:avLst/>
            </a:prstGeom>
            <a:noFill/>
            <a:ln cmpd="sng">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78%</a:t>
              </a:r>
              <a:endParaRPr lang="en-US" sz="1050">
                <a:effectLst/>
                <a:latin typeface="Arial"/>
              </a:endParaRPr>
            </a:p>
          </p:txBody>
        </p:sp>
        <p:sp>
          <p:nvSpPr>
            <p:cNvPr id="19" name="TextBox 18"/>
            <p:cNvSpPr txBox="1"/>
            <p:nvPr>
              <p:custDataLst>
                <p:tags r:id="rId25"/>
              </p:custDataLst>
            </p:nvPr>
          </p:nvSpPr>
          <p:spPr bwMode="gray">
            <a:xfrm>
              <a:off x="7565123" y="3207789"/>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52%</a:t>
              </a:r>
              <a:endParaRPr lang="en-US" sz="1050">
                <a:effectLst/>
                <a:latin typeface="Arial"/>
              </a:endParaRPr>
            </a:p>
          </p:txBody>
        </p:sp>
        <p:sp>
          <p:nvSpPr>
            <p:cNvPr id="32" name="TextBox 31"/>
            <p:cNvSpPr txBox="1"/>
            <p:nvPr>
              <p:custDataLst>
                <p:tags r:id="rId26"/>
              </p:custDataLst>
            </p:nvPr>
          </p:nvSpPr>
          <p:spPr bwMode="gray">
            <a:xfrm>
              <a:off x="6753708" y="3201576"/>
              <a:ext cx="307675" cy="161583"/>
            </a:xfrm>
            <a:prstGeom prst="rect">
              <a:avLst/>
            </a:prstGeom>
            <a:noFill/>
            <a:ln cmpd="sng">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52%</a:t>
              </a:r>
              <a:endParaRPr lang="en-US" sz="1050">
                <a:effectLst/>
                <a:latin typeface="Arial"/>
              </a:endParaRPr>
            </a:p>
          </p:txBody>
        </p:sp>
        <p:sp>
          <p:nvSpPr>
            <p:cNvPr id="33" name="TextBox 32"/>
            <p:cNvSpPr txBox="1"/>
            <p:nvPr>
              <p:custDataLst>
                <p:tags r:id="rId27"/>
              </p:custDataLst>
            </p:nvPr>
          </p:nvSpPr>
          <p:spPr bwMode="gray">
            <a:xfrm>
              <a:off x="5194379" y="2722398"/>
              <a:ext cx="307675" cy="161583"/>
            </a:xfrm>
            <a:prstGeom prst="rect">
              <a:avLst/>
            </a:prstGeom>
            <a:noFill/>
            <a:ln cmpd="sng">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62%</a:t>
              </a:r>
              <a:endParaRPr lang="en-US" sz="1050">
                <a:effectLst/>
                <a:latin typeface="Arial"/>
              </a:endParaRPr>
            </a:p>
          </p:txBody>
        </p:sp>
        <p:sp>
          <p:nvSpPr>
            <p:cNvPr id="34" name="TextBox 33"/>
            <p:cNvSpPr txBox="1"/>
            <p:nvPr>
              <p:custDataLst>
                <p:tags r:id="rId28"/>
              </p:custDataLst>
            </p:nvPr>
          </p:nvSpPr>
          <p:spPr bwMode="gray">
            <a:xfrm>
              <a:off x="3021202" y="2509416"/>
              <a:ext cx="307675" cy="161583"/>
            </a:xfrm>
            <a:prstGeom prst="rect">
              <a:avLst/>
            </a:prstGeom>
            <a:noFill/>
            <a:ln cmpd="sng">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66%</a:t>
              </a:r>
              <a:endParaRPr lang="en-US" sz="1050">
                <a:effectLst/>
                <a:latin typeface="Arial"/>
              </a:endParaRPr>
            </a:p>
          </p:txBody>
        </p:sp>
        <p:sp>
          <p:nvSpPr>
            <p:cNvPr id="20" name="TextBox 19"/>
            <p:cNvSpPr txBox="1"/>
            <p:nvPr>
              <p:custDataLst>
                <p:tags r:id="rId29"/>
              </p:custDataLst>
            </p:nvPr>
          </p:nvSpPr>
          <p:spPr bwMode="gray">
            <a:xfrm>
              <a:off x="3832616" y="2439349"/>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68%</a:t>
              </a:r>
              <a:endParaRPr lang="en-US" sz="1050">
                <a:effectLst/>
                <a:latin typeface="Arial"/>
              </a:endParaRPr>
            </a:p>
          </p:txBody>
        </p:sp>
        <p:sp>
          <p:nvSpPr>
            <p:cNvPr id="36" name="TextBox 35"/>
            <p:cNvSpPr txBox="1"/>
            <p:nvPr>
              <p:custDataLst>
                <p:tags r:id="rId30"/>
              </p:custDataLst>
            </p:nvPr>
          </p:nvSpPr>
          <p:spPr bwMode="gray">
            <a:xfrm>
              <a:off x="5942293" y="335311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49%</a:t>
              </a:r>
              <a:endParaRPr lang="en-US" sz="1050">
                <a:effectLst/>
                <a:latin typeface="Arial"/>
              </a:endParaRPr>
            </a:p>
          </p:txBody>
        </p:sp>
        <p:sp>
          <p:nvSpPr>
            <p:cNvPr id="37" name="TextBox 36"/>
            <p:cNvSpPr txBox="1"/>
            <p:nvPr>
              <p:custDataLst>
                <p:tags r:id="rId31"/>
              </p:custDataLst>
            </p:nvPr>
          </p:nvSpPr>
          <p:spPr bwMode="gray">
            <a:xfrm>
              <a:off x="2209787" y="2705775"/>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b">
              <a:spAutoFit/>
            </a:bodyPr>
            <a:lstStyle/>
            <a:p>
              <a:pPr algn="ctr"/>
              <a:r>
                <a:rPr lang="en-US" sz="1050" smtClean="0">
                  <a:effectLst/>
                  <a:latin typeface="Arial"/>
                </a:rPr>
                <a:t>62%</a:t>
              </a:r>
              <a:endParaRPr lang="en-US" sz="1050">
                <a:effectLst/>
                <a:latin typeface="Arial"/>
              </a:endParaRPr>
            </a:p>
          </p:txBody>
        </p:sp>
        <p:sp>
          <p:nvSpPr>
            <p:cNvPr id="21" name="TextBox 20"/>
            <p:cNvSpPr txBox="1"/>
            <p:nvPr>
              <p:custDataLst>
                <p:tags r:id="rId32"/>
              </p:custDataLst>
            </p:nvPr>
          </p:nvSpPr>
          <p:spPr bwMode="gray">
            <a:xfrm>
              <a:off x="6761242" y="2581662"/>
              <a:ext cx="1577469"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dirty="0" smtClean="0">
                  <a:effectLst/>
                  <a:latin typeface="Arial"/>
                </a:rPr>
                <a:t>Limited Technology Users</a:t>
              </a:r>
              <a:endParaRPr lang="en-US" sz="1050" dirty="0">
                <a:effectLst/>
                <a:latin typeface="Arial"/>
              </a:endParaRPr>
            </a:p>
          </p:txBody>
        </p:sp>
        <p:sp>
          <p:nvSpPr>
            <p:cNvPr id="22" name="TextBox 21"/>
            <p:cNvSpPr txBox="1"/>
            <p:nvPr>
              <p:custDataLst>
                <p:tags r:id="rId33"/>
              </p:custDataLst>
            </p:nvPr>
          </p:nvSpPr>
          <p:spPr bwMode="gray">
            <a:xfrm>
              <a:off x="6761242" y="2357808"/>
              <a:ext cx="943854"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Check Engines</a:t>
              </a:r>
              <a:endParaRPr lang="en-US" sz="1050">
                <a:effectLst/>
                <a:latin typeface="Arial"/>
              </a:endParaRPr>
            </a:p>
          </p:txBody>
        </p:sp>
        <p:sp>
          <p:nvSpPr>
            <p:cNvPr id="31" name="TextBox 30"/>
            <p:cNvSpPr txBox="1"/>
            <p:nvPr>
              <p:custDataLst>
                <p:tags r:id="rId34"/>
              </p:custDataLst>
            </p:nvPr>
          </p:nvSpPr>
          <p:spPr bwMode="gray">
            <a:xfrm>
              <a:off x="6761242" y="2133956"/>
              <a:ext cx="653726"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Low Fuels</a:t>
              </a:r>
              <a:endParaRPr lang="en-US" sz="1050">
                <a:effectLst/>
                <a:latin typeface="Arial"/>
              </a:endParaRPr>
            </a:p>
          </p:txBody>
        </p:sp>
        <p:sp>
          <p:nvSpPr>
            <p:cNvPr id="35" name="TextBox 34"/>
            <p:cNvSpPr txBox="1"/>
            <p:nvPr>
              <p:custDataLst>
                <p:tags r:id="rId35"/>
              </p:custDataLst>
            </p:nvPr>
          </p:nvSpPr>
          <p:spPr bwMode="gray">
            <a:xfrm>
              <a:off x="6761242" y="1910102"/>
              <a:ext cx="1288243"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r>
                <a:rPr lang="en-US" sz="1050" smtClean="0">
                  <a:effectLst/>
                  <a:latin typeface="Arial"/>
                </a:rPr>
                <a:t>Equipped Navigators</a:t>
              </a:r>
              <a:endParaRPr lang="en-US" sz="1050">
                <a:effectLst/>
                <a:latin typeface="Arial"/>
              </a:endParaRPr>
            </a:p>
          </p:txBody>
        </p:sp>
        <p:sp>
          <p:nvSpPr>
            <p:cNvPr id="38" name="Rectangle 37"/>
            <p:cNvSpPr/>
            <p:nvPr>
              <p:custDataLst>
                <p:tags r:id="rId36"/>
              </p:custDataLst>
            </p:nvPr>
          </p:nvSpPr>
          <p:spPr bwMode="gray">
            <a:xfrm>
              <a:off x="6596025" y="2581662"/>
              <a:ext cx="146018" cy="146018"/>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39" name="Rectangle 38"/>
            <p:cNvSpPr/>
            <p:nvPr>
              <p:custDataLst>
                <p:tags r:id="rId37"/>
              </p:custDataLst>
            </p:nvPr>
          </p:nvSpPr>
          <p:spPr bwMode="gray">
            <a:xfrm>
              <a:off x="6596025" y="2357808"/>
              <a:ext cx="146018" cy="146018"/>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41" name="Rectangle 40"/>
            <p:cNvSpPr/>
            <p:nvPr>
              <p:custDataLst>
                <p:tags r:id="rId38"/>
              </p:custDataLst>
            </p:nvPr>
          </p:nvSpPr>
          <p:spPr bwMode="gray">
            <a:xfrm>
              <a:off x="6596025" y="1910102"/>
              <a:ext cx="146018" cy="146018"/>
            </a:xfrm>
            <a:prstGeom prst="rect">
              <a:avLst/>
            </a:prstGeom>
            <a:solidFill>
              <a:schemeClr val="tx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42" name="Rectangle 41"/>
            <p:cNvSpPr/>
            <p:nvPr>
              <p:custDataLst>
                <p:tags r:id="rId39"/>
              </p:custDataLst>
            </p:nvPr>
          </p:nvSpPr>
          <p:spPr bwMode="gray">
            <a:xfrm>
              <a:off x="6596025" y="2133956"/>
              <a:ext cx="146018" cy="146018"/>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grpSp>
      <p:sp>
        <p:nvSpPr>
          <p:cNvPr id="47" name="TextBox 46"/>
          <p:cNvSpPr txBox="1"/>
          <p:nvPr/>
        </p:nvSpPr>
        <p:spPr>
          <a:xfrm>
            <a:off x="681572" y="1176131"/>
            <a:ext cx="8173577" cy="461665"/>
          </a:xfrm>
          <a:prstGeom prst="rect">
            <a:avLst/>
          </a:prstGeom>
          <a:noFill/>
        </p:spPr>
        <p:txBody>
          <a:bodyPr wrap="square" rtlCol="0">
            <a:spAutoFit/>
          </a:bodyPr>
          <a:lstStyle/>
          <a:p>
            <a:pPr algn="ctr"/>
            <a:r>
              <a:rPr lang="en-US" sz="1200" b="1" dirty="0"/>
              <a:t>What are the primary goals of your planning and advising efforts? </a:t>
            </a:r>
            <a:r>
              <a:rPr lang="en-US" sz="1200" b="1" dirty="0" smtClean="0"/>
              <a:t>(Select up to 3)</a:t>
            </a:r>
          </a:p>
          <a:p>
            <a:pPr algn="ctr"/>
            <a:r>
              <a:rPr lang="en-US" sz="1200" dirty="0"/>
              <a:t>By </a:t>
            </a:r>
            <a:r>
              <a:rPr lang="en-US" sz="1200" dirty="0" smtClean="0"/>
              <a:t>Segment; </a:t>
            </a:r>
            <a:r>
              <a:rPr lang="en-US" sz="1200" dirty="0"/>
              <a:t>n = </a:t>
            </a:r>
            <a:r>
              <a:rPr lang="en-US" sz="1200" dirty="0" smtClean="0"/>
              <a:t>839</a:t>
            </a:r>
            <a:endParaRPr lang="en-US" sz="1200" dirty="0"/>
          </a:p>
        </p:txBody>
      </p:sp>
      <p:sp>
        <p:nvSpPr>
          <p:cNvPr id="40" name="Content Placeholder 2"/>
          <p:cNvSpPr txBox="1">
            <a:spLocks/>
          </p:cNvSpPr>
          <p:nvPr/>
        </p:nvSpPr>
        <p:spPr>
          <a:xfrm>
            <a:off x="526143" y="6126165"/>
            <a:ext cx="6291218" cy="643102"/>
          </a:xfrm>
          <a:prstGeom prst="rect">
            <a:avLst/>
          </a:prstGeom>
        </p:spPr>
        <p:txBody>
          <a:bodyPr vert="horz" lIns="91440" tIns="45720" rIns="91440" bIns="45720" rtlCol="0" anchor="b">
            <a:normAutofit/>
          </a:bodyPr>
          <a:lstStyle>
            <a:lvl1pPr marL="0" indent="0" algn="l" defTabSz="457200" rtl="0" eaLnBrk="1" latinLnBrk="0" hangingPunct="1">
              <a:spcBef>
                <a:spcPct val="20000"/>
              </a:spcBef>
              <a:buClrTx/>
              <a:buFontTx/>
              <a:buNone/>
              <a:defRPr sz="1000" i="1" kern="1200">
                <a:solidFill>
                  <a:schemeClr val="tx1"/>
                </a:solidFill>
                <a:latin typeface="Arial"/>
                <a:ea typeface="+mn-ea"/>
                <a:cs typeface="Arial"/>
              </a:defRPr>
            </a:lvl1pPr>
            <a:lvl2pPr marL="173037" indent="0" algn="l" defTabSz="457200" rtl="0" eaLnBrk="1" latinLnBrk="0" hangingPunct="1">
              <a:spcBef>
                <a:spcPct val="20000"/>
              </a:spcBef>
              <a:buFontTx/>
              <a:buNone/>
              <a:defRPr sz="1400" kern="1200">
                <a:solidFill>
                  <a:schemeClr val="tx1"/>
                </a:solidFill>
                <a:latin typeface="Arial"/>
                <a:ea typeface="+mn-ea"/>
                <a:cs typeface="Arial"/>
              </a:defRPr>
            </a:lvl2pPr>
            <a:lvl3pPr marL="346075" indent="0" algn="l" defTabSz="457200" rtl="0" eaLnBrk="1" latinLnBrk="0" hangingPunct="1">
              <a:spcBef>
                <a:spcPct val="20000"/>
              </a:spcBef>
              <a:buFontTx/>
              <a:buNone/>
              <a:defRPr sz="1400" kern="1200">
                <a:solidFill>
                  <a:schemeClr val="tx1"/>
                </a:solidFill>
                <a:latin typeface="Arial"/>
                <a:ea typeface="+mn-ea"/>
                <a:cs typeface="Arial"/>
              </a:defRPr>
            </a:lvl3pPr>
            <a:lvl4pPr marL="517525" indent="0" algn="l" defTabSz="457200" rtl="0" eaLnBrk="1" latinLnBrk="0" hangingPunct="1">
              <a:spcBef>
                <a:spcPct val="20000"/>
              </a:spcBef>
              <a:buFontTx/>
              <a:buNone/>
              <a:defRPr sz="1400" kern="1200">
                <a:solidFill>
                  <a:schemeClr val="tx1"/>
                </a:solidFill>
                <a:latin typeface="Arial"/>
                <a:ea typeface="+mn-ea"/>
                <a:cs typeface="Arial"/>
              </a:defRPr>
            </a:lvl4pPr>
            <a:lvl5pPr marL="690562" indent="0" algn="l" defTabSz="457200" rtl="0" eaLnBrk="1" latinLnBrk="0" hangingPunct="1">
              <a:spcBef>
                <a:spcPct val="20000"/>
              </a:spcBef>
              <a:buFontTx/>
              <a:buNone/>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900" dirty="0"/>
              <a:t>Sources: Tyton Partners Analysis</a:t>
            </a:r>
          </a:p>
        </p:txBody>
      </p:sp>
    </p:spTree>
    <p:extLst>
      <p:ext uri="{BB962C8B-B14F-4D97-AF65-F5344CB8AC3E}">
        <p14:creationId xmlns:p14="http://schemas.microsoft.com/office/powerpoint/2010/main" val="258918997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6061281-BD0D-6F47-BBB8-8F6BE6AA34E7}" type="slidenum">
              <a:rPr lang="en-US" smtClean="0"/>
              <a:pPr/>
              <a:t>32</a:t>
            </a:fld>
            <a:endParaRPr lang="en-US" dirty="0"/>
          </a:p>
        </p:txBody>
      </p:sp>
      <p:graphicFrame>
        <p:nvGraphicFramePr>
          <p:cNvPr id="5" name="Content Placeholder 4"/>
          <p:cNvGraphicFramePr>
            <a:graphicFrameLocks noGrp="1"/>
          </p:cNvGraphicFramePr>
          <p:nvPr>
            <p:ph idx="13"/>
            <p:extLst/>
          </p:nvPr>
        </p:nvGraphicFramePr>
        <p:xfrm>
          <a:off x="744168" y="1093786"/>
          <a:ext cx="7620928" cy="53486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Content Placeholder 3"/>
          <p:cNvSpPr>
            <a:spLocks noGrp="1"/>
          </p:cNvSpPr>
          <p:nvPr>
            <p:ph idx="14"/>
          </p:nvPr>
        </p:nvSpPr>
        <p:spPr/>
        <p:txBody>
          <a:bodyPr/>
          <a:lstStyle/>
          <a:p>
            <a:r>
              <a:rPr lang="en-US" dirty="0" smtClean="0"/>
              <a:t>The Advising Reform Road Map Addresses Barriers Unique to Each Institution</a:t>
            </a:r>
            <a:r>
              <a:rPr lang="en-US" dirty="0"/>
              <a:t> </a:t>
            </a:r>
            <a:r>
              <a:rPr lang="en-US" dirty="0" smtClean="0"/>
              <a:t>Type</a:t>
            </a:r>
            <a:endParaRPr lang="en-US" dirty="0"/>
          </a:p>
        </p:txBody>
      </p:sp>
      <p:sp>
        <p:nvSpPr>
          <p:cNvPr id="6" name="Content Placeholder 2"/>
          <p:cNvSpPr txBox="1">
            <a:spLocks/>
          </p:cNvSpPr>
          <p:nvPr/>
        </p:nvSpPr>
        <p:spPr>
          <a:xfrm>
            <a:off x="526143" y="6126165"/>
            <a:ext cx="6291218" cy="643102"/>
          </a:xfrm>
          <a:prstGeom prst="rect">
            <a:avLst/>
          </a:prstGeom>
        </p:spPr>
        <p:txBody>
          <a:bodyPr vert="horz" lIns="91440" tIns="45720" rIns="91440" bIns="45720" rtlCol="0" anchor="b">
            <a:normAutofit/>
          </a:bodyPr>
          <a:lstStyle>
            <a:lvl1pPr marL="0" indent="0" algn="l" defTabSz="457200" rtl="0" eaLnBrk="1" latinLnBrk="0" hangingPunct="1">
              <a:spcBef>
                <a:spcPct val="20000"/>
              </a:spcBef>
              <a:buClrTx/>
              <a:buFontTx/>
              <a:buNone/>
              <a:defRPr sz="1000" i="1" kern="1200">
                <a:solidFill>
                  <a:schemeClr val="tx1"/>
                </a:solidFill>
                <a:latin typeface="Arial"/>
                <a:ea typeface="+mn-ea"/>
                <a:cs typeface="Arial"/>
              </a:defRPr>
            </a:lvl1pPr>
            <a:lvl2pPr marL="173037" indent="0" algn="l" defTabSz="457200" rtl="0" eaLnBrk="1" latinLnBrk="0" hangingPunct="1">
              <a:spcBef>
                <a:spcPct val="20000"/>
              </a:spcBef>
              <a:buFontTx/>
              <a:buNone/>
              <a:defRPr sz="1400" kern="1200">
                <a:solidFill>
                  <a:schemeClr val="tx1"/>
                </a:solidFill>
                <a:latin typeface="Arial"/>
                <a:ea typeface="+mn-ea"/>
                <a:cs typeface="Arial"/>
              </a:defRPr>
            </a:lvl2pPr>
            <a:lvl3pPr marL="346075" indent="0" algn="l" defTabSz="457200" rtl="0" eaLnBrk="1" latinLnBrk="0" hangingPunct="1">
              <a:spcBef>
                <a:spcPct val="20000"/>
              </a:spcBef>
              <a:buFontTx/>
              <a:buNone/>
              <a:defRPr sz="1400" kern="1200">
                <a:solidFill>
                  <a:schemeClr val="tx1"/>
                </a:solidFill>
                <a:latin typeface="Arial"/>
                <a:ea typeface="+mn-ea"/>
                <a:cs typeface="Arial"/>
              </a:defRPr>
            </a:lvl3pPr>
            <a:lvl4pPr marL="517525" indent="0" algn="l" defTabSz="457200" rtl="0" eaLnBrk="1" latinLnBrk="0" hangingPunct="1">
              <a:spcBef>
                <a:spcPct val="20000"/>
              </a:spcBef>
              <a:buFontTx/>
              <a:buNone/>
              <a:defRPr sz="1400" kern="1200">
                <a:solidFill>
                  <a:schemeClr val="tx1"/>
                </a:solidFill>
                <a:latin typeface="Arial"/>
                <a:ea typeface="+mn-ea"/>
                <a:cs typeface="Arial"/>
              </a:defRPr>
            </a:lvl4pPr>
            <a:lvl5pPr marL="690562" indent="0" algn="l" defTabSz="457200" rtl="0" eaLnBrk="1" latinLnBrk="0" hangingPunct="1">
              <a:spcBef>
                <a:spcPct val="20000"/>
              </a:spcBef>
              <a:buFontTx/>
              <a:buNone/>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900" dirty="0" smtClean="0"/>
              <a:t>Sources: Tyton Partners Analysis</a:t>
            </a:r>
            <a:endParaRPr lang="en-US" sz="900" dirty="0"/>
          </a:p>
        </p:txBody>
      </p:sp>
      <p:sp>
        <p:nvSpPr>
          <p:cNvPr id="7" name="TextBox 6"/>
          <p:cNvSpPr txBox="1"/>
          <p:nvPr/>
        </p:nvSpPr>
        <p:spPr>
          <a:xfrm>
            <a:off x="5138928" y="3089063"/>
            <a:ext cx="3124026" cy="523220"/>
          </a:xfrm>
          <a:prstGeom prst="rect">
            <a:avLst/>
          </a:prstGeom>
          <a:noFill/>
        </p:spPr>
        <p:txBody>
          <a:bodyPr wrap="square" rtlCol="0">
            <a:spAutoFit/>
          </a:bodyPr>
          <a:lstStyle/>
          <a:p>
            <a:pPr algn="ctr"/>
            <a:r>
              <a:rPr lang="en-US" sz="1400" i="1" dirty="0" smtClean="0">
                <a:solidFill>
                  <a:schemeClr val="bg1"/>
                </a:solidFill>
              </a:rPr>
              <a:t>High student-to-advisor ratios and resource availability </a:t>
            </a:r>
            <a:endParaRPr lang="en-US" i="1" dirty="0"/>
          </a:p>
        </p:txBody>
      </p:sp>
      <p:sp>
        <p:nvSpPr>
          <p:cNvPr id="8" name="TextBox 7"/>
          <p:cNvSpPr txBox="1"/>
          <p:nvPr/>
        </p:nvSpPr>
        <p:spPr>
          <a:xfrm>
            <a:off x="841008" y="2956675"/>
            <a:ext cx="3163823" cy="523220"/>
          </a:xfrm>
          <a:prstGeom prst="rect">
            <a:avLst/>
          </a:prstGeom>
          <a:noFill/>
        </p:spPr>
        <p:txBody>
          <a:bodyPr wrap="square" rtlCol="0">
            <a:spAutoFit/>
          </a:bodyPr>
          <a:lstStyle/>
          <a:p>
            <a:pPr algn="ctr"/>
            <a:r>
              <a:rPr lang="en-US" sz="1400" i="1" dirty="0" smtClean="0">
                <a:solidFill>
                  <a:schemeClr val="bg1"/>
                </a:solidFill>
              </a:rPr>
              <a:t>Students’ commitment to advising process and engagement in success</a:t>
            </a:r>
            <a:endParaRPr lang="en-US" i="1" dirty="0"/>
          </a:p>
        </p:txBody>
      </p:sp>
      <p:sp>
        <p:nvSpPr>
          <p:cNvPr id="9" name="TextBox 8"/>
          <p:cNvSpPr txBox="1"/>
          <p:nvPr/>
        </p:nvSpPr>
        <p:spPr>
          <a:xfrm>
            <a:off x="1080024" y="4891327"/>
            <a:ext cx="3207854" cy="523220"/>
          </a:xfrm>
          <a:prstGeom prst="rect">
            <a:avLst/>
          </a:prstGeom>
          <a:noFill/>
        </p:spPr>
        <p:txBody>
          <a:bodyPr wrap="square" rtlCol="0">
            <a:spAutoFit/>
          </a:bodyPr>
          <a:lstStyle/>
          <a:p>
            <a:pPr algn="ctr"/>
            <a:r>
              <a:rPr lang="en-US" sz="1400" i="1" dirty="0" smtClean="0">
                <a:solidFill>
                  <a:schemeClr val="bg1"/>
                </a:solidFill>
              </a:rPr>
              <a:t>Solutions are not turnkey and require investment to align with needs</a:t>
            </a:r>
            <a:endParaRPr lang="en-US" i="1" dirty="0"/>
          </a:p>
        </p:txBody>
      </p:sp>
      <p:sp>
        <p:nvSpPr>
          <p:cNvPr id="10" name="TextBox 9"/>
          <p:cNvSpPr txBox="1"/>
          <p:nvPr/>
        </p:nvSpPr>
        <p:spPr>
          <a:xfrm>
            <a:off x="5120724" y="4648649"/>
            <a:ext cx="2898061" cy="738664"/>
          </a:xfrm>
          <a:prstGeom prst="rect">
            <a:avLst/>
          </a:prstGeom>
          <a:noFill/>
        </p:spPr>
        <p:txBody>
          <a:bodyPr wrap="square" rtlCol="0">
            <a:spAutoFit/>
          </a:bodyPr>
          <a:lstStyle/>
          <a:p>
            <a:pPr algn="ctr"/>
            <a:r>
              <a:rPr lang="en-US" sz="1400" i="1" dirty="0" smtClean="0">
                <a:solidFill>
                  <a:schemeClr val="bg1"/>
                </a:solidFill>
              </a:rPr>
              <a:t>Advising structure is not set up to enable strong communication and tech implementation</a:t>
            </a:r>
            <a:endParaRPr lang="en-US" i="1" dirty="0"/>
          </a:p>
        </p:txBody>
      </p:sp>
      <p:sp>
        <p:nvSpPr>
          <p:cNvPr id="11" name="TextBox 10"/>
          <p:cNvSpPr txBox="1"/>
          <p:nvPr/>
        </p:nvSpPr>
        <p:spPr>
          <a:xfrm>
            <a:off x="877823" y="3585541"/>
            <a:ext cx="3308801" cy="738664"/>
          </a:xfrm>
          <a:prstGeom prst="rect">
            <a:avLst/>
          </a:prstGeom>
          <a:noFill/>
        </p:spPr>
        <p:txBody>
          <a:bodyPr wrap="square" rtlCol="0">
            <a:spAutoFit/>
          </a:bodyPr>
          <a:lstStyle/>
          <a:p>
            <a:pPr marL="109538" indent="-109538">
              <a:buFont typeface="Arial" panose="020B0604020202020204" pitchFamily="34" charset="0"/>
              <a:buChar char="•"/>
            </a:pPr>
            <a:r>
              <a:rPr lang="en-US" sz="1400" dirty="0" smtClean="0"/>
              <a:t>Focus on transforming advising content to align with student needs and enable self-service</a:t>
            </a:r>
            <a:endParaRPr lang="en-US" sz="1400" dirty="0"/>
          </a:p>
        </p:txBody>
      </p:sp>
      <p:sp>
        <p:nvSpPr>
          <p:cNvPr id="12" name="TextBox 11"/>
          <p:cNvSpPr txBox="1"/>
          <p:nvPr/>
        </p:nvSpPr>
        <p:spPr>
          <a:xfrm>
            <a:off x="5206049" y="3485943"/>
            <a:ext cx="3658551" cy="954107"/>
          </a:xfrm>
          <a:prstGeom prst="rect">
            <a:avLst/>
          </a:prstGeom>
          <a:noFill/>
        </p:spPr>
        <p:txBody>
          <a:bodyPr wrap="square" rtlCol="0">
            <a:spAutoFit/>
          </a:bodyPr>
          <a:lstStyle/>
          <a:p>
            <a:pPr marL="109538" indent="-109538">
              <a:buFont typeface="Arial" panose="020B0604020202020204" pitchFamily="34" charset="0"/>
              <a:buChar char="•"/>
            </a:pPr>
            <a:r>
              <a:rPr lang="en-US" sz="1400" dirty="0" smtClean="0"/>
              <a:t>Create self-assessment of advising system to identify inefficiencies</a:t>
            </a:r>
          </a:p>
          <a:p>
            <a:pPr marL="109538" indent="-109538">
              <a:buFont typeface="Arial" panose="020B0604020202020204" pitchFamily="34" charset="0"/>
              <a:buChar char="•"/>
            </a:pPr>
            <a:r>
              <a:rPr lang="en-US" sz="1400" dirty="0" smtClean="0"/>
              <a:t>ROI analyses of technology and people investments</a:t>
            </a:r>
            <a:endParaRPr lang="en-US" sz="1400" dirty="0"/>
          </a:p>
        </p:txBody>
      </p:sp>
      <p:sp>
        <p:nvSpPr>
          <p:cNvPr id="13" name="TextBox 12"/>
          <p:cNvSpPr txBox="1"/>
          <p:nvPr/>
        </p:nvSpPr>
        <p:spPr>
          <a:xfrm>
            <a:off x="2532223" y="2076451"/>
            <a:ext cx="5458867" cy="523220"/>
          </a:xfrm>
          <a:prstGeom prst="rect">
            <a:avLst/>
          </a:prstGeom>
          <a:noFill/>
        </p:spPr>
        <p:txBody>
          <a:bodyPr wrap="none" rtlCol="0">
            <a:spAutoFit/>
          </a:bodyPr>
          <a:lstStyle/>
          <a:p>
            <a:pPr marL="109538" indent="-109538">
              <a:buFont typeface="Arial" panose="020B0604020202020204" pitchFamily="34" charset="0"/>
              <a:buChar char="•"/>
            </a:pPr>
            <a:r>
              <a:rPr lang="en-US" sz="1400" dirty="0" smtClean="0"/>
              <a:t>Support strategic visioning for planning and advising</a:t>
            </a:r>
            <a:endParaRPr lang="en-US" sz="1400" dirty="0"/>
          </a:p>
          <a:p>
            <a:pPr marL="109538" indent="-109538">
              <a:buFont typeface="Arial" panose="020B0604020202020204" pitchFamily="34" charset="0"/>
              <a:buChar char="•"/>
            </a:pPr>
            <a:r>
              <a:rPr lang="en-US" sz="1400" dirty="0" smtClean="0"/>
              <a:t>Build organizational structure models that have clear ownership </a:t>
            </a:r>
          </a:p>
        </p:txBody>
      </p:sp>
      <p:sp>
        <p:nvSpPr>
          <p:cNvPr id="14" name="TextBox 13"/>
          <p:cNvSpPr txBox="1"/>
          <p:nvPr/>
        </p:nvSpPr>
        <p:spPr>
          <a:xfrm>
            <a:off x="1153176" y="5490024"/>
            <a:ext cx="3005348" cy="738664"/>
          </a:xfrm>
          <a:prstGeom prst="rect">
            <a:avLst/>
          </a:prstGeom>
          <a:noFill/>
        </p:spPr>
        <p:txBody>
          <a:bodyPr wrap="square" rtlCol="0">
            <a:spAutoFit/>
          </a:bodyPr>
          <a:lstStyle/>
          <a:p>
            <a:pPr marL="109538" indent="-109538">
              <a:buFont typeface="Arial" panose="020B0604020202020204" pitchFamily="34" charset="0"/>
              <a:buChar char="•"/>
            </a:pPr>
            <a:r>
              <a:rPr lang="en-US" sz="1400" dirty="0" smtClean="0"/>
              <a:t>Support development of integration solutions</a:t>
            </a:r>
          </a:p>
          <a:p>
            <a:pPr marL="109538" indent="-109538">
              <a:buFont typeface="Arial" panose="020B0604020202020204" pitchFamily="34" charset="0"/>
              <a:buChar char="•"/>
            </a:pPr>
            <a:r>
              <a:rPr lang="en-US" sz="1400" dirty="0" smtClean="0"/>
              <a:t>Provide cross-functional training</a:t>
            </a:r>
            <a:endParaRPr lang="en-US" sz="1400" dirty="0"/>
          </a:p>
        </p:txBody>
      </p:sp>
      <p:sp>
        <p:nvSpPr>
          <p:cNvPr id="15" name="TextBox 14"/>
          <p:cNvSpPr txBox="1"/>
          <p:nvPr/>
        </p:nvSpPr>
        <p:spPr>
          <a:xfrm>
            <a:off x="5101860" y="5406325"/>
            <a:ext cx="3672244" cy="954107"/>
          </a:xfrm>
          <a:prstGeom prst="rect">
            <a:avLst/>
          </a:prstGeom>
          <a:noFill/>
        </p:spPr>
        <p:txBody>
          <a:bodyPr wrap="square" rtlCol="0">
            <a:spAutoFit/>
          </a:bodyPr>
          <a:lstStyle/>
          <a:p>
            <a:pPr marL="109538" indent="-109538">
              <a:buFont typeface="Arial" panose="020B0604020202020204" pitchFamily="34" charset="0"/>
              <a:buChar char="•"/>
            </a:pPr>
            <a:r>
              <a:rPr lang="en-US" sz="1400" dirty="0" smtClean="0"/>
              <a:t>Assess current advising structure to improve communication and coordination</a:t>
            </a:r>
          </a:p>
          <a:p>
            <a:pPr marL="109538" indent="-109538">
              <a:buFont typeface="Arial" panose="020B0604020202020204" pitchFamily="34" charset="0"/>
              <a:buChar char="•"/>
            </a:pPr>
            <a:r>
              <a:rPr lang="en-US" sz="1400" dirty="0" smtClean="0"/>
              <a:t>Identify clear institutional owner of academic planning and advising</a:t>
            </a:r>
            <a:endParaRPr lang="en-US" sz="1400" dirty="0"/>
          </a:p>
        </p:txBody>
      </p:sp>
      <p:sp>
        <p:nvSpPr>
          <p:cNvPr id="17" name="TextBox 16"/>
          <p:cNvSpPr txBox="1"/>
          <p:nvPr/>
        </p:nvSpPr>
        <p:spPr>
          <a:xfrm>
            <a:off x="2989453" y="1495213"/>
            <a:ext cx="3124026" cy="523220"/>
          </a:xfrm>
          <a:prstGeom prst="rect">
            <a:avLst/>
          </a:prstGeom>
          <a:noFill/>
        </p:spPr>
        <p:txBody>
          <a:bodyPr wrap="square" rtlCol="0">
            <a:spAutoFit/>
          </a:bodyPr>
          <a:lstStyle/>
          <a:p>
            <a:pPr algn="ctr"/>
            <a:r>
              <a:rPr lang="en-US" sz="1400" i="1" dirty="0" smtClean="0">
                <a:solidFill>
                  <a:schemeClr val="bg1"/>
                </a:solidFill>
              </a:rPr>
              <a:t>Lack of leadership commitment </a:t>
            </a:r>
          </a:p>
          <a:p>
            <a:pPr algn="ctr"/>
            <a:r>
              <a:rPr lang="en-US" sz="1400" i="1" dirty="0" smtClean="0">
                <a:solidFill>
                  <a:schemeClr val="bg1"/>
                </a:solidFill>
              </a:rPr>
              <a:t>and vision for advising</a:t>
            </a:r>
            <a:endParaRPr lang="en-US" i="1" dirty="0"/>
          </a:p>
        </p:txBody>
      </p:sp>
    </p:spTree>
    <p:extLst>
      <p:ext uri="{BB962C8B-B14F-4D97-AF65-F5344CB8AC3E}">
        <p14:creationId xmlns:p14="http://schemas.microsoft.com/office/powerpoint/2010/main" val="14049960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6061281-BD0D-6F47-BBB8-8F6BE6AA34E7}" type="slidenum">
              <a:rPr lang="en-US" smtClean="0"/>
              <a:pPr/>
              <a:t>33</a:t>
            </a:fld>
            <a:endParaRPr lang="en-US" dirty="0"/>
          </a:p>
        </p:txBody>
      </p:sp>
      <p:sp>
        <p:nvSpPr>
          <p:cNvPr id="4" name="Content Placeholder 3"/>
          <p:cNvSpPr>
            <a:spLocks noGrp="1"/>
          </p:cNvSpPr>
          <p:nvPr>
            <p:ph idx="14"/>
          </p:nvPr>
        </p:nvSpPr>
        <p:spPr/>
        <p:txBody>
          <a:bodyPr/>
          <a:lstStyle/>
          <a:p>
            <a:r>
              <a:rPr lang="en-US" dirty="0" smtClean="0"/>
              <a:t>Varying Barriers for Institutional Clusters Indicate Specialized Interventions and Prioritie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73471391"/>
              </p:ext>
            </p:extLst>
          </p:nvPr>
        </p:nvGraphicFramePr>
        <p:xfrm>
          <a:off x="188801" y="1115470"/>
          <a:ext cx="8822182" cy="5267791"/>
        </p:xfrm>
        <a:graphic>
          <a:graphicData uri="http://schemas.openxmlformats.org/drawingml/2006/table">
            <a:tbl>
              <a:tblPr firstRow="1" bandRow="1">
                <a:tableStyleId>{5C22544A-7EE6-4342-B048-85BDC9FD1C3A}</a:tableStyleId>
              </a:tblPr>
              <a:tblGrid>
                <a:gridCol w="1098482"/>
                <a:gridCol w="1930925"/>
                <a:gridCol w="1930925"/>
                <a:gridCol w="1930925"/>
                <a:gridCol w="1930925"/>
              </a:tblGrid>
              <a:tr h="497672">
                <a:tc>
                  <a:txBody>
                    <a:bodyPr/>
                    <a:lstStyle/>
                    <a:p>
                      <a:pPr marL="0" marR="0">
                        <a:lnSpc>
                          <a:spcPct val="107000"/>
                        </a:lnSpc>
                        <a:spcBef>
                          <a:spcPts val="0"/>
                        </a:spcBef>
                        <a:spcAft>
                          <a:spcPts val="800"/>
                        </a:spcAft>
                      </a:pPr>
                      <a:r>
                        <a:rPr lang="en-US" sz="1200" dirty="0">
                          <a:effectLst/>
                        </a:rPr>
                        <a:t> </a:t>
                      </a:r>
                      <a:endParaRPr lang="en-US" sz="1200" dirty="0">
                        <a:solidFill>
                          <a:srgbClr val="000000"/>
                        </a:solidFill>
                        <a:effectLst/>
                        <a:latin typeface="Arial"/>
                        <a:ea typeface="Calibri"/>
                        <a:cs typeface="Arial"/>
                      </a:endParaRPr>
                    </a:p>
                  </a:txBody>
                  <a:tcPr marL="68580" marR="68580" marT="0" marB="0" anchor="ctr">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rgbClr val="135473"/>
                    </a:solidFill>
                  </a:tcPr>
                </a:tc>
                <a:tc>
                  <a:txBody>
                    <a:bodyPr/>
                    <a:lstStyle/>
                    <a:p>
                      <a:pPr marL="0" marR="0">
                        <a:lnSpc>
                          <a:spcPct val="107000"/>
                        </a:lnSpc>
                        <a:spcBef>
                          <a:spcPts val="0"/>
                        </a:spcBef>
                        <a:spcAft>
                          <a:spcPts val="0"/>
                        </a:spcAft>
                      </a:pPr>
                      <a:r>
                        <a:rPr lang="en-US" sz="1200" dirty="0">
                          <a:effectLst/>
                        </a:rPr>
                        <a:t>Limited </a:t>
                      </a:r>
                      <a:r>
                        <a:rPr lang="en-US" sz="1200" dirty="0" smtClean="0">
                          <a:effectLst/>
                        </a:rPr>
                        <a:t>Tech.</a:t>
                      </a:r>
                      <a:r>
                        <a:rPr lang="en-US" sz="1200" baseline="0" dirty="0" smtClean="0">
                          <a:effectLst/>
                        </a:rPr>
                        <a:t> </a:t>
                      </a:r>
                    </a:p>
                    <a:p>
                      <a:pPr marL="0" marR="0">
                        <a:lnSpc>
                          <a:spcPct val="107000"/>
                        </a:lnSpc>
                        <a:spcBef>
                          <a:spcPts val="0"/>
                        </a:spcBef>
                        <a:spcAft>
                          <a:spcPts val="0"/>
                        </a:spcAft>
                      </a:pPr>
                      <a:r>
                        <a:rPr lang="en-US" sz="1200" dirty="0" smtClean="0">
                          <a:effectLst/>
                        </a:rPr>
                        <a:t>Users</a:t>
                      </a:r>
                    </a:p>
                  </a:txBody>
                  <a:tcPr marL="68580" marR="68580" marT="0" marB="0" anchor="ctr">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rgbClr val="9E191A"/>
                    </a:solidFill>
                  </a:tcPr>
                </a:tc>
                <a:tc>
                  <a:txBody>
                    <a:bodyPr/>
                    <a:lstStyle/>
                    <a:p>
                      <a:pPr marL="0" marR="0">
                        <a:lnSpc>
                          <a:spcPct val="107000"/>
                        </a:lnSpc>
                        <a:spcBef>
                          <a:spcPts val="0"/>
                        </a:spcBef>
                        <a:spcAft>
                          <a:spcPts val="0"/>
                        </a:spcAft>
                      </a:pPr>
                      <a:r>
                        <a:rPr lang="en-US" sz="1200" dirty="0">
                          <a:effectLst/>
                        </a:rPr>
                        <a:t>Low Fuel</a:t>
                      </a:r>
                      <a:endParaRPr lang="en-US" sz="1200" dirty="0">
                        <a:solidFill>
                          <a:srgbClr val="000000"/>
                        </a:solidFill>
                        <a:effectLst/>
                        <a:latin typeface="Arial"/>
                        <a:ea typeface="Calibri"/>
                        <a:cs typeface="Arial"/>
                      </a:endParaRPr>
                    </a:p>
                  </a:txBody>
                  <a:tcPr marL="68580" marR="68580" marT="0" marB="0" anchor="ctr">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rgbClr val="135473"/>
                    </a:solidFill>
                  </a:tcPr>
                </a:tc>
                <a:tc>
                  <a:txBody>
                    <a:bodyPr/>
                    <a:lstStyle/>
                    <a:p>
                      <a:pPr marL="0" marR="0">
                        <a:lnSpc>
                          <a:spcPct val="107000"/>
                        </a:lnSpc>
                        <a:spcBef>
                          <a:spcPts val="0"/>
                        </a:spcBef>
                        <a:spcAft>
                          <a:spcPts val="0"/>
                        </a:spcAft>
                      </a:pPr>
                      <a:r>
                        <a:rPr lang="en-US" sz="1200" dirty="0">
                          <a:effectLst/>
                        </a:rPr>
                        <a:t>Check Engine</a:t>
                      </a:r>
                      <a:endParaRPr lang="en-US" sz="1200" dirty="0">
                        <a:solidFill>
                          <a:srgbClr val="000000"/>
                        </a:solidFill>
                        <a:effectLst/>
                        <a:latin typeface="Arial"/>
                        <a:ea typeface="Calibri"/>
                        <a:cs typeface="Arial"/>
                      </a:endParaRPr>
                    </a:p>
                  </a:txBody>
                  <a:tcPr marL="68580" marR="68580" marT="0" marB="0" anchor="ctr">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rgbClr val="135473"/>
                    </a:solidFill>
                  </a:tcPr>
                </a:tc>
                <a:tc>
                  <a:txBody>
                    <a:bodyPr/>
                    <a:lstStyle/>
                    <a:p>
                      <a:pPr marL="0" marR="0">
                        <a:lnSpc>
                          <a:spcPct val="107000"/>
                        </a:lnSpc>
                        <a:spcBef>
                          <a:spcPts val="0"/>
                        </a:spcBef>
                        <a:spcAft>
                          <a:spcPts val="0"/>
                        </a:spcAft>
                      </a:pPr>
                      <a:r>
                        <a:rPr lang="en-US" sz="1200" dirty="0">
                          <a:effectLst/>
                        </a:rPr>
                        <a:t>Equipped </a:t>
                      </a:r>
                      <a:endParaRPr lang="en-US" sz="1200" dirty="0" smtClean="0">
                        <a:effectLst/>
                      </a:endParaRPr>
                    </a:p>
                    <a:p>
                      <a:pPr marL="0" marR="0">
                        <a:lnSpc>
                          <a:spcPct val="107000"/>
                        </a:lnSpc>
                        <a:spcBef>
                          <a:spcPts val="0"/>
                        </a:spcBef>
                        <a:spcAft>
                          <a:spcPts val="0"/>
                        </a:spcAft>
                      </a:pPr>
                      <a:r>
                        <a:rPr lang="en-US" sz="1200" dirty="0" smtClean="0">
                          <a:effectLst/>
                        </a:rPr>
                        <a:t>Navigators</a:t>
                      </a:r>
                      <a:endParaRPr lang="en-US" sz="1200" dirty="0">
                        <a:solidFill>
                          <a:srgbClr val="000000"/>
                        </a:solidFill>
                        <a:effectLst/>
                        <a:latin typeface="Arial"/>
                        <a:ea typeface="Calibri"/>
                        <a:cs typeface="Arial"/>
                      </a:endParaRPr>
                    </a:p>
                  </a:txBody>
                  <a:tcPr marL="68580" marR="68580" marT="0" marB="0" anchor="ctr">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rgbClr val="135473"/>
                    </a:solidFill>
                  </a:tcPr>
                </a:tc>
              </a:tr>
              <a:tr h="552067">
                <a:tc>
                  <a:txBody>
                    <a:bodyPr/>
                    <a:lstStyle/>
                    <a:p>
                      <a:pPr marL="0" marR="0">
                        <a:lnSpc>
                          <a:spcPct val="107000"/>
                        </a:lnSpc>
                        <a:spcBef>
                          <a:spcPts val="0"/>
                        </a:spcBef>
                        <a:spcAft>
                          <a:spcPts val="800"/>
                        </a:spcAft>
                      </a:pPr>
                      <a:r>
                        <a:rPr lang="en-US" sz="1200" b="1" dirty="0">
                          <a:effectLst/>
                        </a:rPr>
                        <a:t>Leading Barriers</a:t>
                      </a:r>
                      <a:endParaRPr lang="en-US" sz="1200" b="1" dirty="0">
                        <a:solidFill>
                          <a:srgbClr val="000000"/>
                        </a:solidFill>
                        <a:effectLst/>
                        <a:latin typeface="Arial"/>
                        <a:ea typeface="Calibri"/>
                        <a:cs typeface="Arial"/>
                      </a:endParaRPr>
                    </a:p>
                  </a:txBody>
                  <a:tcPr marL="68580" marR="68580">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rgbClr val="BACAD9"/>
                    </a:solidFill>
                  </a:tcPr>
                </a:tc>
                <a:tc>
                  <a:txBody>
                    <a:bodyPr/>
                    <a:lstStyle/>
                    <a:p>
                      <a:pPr marL="0" marR="0">
                        <a:lnSpc>
                          <a:spcPct val="107000"/>
                        </a:lnSpc>
                        <a:spcBef>
                          <a:spcPts val="0"/>
                        </a:spcBef>
                        <a:spcAft>
                          <a:spcPts val="0"/>
                        </a:spcAft>
                      </a:pPr>
                      <a:r>
                        <a:rPr lang="en-US" sz="1200" dirty="0" smtClean="0">
                          <a:effectLst/>
                        </a:rPr>
                        <a:t>IPASS </a:t>
                      </a:r>
                      <a:r>
                        <a:rPr lang="en-US" sz="1200" dirty="0">
                          <a:effectLst/>
                        </a:rPr>
                        <a:t>Technology Adoption</a:t>
                      </a:r>
                      <a:endParaRPr lang="en-US" sz="1200" dirty="0">
                        <a:solidFill>
                          <a:srgbClr val="000000"/>
                        </a:solidFill>
                        <a:effectLst/>
                        <a:latin typeface="Arial"/>
                        <a:ea typeface="Calibri"/>
                        <a:cs typeface="Arial"/>
                      </a:endParaRPr>
                    </a:p>
                  </a:txBody>
                  <a:tcPr marL="68580" marR="68580">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rgbClr val="E4CECF"/>
                    </a:solidFill>
                  </a:tcPr>
                </a:tc>
                <a:tc>
                  <a:txBody>
                    <a:bodyPr/>
                    <a:lstStyle/>
                    <a:p>
                      <a:pPr marL="0" marR="0">
                        <a:lnSpc>
                          <a:spcPct val="107000"/>
                        </a:lnSpc>
                        <a:spcBef>
                          <a:spcPts val="0"/>
                        </a:spcBef>
                        <a:spcAft>
                          <a:spcPts val="0"/>
                        </a:spcAft>
                      </a:pPr>
                      <a:r>
                        <a:rPr lang="en-US" sz="1200" dirty="0">
                          <a:effectLst/>
                        </a:rPr>
                        <a:t>Perception of Technology as a Solution and Ownership</a:t>
                      </a:r>
                      <a:endParaRPr lang="en-US" sz="1200" dirty="0">
                        <a:solidFill>
                          <a:srgbClr val="000000"/>
                        </a:solidFill>
                        <a:effectLst/>
                        <a:latin typeface="Arial"/>
                        <a:ea typeface="Calibri"/>
                        <a:cs typeface="Arial"/>
                      </a:endParaRPr>
                    </a:p>
                  </a:txBody>
                  <a:tcPr marL="68580" marR="68580">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rgbClr val="BACAD9"/>
                    </a:solidFill>
                  </a:tcPr>
                </a:tc>
                <a:tc>
                  <a:txBody>
                    <a:bodyPr/>
                    <a:lstStyle/>
                    <a:p>
                      <a:pPr marL="0" marR="0">
                        <a:lnSpc>
                          <a:spcPct val="107000"/>
                        </a:lnSpc>
                        <a:spcBef>
                          <a:spcPts val="0"/>
                        </a:spcBef>
                        <a:spcAft>
                          <a:spcPts val="0"/>
                        </a:spcAft>
                      </a:pPr>
                      <a:r>
                        <a:rPr lang="en-US" sz="1200" dirty="0">
                          <a:effectLst/>
                        </a:rPr>
                        <a:t>Integration of Technology and Coordination</a:t>
                      </a:r>
                      <a:endParaRPr lang="en-US" sz="1200" dirty="0">
                        <a:solidFill>
                          <a:srgbClr val="000000"/>
                        </a:solidFill>
                        <a:effectLst/>
                        <a:latin typeface="Arial"/>
                        <a:ea typeface="Calibri"/>
                        <a:cs typeface="Arial"/>
                      </a:endParaRPr>
                    </a:p>
                  </a:txBody>
                  <a:tcPr marL="68580" marR="68580">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rgbClr val="BACAD9"/>
                    </a:solidFill>
                  </a:tcPr>
                </a:tc>
                <a:tc>
                  <a:txBody>
                    <a:bodyPr/>
                    <a:lstStyle/>
                    <a:p>
                      <a:pPr marL="0" marR="0">
                        <a:lnSpc>
                          <a:spcPct val="107000"/>
                        </a:lnSpc>
                        <a:spcBef>
                          <a:spcPts val="0"/>
                        </a:spcBef>
                        <a:spcAft>
                          <a:spcPts val="0"/>
                        </a:spcAft>
                      </a:pPr>
                      <a:r>
                        <a:rPr lang="en-US" sz="1200" dirty="0">
                          <a:effectLst/>
                        </a:rPr>
                        <a:t>Student Adoption </a:t>
                      </a:r>
                      <a:endParaRPr lang="en-US" sz="1200" dirty="0">
                        <a:solidFill>
                          <a:srgbClr val="000000"/>
                        </a:solidFill>
                        <a:effectLst/>
                        <a:latin typeface="Arial"/>
                        <a:ea typeface="Calibri"/>
                        <a:cs typeface="Arial"/>
                      </a:endParaRPr>
                    </a:p>
                  </a:txBody>
                  <a:tcPr marL="68580" marR="68580">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rgbClr val="BACAD9"/>
                    </a:solidFill>
                  </a:tcPr>
                </a:tc>
              </a:tr>
              <a:tr h="599130">
                <a:tc>
                  <a:txBody>
                    <a:bodyPr/>
                    <a:lstStyle/>
                    <a:p>
                      <a:pPr marL="0" marR="0">
                        <a:lnSpc>
                          <a:spcPct val="107000"/>
                        </a:lnSpc>
                        <a:spcBef>
                          <a:spcPts val="0"/>
                        </a:spcBef>
                        <a:spcAft>
                          <a:spcPts val="800"/>
                        </a:spcAft>
                      </a:pPr>
                      <a:r>
                        <a:rPr lang="en-US" sz="1200" b="1" dirty="0">
                          <a:effectLst/>
                        </a:rPr>
                        <a:t>Key Intervention Area (s)</a:t>
                      </a:r>
                      <a:endParaRPr lang="en-US" sz="1200" b="1" dirty="0">
                        <a:solidFill>
                          <a:srgbClr val="000000"/>
                        </a:solidFill>
                        <a:effectLst/>
                        <a:latin typeface="Arial"/>
                        <a:ea typeface="Calibri"/>
                        <a:cs typeface="Arial"/>
                      </a:endParaRPr>
                    </a:p>
                  </a:txBody>
                  <a:tcPr marL="68580" marR="68580">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200" dirty="0">
                          <a:effectLst/>
                        </a:rPr>
                        <a:t>Technology Tools </a:t>
                      </a:r>
                      <a:r>
                        <a:rPr lang="en-US" sz="1200" dirty="0" smtClean="0">
                          <a:effectLst/>
                        </a:rPr>
                        <a:t>Adoption</a:t>
                      </a:r>
                      <a:endParaRPr lang="en-US" sz="1200" dirty="0">
                        <a:solidFill>
                          <a:srgbClr val="000000"/>
                        </a:solidFill>
                        <a:effectLst/>
                        <a:latin typeface="Arial"/>
                        <a:ea typeface="Calibri"/>
                        <a:cs typeface="Arial"/>
                      </a:endParaRPr>
                    </a:p>
                  </a:txBody>
                  <a:tcPr marL="68580" marR="68580">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200" dirty="0">
                          <a:effectLst/>
                        </a:rPr>
                        <a:t>Technology Tools and Integration; </a:t>
                      </a:r>
                      <a:r>
                        <a:rPr lang="en-US" sz="1200" dirty="0" smtClean="0">
                          <a:effectLst/>
                        </a:rPr>
                        <a:t>Leadership and Alignment</a:t>
                      </a:r>
                      <a:endParaRPr lang="en-US" sz="1200" dirty="0">
                        <a:solidFill>
                          <a:srgbClr val="000000"/>
                        </a:solidFill>
                        <a:effectLst/>
                        <a:latin typeface="Arial"/>
                        <a:ea typeface="Calibri"/>
                        <a:cs typeface="Arial"/>
                      </a:endParaRPr>
                    </a:p>
                  </a:txBody>
                  <a:tcPr marL="68580" marR="68580">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200" dirty="0">
                          <a:effectLst/>
                        </a:rPr>
                        <a:t>Technology Tools and Integration; Process Improvement</a:t>
                      </a:r>
                      <a:endParaRPr lang="en-US" sz="1200" dirty="0">
                        <a:solidFill>
                          <a:srgbClr val="000000"/>
                        </a:solidFill>
                        <a:effectLst/>
                        <a:latin typeface="Arial"/>
                        <a:ea typeface="Calibri"/>
                        <a:cs typeface="Arial"/>
                      </a:endParaRPr>
                    </a:p>
                  </a:txBody>
                  <a:tcPr marL="68580" marR="68580">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chemeClr val="bg1"/>
                    </a:solidFill>
                  </a:tcPr>
                </a:tc>
                <a:tc>
                  <a:txBody>
                    <a:bodyPr/>
                    <a:lstStyle/>
                    <a:p>
                      <a:pPr marL="0" marR="0">
                        <a:lnSpc>
                          <a:spcPct val="107000"/>
                        </a:lnSpc>
                        <a:spcBef>
                          <a:spcPts val="0"/>
                        </a:spcBef>
                        <a:spcAft>
                          <a:spcPts val="0"/>
                        </a:spcAft>
                      </a:pPr>
                      <a:r>
                        <a:rPr lang="en-US" sz="1200" dirty="0">
                          <a:effectLst/>
                        </a:rPr>
                        <a:t>Student Engagement; Leadership</a:t>
                      </a:r>
                      <a:endParaRPr lang="en-US" sz="1200" dirty="0">
                        <a:solidFill>
                          <a:srgbClr val="000000"/>
                        </a:solidFill>
                        <a:effectLst/>
                        <a:latin typeface="Arial"/>
                        <a:ea typeface="Calibri"/>
                        <a:cs typeface="Arial"/>
                      </a:endParaRPr>
                    </a:p>
                  </a:txBody>
                  <a:tcPr marL="68580" marR="68580">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chemeClr val="bg1"/>
                    </a:solidFill>
                  </a:tcPr>
                </a:tc>
              </a:tr>
              <a:tr h="3412997">
                <a:tc>
                  <a:txBody>
                    <a:bodyPr/>
                    <a:lstStyle/>
                    <a:p>
                      <a:pPr marL="0" marR="0">
                        <a:lnSpc>
                          <a:spcPct val="107000"/>
                        </a:lnSpc>
                        <a:spcBef>
                          <a:spcPts val="0"/>
                        </a:spcBef>
                        <a:spcAft>
                          <a:spcPts val="800"/>
                        </a:spcAft>
                      </a:pPr>
                      <a:r>
                        <a:rPr lang="en-US" sz="1200" b="1" dirty="0">
                          <a:effectLst/>
                        </a:rPr>
                        <a:t>Near-Term Institutional Priorities</a:t>
                      </a:r>
                      <a:endParaRPr lang="en-US" sz="1200" b="1" dirty="0">
                        <a:solidFill>
                          <a:srgbClr val="000000"/>
                        </a:solidFill>
                        <a:effectLst/>
                        <a:latin typeface="Arial"/>
                        <a:ea typeface="Calibri"/>
                        <a:cs typeface="Arial"/>
                      </a:endParaRPr>
                    </a:p>
                  </a:txBody>
                  <a:tcPr marL="68580" marR="68580">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rgbClr val="BACAD9"/>
                    </a:solidFill>
                  </a:tcPr>
                </a:tc>
                <a:tc>
                  <a:txBody>
                    <a:bodyPr/>
                    <a:lstStyle/>
                    <a:p>
                      <a:pPr marL="0" marR="0" lvl="0" indent="0">
                        <a:spcBef>
                          <a:spcPts val="0"/>
                        </a:spcBef>
                        <a:spcAft>
                          <a:spcPts val="0"/>
                        </a:spcAft>
                        <a:buFont typeface="Calibri"/>
                        <a:buNone/>
                      </a:pPr>
                      <a:r>
                        <a:rPr lang="en-US" sz="1200" dirty="0" smtClean="0">
                          <a:effectLst/>
                        </a:rPr>
                        <a:t>Identify </a:t>
                      </a:r>
                      <a:r>
                        <a:rPr lang="en-US" sz="1200" dirty="0">
                          <a:effectLst/>
                        </a:rPr>
                        <a:t>the biggest pain points in academic advising for both staff and students, and determine where new tools or increased training on current ones can help.</a:t>
                      </a:r>
                    </a:p>
                    <a:p>
                      <a:pPr marL="0" marR="0" lvl="0" indent="0">
                        <a:spcBef>
                          <a:spcPts val="0"/>
                        </a:spcBef>
                        <a:spcAft>
                          <a:spcPts val="0"/>
                        </a:spcAft>
                        <a:buFont typeface="Calibri"/>
                        <a:buNone/>
                      </a:pPr>
                      <a:endParaRPr lang="en-US" sz="1200" dirty="0" smtClean="0">
                        <a:effectLst/>
                      </a:endParaRPr>
                    </a:p>
                    <a:p>
                      <a:pPr marL="0" marR="0" lvl="0" indent="0">
                        <a:spcBef>
                          <a:spcPts val="0"/>
                        </a:spcBef>
                        <a:spcAft>
                          <a:spcPts val="0"/>
                        </a:spcAft>
                        <a:buFont typeface="Calibri"/>
                        <a:buNone/>
                      </a:pPr>
                      <a:r>
                        <a:rPr lang="en-US" sz="1200" dirty="0" smtClean="0">
                          <a:effectLst/>
                        </a:rPr>
                        <a:t>Reform </a:t>
                      </a:r>
                      <a:r>
                        <a:rPr lang="en-US" sz="1200" dirty="0">
                          <a:effectLst/>
                        </a:rPr>
                        <a:t>data collection processes, allowing for more reliable data and subsequently increased impact from reporting tools</a:t>
                      </a:r>
                      <a:endParaRPr lang="en-US" sz="1200" dirty="0">
                        <a:solidFill>
                          <a:srgbClr val="000000"/>
                        </a:solidFill>
                        <a:effectLst/>
                        <a:latin typeface="Arial"/>
                        <a:ea typeface="Calibri"/>
                        <a:cs typeface="Arial"/>
                      </a:endParaRPr>
                    </a:p>
                  </a:txBody>
                  <a:tcPr marL="68580" marR="68580">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rgbClr val="E4CECF"/>
                    </a:solidFill>
                  </a:tcPr>
                </a:tc>
                <a:tc>
                  <a:txBody>
                    <a:bodyPr/>
                    <a:lstStyle/>
                    <a:p>
                      <a:pPr marL="0" marR="0" lvl="0" indent="0">
                        <a:spcBef>
                          <a:spcPts val="0"/>
                        </a:spcBef>
                        <a:spcAft>
                          <a:spcPts val="0"/>
                        </a:spcAft>
                        <a:buFont typeface="Calibri"/>
                        <a:buNone/>
                      </a:pPr>
                      <a:r>
                        <a:rPr lang="en-US" sz="1200" dirty="0">
                          <a:effectLst/>
                        </a:rPr>
                        <a:t>Identify clear owner(s) for planning and advising and communicate across the institution </a:t>
                      </a:r>
                    </a:p>
                    <a:p>
                      <a:pPr marL="0" marR="0" lvl="0" indent="0">
                        <a:spcBef>
                          <a:spcPts val="0"/>
                        </a:spcBef>
                        <a:spcAft>
                          <a:spcPts val="0"/>
                        </a:spcAft>
                        <a:buFont typeface="Calibri"/>
                        <a:buNone/>
                      </a:pPr>
                      <a:endParaRPr lang="en-US" sz="1200" dirty="0" smtClean="0">
                        <a:effectLst/>
                      </a:endParaRPr>
                    </a:p>
                    <a:p>
                      <a:pPr marL="0" marR="0" lvl="0" indent="0">
                        <a:spcBef>
                          <a:spcPts val="0"/>
                        </a:spcBef>
                        <a:spcAft>
                          <a:spcPts val="0"/>
                        </a:spcAft>
                        <a:buFont typeface="Calibri"/>
                        <a:buNone/>
                      </a:pPr>
                      <a:r>
                        <a:rPr lang="en-US" sz="1200" dirty="0" smtClean="0">
                          <a:effectLst/>
                        </a:rPr>
                        <a:t>Identify </a:t>
                      </a:r>
                      <a:r>
                        <a:rPr lang="en-US" sz="1200" dirty="0">
                          <a:effectLst/>
                        </a:rPr>
                        <a:t>champions of standout technology use cases to communicate benefits to campus community</a:t>
                      </a:r>
                    </a:p>
                    <a:p>
                      <a:pPr marL="0" marR="0" lvl="0" indent="0">
                        <a:spcBef>
                          <a:spcPts val="0"/>
                        </a:spcBef>
                        <a:spcAft>
                          <a:spcPts val="0"/>
                        </a:spcAft>
                        <a:buFont typeface="Calibri"/>
                        <a:buNone/>
                      </a:pPr>
                      <a:endParaRPr lang="en-US" sz="1200" dirty="0" smtClean="0">
                        <a:effectLst/>
                      </a:endParaRPr>
                    </a:p>
                    <a:p>
                      <a:pPr marL="0" marR="0" lvl="0" indent="0">
                        <a:spcBef>
                          <a:spcPts val="0"/>
                        </a:spcBef>
                        <a:spcAft>
                          <a:spcPts val="0"/>
                        </a:spcAft>
                        <a:buFont typeface="Calibri"/>
                        <a:buNone/>
                      </a:pPr>
                      <a:r>
                        <a:rPr lang="en-US" sz="1200" dirty="0" smtClean="0">
                          <a:effectLst/>
                        </a:rPr>
                        <a:t>Assess </a:t>
                      </a:r>
                      <a:r>
                        <a:rPr lang="en-US" sz="1200" dirty="0">
                          <a:effectLst/>
                        </a:rPr>
                        <a:t>ROI for new technologies to understand tradeoffs</a:t>
                      </a:r>
                    </a:p>
                    <a:p>
                      <a:pPr marL="0" marR="0">
                        <a:lnSpc>
                          <a:spcPct val="107000"/>
                        </a:lnSpc>
                        <a:spcBef>
                          <a:spcPts val="0"/>
                        </a:spcBef>
                        <a:spcAft>
                          <a:spcPts val="0"/>
                        </a:spcAft>
                      </a:pPr>
                      <a:r>
                        <a:rPr lang="en-US" sz="1200" dirty="0">
                          <a:effectLst/>
                        </a:rPr>
                        <a:t> </a:t>
                      </a:r>
                      <a:endParaRPr lang="en-US" sz="1200" dirty="0">
                        <a:solidFill>
                          <a:srgbClr val="000000"/>
                        </a:solidFill>
                        <a:effectLst/>
                        <a:latin typeface="Arial"/>
                        <a:ea typeface="Calibri"/>
                        <a:cs typeface="Arial"/>
                      </a:endParaRPr>
                    </a:p>
                  </a:txBody>
                  <a:tcPr marL="68580" marR="68580">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rgbClr val="BACAD9"/>
                    </a:solidFill>
                  </a:tcPr>
                </a:tc>
                <a:tc>
                  <a:txBody>
                    <a:bodyPr/>
                    <a:lstStyle/>
                    <a:p>
                      <a:pPr marL="0" marR="0" lvl="0" indent="0">
                        <a:spcBef>
                          <a:spcPts val="0"/>
                        </a:spcBef>
                        <a:spcAft>
                          <a:spcPts val="0"/>
                        </a:spcAft>
                        <a:buFont typeface="Calibri"/>
                        <a:buNone/>
                      </a:pPr>
                      <a:r>
                        <a:rPr lang="en-US" sz="1200" dirty="0">
                          <a:effectLst/>
                        </a:rPr>
                        <a:t>Review current tools to assess integration across systems, and prioritize integration when adopting new tools</a:t>
                      </a:r>
                    </a:p>
                    <a:p>
                      <a:pPr marL="0" marR="0" lvl="0" indent="0">
                        <a:spcBef>
                          <a:spcPts val="0"/>
                        </a:spcBef>
                        <a:spcAft>
                          <a:spcPts val="0"/>
                        </a:spcAft>
                        <a:buFont typeface="Calibri"/>
                        <a:buNone/>
                      </a:pPr>
                      <a:endParaRPr lang="en-US" sz="1200" dirty="0" smtClean="0">
                        <a:effectLst/>
                      </a:endParaRPr>
                    </a:p>
                    <a:p>
                      <a:pPr marL="0" marR="0" lvl="0" indent="0">
                        <a:spcBef>
                          <a:spcPts val="0"/>
                        </a:spcBef>
                        <a:spcAft>
                          <a:spcPts val="0"/>
                        </a:spcAft>
                        <a:buFont typeface="Calibri"/>
                        <a:buNone/>
                      </a:pPr>
                      <a:r>
                        <a:rPr lang="en-US" sz="1200" dirty="0" smtClean="0">
                          <a:effectLst/>
                        </a:rPr>
                        <a:t>Use </a:t>
                      </a:r>
                      <a:r>
                        <a:rPr lang="en-US" sz="1200" dirty="0">
                          <a:effectLst/>
                        </a:rPr>
                        <a:t>training and provider support services to ensure adoption and integration of new tools/Define the new process and build consensus before adopting technology</a:t>
                      </a:r>
                    </a:p>
                    <a:p>
                      <a:pPr marL="0" marR="0" lvl="0" indent="0">
                        <a:spcBef>
                          <a:spcPts val="0"/>
                        </a:spcBef>
                        <a:spcAft>
                          <a:spcPts val="0"/>
                        </a:spcAft>
                        <a:buFont typeface="Calibri"/>
                        <a:buNone/>
                      </a:pPr>
                      <a:endParaRPr lang="en-US" sz="1200" dirty="0" smtClean="0">
                        <a:effectLst/>
                      </a:endParaRPr>
                    </a:p>
                    <a:p>
                      <a:pPr marL="0" marR="0" lvl="0" indent="0">
                        <a:spcBef>
                          <a:spcPts val="0"/>
                        </a:spcBef>
                        <a:spcAft>
                          <a:spcPts val="0"/>
                        </a:spcAft>
                        <a:buFont typeface="Calibri"/>
                        <a:buNone/>
                      </a:pPr>
                      <a:r>
                        <a:rPr lang="en-US" sz="1200" dirty="0" smtClean="0">
                          <a:effectLst/>
                        </a:rPr>
                        <a:t>Establish </a:t>
                      </a:r>
                      <a:r>
                        <a:rPr lang="en-US" sz="1200" dirty="0">
                          <a:effectLst/>
                        </a:rPr>
                        <a:t>clear communication channels with access to shared information</a:t>
                      </a:r>
                      <a:endParaRPr lang="en-US" sz="1200" dirty="0">
                        <a:solidFill>
                          <a:srgbClr val="000000"/>
                        </a:solidFill>
                        <a:effectLst/>
                        <a:latin typeface="Arial"/>
                        <a:ea typeface="Calibri"/>
                        <a:cs typeface="Arial"/>
                      </a:endParaRPr>
                    </a:p>
                  </a:txBody>
                  <a:tcPr marL="68580" marR="68580">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rgbClr val="BACAD9"/>
                    </a:solidFill>
                  </a:tcPr>
                </a:tc>
                <a:tc>
                  <a:txBody>
                    <a:bodyPr/>
                    <a:lstStyle/>
                    <a:p>
                      <a:pPr marL="0" marR="0" lvl="0" indent="0">
                        <a:spcBef>
                          <a:spcPts val="0"/>
                        </a:spcBef>
                        <a:spcAft>
                          <a:spcPts val="0"/>
                        </a:spcAft>
                        <a:buFont typeface="Calibri"/>
                        <a:buNone/>
                      </a:pPr>
                      <a:r>
                        <a:rPr lang="en-US" sz="1200" dirty="0">
                          <a:effectLst/>
                        </a:rPr>
                        <a:t>Engage students in long term program and career planning in conjunction with advisors</a:t>
                      </a:r>
                    </a:p>
                    <a:p>
                      <a:pPr marL="0" marR="0" lvl="0" indent="0">
                        <a:spcBef>
                          <a:spcPts val="0"/>
                        </a:spcBef>
                        <a:spcAft>
                          <a:spcPts val="0"/>
                        </a:spcAft>
                        <a:buFont typeface="Calibri"/>
                        <a:buNone/>
                      </a:pPr>
                      <a:endParaRPr lang="en-US" sz="1200" dirty="0" smtClean="0">
                        <a:effectLst/>
                      </a:endParaRPr>
                    </a:p>
                    <a:p>
                      <a:pPr marL="0" marR="0" lvl="0" indent="0">
                        <a:spcBef>
                          <a:spcPts val="0"/>
                        </a:spcBef>
                        <a:spcAft>
                          <a:spcPts val="0"/>
                        </a:spcAft>
                        <a:buFont typeface="Calibri"/>
                        <a:buNone/>
                      </a:pPr>
                      <a:r>
                        <a:rPr lang="en-US" sz="1200" dirty="0" smtClean="0">
                          <a:effectLst/>
                        </a:rPr>
                        <a:t>Align </a:t>
                      </a:r>
                      <a:r>
                        <a:rPr lang="en-US" sz="1200" dirty="0">
                          <a:effectLst/>
                        </a:rPr>
                        <a:t>messages throughout the system regardless of owner, centralization, etc.</a:t>
                      </a:r>
                      <a:endParaRPr lang="en-US" sz="1200" dirty="0">
                        <a:solidFill>
                          <a:srgbClr val="000000"/>
                        </a:solidFill>
                        <a:effectLst/>
                        <a:latin typeface="Arial"/>
                        <a:ea typeface="Calibri"/>
                        <a:cs typeface="Arial"/>
                      </a:endParaRPr>
                    </a:p>
                  </a:txBody>
                  <a:tcPr marL="68580" marR="68580">
                    <a:lnL w="9525" cap="flat" cmpd="sng" algn="ctr">
                      <a:solidFill>
                        <a:srgbClr val="BACAD9"/>
                      </a:solidFill>
                      <a:prstDash val="solid"/>
                      <a:round/>
                      <a:headEnd type="none" w="med" len="med"/>
                      <a:tailEnd type="none" w="med" len="med"/>
                    </a:lnL>
                    <a:lnR w="9525" cap="flat" cmpd="sng" algn="ctr">
                      <a:solidFill>
                        <a:srgbClr val="BACAD9"/>
                      </a:solidFill>
                      <a:prstDash val="solid"/>
                      <a:round/>
                      <a:headEnd type="none" w="med" len="med"/>
                      <a:tailEnd type="none" w="med" len="med"/>
                    </a:lnR>
                    <a:lnT w="9525" cap="flat" cmpd="sng" algn="ctr">
                      <a:solidFill>
                        <a:srgbClr val="BACAD9"/>
                      </a:solidFill>
                      <a:prstDash val="solid"/>
                      <a:round/>
                      <a:headEnd type="none" w="med" len="med"/>
                      <a:tailEnd type="none" w="med" len="med"/>
                    </a:lnT>
                    <a:lnB w="9525" cap="flat" cmpd="sng" algn="ctr">
                      <a:solidFill>
                        <a:srgbClr val="BACAD9"/>
                      </a:solidFill>
                      <a:prstDash val="solid"/>
                      <a:round/>
                      <a:headEnd type="none" w="med" len="med"/>
                      <a:tailEnd type="none" w="med" len="med"/>
                    </a:lnB>
                    <a:solidFill>
                      <a:srgbClr val="BACAD9"/>
                    </a:solidFill>
                  </a:tcPr>
                </a:tc>
              </a:tr>
            </a:tbl>
          </a:graphicData>
        </a:graphic>
      </p:graphicFrame>
      <p:pic>
        <p:nvPicPr>
          <p:cNvPr id="6" name="Picture 5"/>
          <p:cNvPicPr>
            <a:picLocks noChangeAspect="1"/>
          </p:cNvPicPr>
          <p:nvPr/>
        </p:nvPicPr>
        <p:blipFill>
          <a:blip r:embed="rId2"/>
          <a:stretch>
            <a:fillRect/>
          </a:stretch>
        </p:blipFill>
        <p:spPr>
          <a:xfrm>
            <a:off x="2505909" y="1130142"/>
            <a:ext cx="667904" cy="481512"/>
          </a:xfrm>
          <a:prstGeom prst="rect">
            <a:avLst/>
          </a:prstGeom>
        </p:spPr>
      </p:pic>
      <p:pic>
        <p:nvPicPr>
          <p:cNvPr id="7" name="Picture 6"/>
          <p:cNvPicPr>
            <a:picLocks noChangeAspect="1"/>
          </p:cNvPicPr>
          <p:nvPr/>
        </p:nvPicPr>
        <p:blipFill>
          <a:blip r:embed="rId3"/>
          <a:stretch>
            <a:fillRect/>
          </a:stretch>
        </p:blipFill>
        <p:spPr>
          <a:xfrm>
            <a:off x="4473253" y="1161046"/>
            <a:ext cx="631143" cy="416286"/>
          </a:xfrm>
          <a:prstGeom prst="rect">
            <a:avLst/>
          </a:prstGeom>
        </p:spPr>
      </p:pic>
      <p:pic>
        <p:nvPicPr>
          <p:cNvPr id="8" name="Picture 7"/>
          <p:cNvPicPr>
            <a:picLocks noChangeAspect="1"/>
          </p:cNvPicPr>
          <p:nvPr/>
        </p:nvPicPr>
        <p:blipFill>
          <a:blip r:embed="rId4"/>
          <a:stretch>
            <a:fillRect/>
          </a:stretch>
        </p:blipFill>
        <p:spPr>
          <a:xfrm>
            <a:off x="6322388" y="1143885"/>
            <a:ext cx="714757" cy="450608"/>
          </a:xfrm>
          <a:prstGeom prst="rect">
            <a:avLst/>
          </a:prstGeom>
        </p:spPr>
      </p:pic>
      <p:pic>
        <p:nvPicPr>
          <p:cNvPr id="9" name="Picture 8"/>
          <p:cNvPicPr>
            <a:picLocks noChangeAspect="1"/>
          </p:cNvPicPr>
          <p:nvPr/>
        </p:nvPicPr>
        <p:blipFill>
          <a:blip r:embed="rId5"/>
          <a:stretch>
            <a:fillRect/>
          </a:stretch>
        </p:blipFill>
        <p:spPr>
          <a:xfrm>
            <a:off x="8252449" y="1143885"/>
            <a:ext cx="705953" cy="450608"/>
          </a:xfrm>
          <a:prstGeom prst="rect">
            <a:avLst/>
          </a:prstGeom>
        </p:spPr>
      </p:pic>
    </p:spTree>
    <p:extLst>
      <p:ext uri="{BB962C8B-B14F-4D97-AF65-F5344CB8AC3E}">
        <p14:creationId xmlns:p14="http://schemas.microsoft.com/office/powerpoint/2010/main" val="6415922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32829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endParaRPr lang="en-US" sz="1600" dirty="0" smtClean="0"/>
          </a:p>
          <a:p>
            <a:r>
              <a:rPr lang="en-US" sz="1600" dirty="0" smtClean="0"/>
              <a:t>Follow us at @</a:t>
            </a:r>
            <a:r>
              <a:rPr lang="en-US" sz="1600" dirty="0" err="1" smtClean="0"/>
              <a:t>tytonpartners</a:t>
            </a:r>
            <a:endParaRPr lang="en-US" sz="1600" dirty="0" smtClean="0"/>
          </a:p>
          <a:p>
            <a:endParaRPr lang="en-US" sz="1600" dirty="0" smtClean="0"/>
          </a:p>
          <a:p>
            <a:endParaRPr lang="en-US" sz="1600" dirty="0"/>
          </a:p>
          <a:p>
            <a:r>
              <a:rPr lang="en-US" sz="1600" dirty="0" smtClean="0"/>
              <a:t>Sign up for our monthly “Snapshot” at </a:t>
            </a:r>
            <a:r>
              <a:rPr lang="en-US" sz="1600" dirty="0" err="1" smtClean="0"/>
              <a:t>tytonpartners.com</a:t>
            </a:r>
            <a:endParaRPr lang="en-US" sz="1600" dirty="0" smtClean="0"/>
          </a:p>
          <a:p>
            <a:endParaRPr lang="en-US" sz="1600" dirty="0" smtClean="0"/>
          </a:p>
          <a:p>
            <a:endParaRPr lang="en-US" sz="1600" dirty="0"/>
          </a:p>
          <a:p>
            <a:r>
              <a:rPr lang="en-US" sz="1600" dirty="0" smtClean="0"/>
              <a:t>Stay tuned as we launch </a:t>
            </a:r>
            <a:r>
              <a:rPr lang="en-US" sz="1600" dirty="0" err="1" smtClean="0"/>
              <a:t>Drivetodegree.org</a:t>
            </a:r>
            <a:r>
              <a:rPr lang="en-US" sz="1600" dirty="0" smtClean="0"/>
              <a:t> in May 2016</a:t>
            </a:r>
          </a:p>
          <a:p>
            <a:pPr lvl="1"/>
            <a:r>
              <a:rPr lang="en-US" sz="1600" dirty="0" smtClean="0"/>
              <a:t>A data-driven resource for advising reform</a:t>
            </a:r>
          </a:p>
          <a:p>
            <a:pPr lvl="1"/>
            <a:r>
              <a:rPr lang="en-US" sz="1600" dirty="0" smtClean="0"/>
              <a:t>In partnership with NACADA, NASPA, NACAC and the Babson Survey Research Group</a:t>
            </a:r>
          </a:p>
          <a:p>
            <a:pPr marL="171450" lvl="1" indent="0">
              <a:buNone/>
            </a:pPr>
            <a:endParaRPr lang="en-US" sz="1600" dirty="0"/>
          </a:p>
        </p:txBody>
      </p:sp>
      <p:sp>
        <p:nvSpPr>
          <p:cNvPr id="3" name="Slide Number Placeholder 2"/>
          <p:cNvSpPr>
            <a:spLocks noGrp="1"/>
          </p:cNvSpPr>
          <p:nvPr>
            <p:ph type="sldNum" sz="quarter" idx="12"/>
          </p:nvPr>
        </p:nvSpPr>
        <p:spPr/>
        <p:txBody>
          <a:bodyPr/>
          <a:lstStyle/>
          <a:p>
            <a:fld id="{56061281-BD0D-6F47-BBB8-8F6BE6AA34E7}" type="slidenum">
              <a:rPr lang="en-US" smtClean="0"/>
              <a:pPr/>
              <a:t>35</a:t>
            </a:fld>
            <a:endParaRPr lang="en-US" dirty="0"/>
          </a:p>
        </p:txBody>
      </p:sp>
      <p:sp>
        <p:nvSpPr>
          <p:cNvPr id="4" name="Content Placeholder 3"/>
          <p:cNvSpPr>
            <a:spLocks noGrp="1"/>
          </p:cNvSpPr>
          <p:nvPr>
            <p:ph idx="13"/>
          </p:nvPr>
        </p:nvSpPr>
        <p:spPr/>
        <p:txBody>
          <a:bodyPr/>
          <a:lstStyle/>
          <a:p>
            <a:endParaRPr lang="en-US"/>
          </a:p>
        </p:txBody>
      </p:sp>
      <p:sp>
        <p:nvSpPr>
          <p:cNvPr id="5" name="Content Placeholder 4"/>
          <p:cNvSpPr>
            <a:spLocks noGrp="1"/>
          </p:cNvSpPr>
          <p:nvPr>
            <p:ph idx="14"/>
          </p:nvPr>
        </p:nvSpPr>
        <p:spPr/>
        <p:txBody>
          <a:bodyPr/>
          <a:lstStyle/>
          <a:p>
            <a:r>
              <a:rPr lang="en-US" dirty="0"/>
              <a:t>Want to Learn More</a:t>
            </a:r>
            <a:r>
              <a:rPr lang="en-US" dirty="0" smtClean="0"/>
              <a:t>?</a:t>
            </a:r>
            <a:endParaRPr lang="en-US" dirty="0"/>
          </a:p>
        </p:txBody>
      </p:sp>
    </p:spTree>
    <p:extLst>
      <p:ext uri="{BB962C8B-B14F-4D97-AF65-F5344CB8AC3E}">
        <p14:creationId xmlns:p14="http://schemas.microsoft.com/office/powerpoint/2010/main" val="28948099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b="1" dirty="0" smtClean="0">
                <a:latin typeface="+mj-lt"/>
              </a:rPr>
              <a:t>Upcoming Webinars</a:t>
            </a:r>
            <a:endParaRPr lang="en-US" sz="4000" b="1" dirty="0">
              <a:latin typeface="+mj-lt"/>
            </a:endParaRPr>
          </a:p>
        </p:txBody>
      </p:sp>
      <p:sp>
        <p:nvSpPr>
          <p:cNvPr id="3" name="Content Placeholder 2"/>
          <p:cNvSpPr>
            <a:spLocks noGrp="1"/>
          </p:cNvSpPr>
          <p:nvPr>
            <p:ph idx="1"/>
          </p:nvPr>
        </p:nvSpPr>
        <p:spPr>
          <a:xfrm>
            <a:off x="609601" y="1219200"/>
            <a:ext cx="8077200" cy="4800600"/>
          </a:xfrm>
        </p:spPr>
        <p:txBody>
          <a:bodyPr>
            <a:normAutofit/>
          </a:bodyPr>
          <a:lstStyle/>
          <a:p>
            <a:r>
              <a:rPr lang="en-US" sz="2800" dirty="0" smtClean="0">
                <a:latin typeface="+mn-lt"/>
              </a:rPr>
              <a:t>Coming in May and June: </a:t>
            </a:r>
            <a:br>
              <a:rPr lang="en-US" sz="2800" dirty="0" smtClean="0">
                <a:latin typeface="+mn-lt"/>
              </a:rPr>
            </a:br>
            <a:r>
              <a:rPr lang="en-US" sz="2800" dirty="0" smtClean="0">
                <a:latin typeface="+mn-lt"/>
              </a:rPr>
              <a:t>webinars in preparation for the June convening</a:t>
            </a:r>
          </a:p>
          <a:p>
            <a:pPr lvl="1"/>
            <a:r>
              <a:rPr lang="en-US" sz="2500" dirty="0" smtClean="0">
                <a:latin typeface="+mn-lt"/>
              </a:rPr>
              <a:t>Wednesday, May 25, 2016, 3:30 EDT: </a:t>
            </a:r>
            <a:br>
              <a:rPr lang="en-US" sz="2500" dirty="0" smtClean="0">
                <a:latin typeface="+mn-lt"/>
              </a:rPr>
            </a:br>
            <a:r>
              <a:rPr lang="en-US" sz="2500" dirty="0" smtClean="0">
                <a:latin typeface="+mn-lt"/>
              </a:rPr>
              <a:t>Melinda Karp, CCRC, and Karen Stout, Achieving the Dream, on aligning </a:t>
            </a:r>
            <a:r>
              <a:rPr lang="en-US" sz="2500" dirty="0" err="1">
                <a:latin typeface="+mn-lt"/>
              </a:rPr>
              <a:t>iPASS</a:t>
            </a:r>
            <a:r>
              <a:rPr lang="en-US" sz="2500" dirty="0">
                <a:latin typeface="+mn-lt"/>
              </a:rPr>
              <a:t> and </a:t>
            </a:r>
            <a:r>
              <a:rPr lang="en-US" sz="2500" dirty="0" smtClean="0">
                <a:latin typeface="+mn-lt"/>
              </a:rPr>
              <a:t>Pathways programs</a:t>
            </a:r>
          </a:p>
          <a:p>
            <a:pPr lvl="1"/>
            <a:r>
              <a:rPr lang="en-US" sz="2500" dirty="0" smtClean="0">
                <a:latin typeface="+mn-lt"/>
              </a:rPr>
              <a:t>Wednesday, June 8, 2015, 3:30 EDT:</a:t>
            </a:r>
            <a:r>
              <a:rPr lang="en-US" sz="2500" dirty="0">
                <a:latin typeface="+mn-lt"/>
              </a:rPr>
              <a:t/>
            </a:r>
            <a:br>
              <a:rPr lang="en-US" sz="2500" dirty="0">
                <a:latin typeface="+mn-lt"/>
              </a:rPr>
            </a:br>
            <a:r>
              <a:rPr lang="en-US" sz="2500" dirty="0" err="1" smtClean="0">
                <a:latin typeface="+mn-lt"/>
              </a:rPr>
              <a:t>iPASS</a:t>
            </a:r>
            <a:r>
              <a:rPr lang="en-US" sz="2500" dirty="0" smtClean="0">
                <a:latin typeface="+mn-lt"/>
              </a:rPr>
              <a:t> grantees </a:t>
            </a:r>
            <a:r>
              <a:rPr lang="en-US" sz="2500" dirty="0" smtClean="0">
                <a:latin typeface="+mn-lt"/>
              </a:rPr>
              <a:t>on integrating student success </a:t>
            </a:r>
            <a:r>
              <a:rPr lang="en-US" sz="2500" dirty="0" smtClean="0">
                <a:latin typeface="+mn-lt"/>
              </a:rPr>
              <a:t>initiatives, facilitated </a:t>
            </a:r>
            <a:r>
              <a:rPr lang="en-US" sz="2500" smtClean="0">
                <a:latin typeface="+mn-lt"/>
              </a:rPr>
              <a:t>by Achieving the Dream</a:t>
            </a:r>
            <a:endParaRPr lang="en-US" sz="2500" dirty="0" smtClean="0">
              <a:latin typeface="+mn-lt"/>
            </a:endParaRPr>
          </a:p>
        </p:txBody>
      </p:sp>
    </p:spTree>
    <p:extLst>
      <p:ext uri="{BB962C8B-B14F-4D97-AF65-F5344CB8AC3E}">
        <p14:creationId xmlns:p14="http://schemas.microsoft.com/office/powerpoint/2010/main" val="41058576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Implementing IPASS puts you in an elite group.  Just 12% of institutions we surveyed report widespread use of the three core technology applications: degree planning, analytics and advisor management/early alerts.</a:t>
            </a:r>
          </a:p>
          <a:p>
            <a:endParaRPr lang="en-US" dirty="0"/>
          </a:p>
          <a:p>
            <a:r>
              <a:rPr lang="en-US" dirty="0" smtClean="0"/>
              <a:t>IPASS is about much more than technology, of course.  It’s about leadership alignment and process improvement and change management. </a:t>
            </a:r>
            <a:r>
              <a:rPr lang="en-US" dirty="0"/>
              <a:t>While 82% of administrators say retention is in their school’s strategic plan, less than half see clear ownership over retention initiatives. </a:t>
            </a:r>
            <a:endParaRPr lang="en-US" dirty="0" smtClean="0"/>
          </a:p>
          <a:p>
            <a:endParaRPr lang="en-US" dirty="0"/>
          </a:p>
          <a:p>
            <a:r>
              <a:rPr lang="en-US" dirty="0" smtClean="0"/>
              <a:t>Institutions report significant increases in spending in both technology AND people over the last three year. Only </a:t>
            </a:r>
            <a:r>
              <a:rPr lang="en-US" dirty="0"/>
              <a:t>26% of administrators believe that retention initiatives are well funded at their institution despite growing spending on staff and technology. </a:t>
            </a:r>
            <a:endParaRPr lang="en-US" dirty="0" smtClean="0"/>
          </a:p>
          <a:p>
            <a:endParaRPr lang="en-US" dirty="0"/>
          </a:p>
          <a:p>
            <a:r>
              <a:rPr lang="en-US" dirty="0" smtClean="0"/>
              <a:t>Institutions we surveyed fall in to one of four key segments based on attitudes and approaches to advising.  Your path to continuous improvement and advising reform depends on where your institution falls:</a:t>
            </a:r>
          </a:p>
          <a:p>
            <a:pPr lvl="1"/>
            <a:r>
              <a:rPr lang="en-US" dirty="0" smtClean="0"/>
              <a:t>“Equipped Navigators”</a:t>
            </a:r>
          </a:p>
          <a:p>
            <a:pPr lvl="1"/>
            <a:r>
              <a:rPr lang="en-US" dirty="0" smtClean="0"/>
              <a:t>“Check Engines”</a:t>
            </a:r>
          </a:p>
          <a:p>
            <a:pPr lvl="1"/>
            <a:r>
              <a:rPr lang="en-US" dirty="0" smtClean="0"/>
              <a:t>“Low Fuels”</a:t>
            </a:r>
          </a:p>
          <a:p>
            <a:pPr lvl="1"/>
            <a:r>
              <a:rPr lang="en-US" dirty="0" smtClean="0"/>
              <a:t>“Limited tech users”</a:t>
            </a:r>
          </a:p>
          <a:p>
            <a:pPr lvl="1"/>
            <a:endParaRPr lang="en-US" dirty="0" smtClean="0"/>
          </a:p>
          <a:p>
            <a:endParaRPr lang="en-US" dirty="0"/>
          </a:p>
          <a:p>
            <a:endParaRPr lang="en-US" dirty="0"/>
          </a:p>
        </p:txBody>
      </p:sp>
      <p:sp>
        <p:nvSpPr>
          <p:cNvPr id="3" name="Slide Number Placeholder 2"/>
          <p:cNvSpPr>
            <a:spLocks noGrp="1"/>
          </p:cNvSpPr>
          <p:nvPr>
            <p:ph type="sldNum" sz="quarter" idx="12"/>
          </p:nvPr>
        </p:nvSpPr>
        <p:spPr/>
        <p:txBody>
          <a:bodyPr/>
          <a:lstStyle/>
          <a:p>
            <a:fld id="{56061281-BD0D-6F47-BBB8-8F6BE6AA34E7}" type="slidenum">
              <a:rPr lang="en-US" smtClean="0"/>
              <a:pPr/>
              <a:t>4</a:t>
            </a:fld>
            <a:endParaRPr lang="en-US" dirty="0"/>
          </a:p>
        </p:txBody>
      </p:sp>
      <p:sp>
        <p:nvSpPr>
          <p:cNvPr id="4" name="Content Placeholder 3"/>
          <p:cNvSpPr>
            <a:spLocks noGrp="1"/>
          </p:cNvSpPr>
          <p:nvPr>
            <p:ph idx="13"/>
          </p:nvPr>
        </p:nvSpPr>
        <p:spPr/>
        <p:txBody>
          <a:bodyPr/>
          <a:lstStyle/>
          <a:p>
            <a:endParaRPr lang="en-US"/>
          </a:p>
        </p:txBody>
      </p:sp>
      <p:sp>
        <p:nvSpPr>
          <p:cNvPr id="5" name="Content Placeholder 4"/>
          <p:cNvSpPr>
            <a:spLocks noGrp="1"/>
          </p:cNvSpPr>
          <p:nvPr>
            <p:ph idx="14"/>
          </p:nvPr>
        </p:nvSpPr>
        <p:spPr/>
        <p:txBody>
          <a:bodyPr/>
          <a:lstStyle/>
          <a:p>
            <a:r>
              <a:rPr lang="en-US" dirty="0" smtClean="0"/>
              <a:t>Key Headlines</a:t>
            </a:r>
            <a:endParaRPr lang="en-US" dirty="0"/>
          </a:p>
        </p:txBody>
      </p:sp>
    </p:spTree>
    <p:extLst>
      <p:ext uri="{BB962C8B-B14F-4D97-AF65-F5344CB8AC3E}">
        <p14:creationId xmlns:p14="http://schemas.microsoft.com/office/powerpoint/2010/main" val="3841558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Methodology </a:t>
            </a:r>
          </a:p>
          <a:p>
            <a:r>
              <a:rPr lang="en-US" dirty="0" smtClean="0"/>
              <a:t>Advising Goals and Structure</a:t>
            </a:r>
          </a:p>
          <a:p>
            <a:r>
              <a:rPr lang="en-US" dirty="0" smtClean="0"/>
              <a:t>Technology Adoption and Satisfaction</a:t>
            </a:r>
          </a:p>
          <a:p>
            <a:r>
              <a:rPr lang="en-US" dirty="0" smtClean="0"/>
              <a:t>Institutional Segmentation</a:t>
            </a:r>
          </a:p>
          <a:p>
            <a:endParaRPr lang="en-US" dirty="0" smtClean="0"/>
          </a:p>
          <a:p>
            <a:endParaRPr lang="en-US" dirty="0" smtClean="0"/>
          </a:p>
          <a:p>
            <a:endParaRPr lang="en-US" dirty="0" smtClean="0"/>
          </a:p>
          <a:p>
            <a:endParaRPr lang="en-US" dirty="0"/>
          </a:p>
        </p:txBody>
      </p:sp>
      <p:sp>
        <p:nvSpPr>
          <p:cNvPr id="4" name="Content Placeholder 3"/>
          <p:cNvSpPr>
            <a:spLocks noGrp="1"/>
          </p:cNvSpPr>
          <p:nvPr>
            <p:ph idx="14"/>
          </p:nvPr>
        </p:nvSpPr>
        <p:spPr/>
        <p:txBody>
          <a:bodyPr/>
          <a:lstStyle/>
          <a:p>
            <a:r>
              <a:rPr lang="en-US" dirty="0" smtClean="0"/>
              <a:t>Agenda</a:t>
            </a:r>
            <a:endParaRPr lang="en-US" dirty="0"/>
          </a:p>
        </p:txBody>
      </p:sp>
      <p:sp>
        <p:nvSpPr>
          <p:cNvPr id="5" name="Content Placeholder 4"/>
          <p:cNvSpPr>
            <a:spLocks noGrp="1"/>
          </p:cNvSpPr>
          <p:nvPr>
            <p:ph idx="15"/>
          </p:nvPr>
        </p:nvSpPr>
        <p:spPr/>
        <p:txBody>
          <a:bodyPr/>
          <a:lstStyle/>
          <a:p>
            <a:r>
              <a:rPr lang="en-US" dirty="0" smtClean="0"/>
              <a:t>01</a:t>
            </a:r>
          </a:p>
          <a:p>
            <a:r>
              <a:rPr lang="en-US" dirty="0" smtClean="0"/>
              <a:t>02</a:t>
            </a:r>
          </a:p>
          <a:p>
            <a:r>
              <a:rPr lang="en-US" dirty="0" smtClean="0"/>
              <a:t>03</a:t>
            </a:r>
          </a:p>
          <a:p>
            <a:r>
              <a:rPr lang="en-US" dirty="0" smtClean="0"/>
              <a:t>04</a:t>
            </a:r>
          </a:p>
          <a:p>
            <a:endParaRPr lang="en-US" dirty="0" smtClean="0"/>
          </a:p>
          <a:p>
            <a:endParaRPr lang="en-US" dirty="0" smtClean="0"/>
          </a:p>
          <a:p>
            <a:endParaRPr lang="en-US" dirty="0" smtClean="0"/>
          </a:p>
        </p:txBody>
      </p:sp>
      <p:sp>
        <p:nvSpPr>
          <p:cNvPr id="6" name="Slide Number Placeholder 3"/>
          <p:cNvSpPr>
            <a:spLocks noGrp="1"/>
          </p:cNvSpPr>
          <p:nvPr>
            <p:ph type="sldNum" sz="quarter" idx="12"/>
          </p:nvPr>
        </p:nvSpPr>
        <p:spPr>
          <a:xfrm>
            <a:off x="8205094" y="6373510"/>
            <a:ext cx="489186" cy="365125"/>
          </a:xfrm>
        </p:spPr>
        <p:txBody>
          <a:bodyPr/>
          <a:lstStyle/>
          <a:p>
            <a:fld id="{8A34DB57-2DE2-40C4-A471-D3F8A1AC3F6F}" type="slidenum">
              <a:rPr lang="en-US" smtClean="0"/>
              <a:pPr/>
              <a:t>5</a:t>
            </a:fld>
            <a:endParaRPr lang="en-US" dirty="0"/>
          </a:p>
        </p:txBody>
      </p:sp>
    </p:spTree>
    <p:extLst>
      <p:ext uri="{BB962C8B-B14F-4D97-AF65-F5344CB8AC3E}">
        <p14:creationId xmlns:p14="http://schemas.microsoft.com/office/powerpoint/2010/main" val="40026561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a:t>
            </a:r>
            <a:endParaRPr lang="en-US" dirty="0"/>
          </a:p>
        </p:txBody>
      </p:sp>
      <p:sp>
        <p:nvSpPr>
          <p:cNvPr id="3" name="Text Placeholder 2"/>
          <p:cNvSpPr>
            <a:spLocks noGrp="1"/>
          </p:cNvSpPr>
          <p:nvPr>
            <p:ph type="body" idx="1"/>
          </p:nvPr>
        </p:nvSpPr>
        <p:spPr/>
        <p:txBody>
          <a:bodyPr/>
          <a:lstStyle/>
          <a:p>
            <a:r>
              <a:rPr lang="en-US" dirty="0" smtClean="0"/>
              <a:t>Methodology</a:t>
            </a:r>
            <a:endParaRPr lang="en-US" dirty="0"/>
          </a:p>
        </p:txBody>
      </p:sp>
    </p:spTree>
    <p:extLst>
      <p:ext uri="{BB962C8B-B14F-4D97-AF65-F5344CB8AC3E}">
        <p14:creationId xmlns:p14="http://schemas.microsoft.com/office/powerpoint/2010/main" val="7450733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56061281-BD0D-6F47-BBB8-8F6BE6AA34E7}" type="slidenum">
              <a:rPr lang="en-US" smtClean="0"/>
              <a:pPr/>
              <a:t>7</a:t>
            </a:fld>
            <a:endParaRPr lang="en-US" dirty="0"/>
          </a:p>
        </p:txBody>
      </p:sp>
      <p:sp>
        <p:nvSpPr>
          <p:cNvPr id="5" name="Content Placeholder 4"/>
          <p:cNvSpPr>
            <a:spLocks noGrp="1"/>
          </p:cNvSpPr>
          <p:nvPr>
            <p:ph idx="14"/>
          </p:nvPr>
        </p:nvSpPr>
        <p:spPr/>
        <p:txBody>
          <a:bodyPr>
            <a:normAutofit/>
          </a:bodyPr>
          <a:lstStyle/>
          <a:p>
            <a:r>
              <a:rPr lang="en-US" dirty="0" smtClean="0"/>
              <a:t>IPASS Survey Contained Questions on Goals, Institutional Structure, and Technology, Among Other Topics</a:t>
            </a:r>
          </a:p>
        </p:txBody>
      </p:sp>
      <p:sp>
        <p:nvSpPr>
          <p:cNvPr id="14" name="TextBox 13"/>
          <p:cNvSpPr txBox="1"/>
          <p:nvPr/>
        </p:nvSpPr>
        <p:spPr>
          <a:xfrm>
            <a:off x="526142" y="1331530"/>
            <a:ext cx="8065996" cy="5932393"/>
          </a:xfrm>
          <a:prstGeom prst="rect">
            <a:avLst/>
          </a:prstGeom>
          <a:noFill/>
        </p:spPr>
        <p:txBody>
          <a:bodyPr wrap="square" rtlCol="0">
            <a:spAutoFit/>
          </a:bodyPr>
          <a:lstStyle/>
          <a:p>
            <a:pPr lvl="0"/>
            <a:r>
              <a:rPr lang="en-US" dirty="0" smtClean="0"/>
              <a:t>The </a:t>
            </a:r>
            <a:r>
              <a:rPr lang="en-US" dirty="0"/>
              <a:t>s</a:t>
            </a:r>
            <a:r>
              <a:rPr lang="en-US" dirty="0" smtClean="0"/>
              <a:t>urvey </a:t>
            </a:r>
            <a:r>
              <a:rPr lang="en-US" dirty="0"/>
              <a:t>included the following </a:t>
            </a:r>
            <a:r>
              <a:rPr lang="en-US" dirty="0" smtClean="0"/>
              <a:t>topics related to Academic Planning and Advising:</a:t>
            </a:r>
          </a:p>
          <a:p>
            <a:pPr lvl="0"/>
            <a:endParaRPr lang="en-US" sz="900" dirty="0"/>
          </a:p>
          <a:p>
            <a:pPr marL="285750" indent="-285750">
              <a:spcBef>
                <a:spcPts val="900"/>
              </a:spcBef>
              <a:buFont typeface="Arial"/>
              <a:buChar char="•"/>
            </a:pPr>
            <a:r>
              <a:rPr lang="en-US" dirty="0"/>
              <a:t>Primary goals and target </a:t>
            </a:r>
            <a:r>
              <a:rPr lang="en-US" dirty="0" smtClean="0"/>
              <a:t>audiences</a:t>
            </a:r>
            <a:endParaRPr lang="en-US" dirty="0"/>
          </a:p>
          <a:p>
            <a:pPr marL="285750" indent="-285750">
              <a:spcBef>
                <a:spcPts val="900"/>
              </a:spcBef>
              <a:buFont typeface="Arial"/>
              <a:buChar char="•"/>
            </a:pPr>
            <a:r>
              <a:rPr lang="en-US" dirty="0"/>
              <a:t>Institutional structure </a:t>
            </a:r>
            <a:endParaRPr lang="en-US" dirty="0" smtClean="0"/>
          </a:p>
          <a:p>
            <a:pPr marL="285750" indent="-285750">
              <a:spcBef>
                <a:spcPts val="900"/>
              </a:spcBef>
              <a:buFont typeface="Arial"/>
              <a:buChar char="•"/>
            </a:pPr>
            <a:r>
              <a:rPr lang="en-US" dirty="0" smtClean="0"/>
              <a:t>Attitudes towards </a:t>
            </a:r>
            <a:r>
              <a:rPr lang="en-US" dirty="0"/>
              <a:t>academic advising</a:t>
            </a:r>
          </a:p>
          <a:p>
            <a:pPr marL="285750" indent="-285750">
              <a:spcBef>
                <a:spcPts val="900"/>
              </a:spcBef>
              <a:buFont typeface="Arial"/>
              <a:buChar char="•"/>
            </a:pPr>
            <a:r>
              <a:rPr lang="en-US" dirty="0"/>
              <a:t>Barriers to improvement </a:t>
            </a:r>
            <a:endParaRPr lang="en-US" dirty="0" smtClean="0"/>
          </a:p>
          <a:p>
            <a:pPr marL="285750" indent="-285750">
              <a:spcBef>
                <a:spcPts val="900"/>
              </a:spcBef>
              <a:buFont typeface="Arial"/>
              <a:buChar char="•"/>
            </a:pPr>
            <a:r>
              <a:rPr lang="en-US" dirty="0" smtClean="0"/>
              <a:t>Technology </a:t>
            </a:r>
            <a:r>
              <a:rPr lang="en-US" dirty="0"/>
              <a:t>adoption and </a:t>
            </a:r>
            <a:r>
              <a:rPr lang="en-US" dirty="0" smtClean="0"/>
              <a:t>impact</a:t>
            </a:r>
            <a:endParaRPr lang="en-US" dirty="0"/>
          </a:p>
          <a:p>
            <a:pPr marL="285750" indent="-285750">
              <a:spcBef>
                <a:spcPts val="900"/>
              </a:spcBef>
              <a:buFont typeface="Arial"/>
              <a:buChar char="•"/>
            </a:pPr>
            <a:r>
              <a:rPr lang="en-US" dirty="0" smtClean="0"/>
              <a:t>Resources, including </a:t>
            </a:r>
            <a:r>
              <a:rPr lang="en-US" dirty="0"/>
              <a:t>staffing and </a:t>
            </a:r>
            <a:r>
              <a:rPr lang="en-US" dirty="0" smtClean="0"/>
              <a:t>funding</a:t>
            </a:r>
          </a:p>
          <a:p>
            <a:pPr>
              <a:spcBef>
                <a:spcPts val="900"/>
              </a:spcBef>
            </a:pPr>
            <a:endParaRPr lang="en-US" dirty="0"/>
          </a:p>
          <a:p>
            <a:pPr>
              <a:spcBef>
                <a:spcPts val="900"/>
              </a:spcBef>
            </a:pPr>
            <a:r>
              <a:rPr lang="en-US" dirty="0" smtClean="0"/>
              <a:t>Survey results are weighted </a:t>
            </a:r>
            <a:r>
              <a:rPr lang="en-US" dirty="0"/>
              <a:t>to mitigate institutional skewing and prioritize respondents in decision-making </a:t>
            </a:r>
            <a:r>
              <a:rPr lang="en-US" dirty="0" smtClean="0"/>
              <a:t>roles.</a:t>
            </a:r>
          </a:p>
          <a:p>
            <a:pPr>
              <a:spcBef>
                <a:spcPts val="900"/>
              </a:spcBef>
            </a:pPr>
            <a:endParaRPr lang="en-US" dirty="0" smtClean="0"/>
          </a:p>
          <a:p>
            <a:pPr>
              <a:spcBef>
                <a:spcPts val="900"/>
              </a:spcBef>
            </a:pPr>
            <a:r>
              <a:rPr lang="en-US" b="1" i="1" dirty="0" smtClean="0"/>
              <a:t>All </a:t>
            </a:r>
            <a:r>
              <a:rPr lang="en-US" b="1" i="1" dirty="0"/>
              <a:t>survey data used for this presentation was prepared by Babson Survey Research Group </a:t>
            </a:r>
            <a:r>
              <a:rPr lang="en-US" b="1" i="1" dirty="0" smtClean="0"/>
              <a:t>in </a:t>
            </a:r>
            <a:r>
              <a:rPr lang="en-US" b="1" i="1" dirty="0"/>
              <a:t>partnership with </a:t>
            </a:r>
            <a:r>
              <a:rPr lang="en-US" b="1" i="1" dirty="0" err="1"/>
              <a:t>Tyton</a:t>
            </a:r>
            <a:r>
              <a:rPr lang="en-US" b="1" i="1" dirty="0"/>
              <a:t> Partners.</a:t>
            </a:r>
          </a:p>
          <a:p>
            <a:pPr>
              <a:spcBef>
                <a:spcPts val="900"/>
              </a:spcBef>
            </a:pPr>
            <a:endParaRPr lang="en-US" dirty="0"/>
          </a:p>
          <a:p>
            <a:endParaRPr lang="en-US" dirty="0"/>
          </a:p>
        </p:txBody>
      </p:sp>
    </p:spTree>
    <p:extLst>
      <p:ext uri="{BB962C8B-B14F-4D97-AF65-F5344CB8AC3E}">
        <p14:creationId xmlns:p14="http://schemas.microsoft.com/office/powerpoint/2010/main" val="21645459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56061281-BD0D-6F47-BBB8-8F6BE6AA34E7}" type="slidenum">
              <a:rPr lang="en-US" smtClean="0"/>
              <a:pPr/>
              <a:t>8</a:t>
            </a:fld>
            <a:endParaRPr lang="en-US" dirty="0"/>
          </a:p>
        </p:txBody>
      </p:sp>
      <p:sp>
        <p:nvSpPr>
          <p:cNvPr id="5" name="Content Placeholder 4"/>
          <p:cNvSpPr>
            <a:spLocks noGrp="1"/>
          </p:cNvSpPr>
          <p:nvPr>
            <p:ph idx="14"/>
          </p:nvPr>
        </p:nvSpPr>
        <p:spPr/>
        <p:txBody>
          <a:bodyPr/>
          <a:lstStyle/>
          <a:p>
            <a:r>
              <a:rPr lang="en-US" dirty="0" smtClean="0"/>
              <a:t>Survey Respondents Demographic Summary:    Demographics &amp; Institutional Size/Type</a:t>
            </a:r>
            <a:endParaRPr lang="en-US" dirty="0"/>
          </a:p>
        </p:txBody>
      </p:sp>
      <p:grpSp>
        <p:nvGrpSpPr>
          <p:cNvPr id="86" name="Group 85"/>
          <p:cNvGrpSpPr/>
          <p:nvPr>
            <p:custDataLst>
              <p:tags r:id="rId1"/>
            </p:custDataLst>
          </p:nvPr>
        </p:nvGrpSpPr>
        <p:grpSpPr>
          <a:xfrm>
            <a:off x="332720" y="1774927"/>
            <a:ext cx="8234007" cy="4602201"/>
            <a:chOff x="332720" y="1774927"/>
            <a:chExt cx="8234007" cy="4602201"/>
          </a:xfrm>
        </p:grpSpPr>
        <p:sp>
          <p:nvSpPr>
            <p:cNvPr id="17" name="Rectangle 16"/>
            <p:cNvSpPr/>
            <p:nvPr>
              <p:custDataLst>
                <p:tags r:id="rId2"/>
              </p:custDataLst>
            </p:nvPr>
          </p:nvSpPr>
          <p:spPr bwMode="gray">
            <a:xfrm>
              <a:off x="1260619" y="5848943"/>
              <a:ext cx="1623579" cy="303102"/>
            </a:xfrm>
            <a:prstGeom prst="rect">
              <a:avLst/>
            </a:prstGeom>
            <a:solidFill>
              <a:srgbClr val="05296E"/>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9" name="Rectangle 18"/>
            <p:cNvSpPr/>
            <p:nvPr>
              <p:custDataLst>
                <p:tags r:id="rId3"/>
              </p:custDataLst>
            </p:nvPr>
          </p:nvSpPr>
          <p:spPr bwMode="gray">
            <a:xfrm>
              <a:off x="1260619" y="1855719"/>
              <a:ext cx="1623579" cy="575286"/>
            </a:xfrm>
            <a:prstGeom prst="rect">
              <a:avLst/>
            </a:prstGeom>
            <a:solidFill>
              <a:srgbClr val="C1D0ED"/>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8" name="Rectangle 27"/>
            <p:cNvSpPr/>
            <p:nvPr>
              <p:custDataLst>
                <p:tags r:id="rId4"/>
              </p:custDataLst>
            </p:nvPr>
          </p:nvSpPr>
          <p:spPr bwMode="gray">
            <a:xfrm>
              <a:off x="6456074" y="5653173"/>
              <a:ext cx="1623579" cy="309645"/>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0" name="Rectangle 19"/>
            <p:cNvSpPr/>
            <p:nvPr>
              <p:custDataLst>
                <p:tags r:id="rId5"/>
              </p:custDataLst>
            </p:nvPr>
          </p:nvSpPr>
          <p:spPr bwMode="gray">
            <a:xfrm>
              <a:off x="1260619" y="2431005"/>
              <a:ext cx="1623579" cy="2259278"/>
            </a:xfrm>
            <a:prstGeom prst="rect">
              <a:avLst/>
            </a:prstGeom>
            <a:solidFill>
              <a:srgbClr val="6B8F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6" name="Rectangle 15"/>
            <p:cNvSpPr/>
            <p:nvPr>
              <p:custDataLst>
                <p:tags r:id="rId6"/>
              </p:custDataLst>
            </p:nvPr>
          </p:nvSpPr>
          <p:spPr bwMode="gray">
            <a:xfrm>
              <a:off x="1260619" y="5369994"/>
              <a:ext cx="1623579" cy="478949"/>
            </a:xfrm>
            <a:prstGeom prst="rect">
              <a:avLst/>
            </a:prstGeom>
            <a:solidFill>
              <a:srgbClr val="1144AA"/>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8" name="Rectangle 17"/>
            <p:cNvSpPr/>
            <p:nvPr>
              <p:custDataLst>
                <p:tags r:id="rId7"/>
              </p:custDataLst>
            </p:nvPr>
          </p:nvSpPr>
          <p:spPr bwMode="gray">
            <a:xfrm>
              <a:off x="1260619" y="4690282"/>
              <a:ext cx="1623579" cy="679712"/>
            </a:xfrm>
            <a:prstGeom prst="rect">
              <a:avLst/>
            </a:prstGeom>
            <a:solidFill>
              <a:srgbClr val="4575D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6" name="Rectangle 25"/>
            <p:cNvSpPr/>
            <p:nvPr>
              <p:custDataLst>
                <p:tags r:id="rId8"/>
              </p:custDataLst>
            </p:nvPr>
          </p:nvSpPr>
          <p:spPr bwMode="gray">
            <a:xfrm>
              <a:off x="6456074" y="4324279"/>
              <a:ext cx="1623579" cy="1328894"/>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2" name="Rectangle 11"/>
            <p:cNvSpPr/>
            <p:nvPr>
              <p:custDataLst>
                <p:tags r:id="rId9"/>
              </p:custDataLst>
            </p:nvPr>
          </p:nvSpPr>
          <p:spPr bwMode="gray">
            <a:xfrm>
              <a:off x="3858346" y="4462788"/>
              <a:ext cx="1623579" cy="1689258"/>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8" name="Rectangle 7"/>
            <p:cNvSpPr/>
            <p:nvPr>
              <p:custDataLst>
                <p:tags r:id="rId10"/>
              </p:custDataLst>
            </p:nvPr>
          </p:nvSpPr>
          <p:spPr bwMode="gray">
            <a:xfrm>
              <a:off x="3858346" y="3487448"/>
              <a:ext cx="1623579" cy="975340"/>
            </a:xfrm>
            <a:prstGeom prst="rect">
              <a:avLst/>
            </a:prstGeom>
            <a:solidFill>
              <a:schemeClr val="accent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3" name="Rectangle 12"/>
            <p:cNvSpPr/>
            <p:nvPr>
              <p:custDataLst>
                <p:tags r:id="rId11"/>
              </p:custDataLst>
            </p:nvPr>
          </p:nvSpPr>
          <p:spPr bwMode="gray">
            <a:xfrm>
              <a:off x="3858346" y="1855719"/>
              <a:ext cx="1623579" cy="1631729"/>
            </a:xfrm>
            <a:prstGeom prst="rect">
              <a:avLst/>
            </a:prstGeom>
            <a:solidFill>
              <a:schemeClr val="accent5"/>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9" name="Rectangle 28"/>
            <p:cNvSpPr/>
            <p:nvPr>
              <p:custDataLst>
                <p:tags r:id="rId12"/>
              </p:custDataLst>
            </p:nvPr>
          </p:nvSpPr>
          <p:spPr bwMode="gray">
            <a:xfrm>
              <a:off x="6456074" y="1855719"/>
              <a:ext cx="1623579" cy="2468560"/>
            </a:xfrm>
            <a:prstGeom prst="rect">
              <a:avLst/>
            </a:prstGeom>
            <a:solidFill>
              <a:schemeClr val="tx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7" name="Rectangle 26"/>
            <p:cNvSpPr/>
            <p:nvPr>
              <p:custDataLst>
                <p:tags r:id="rId13"/>
              </p:custDataLst>
            </p:nvPr>
          </p:nvSpPr>
          <p:spPr bwMode="gray">
            <a:xfrm>
              <a:off x="6456074" y="5962818"/>
              <a:ext cx="1623579" cy="189228"/>
            </a:xfrm>
            <a:prstGeom prst="rect">
              <a:avLst/>
            </a:prstGeom>
            <a:solidFill>
              <a:srgbClr val="C1D0ED"/>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cxnSp>
          <p:nvCxnSpPr>
            <p:cNvPr id="68" name="Straight Connector 67"/>
            <p:cNvCxnSpPr/>
            <p:nvPr>
              <p:custDataLst>
                <p:tags r:id="rId14"/>
              </p:custDataLst>
            </p:nvPr>
          </p:nvCxnSpPr>
          <p:spPr bwMode="gray">
            <a:xfrm>
              <a:off x="773545" y="6152045"/>
              <a:ext cx="7793182"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custDataLst>
                <p:tags r:id="rId15"/>
              </p:custDataLst>
            </p:nvPr>
          </p:nvCxnSpPr>
          <p:spPr bwMode="gray">
            <a:xfrm flipV="1">
              <a:off x="773545" y="1855719"/>
              <a:ext cx="0" cy="4296326"/>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custDataLst>
                <p:tags r:id="rId16"/>
              </p:custDataLst>
            </p:nvPr>
          </p:nvCxnSpPr>
          <p:spPr bwMode="gray">
            <a:xfrm flipH="1">
              <a:off x="722745" y="4003882"/>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p:custDataLst>
                <p:tags r:id="rId17"/>
              </p:custDataLst>
            </p:nvPr>
          </p:nvCxnSpPr>
          <p:spPr bwMode="gray">
            <a:xfrm flipH="1">
              <a:off x="722745" y="443351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p:custDataLst>
                <p:tags r:id="rId18"/>
              </p:custDataLst>
            </p:nvPr>
          </p:nvCxnSpPr>
          <p:spPr bwMode="gray">
            <a:xfrm flipH="1">
              <a:off x="722745" y="5292780"/>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custDataLst>
                <p:tags r:id="rId19"/>
              </p:custDataLst>
            </p:nvPr>
          </p:nvCxnSpPr>
          <p:spPr bwMode="gray">
            <a:xfrm flipH="1">
              <a:off x="722745" y="4863147"/>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custDataLst>
                <p:tags r:id="rId20"/>
              </p:custDataLst>
            </p:nvPr>
          </p:nvCxnSpPr>
          <p:spPr bwMode="gray">
            <a:xfrm flipH="1">
              <a:off x="722745" y="2285351"/>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custDataLst>
                <p:tags r:id="rId21"/>
              </p:custDataLst>
            </p:nvPr>
          </p:nvCxnSpPr>
          <p:spPr bwMode="gray">
            <a:xfrm flipH="1">
              <a:off x="722745" y="271498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custDataLst>
                <p:tags r:id="rId22"/>
              </p:custDataLst>
            </p:nvPr>
          </p:nvCxnSpPr>
          <p:spPr bwMode="gray">
            <a:xfrm flipH="1">
              <a:off x="722745" y="6152045"/>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custDataLst>
                <p:tags r:id="rId23"/>
              </p:custDataLst>
            </p:nvPr>
          </p:nvCxnSpPr>
          <p:spPr bwMode="gray">
            <a:xfrm flipH="1">
              <a:off x="722745" y="185571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custDataLst>
                <p:tags r:id="rId24"/>
              </p:custDataLst>
            </p:nvPr>
          </p:nvCxnSpPr>
          <p:spPr bwMode="gray">
            <a:xfrm flipH="1">
              <a:off x="722745" y="3144617"/>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p:custDataLst>
                <p:tags r:id="rId25"/>
              </p:custDataLst>
            </p:nvPr>
          </p:nvCxnSpPr>
          <p:spPr bwMode="gray">
            <a:xfrm flipH="1">
              <a:off x="722745" y="3574250"/>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custDataLst>
                <p:tags r:id="rId26"/>
              </p:custDataLst>
            </p:nvPr>
          </p:nvCxnSpPr>
          <p:spPr bwMode="gray">
            <a:xfrm flipH="1">
              <a:off x="722745" y="5722413"/>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38" name="TextBox 37"/>
            <p:cNvSpPr txBox="1"/>
            <p:nvPr>
              <p:custDataLst>
                <p:tags r:id="rId27"/>
              </p:custDataLst>
            </p:nvPr>
          </p:nvSpPr>
          <p:spPr bwMode="gray">
            <a:xfrm>
              <a:off x="409467" y="5641622"/>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a:t>
              </a:r>
              <a:endParaRPr lang="en-US" sz="1050">
                <a:effectLst/>
                <a:latin typeface="Arial"/>
              </a:endParaRPr>
            </a:p>
          </p:txBody>
        </p:sp>
        <p:sp>
          <p:nvSpPr>
            <p:cNvPr id="41" name="TextBox 40"/>
            <p:cNvSpPr txBox="1"/>
            <p:nvPr>
              <p:custDataLst>
                <p:tags r:id="rId28"/>
              </p:custDataLst>
            </p:nvPr>
          </p:nvSpPr>
          <p:spPr bwMode="gray">
            <a:xfrm>
              <a:off x="484354" y="6071253"/>
              <a:ext cx="238243"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0%</a:t>
              </a:r>
              <a:endParaRPr lang="en-US" sz="1050">
                <a:effectLst/>
                <a:latin typeface="Arial"/>
              </a:endParaRPr>
            </a:p>
          </p:txBody>
        </p:sp>
        <p:sp>
          <p:nvSpPr>
            <p:cNvPr id="46" name="TextBox 45"/>
            <p:cNvSpPr txBox="1"/>
            <p:nvPr>
              <p:custDataLst>
                <p:tags r:id="rId29"/>
              </p:custDataLst>
            </p:nvPr>
          </p:nvSpPr>
          <p:spPr bwMode="gray">
            <a:xfrm>
              <a:off x="409467" y="5211988"/>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20%</a:t>
              </a:r>
              <a:endParaRPr lang="en-US" sz="1050">
                <a:effectLst/>
                <a:latin typeface="Arial"/>
              </a:endParaRPr>
            </a:p>
          </p:txBody>
        </p:sp>
        <p:sp>
          <p:nvSpPr>
            <p:cNvPr id="48" name="TextBox 47"/>
            <p:cNvSpPr txBox="1"/>
            <p:nvPr>
              <p:custDataLst>
                <p:tags r:id="rId30"/>
              </p:custDataLst>
            </p:nvPr>
          </p:nvSpPr>
          <p:spPr bwMode="gray">
            <a:xfrm>
              <a:off x="409467" y="2634193"/>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80%</a:t>
              </a:r>
              <a:endParaRPr lang="en-US" sz="1050">
                <a:effectLst/>
                <a:latin typeface="Arial"/>
              </a:endParaRPr>
            </a:p>
          </p:txBody>
        </p:sp>
        <p:sp>
          <p:nvSpPr>
            <p:cNvPr id="47" name="TextBox 46"/>
            <p:cNvSpPr txBox="1"/>
            <p:nvPr>
              <p:custDataLst>
                <p:tags r:id="rId31"/>
              </p:custDataLst>
            </p:nvPr>
          </p:nvSpPr>
          <p:spPr bwMode="gray">
            <a:xfrm>
              <a:off x="409467" y="3063825"/>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70%</a:t>
              </a:r>
              <a:endParaRPr lang="en-US" sz="1050">
                <a:effectLst/>
                <a:latin typeface="Arial"/>
              </a:endParaRPr>
            </a:p>
          </p:txBody>
        </p:sp>
        <p:sp>
          <p:nvSpPr>
            <p:cNvPr id="39" name="TextBox 38"/>
            <p:cNvSpPr txBox="1"/>
            <p:nvPr>
              <p:custDataLst>
                <p:tags r:id="rId32"/>
              </p:custDataLst>
            </p:nvPr>
          </p:nvSpPr>
          <p:spPr bwMode="gray">
            <a:xfrm>
              <a:off x="332720" y="1774927"/>
              <a:ext cx="389877"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0%</a:t>
              </a:r>
              <a:endParaRPr lang="en-US" sz="1050">
                <a:effectLst/>
                <a:latin typeface="Arial"/>
              </a:endParaRPr>
            </a:p>
          </p:txBody>
        </p:sp>
        <p:sp>
          <p:nvSpPr>
            <p:cNvPr id="40" name="TextBox 39"/>
            <p:cNvSpPr txBox="1"/>
            <p:nvPr>
              <p:custDataLst>
                <p:tags r:id="rId33"/>
              </p:custDataLst>
            </p:nvPr>
          </p:nvSpPr>
          <p:spPr bwMode="gray">
            <a:xfrm>
              <a:off x="409467" y="2204559"/>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90%</a:t>
              </a:r>
              <a:endParaRPr lang="en-US" sz="1050">
                <a:effectLst/>
                <a:latin typeface="Arial"/>
              </a:endParaRPr>
            </a:p>
          </p:txBody>
        </p:sp>
        <p:sp>
          <p:nvSpPr>
            <p:cNvPr id="42" name="TextBox 41"/>
            <p:cNvSpPr txBox="1"/>
            <p:nvPr>
              <p:custDataLst>
                <p:tags r:id="rId34"/>
              </p:custDataLst>
            </p:nvPr>
          </p:nvSpPr>
          <p:spPr bwMode="gray">
            <a:xfrm>
              <a:off x="409467" y="4352723"/>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40%</a:t>
              </a:r>
              <a:endParaRPr lang="en-US" sz="1050">
                <a:effectLst/>
                <a:latin typeface="Arial"/>
              </a:endParaRPr>
            </a:p>
          </p:txBody>
        </p:sp>
        <p:sp>
          <p:nvSpPr>
            <p:cNvPr id="45" name="TextBox 44"/>
            <p:cNvSpPr txBox="1"/>
            <p:nvPr>
              <p:custDataLst>
                <p:tags r:id="rId35"/>
              </p:custDataLst>
            </p:nvPr>
          </p:nvSpPr>
          <p:spPr bwMode="gray">
            <a:xfrm>
              <a:off x="409467" y="4782356"/>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30%</a:t>
              </a:r>
              <a:endParaRPr lang="en-US" sz="1050">
                <a:effectLst/>
                <a:latin typeface="Arial"/>
              </a:endParaRPr>
            </a:p>
          </p:txBody>
        </p:sp>
        <p:sp>
          <p:nvSpPr>
            <p:cNvPr id="43" name="TextBox 42"/>
            <p:cNvSpPr txBox="1"/>
            <p:nvPr>
              <p:custDataLst>
                <p:tags r:id="rId36"/>
              </p:custDataLst>
            </p:nvPr>
          </p:nvSpPr>
          <p:spPr bwMode="gray">
            <a:xfrm>
              <a:off x="409467" y="3493458"/>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60%</a:t>
              </a:r>
              <a:endParaRPr lang="en-US" sz="1050" dirty="0">
                <a:effectLst/>
                <a:latin typeface="Arial"/>
              </a:endParaRPr>
            </a:p>
          </p:txBody>
        </p:sp>
        <p:sp>
          <p:nvSpPr>
            <p:cNvPr id="44" name="TextBox 43"/>
            <p:cNvSpPr txBox="1"/>
            <p:nvPr>
              <p:custDataLst>
                <p:tags r:id="rId37"/>
              </p:custDataLst>
            </p:nvPr>
          </p:nvSpPr>
          <p:spPr bwMode="gray">
            <a:xfrm>
              <a:off x="409467" y="3923090"/>
              <a:ext cx="313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50%</a:t>
              </a:r>
              <a:endParaRPr lang="en-US" sz="1050">
                <a:effectLst/>
                <a:latin typeface="Arial"/>
              </a:endParaRPr>
            </a:p>
          </p:txBody>
        </p:sp>
        <p:sp>
          <p:nvSpPr>
            <p:cNvPr id="58" name="TextBox 57"/>
            <p:cNvSpPr txBox="1"/>
            <p:nvPr>
              <p:custDataLst>
                <p:tags r:id="rId38"/>
              </p:custDataLst>
            </p:nvPr>
          </p:nvSpPr>
          <p:spPr bwMode="gray">
            <a:xfrm>
              <a:off x="7032730" y="6215545"/>
              <a:ext cx="47026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Source</a:t>
              </a:r>
              <a:endParaRPr lang="en-US" sz="1050">
                <a:effectLst/>
                <a:latin typeface="Arial"/>
              </a:endParaRPr>
            </a:p>
          </p:txBody>
        </p:sp>
        <p:sp>
          <p:nvSpPr>
            <p:cNvPr id="50" name="TextBox 49"/>
            <p:cNvSpPr txBox="1"/>
            <p:nvPr>
              <p:custDataLst>
                <p:tags r:id="rId39"/>
              </p:custDataLst>
            </p:nvPr>
          </p:nvSpPr>
          <p:spPr bwMode="gray">
            <a:xfrm>
              <a:off x="4144297" y="6215545"/>
              <a:ext cx="1051679"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Institutional Type</a:t>
              </a:r>
              <a:endParaRPr lang="en-US" sz="1050">
                <a:effectLst/>
                <a:latin typeface="Arial"/>
              </a:endParaRPr>
            </a:p>
          </p:txBody>
        </p:sp>
        <p:sp>
          <p:nvSpPr>
            <p:cNvPr id="51" name="TextBox 50"/>
            <p:cNvSpPr txBox="1"/>
            <p:nvPr>
              <p:custDataLst>
                <p:tags r:id="rId40"/>
              </p:custDataLst>
            </p:nvPr>
          </p:nvSpPr>
          <p:spPr bwMode="gray">
            <a:xfrm>
              <a:off x="1560344" y="6215545"/>
              <a:ext cx="10241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Institutional Size</a:t>
              </a:r>
              <a:endParaRPr lang="en-US" sz="1050">
                <a:effectLst/>
                <a:latin typeface="Arial"/>
              </a:endParaRPr>
            </a:p>
          </p:txBody>
        </p:sp>
        <p:sp>
          <p:nvSpPr>
            <p:cNvPr id="62" name="TextBox 61"/>
            <p:cNvSpPr txBox="1"/>
            <p:nvPr>
              <p:custDataLst>
                <p:tags r:id="rId41"/>
              </p:custDataLst>
            </p:nvPr>
          </p:nvSpPr>
          <p:spPr bwMode="gray">
            <a:xfrm>
              <a:off x="4351437" y="5065044"/>
              <a:ext cx="637400"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Four-Year</a:t>
              </a:r>
            </a:p>
            <a:p>
              <a:pPr algn="ctr"/>
              <a:r>
                <a:rPr lang="en-US" sz="1050" smtClean="0">
                  <a:solidFill>
                    <a:schemeClr val="bg1"/>
                  </a:solidFill>
                  <a:effectLst/>
                  <a:latin typeface="Arial"/>
                </a:rPr>
                <a:t>Private</a:t>
              </a:r>
            </a:p>
            <a:p>
              <a:pPr algn="ctr"/>
              <a:r>
                <a:rPr lang="en-US" sz="1050" smtClean="0">
                  <a:solidFill>
                    <a:schemeClr val="bg1"/>
                  </a:solidFill>
                  <a:effectLst/>
                  <a:latin typeface="Arial"/>
                </a:rPr>
                <a:t>39%</a:t>
              </a:r>
              <a:endParaRPr lang="en-US" sz="1050">
                <a:solidFill>
                  <a:schemeClr val="bg1"/>
                </a:solidFill>
                <a:effectLst/>
                <a:latin typeface="Arial"/>
              </a:endParaRPr>
            </a:p>
          </p:txBody>
        </p:sp>
        <p:sp>
          <p:nvSpPr>
            <p:cNvPr id="61" name="TextBox 60"/>
            <p:cNvSpPr txBox="1"/>
            <p:nvPr>
              <p:custDataLst>
                <p:tags r:id="rId42"/>
              </p:custDataLst>
            </p:nvPr>
          </p:nvSpPr>
          <p:spPr bwMode="gray">
            <a:xfrm>
              <a:off x="1491899" y="2062570"/>
              <a:ext cx="1161020" cy="161583"/>
            </a:xfrm>
            <a:prstGeom prst="rect">
              <a:avLst/>
            </a:prstGeom>
            <a:noFill/>
            <a:ln cmpd="sng">
              <a:noFill/>
            </a:ln>
            <a:effectLst/>
            <a:extLst>
              <a:ext uri="{909E8E84-426E-40DD-AFC4-6F175D3DCCD1}">
                <a14:hiddenFill xmlns:a14="http://schemas.microsoft.com/office/drawing/2010/main">
                  <a:solidFill>
                    <a:srgbClr val="C1D0ED"/>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Under 1,000   13%</a:t>
              </a:r>
              <a:endParaRPr lang="en-US" sz="1050" dirty="0">
                <a:effectLst/>
                <a:latin typeface="Arial"/>
              </a:endParaRPr>
            </a:p>
          </p:txBody>
        </p:sp>
        <p:sp>
          <p:nvSpPr>
            <p:cNvPr id="63" name="TextBox 62"/>
            <p:cNvSpPr txBox="1"/>
            <p:nvPr>
              <p:custDataLst>
                <p:tags r:id="rId43"/>
              </p:custDataLst>
            </p:nvPr>
          </p:nvSpPr>
          <p:spPr bwMode="gray">
            <a:xfrm>
              <a:off x="4366395" y="2510001"/>
              <a:ext cx="607484"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Two-Year</a:t>
              </a:r>
            </a:p>
            <a:p>
              <a:pPr algn="ctr"/>
              <a:r>
                <a:rPr lang="en-US" sz="1050" smtClean="0">
                  <a:effectLst/>
                  <a:latin typeface="Arial"/>
                </a:rPr>
                <a:t>38%</a:t>
              </a:r>
              <a:endParaRPr lang="en-US" sz="1050">
                <a:effectLst/>
                <a:latin typeface="Arial"/>
              </a:endParaRPr>
            </a:p>
          </p:txBody>
        </p:sp>
        <p:sp>
          <p:nvSpPr>
            <p:cNvPr id="56" name="TextBox 55"/>
            <p:cNvSpPr txBox="1"/>
            <p:nvPr>
              <p:custDataLst>
                <p:tags r:id="rId44"/>
              </p:custDataLst>
            </p:nvPr>
          </p:nvSpPr>
          <p:spPr bwMode="gray">
            <a:xfrm>
              <a:off x="4351437" y="3732744"/>
              <a:ext cx="637400"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Four-Year</a:t>
              </a:r>
            </a:p>
            <a:p>
              <a:pPr algn="ctr"/>
              <a:r>
                <a:rPr lang="en-US" sz="1050" smtClean="0">
                  <a:solidFill>
                    <a:schemeClr val="bg1"/>
                  </a:solidFill>
                  <a:effectLst/>
                  <a:latin typeface="Arial"/>
                </a:rPr>
                <a:t>Public</a:t>
              </a:r>
            </a:p>
            <a:p>
              <a:pPr algn="ctr"/>
              <a:r>
                <a:rPr lang="en-US" sz="1050" smtClean="0">
                  <a:solidFill>
                    <a:schemeClr val="bg1"/>
                  </a:solidFill>
                  <a:effectLst/>
                  <a:latin typeface="Arial"/>
                </a:rPr>
                <a:t>23%</a:t>
              </a:r>
              <a:endParaRPr lang="en-US" sz="1050">
                <a:solidFill>
                  <a:schemeClr val="bg1"/>
                </a:solidFill>
                <a:effectLst/>
                <a:latin typeface="Arial"/>
              </a:endParaRPr>
            </a:p>
          </p:txBody>
        </p:sp>
        <p:sp>
          <p:nvSpPr>
            <p:cNvPr id="69" name="TextBox 68"/>
            <p:cNvSpPr txBox="1"/>
            <p:nvPr>
              <p:custDataLst>
                <p:tags r:id="rId45"/>
              </p:custDataLst>
            </p:nvPr>
          </p:nvSpPr>
          <p:spPr bwMode="gray">
            <a:xfrm>
              <a:off x="1805354" y="5838912"/>
              <a:ext cx="534109"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20,000+</a:t>
              </a:r>
            </a:p>
            <a:p>
              <a:pPr algn="ctr"/>
              <a:r>
                <a:rPr lang="en-US" sz="1050" smtClean="0">
                  <a:solidFill>
                    <a:schemeClr val="bg1"/>
                  </a:solidFill>
                  <a:effectLst/>
                  <a:latin typeface="Arial"/>
                </a:rPr>
                <a:t>7%</a:t>
              </a:r>
              <a:endParaRPr lang="en-US" sz="1050">
                <a:solidFill>
                  <a:schemeClr val="bg1"/>
                </a:solidFill>
                <a:effectLst/>
                <a:latin typeface="Arial"/>
              </a:endParaRPr>
            </a:p>
          </p:txBody>
        </p:sp>
        <p:sp>
          <p:nvSpPr>
            <p:cNvPr id="60" name="TextBox 59"/>
            <p:cNvSpPr txBox="1"/>
            <p:nvPr>
              <p:custDataLst>
                <p:tags r:id="rId46"/>
              </p:custDataLst>
            </p:nvPr>
          </p:nvSpPr>
          <p:spPr bwMode="gray">
            <a:xfrm>
              <a:off x="6957509" y="4827143"/>
              <a:ext cx="620709"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NACADA</a:t>
              </a:r>
            </a:p>
            <a:p>
              <a:pPr algn="ctr"/>
              <a:r>
                <a:rPr lang="en-US" sz="1050" smtClean="0">
                  <a:solidFill>
                    <a:schemeClr val="bg1"/>
                  </a:solidFill>
                  <a:effectLst/>
                  <a:latin typeface="Arial"/>
                </a:rPr>
                <a:t>31%</a:t>
              </a:r>
              <a:endParaRPr lang="en-US" sz="1050">
                <a:solidFill>
                  <a:schemeClr val="bg1"/>
                </a:solidFill>
                <a:effectLst/>
                <a:latin typeface="Arial"/>
              </a:endParaRPr>
            </a:p>
          </p:txBody>
        </p:sp>
        <p:sp>
          <p:nvSpPr>
            <p:cNvPr id="65" name="TextBox 64"/>
            <p:cNvSpPr txBox="1"/>
            <p:nvPr>
              <p:custDataLst>
                <p:tags r:id="rId47"/>
              </p:custDataLst>
            </p:nvPr>
          </p:nvSpPr>
          <p:spPr bwMode="gray">
            <a:xfrm>
              <a:off x="7010375" y="5646412"/>
              <a:ext cx="514977"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NACAC</a:t>
              </a:r>
            </a:p>
            <a:p>
              <a:pPr algn="ctr"/>
              <a:r>
                <a:rPr lang="en-US" sz="1050" smtClean="0">
                  <a:solidFill>
                    <a:schemeClr val="bg1"/>
                  </a:solidFill>
                  <a:effectLst/>
                  <a:latin typeface="Arial"/>
                </a:rPr>
                <a:t>7%</a:t>
              </a:r>
              <a:endParaRPr lang="en-US" sz="1050">
                <a:solidFill>
                  <a:schemeClr val="bg1"/>
                </a:solidFill>
                <a:effectLst/>
                <a:latin typeface="Arial"/>
              </a:endParaRPr>
            </a:p>
          </p:txBody>
        </p:sp>
        <p:sp>
          <p:nvSpPr>
            <p:cNvPr id="64" name="TextBox 63"/>
            <p:cNvSpPr txBox="1"/>
            <p:nvPr>
              <p:custDataLst>
                <p:tags r:id="rId48"/>
              </p:custDataLst>
            </p:nvPr>
          </p:nvSpPr>
          <p:spPr bwMode="gray">
            <a:xfrm>
              <a:off x="7092725" y="2928416"/>
              <a:ext cx="350277"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MDR</a:t>
              </a:r>
            </a:p>
            <a:p>
              <a:pPr algn="ctr"/>
              <a:r>
                <a:rPr lang="en-US" sz="1050" smtClean="0">
                  <a:solidFill>
                    <a:schemeClr val="bg1"/>
                  </a:solidFill>
                  <a:effectLst/>
                  <a:latin typeface="Arial"/>
                </a:rPr>
                <a:t>57%</a:t>
              </a:r>
              <a:endParaRPr lang="en-US" sz="1050">
                <a:solidFill>
                  <a:schemeClr val="bg1"/>
                </a:solidFill>
                <a:effectLst/>
                <a:latin typeface="Arial"/>
              </a:endParaRPr>
            </a:p>
          </p:txBody>
        </p:sp>
        <p:sp>
          <p:nvSpPr>
            <p:cNvPr id="59" name="TextBox 58"/>
            <p:cNvSpPr txBox="1"/>
            <p:nvPr>
              <p:custDataLst>
                <p:tags r:id="rId49"/>
              </p:custDataLst>
            </p:nvPr>
          </p:nvSpPr>
          <p:spPr bwMode="gray">
            <a:xfrm>
              <a:off x="6873093" y="5976640"/>
              <a:ext cx="789541"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NASPA   4%</a:t>
              </a:r>
              <a:endParaRPr lang="en-US" sz="1050">
                <a:effectLst/>
                <a:latin typeface="Arial"/>
              </a:endParaRPr>
            </a:p>
          </p:txBody>
        </p:sp>
        <p:sp>
          <p:nvSpPr>
            <p:cNvPr id="72" name="TextBox 71"/>
            <p:cNvSpPr txBox="1"/>
            <p:nvPr>
              <p:custDataLst>
                <p:tags r:id="rId50"/>
              </p:custDataLst>
            </p:nvPr>
          </p:nvSpPr>
          <p:spPr bwMode="gray">
            <a:xfrm>
              <a:off x="1691215" y="3399061"/>
              <a:ext cx="762387"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1,000-5,000</a:t>
              </a:r>
            </a:p>
            <a:p>
              <a:pPr algn="ctr"/>
              <a:r>
                <a:rPr lang="en-US" sz="1050" smtClean="0">
                  <a:effectLst/>
                  <a:latin typeface="Arial"/>
                </a:rPr>
                <a:t>53%</a:t>
              </a:r>
              <a:endParaRPr lang="en-US" sz="1050">
                <a:effectLst/>
                <a:latin typeface="Arial"/>
              </a:endParaRPr>
            </a:p>
          </p:txBody>
        </p:sp>
        <p:sp>
          <p:nvSpPr>
            <p:cNvPr id="73" name="TextBox 72"/>
            <p:cNvSpPr txBox="1"/>
            <p:nvPr>
              <p:custDataLst>
                <p:tags r:id="rId51"/>
              </p:custDataLst>
            </p:nvPr>
          </p:nvSpPr>
          <p:spPr bwMode="gray">
            <a:xfrm>
              <a:off x="1616328" y="5447886"/>
              <a:ext cx="912161"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0,000-20,000</a:t>
              </a:r>
            </a:p>
            <a:p>
              <a:pPr algn="ctr"/>
              <a:r>
                <a:rPr lang="en-US" sz="1050" smtClean="0">
                  <a:solidFill>
                    <a:schemeClr val="bg1"/>
                  </a:solidFill>
                  <a:effectLst/>
                  <a:latin typeface="Arial"/>
                </a:rPr>
                <a:t>11%</a:t>
              </a:r>
              <a:endParaRPr lang="en-US" sz="1050">
                <a:solidFill>
                  <a:schemeClr val="bg1"/>
                </a:solidFill>
                <a:effectLst/>
                <a:latin typeface="Arial"/>
              </a:endParaRPr>
            </a:p>
          </p:txBody>
        </p:sp>
        <p:sp>
          <p:nvSpPr>
            <p:cNvPr id="75" name="TextBox 74"/>
            <p:cNvSpPr txBox="1"/>
            <p:nvPr>
              <p:custDataLst>
                <p:tags r:id="rId52"/>
              </p:custDataLst>
            </p:nvPr>
          </p:nvSpPr>
          <p:spPr bwMode="gray">
            <a:xfrm>
              <a:off x="1653772" y="4868556"/>
              <a:ext cx="837274"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5,000-10,000</a:t>
              </a:r>
            </a:p>
            <a:p>
              <a:pPr algn="ctr"/>
              <a:r>
                <a:rPr lang="en-US" sz="1050" smtClean="0">
                  <a:solidFill>
                    <a:schemeClr val="bg1"/>
                  </a:solidFill>
                  <a:effectLst/>
                  <a:latin typeface="Arial"/>
                </a:rPr>
                <a:t>16%</a:t>
              </a:r>
              <a:endParaRPr lang="en-US" sz="1050">
                <a:solidFill>
                  <a:schemeClr val="bg1"/>
                </a:solidFill>
                <a:effectLst/>
                <a:latin typeface="Arial"/>
              </a:endParaRPr>
            </a:p>
          </p:txBody>
        </p:sp>
      </p:grpSp>
      <p:sp>
        <p:nvSpPr>
          <p:cNvPr id="74" name="Content Placeholder 1"/>
          <p:cNvSpPr>
            <a:spLocks noGrp="1"/>
          </p:cNvSpPr>
          <p:nvPr>
            <p:ph idx="13"/>
          </p:nvPr>
        </p:nvSpPr>
        <p:spPr>
          <a:xfrm>
            <a:off x="526143" y="6126165"/>
            <a:ext cx="6291218" cy="643102"/>
          </a:xfrm>
        </p:spPr>
        <p:txBody>
          <a:bodyPr>
            <a:normAutofit/>
          </a:bodyPr>
          <a:lstStyle/>
          <a:p>
            <a:r>
              <a:rPr lang="en-US" sz="900" dirty="0" smtClean="0"/>
              <a:t>Sources: Tyton Partners Analysis</a:t>
            </a:r>
          </a:p>
        </p:txBody>
      </p:sp>
      <p:sp>
        <p:nvSpPr>
          <p:cNvPr id="152" name="TextBox 151"/>
          <p:cNvSpPr txBox="1"/>
          <p:nvPr/>
        </p:nvSpPr>
        <p:spPr>
          <a:xfrm>
            <a:off x="409467" y="1176131"/>
            <a:ext cx="8157260" cy="461665"/>
          </a:xfrm>
          <a:prstGeom prst="rect">
            <a:avLst/>
          </a:prstGeom>
          <a:noFill/>
        </p:spPr>
        <p:txBody>
          <a:bodyPr wrap="square" rtlCol="0">
            <a:spAutoFit/>
          </a:bodyPr>
          <a:lstStyle/>
          <a:p>
            <a:pPr algn="ctr"/>
            <a:r>
              <a:rPr lang="en-US" sz="1200" b="1" dirty="0" smtClean="0"/>
              <a:t>Survey Respondents by Demographics, Institutional Size, Institution Type</a:t>
            </a:r>
          </a:p>
          <a:p>
            <a:pPr algn="ctr"/>
            <a:r>
              <a:rPr lang="en-US" sz="1200" dirty="0" smtClean="0"/>
              <a:t>Size/Type: n = 1,096</a:t>
            </a:r>
            <a:endParaRPr lang="en-US" sz="1200" dirty="0"/>
          </a:p>
        </p:txBody>
      </p:sp>
    </p:spTree>
    <p:extLst>
      <p:ext uri="{BB962C8B-B14F-4D97-AF65-F5344CB8AC3E}">
        <p14:creationId xmlns:p14="http://schemas.microsoft.com/office/powerpoint/2010/main" val="29378442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56061281-BD0D-6F47-BBB8-8F6BE6AA34E7}" type="slidenum">
              <a:rPr lang="en-US" smtClean="0"/>
              <a:pPr/>
              <a:t>9</a:t>
            </a:fld>
            <a:endParaRPr lang="en-US" dirty="0"/>
          </a:p>
        </p:txBody>
      </p:sp>
      <p:sp>
        <p:nvSpPr>
          <p:cNvPr id="5" name="Content Placeholder 4"/>
          <p:cNvSpPr>
            <a:spLocks noGrp="1"/>
          </p:cNvSpPr>
          <p:nvPr>
            <p:ph idx="14"/>
          </p:nvPr>
        </p:nvSpPr>
        <p:spPr/>
        <p:txBody>
          <a:bodyPr/>
          <a:lstStyle/>
          <a:p>
            <a:r>
              <a:rPr lang="en-US" dirty="0" smtClean="0"/>
              <a:t>Survey Respondents Demographic Summary:    Functional Area and Title</a:t>
            </a:r>
            <a:endParaRPr lang="en-US" dirty="0"/>
          </a:p>
        </p:txBody>
      </p:sp>
      <p:grpSp>
        <p:nvGrpSpPr>
          <p:cNvPr id="24" name="Group 23"/>
          <p:cNvGrpSpPr/>
          <p:nvPr>
            <p:custDataLst>
              <p:tags r:id="rId1"/>
            </p:custDataLst>
          </p:nvPr>
        </p:nvGrpSpPr>
        <p:grpSpPr>
          <a:xfrm>
            <a:off x="338174" y="1774927"/>
            <a:ext cx="8228553" cy="4602202"/>
            <a:chOff x="338174" y="1774927"/>
            <a:chExt cx="8228553" cy="4602202"/>
          </a:xfrm>
        </p:grpSpPr>
        <p:sp>
          <p:nvSpPr>
            <p:cNvPr id="89" name="Rectangle 88"/>
            <p:cNvSpPr/>
            <p:nvPr>
              <p:custDataLst>
                <p:tags r:id="rId2"/>
              </p:custDataLst>
            </p:nvPr>
          </p:nvSpPr>
          <p:spPr bwMode="gray">
            <a:xfrm>
              <a:off x="3858345" y="5353007"/>
              <a:ext cx="1623579" cy="799039"/>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0" name="Rectangle 89"/>
            <p:cNvSpPr/>
            <p:nvPr>
              <p:custDataLst>
                <p:tags r:id="rId3"/>
              </p:custDataLst>
            </p:nvPr>
          </p:nvSpPr>
          <p:spPr bwMode="gray">
            <a:xfrm>
              <a:off x="3858345" y="3989744"/>
              <a:ext cx="1623579" cy="705560"/>
            </a:xfrm>
            <a:prstGeom prst="rect">
              <a:avLst/>
            </a:prstGeom>
            <a:solidFill>
              <a:schemeClr val="accent6"/>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1" name="Rectangle 90"/>
            <p:cNvSpPr/>
            <p:nvPr>
              <p:custDataLst>
                <p:tags r:id="rId4"/>
              </p:custDataLst>
            </p:nvPr>
          </p:nvSpPr>
          <p:spPr bwMode="gray">
            <a:xfrm>
              <a:off x="3858345" y="2614496"/>
              <a:ext cx="1623579" cy="433528"/>
            </a:xfrm>
            <a:prstGeom prst="rect">
              <a:avLst/>
            </a:prstGeom>
            <a:solidFill>
              <a:schemeClr val="accent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2" name="Rectangle 91"/>
            <p:cNvSpPr/>
            <p:nvPr>
              <p:custDataLst>
                <p:tags r:id="rId5"/>
              </p:custDataLst>
            </p:nvPr>
          </p:nvSpPr>
          <p:spPr bwMode="gray">
            <a:xfrm>
              <a:off x="3858345" y="3048024"/>
              <a:ext cx="1623579" cy="941721"/>
            </a:xfrm>
            <a:prstGeom prst="rect">
              <a:avLst/>
            </a:prstGeom>
            <a:solidFill>
              <a:schemeClr val="accent5"/>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3" name="Rectangle 92"/>
            <p:cNvSpPr/>
            <p:nvPr>
              <p:custDataLst>
                <p:tags r:id="rId6"/>
              </p:custDataLst>
            </p:nvPr>
          </p:nvSpPr>
          <p:spPr bwMode="gray">
            <a:xfrm>
              <a:off x="3858345" y="4695304"/>
              <a:ext cx="1623579" cy="657702"/>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6" name="Rectangle 5"/>
            <p:cNvSpPr/>
            <p:nvPr>
              <p:custDataLst>
                <p:tags r:id="rId7"/>
              </p:custDataLst>
            </p:nvPr>
          </p:nvSpPr>
          <p:spPr bwMode="gray">
            <a:xfrm>
              <a:off x="6456073" y="5315331"/>
              <a:ext cx="1623579" cy="319765"/>
            </a:xfrm>
            <a:prstGeom prst="rect">
              <a:avLst/>
            </a:prstGeom>
            <a:solidFill>
              <a:schemeClr val="accent6"/>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4" name="Rectangle 3"/>
            <p:cNvSpPr/>
            <p:nvPr>
              <p:custDataLst>
                <p:tags r:id="rId8"/>
              </p:custDataLst>
            </p:nvPr>
          </p:nvSpPr>
          <p:spPr bwMode="gray">
            <a:xfrm>
              <a:off x="6456073" y="4698952"/>
              <a:ext cx="1623579" cy="616380"/>
            </a:xfrm>
            <a:prstGeom prst="rect">
              <a:avLst/>
            </a:prstGeom>
            <a:solidFill>
              <a:schemeClr val="accent5"/>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4" name="Rectangle 93"/>
            <p:cNvSpPr/>
            <p:nvPr>
              <p:custDataLst>
                <p:tags r:id="rId9"/>
              </p:custDataLst>
            </p:nvPr>
          </p:nvSpPr>
          <p:spPr bwMode="gray">
            <a:xfrm>
              <a:off x="3858345" y="1855719"/>
              <a:ext cx="1623579" cy="557578"/>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1" name="Rectangle 10"/>
            <p:cNvSpPr/>
            <p:nvPr>
              <p:custDataLst>
                <p:tags r:id="rId10"/>
              </p:custDataLst>
            </p:nvPr>
          </p:nvSpPr>
          <p:spPr bwMode="gray">
            <a:xfrm>
              <a:off x="6456073" y="5635096"/>
              <a:ext cx="1623579" cy="516950"/>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5" name="Rectangle 94"/>
            <p:cNvSpPr/>
            <p:nvPr>
              <p:custDataLst>
                <p:tags r:id="rId11"/>
              </p:custDataLst>
            </p:nvPr>
          </p:nvSpPr>
          <p:spPr bwMode="gray">
            <a:xfrm>
              <a:off x="3858345" y="2413297"/>
              <a:ext cx="1623579" cy="201199"/>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6" name="Rectangle 95"/>
            <p:cNvSpPr/>
            <p:nvPr>
              <p:custDataLst>
                <p:tags r:id="rId12"/>
              </p:custDataLst>
            </p:nvPr>
          </p:nvSpPr>
          <p:spPr bwMode="gray">
            <a:xfrm>
              <a:off x="1260618" y="2422727"/>
              <a:ext cx="1623579" cy="146032"/>
            </a:xfrm>
            <a:prstGeom prst="rect">
              <a:avLst/>
            </a:prstGeom>
            <a:solidFill>
              <a:schemeClr val="accent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7" name="Rectangle 96"/>
            <p:cNvSpPr/>
            <p:nvPr>
              <p:custDataLst>
                <p:tags r:id="rId13"/>
              </p:custDataLst>
            </p:nvPr>
          </p:nvSpPr>
          <p:spPr bwMode="gray">
            <a:xfrm>
              <a:off x="1260618" y="5113669"/>
              <a:ext cx="1623579" cy="1038377"/>
            </a:xfrm>
            <a:prstGeom prst="rect">
              <a:avLst/>
            </a:prstGeom>
            <a:solidFill>
              <a:schemeClr val="accent5"/>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8" name="Rectangle 97"/>
            <p:cNvSpPr/>
            <p:nvPr>
              <p:custDataLst>
                <p:tags r:id="rId14"/>
              </p:custDataLst>
            </p:nvPr>
          </p:nvSpPr>
          <p:spPr bwMode="gray">
            <a:xfrm>
              <a:off x="1260618" y="2909103"/>
              <a:ext cx="1623579" cy="379659"/>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9" name="Rectangle 98"/>
            <p:cNvSpPr/>
            <p:nvPr>
              <p:custDataLst>
                <p:tags r:id="rId15"/>
              </p:custDataLst>
            </p:nvPr>
          </p:nvSpPr>
          <p:spPr bwMode="gray">
            <a:xfrm>
              <a:off x="1260618" y="2568759"/>
              <a:ext cx="1623579" cy="195709"/>
            </a:xfrm>
            <a:prstGeom prst="rect">
              <a:avLst/>
            </a:prstGeom>
            <a:solidFill>
              <a:schemeClr val="accent5"/>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0" name="Rectangle 99"/>
            <p:cNvSpPr/>
            <p:nvPr>
              <p:custDataLst>
                <p:tags r:id="rId16"/>
              </p:custDataLst>
            </p:nvPr>
          </p:nvSpPr>
          <p:spPr bwMode="gray">
            <a:xfrm>
              <a:off x="1260618" y="2764469"/>
              <a:ext cx="1623579" cy="144635"/>
            </a:xfrm>
            <a:prstGeom prst="rect">
              <a:avLst/>
            </a:prstGeom>
            <a:solidFill>
              <a:schemeClr val="accent6"/>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1" name="Rectangle 100"/>
            <p:cNvSpPr/>
            <p:nvPr>
              <p:custDataLst>
                <p:tags r:id="rId17"/>
              </p:custDataLst>
            </p:nvPr>
          </p:nvSpPr>
          <p:spPr bwMode="gray">
            <a:xfrm>
              <a:off x="1260618" y="4185018"/>
              <a:ext cx="1623579" cy="928651"/>
            </a:xfrm>
            <a:prstGeom prst="rect">
              <a:avLst/>
            </a:prstGeom>
            <a:solidFill>
              <a:schemeClr val="accent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2" name="Rectangle 101"/>
            <p:cNvSpPr/>
            <p:nvPr>
              <p:custDataLst>
                <p:tags r:id="rId18"/>
              </p:custDataLst>
            </p:nvPr>
          </p:nvSpPr>
          <p:spPr bwMode="gray">
            <a:xfrm>
              <a:off x="1260618" y="1855719"/>
              <a:ext cx="1623579" cy="567009"/>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3" name="Rectangle 102"/>
            <p:cNvSpPr/>
            <p:nvPr>
              <p:custDataLst>
                <p:tags r:id="rId19"/>
              </p:custDataLst>
            </p:nvPr>
          </p:nvSpPr>
          <p:spPr bwMode="gray">
            <a:xfrm>
              <a:off x="1260618" y="3288762"/>
              <a:ext cx="1623579" cy="374479"/>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4" name="Rectangle 103"/>
            <p:cNvSpPr/>
            <p:nvPr>
              <p:custDataLst>
                <p:tags r:id="rId20"/>
              </p:custDataLst>
            </p:nvPr>
          </p:nvSpPr>
          <p:spPr bwMode="gray">
            <a:xfrm>
              <a:off x="1260618" y="3663242"/>
              <a:ext cx="1623579" cy="521777"/>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9" name="Rectangle 8"/>
            <p:cNvSpPr/>
            <p:nvPr>
              <p:custDataLst>
                <p:tags r:id="rId21"/>
              </p:custDataLst>
            </p:nvPr>
          </p:nvSpPr>
          <p:spPr bwMode="gray">
            <a:xfrm>
              <a:off x="6456073" y="1855719"/>
              <a:ext cx="1623579" cy="399792"/>
            </a:xfrm>
            <a:prstGeom prst="rect">
              <a:avLst/>
            </a:prstGeom>
            <a:solidFill>
              <a:schemeClr val="accent1"/>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10" name="Rectangle 9"/>
            <p:cNvSpPr/>
            <p:nvPr>
              <p:custDataLst>
                <p:tags r:id="rId22"/>
              </p:custDataLst>
            </p:nvPr>
          </p:nvSpPr>
          <p:spPr bwMode="gray">
            <a:xfrm>
              <a:off x="6456073" y="2255511"/>
              <a:ext cx="1623579" cy="1031640"/>
            </a:xfrm>
            <a:prstGeom prst="rect">
              <a:avLst/>
            </a:prstGeom>
            <a:solidFill>
              <a:schemeClr val="accent2"/>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2" name="Rectangle 1"/>
            <p:cNvSpPr/>
            <p:nvPr>
              <p:custDataLst>
                <p:tags r:id="rId23"/>
              </p:custDataLst>
            </p:nvPr>
          </p:nvSpPr>
          <p:spPr bwMode="gray">
            <a:xfrm>
              <a:off x="6456073" y="3952979"/>
              <a:ext cx="1623579" cy="745972"/>
            </a:xfrm>
            <a:prstGeom prst="rect">
              <a:avLst/>
            </a:prstGeom>
            <a:solidFill>
              <a:schemeClr val="accent4"/>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sp>
          <p:nvSpPr>
            <p:cNvPr id="7" name="Rectangle 6"/>
            <p:cNvSpPr/>
            <p:nvPr>
              <p:custDataLst>
                <p:tags r:id="rId24"/>
              </p:custDataLst>
            </p:nvPr>
          </p:nvSpPr>
          <p:spPr bwMode="gray">
            <a:xfrm>
              <a:off x="6456073" y="3287151"/>
              <a:ext cx="1623579" cy="665828"/>
            </a:xfrm>
            <a:prstGeom prst="rect">
              <a:avLst/>
            </a:prstGeom>
            <a:solidFill>
              <a:schemeClr val="accent3"/>
            </a:solidFill>
            <a:ln w="9525" cmpd="sng">
              <a:solidFill>
                <a:schemeClr val="bg1"/>
              </a:solidFill>
              <a:prstDash val="solid"/>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effectLst/>
              </a:endParaRPr>
            </a:p>
          </p:txBody>
        </p:sp>
        <p:cxnSp>
          <p:nvCxnSpPr>
            <p:cNvPr id="8" name="Straight Connector 7"/>
            <p:cNvCxnSpPr/>
            <p:nvPr>
              <p:custDataLst>
                <p:tags r:id="rId25"/>
              </p:custDataLst>
            </p:nvPr>
          </p:nvCxnSpPr>
          <p:spPr bwMode="gray">
            <a:xfrm flipV="1">
              <a:off x="773544" y="1855719"/>
              <a:ext cx="0" cy="4296327"/>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custDataLst>
                <p:tags r:id="rId26"/>
              </p:custDataLst>
            </p:nvPr>
          </p:nvCxnSpPr>
          <p:spPr bwMode="gray">
            <a:xfrm>
              <a:off x="773544" y="6152046"/>
              <a:ext cx="7793183"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custDataLst>
                <p:tags r:id="rId27"/>
              </p:custDataLst>
            </p:nvPr>
          </p:nvCxnSpPr>
          <p:spPr bwMode="gray">
            <a:xfrm flipH="1">
              <a:off x="722744" y="3574250"/>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custDataLst>
                <p:tags r:id="rId28"/>
              </p:custDataLst>
            </p:nvPr>
          </p:nvCxnSpPr>
          <p:spPr bwMode="gray">
            <a:xfrm flipH="1">
              <a:off x="722744" y="2714984"/>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custDataLst>
                <p:tags r:id="rId29"/>
              </p:custDataLst>
            </p:nvPr>
          </p:nvCxnSpPr>
          <p:spPr bwMode="gray">
            <a:xfrm flipH="1">
              <a:off x="722744" y="3144617"/>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custDataLst>
                <p:tags r:id="rId30"/>
              </p:custDataLst>
            </p:nvPr>
          </p:nvCxnSpPr>
          <p:spPr bwMode="gray">
            <a:xfrm flipH="1">
              <a:off x="722744" y="4003882"/>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custDataLst>
                <p:tags r:id="rId31"/>
              </p:custDataLst>
            </p:nvPr>
          </p:nvCxnSpPr>
          <p:spPr bwMode="gray">
            <a:xfrm flipH="1">
              <a:off x="722744" y="5722413"/>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custDataLst>
                <p:tags r:id="rId32"/>
              </p:custDataLst>
            </p:nvPr>
          </p:nvCxnSpPr>
          <p:spPr bwMode="gray">
            <a:xfrm flipH="1">
              <a:off x="722744" y="6152046"/>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custDataLst>
                <p:tags r:id="rId33"/>
              </p:custDataLst>
            </p:nvPr>
          </p:nvCxnSpPr>
          <p:spPr bwMode="gray">
            <a:xfrm flipH="1">
              <a:off x="722744" y="5292781"/>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custDataLst>
                <p:tags r:id="rId34"/>
              </p:custDataLst>
            </p:nvPr>
          </p:nvCxnSpPr>
          <p:spPr bwMode="gray">
            <a:xfrm flipH="1">
              <a:off x="722744" y="4433515"/>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custDataLst>
                <p:tags r:id="rId35"/>
              </p:custDataLst>
            </p:nvPr>
          </p:nvCxnSpPr>
          <p:spPr bwMode="gray">
            <a:xfrm flipH="1">
              <a:off x="722744" y="4863147"/>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custDataLst>
                <p:tags r:id="rId36"/>
              </p:custDataLst>
            </p:nvPr>
          </p:nvCxnSpPr>
          <p:spPr bwMode="gray">
            <a:xfrm flipH="1">
              <a:off x="722744" y="1855719"/>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custDataLst>
                <p:tags r:id="rId37"/>
              </p:custDataLst>
            </p:nvPr>
          </p:nvCxnSpPr>
          <p:spPr bwMode="gray">
            <a:xfrm flipH="1">
              <a:off x="722744" y="2285352"/>
              <a:ext cx="50800" cy="0"/>
            </a:xfrm>
            <a:prstGeom prst="line">
              <a:avLst/>
            </a:prstGeom>
            <a:ln w="9525" cmpd="sng">
              <a:solidFill>
                <a:schemeClr val="tx1"/>
              </a:solidFill>
              <a:prstDash val="solid"/>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44" name="TextBox 43"/>
            <p:cNvSpPr txBox="1"/>
            <p:nvPr>
              <p:custDataLst>
                <p:tags r:id="rId38"/>
              </p:custDataLst>
            </p:nvPr>
          </p:nvSpPr>
          <p:spPr bwMode="gray">
            <a:xfrm>
              <a:off x="414921" y="3923090"/>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50%</a:t>
              </a:r>
              <a:endParaRPr lang="en-US" sz="1050">
                <a:effectLst/>
                <a:latin typeface="Arial"/>
              </a:endParaRPr>
            </a:p>
          </p:txBody>
        </p:sp>
        <p:sp>
          <p:nvSpPr>
            <p:cNvPr id="46" name="TextBox 45"/>
            <p:cNvSpPr txBox="1"/>
            <p:nvPr>
              <p:custDataLst>
                <p:tags r:id="rId39"/>
              </p:custDataLst>
            </p:nvPr>
          </p:nvSpPr>
          <p:spPr bwMode="gray">
            <a:xfrm>
              <a:off x="414921" y="5211989"/>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20%</a:t>
              </a:r>
              <a:endParaRPr lang="en-US" sz="1050">
                <a:effectLst/>
                <a:latin typeface="Arial"/>
              </a:endParaRPr>
            </a:p>
          </p:txBody>
        </p:sp>
        <p:sp>
          <p:nvSpPr>
            <p:cNvPr id="40" name="TextBox 39"/>
            <p:cNvSpPr txBox="1"/>
            <p:nvPr>
              <p:custDataLst>
                <p:tags r:id="rId40"/>
              </p:custDataLst>
            </p:nvPr>
          </p:nvSpPr>
          <p:spPr bwMode="gray">
            <a:xfrm>
              <a:off x="414921" y="2204561"/>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90%</a:t>
              </a:r>
              <a:endParaRPr lang="en-US" sz="1050">
                <a:effectLst/>
                <a:latin typeface="Arial"/>
              </a:endParaRPr>
            </a:p>
          </p:txBody>
        </p:sp>
        <p:sp>
          <p:nvSpPr>
            <p:cNvPr id="41" name="TextBox 40"/>
            <p:cNvSpPr txBox="1"/>
            <p:nvPr>
              <p:custDataLst>
                <p:tags r:id="rId41"/>
              </p:custDataLst>
            </p:nvPr>
          </p:nvSpPr>
          <p:spPr bwMode="gray">
            <a:xfrm>
              <a:off x="489808" y="6071255"/>
              <a:ext cx="232788"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0%</a:t>
              </a:r>
              <a:endParaRPr lang="en-US" sz="1050">
                <a:effectLst/>
                <a:latin typeface="Arial"/>
              </a:endParaRPr>
            </a:p>
          </p:txBody>
        </p:sp>
        <p:sp>
          <p:nvSpPr>
            <p:cNvPr id="38" name="TextBox 37"/>
            <p:cNvSpPr txBox="1"/>
            <p:nvPr>
              <p:custDataLst>
                <p:tags r:id="rId42"/>
              </p:custDataLst>
            </p:nvPr>
          </p:nvSpPr>
          <p:spPr bwMode="gray">
            <a:xfrm>
              <a:off x="414921" y="5641622"/>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a:t>
              </a:r>
              <a:endParaRPr lang="en-US" sz="1050">
                <a:effectLst/>
                <a:latin typeface="Arial"/>
              </a:endParaRPr>
            </a:p>
          </p:txBody>
        </p:sp>
        <p:sp>
          <p:nvSpPr>
            <p:cNvPr id="45" name="TextBox 44"/>
            <p:cNvSpPr txBox="1"/>
            <p:nvPr>
              <p:custDataLst>
                <p:tags r:id="rId43"/>
              </p:custDataLst>
            </p:nvPr>
          </p:nvSpPr>
          <p:spPr bwMode="gray">
            <a:xfrm>
              <a:off x="414921" y="4782356"/>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30%</a:t>
              </a:r>
              <a:endParaRPr lang="en-US" sz="1050">
                <a:effectLst/>
                <a:latin typeface="Arial"/>
              </a:endParaRPr>
            </a:p>
          </p:txBody>
        </p:sp>
        <p:sp>
          <p:nvSpPr>
            <p:cNvPr id="42" name="TextBox 41"/>
            <p:cNvSpPr txBox="1"/>
            <p:nvPr>
              <p:custDataLst>
                <p:tags r:id="rId44"/>
              </p:custDataLst>
            </p:nvPr>
          </p:nvSpPr>
          <p:spPr bwMode="gray">
            <a:xfrm>
              <a:off x="414921" y="4352724"/>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40%</a:t>
              </a:r>
              <a:endParaRPr lang="en-US" sz="1050">
                <a:effectLst/>
                <a:latin typeface="Arial"/>
              </a:endParaRPr>
            </a:p>
          </p:txBody>
        </p:sp>
        <p:sp>
          <p:nvSpPr>
            <p:cNvPr id="39" name="TextBox 38"/>
            <p:cNvSpPr txBox="1"/>
            <p:nvPr>
              <p:custDataLst>
                <p:tags r:id="rId45"/>
              </p:custDataLst>
            </p:nvPr>
          </p:nvSpPr>
          <p:spPr bwMode="gray">
            <a:xfrm>
              <a:off x="338174" y="1774927"/>
              <a:ext cx="384422"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100%</a:t>
              </a:r>
              <a:endParaRPr lang="en-US" sz="1050">
                <a:effectLst/>
                <a:latin typeface="Arial"/>
              </a:endParaRPr>
            </a:p>
          </p:txBody>
        </p:sp>
        <p:sp>
          <p:nvSpPr>
            <p:cNvPr id="43" name="TextBox 42"/>
            <p:cNvSpPr txBox="1"/>
            <p:nvPr>
              <p:custDataLst>
                <p:tags r:id="rId46"/>
              </p:custDataLst>
            </p:nvPr>
          </p:nvSpPr>
          <p:spPr bwMode="gray">
            <a:xfrm>
              <a:off x="414921" y="3493458"/>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60%</a:t>
              </a:r>
              <a:endParaRPr lang="en-US" sz="1050">
                <a:effectLst/>
                <a:latin typeface="Arial"/>
              </a:endParaRPr>
            </a:p>
          </p:txBody>
        </p:sp>
        <p:sp>
          <p:nvSpPr>
            <p:cNvPr id="48" name="TextBox 47"/>
            <p:cNvSpPr txBox="1"/>
            <p:nvPr>
              <p:custDataLst>
                <p:tags r:id="rId47"/>
              </p:custDataLst>
            </p:nvPr>
          </p:nvSpPr>
          <p:spPr bwMode="gray">
            <a:xfrm>
              <a:off x="414921" y="2634193"/>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80%</a:t>
              </a:r>
              <a:endParaRPr lang="en-US" sz="1050">
                <a:effectLst/>
                <a:latin typeface="Arial"/>
              </a:endParaRPr>
            </a:p>
          </p:txBody>
        </p:sp>
        <p:sp>
          <p:nvSpPr>
            <p:cNvPr id="47" name="TextBox 46"/>
            <p:cNvSpPr txBox="1"/>
            <p:nvPr>
              <p:custDataLst>
                <p:tags r:id="rId48"/>
              </p:custDataLst>
            </p:nvPr>
          </p:nvSpPr>
          <p:spPr bwMode="gray">
            <a:xfrm>
              <a:off x="414921" y="3063825"/>
              <a:ext cx="30767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r"/>
              <a:r>
                <a:rPr lang="en-US" sz="1050" smtClean="0">
                  <a:effectLst/>
                  <a:latin typeface="Arial"/>
                </a:rPr>
                <a:t>70%</a:t>
              </a:r>
              <a:endParaRPr lang="en-US" sz="1050">
                <a:effectLst/>
                <a:latin typeface="Arial"/>
              </a:endParaRPr>
            </a:p>
          </p:txBody>
        </p:sp>
        <p:sp>
          <p:nvSpPr>
            <p:cNvPr id="118" name="TextBox 117"/>
            <p:cNvSpPr txBox="1"/>
            <p:nvPr>
              <p:custDataLst>
                <p:tags r:id="rId49"/>
              </p:custDataLst>
            </p:nvPr>
          </p:nvSpPr>
          <p:spPr bwMode="gray">
            <a:xfrm>
              <a:off x="1585490" y="6215546"/>
              <a:ext cx="973835"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Functional Area</a:t>
              </a:r>
              <a:endParaRPr lang="en-US" sz="1050">
                <a:effectLst/>
                <a:latin typeface="Arial"/>
              </a:endParaRPr>
            </a:p>
          </p:txBody>
        </p:sp>
        <p:sp>
          <p:nvSpPr>
            <p:cNvPr id="49" name="TextBox 48"/>
            <p:cNvSpPr txBox="1"/>
            <p:nvPr>
              <p:custDataLst>
                <p:tags r:id="rId50"/>
              </p:custDataLst>
            </p:nvPr>
          </p:nvSpPr>
          <p:spPr bwMode="gray">
            <a:xfrm>
              <a:off x="6749747" y="6215546"/>
              <a:ext cx="1036230"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Years in Position</a:t>
              </a:r>
              <a:endParaRPr lang="en-US" sz="1050">
                <a:effectLst/>
                <a:latin typeface="Arial"/>
              </a:endParaRPr>
            </a:p>
          </p:txBody>
        </p:sp>
        <p:sp>
          <p:nvSpPr>
            <p:cNvPr id="119" name="TextBox 118"/>
            <p:cNvSpPr txBox="1"/>
            <p:nvPr>
              <p:custDataLst>
                <p:tags r:id="rId51"/>
              </p:custDataLst>
            </p:nvPr>
          </p:nvSpPr>
          <p:spPr bwMode="gray">
            <a:xfrm>
              <a:off x="4526357" y="6215546"/>
              <a:ext cx="287556" cy="161583"/>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t">
              <a:spAutoFit/>
            </a:bodyPr>
            <a:lstStyle/>
            <a:p>
              <a:pPr algn="ctr"/>
              <a:r>
                <a:rPr lang="en-US" sz="1050" smtClean="0">
                  <a:effectLst/>
                  <a:latin typeface="Arial"/>
                </a:rPr>
                <a:t>Title</a:t>
              </a:r>
              <a:endParaRPr lang="en-US" sz="1050">
                <a:effectLst/>
                <a:latin typeface="Arial"/>
              </a:endParaRPr>
            </a:p>
          </p:txBody>
        </p:sp>
        <p:sp>
          <p:nvSpPr>
            <p:cNvPr id="57" name="TextBox 56"/>
            <p:cNvSpPr txBox="1"/>
            <p:nvPr>
              <p:custDataLst>
                <p:tags r:id="rId52"/>
              </p:custDataLst>
            </p:nvPr>
          </p:nvSpPr>
          <p:spPr bwMode="gray">
            <a:xfrm>
              <a:off x="7080328" y="2609749"/>
              <a:ext cx="375067"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1 to 3</a:t>
              </a:r>
            </a:p>
            <a:p>
              <a:pPr algn="ctr"/>
              <a:r>
                <a:rPr lang="en-US" sz="1050" smtClean="0">
                  <a:solidFill>
                    <a:schemeClr val="bg1"/>
                  </a:solidFill>
                  <a:effectLst/>
                  <a:latin typeface="Arial"/>
                </a:rPr>
                <a:t>24%</a:t>
              </a:r>
              <a:endParaRPr lang="en-US" sz="1050">
                <a:solidFill>
                  <a:schemeClr val="bg1"/>
                </a:solidFill>
                <a:effectLst/>
                <a:latin typeface="Arial"/>
              </a:endParaRPr>
            </a:p>
          </p:txBody>
        </p:sp>
        <p:sp>
          <p:nvSpPr>
            <p:cNvPr id="120" name="TextBox 119"/>
            <p:cNvSpPr txBox="1"/>
            <p:nvPr>
              <p:custDataLst>
                <p:tags r:id="rId53"/>
              </p:custDataLst>
            </p:nvPr>
          </p:nvSpPr>
          <p:spPr bwMode="gray">
            <a:xfrm>
              <a:off x="3989984" y="5510152"/>
              <a:ext cx="1360303"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Provost, Vice Provost, </a:t>
              </a:r>
            </a:p>
            <a:p>
              <a:pPr algn="ctr"/>
              <a:r>
                <a:rPr lang="en-US" sz="1050" smtClean="0">
                  <a:solidFill>
                    <a:schemeClr val="bg1"/>
                  </a:solidFill>
                  <a:effectLst/>
                  <a:latin typeface="Arial"/>
                </a:rPr>
                <a:t>or Vice President</a:t>
              </a:r>
            </a:p>
            <a:p>
              <a:pPr algn="ctr"/>
              <a:r>
                <a:rPr lang="en-US" sz="1050" smtClean="0">
                  <a:solidFill>
                    <a:schemeClr val="bg1"/>
                  </a:solidFill>
                  <a:effectLst/>
                  <a:latin typeface="Arial"/>
                </a:rPr>
                <a:t>19%</a:t>
              </a:r>
              <a:endParaRPr lang="en-US" sz="1050">
                <a:solidFill>
                  <a:schemeClr val="bg1"/>
                </a:solidFill>
                <a:effectLst/>
                <a:latin typeface="Arial"/>
              </a:endParaRPr>
            </a:p>
          </p:txBody>
        </p:sp>
        <p:sp>
          <p:nvSpPr>
            <p:cNvPr id="121" name="TextBox 120"/>
            <p:cNvSpPr txBox="1"/>
            <p:nvPr>
              <p:custDataLst>
                <p:tags r:id="rId54"/>
              </p:custDataLst>
            </p:nvPr>
          </p:nvSpPr>
          <p:spPr bwMode="gray">
            <a:xfrm>
              <a:off x="4490098" y="4180942"/>
              <a:ext cx="360076"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Dean</a:t>
              </a:r>
            </a:p>
            <a:p>
              <a:pPr algn="ctr"/>
              <a:r>
                <a:rPr lang="en-US" sz="1050" smtClean="0">
                  <a:effectLst/>
                  <a:latin typeface="Arial"/>
                </a:rPr>
                <a:t>16%</a:t>
              </a:r>
              <a:endParaRPr lang="en-US" sz="1050">
                <a:effectLst/>
                <a:latin typeface="Arial"/>
              </a:endParaRPr>
            </a:p>
          </p:txBody>
        </p:sp>
        <p:sp>
          <p:nvSpPr>
            <p:cNvPr id="122" name="TextBox 121"/>
            <p:cNvSpPr txBox="1"/>
            <p:nvPr>
              <p:custDataLst>
                <p:tags r:id="rId55"/>
              </p:custDataLst>
            </p:nvPr>
          </p:nvSpPr>
          <p:spPr bwMode="gray">
            <a:xfrm>
              <a:off x="3910133" y="2433105"/>
              <a:ext cx="1520005" cy="161583"/>
            </a:xfrm>
            <a:prstGeom prst="rect">
              <a:avLst/>
            </a:prstGeom>
            <a:noFill/>
            <a:ln cmpd="sng">
              <a:noFill/>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Faculty with Advising 5%</a:t>
              </a:r>
              <a:endParaRPr lang="en-US" sz="1050">
                <a:solidFill>
                  <a:schemeClr val="bg1"/>
                </a:solidFill>
                <a:effectLst/>
                <a:latin typeface="Arial"/>
              </a:endParaRPr>
            </a:p>
          </p:txBody>
        </p:sp>
        <p:sp>
          <p:nvSpPr>
            <p:cNvPr id="123" name="TextBox 122"/>
            <p:cNvSpPr txBox="1"/>
            <p:nvPr>
              <p:custDataLst>
                <p:tags r:id="rId56"/>
              </p:custDataLst>
            </p:nvPr>
          </p:nvSpPr>
          <p:spPr bwMode="gray">
            <a:xfrm>
              <a:off x="3941099" y="2750469"/>
              <a:ext cx="1458074" cy="161583"/>
            </a:xfrm>
            <a:prstGeom prst="rect">
              <a:avLst/>
            </a:prstGeom>
            <a:noFill/>
            <a:ln cmpd="sng">
              <a:noFill/>
            </a:ln>
            <a:effectLst/>
            <a:extLst>
              <a:ext uri="{909E8E84-426E-40DD-AFC4-6F175D3DCCD1}">
                <a14:hiddenFill xmlns:a14="http://schemas.microsoft.com/office/drawing/2010/main">
                  <a:solidFill>
                    <a:schemeClr val="accent4"/>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Advisor/Counselor 10%</a:t>
              </a:r>
              <a:endParaRPr lang="en-US" sz="1050">
                <a:solidFill>
                  <a:schemeClr val="bg1"/>
                </a:solidFill>
                <a:effectLst/>
                <a:latin typeface="Arial"/>
              </a:endParaRPr>
            </a:p>
          </p:txBody>
        </p:sp>
        <p:sp>
          <p:nvSpPr>
            <p:cNvPr id="124" name="TextBox 123"/>
            <p:cNvSpPr txBox="1"/>
            <p:nvPr>
              <p:custDataLst>
                <p:tags r:id="rId57"/>
              </p:custDataLst>
            </p:nvPr>
          </p:nvSpPr>
          <p:spPr bwMode="gray">
            <a:xfrm>
              <a:off x="4052346" y="3276510"/>
              <a:ext cx="1235579"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Director of Advising/</a:t>
              </a:r>
            </a:p>
            <a:p>
              <a:pPr algn="ctr"/>
              <a:r>
                <a:rPr lang="en-US" sz="1050" smtClean="0">
                  <a:effectLst/>
                  <a:latin typeface="Arial"/>
                </a:rPr>
                <a:t>Advising Admin</a:t>
              </a:r>
            </a:p>
            <a:p>
              <a:pPr algn="ctr"/>
              <a:r>
                <a:rPr lang="en-US" sz="1050" smtClean="0">
                  <a:effectLst/>
                  <a:latin typeface="Arial"/>
                </a:rPr>
                <a:t>22%</a:t>
              </a:r>
              <a:endParaRPr lang="en-US" sz="1050">
                <a:effectLst/>
                <a:latin typeface="Arial"/>
              </a:endParaRPr>
            </a:p>
          </p:txBody>
        </p:sp>
        <p:sp>
          <p:nvSpPr>
            <p:cNvPr id="125" name="TextBox 124"/>
            <p:cNvSpPr txBox="1"/>
            <p:nvPr>
              <p:custDataLst>
                <p:tags r:id="rId58"/>
              </p:custDataLst>
            </p:nvPr>
          </p:nvSpPr>
          <p:spPr bwMode="gray">
            <a:xfrm>
              <a:off x="4415375" y="4781782"/>
              <a:ext cx="509522"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Director</a:t>
              </a:r>
            </a:p>
            <a:p>
              <a:pPr algn="ctr"/>
              <a:r>
                <a:rPr lang="en-US" sz="1050" smtClean="0">
                  <a:solidFill>
                    <a:schemeClr val="bg1"/>
                  </a:solidFill>
                  <a:effectLst/>
                  <a:latin typeface="Arial"/>
                </a:rPr>
                <a:t>(Other)</a:t>
              </a:r>
            </a:p>
            <a:p>
              <a:pPr algn="ctr"/>
              <a:r>
                <a:rPr lang="en-US" sz="1050" smtClean="0">
                  <a:solidFill>
                    <a:schemeClr val="bg1"/>
                  </a:solidFill>
                  <a:effectLst/>
                  <a:latin typeface="Arial"/>
                </a:rPr>
                <a:t>15%</a:t>
              </a:r>
              <a:endParaRPr lang="en-US" sz="1050">
                <a:solidFill>
                  <a:schemeClr val="bg1"/>
                </a:solidFill>
                <a:effectLst/>
                <a:latin typeface="Arial"/>
              </a:endParaRPr>
            </a:p>
          </p:txBody>
        </p:sp>
        <p:sp>
          <p:nvSpPr>
            <p:cNvPr id="70" name="TextBox 69"/>
            <p:cNvSpPr txBox="1"/>
            <p:nvPr>
              <p:custDataLst>
                <p:tags r:id="rId59"/>
              </p:custDataLst>
            </p:nvPr>
          </p:nvSpPr>
          <p:spPr bwMode="gray">
            <a:xfrm>
              <a:off x="7005441" y="5313631"/>
              <a:ext cx="524841"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16 to 20</a:t>
              </a:r>
            </a:p>
            <a:p>
              <a:pPr algn="ctr"/>
              <a:r>
                <a:rPr lang="en-US" sz="1050" smtClean="0">
                  <a:effectLst/>
                  <a:latin typeface="Arial"/>
                </a:rPr>
                <a:t>7%</a:t>
              </a:r>
              <a:endParaRPr lang="en-US" sz="1050">
                <a:effectLst/>
                <a:latin typeface="Arial"/>
              </a:endParaRPr>
            </a:p>
          </p:txBody>
        </p:sp>
        <p:sp>
          <p:nvSpPr>
            <p:cNvPr id="60" name="TextBox 59"/>
            <p:cNvSpPr txBox="1"/>
            <p:nvPr>
              <p:custDataLst>
                <p:tags r:id="rId60"/>
              </p:custDataLst>
            </p:nvPr>
          </p:nvSpPr>
          <p:spPr bwMode="gray">
            <a:xfrm>
              <a:off x="7080328" y="4164383"/>
              <a:ext cx="375067"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6 to 9</a:t>
              </a:r>
            </a:p>
            <a:p>
              <a:pPr algn="ctr"/>
              <a:r>
                <a:rPr lang="en-US" sz="1050" smtClean="0">
                  <a:solidFill>
                    <a:schemeClr val="bg1"/>
                  </a:solidFill>
                  <a:effectLst/>
                  <a:latin typeface="Arial"/>
                </a:rPr>
                <a:t>17%</a:t>
              </a:r>
              <a:endParaRPr lang="en-US" sz="1050">
                <a:solidFill>
                  <a:schemeClr val="bg1"/>
                </a:solidFill>
                <a:effectLst/>
                <a:latin typeface="Arial"/>
              </a:endParaRPr>
            </a:p>
          </p:txBody>
        </p:sp>
        <p:sp>
          <p:nvSpPr>
            <p:cNvPr id="54" name="TextBox 53"/>
            <p:cNvSpPr txBox="1"/>
            <p:nvPr>
              <p:custDataLst>
                <p:tags r:id="rId61"/>
              </p:custDataLst>
            </p:nvPr>
          </p:nvSpPr>
          <p:spPr bwMode="gray">
            <a:xfrm>
              <a:off x="7005441" y="4845559"/>
              <a:ext cx="524841"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10 to 15</a:t>
              </a:r>
            </a:p>
            <a:p>
              <a:pPr algn="ctr"/>
              <a:r>
                <a:rPr lang="en-US" sz="1050" smtClean="0">
                  <a:effectLst/>
                  <a:latin typeface="Arial"/>
                </a:rPr>
                <a:t>14%</a:t>
              </a:r>
              <a:endParaRPr lang="en-US" sz="1050">
                <a:effectLst/>
                <a:latin typeface="Arial"/>
              </a:endParaRPr>
            </a:p>
          </p:txBody>
        </p:sp>
        <p:sp>
          <p:nvSpPr>
            <p:cNvPr id="58" name="TextBox 57"/>
            <p:cNvSpPr txBox="1"/>
            <p:nvPr>
              <p:custDataLst>
                <p:tags r:id="rId62"/>
              </p:custDataLst>
            </p:nvPr>
          </p:nvSpPr>
          <p:spPr bwMode="gray">
            <a:xfrm>
              <a:off x="7080328" y="3458483"/>
              <a:ext cx="375067"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4 to 5</a:t>
              </a:r>
            </a:p>
            <a:p>
              <a:pPr algn="ctr"/>
              <a:r>
                <a:rPr lang="en-US" sz="1050" smtClean="0">
                  <a:solidFill>
                    <a:schemeClr val="bg1"/>
                  </a:solidFill>
                  <a:effectLst/>
                  <a:latin typeface="Arial"/>
                </a:rPr>
                <a:t>15%</a:t>
              </a:r>
              <a:endParaRPr lang="en-US" sz="1050">
                <a:solidFill>
                  <a:schemeClr val="bg1"/>
                </a:solidFill>
                <a:effectLst/>
                <a:latin typeface="Arial"/>
              </a:endParaRPr>
            </a:p>
          </p:txBody>
        </p:sp>
        <p:sp>
          <p:nvSpPr>
            <p:cNvPr id="126" name="TextBox 125"/>
            <p:cNvSpPr txBox="1"/>
            <p:nvPr>
              <p:custDataLst>
                <p:tags r:id="rId63"/>
              </p:custDataLst>
            </p:nvPr>
          </p:nvSpPr>
          <p:spPr bwMode="gray">
            <a:xfrm>
              <a:off x="4482668" y="1972926"/>
              <a:ext cx="374935"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Other</a:t>
              </a:r>
            </a:p>
            <a:p>
              <a:pPr algn="ctr"/>
              <a:r>
                <a:rPr lang="en-US" sz="1050" smtClean="0">
                  <a:solidFill>
                    <a:schemeClr val="bg1"/>
                  </a:solidFill>
                  <a:effectLst/>
                  <a:latin typeface="Arial"/>
                </a:rPr>
                <a:t>13%</a:t>
              </a:r>
              <a:endParaRPr lang="en-US" sz="1050">
                <a:solidFill>
                  <a:schemeClr val="bg1"/>
                </a:solidFill>
                <a:effectLst/>
                <a:latin typeface="Arial"/>
              </a:endParaRPr>
            </a:p>
          </p:txBody>
        </p:sp>
        <p:sp>
          <p:nvSpPr>
            <p:cNvPr id="67" name="TextBox 66"/>
            <p:cNvSpPr txBox="1"/>
            <p:nvPr>
              <p:custDataLst>
                <p:tags r:id="rId64"/>
              </p:custDataLst>
            </p:nvPr>
          </p:nvSpPr>
          <p:spPr bwMode="gray">
            <a:xfrm>
              <a:off x="6852051" y="5731988"/>
              <a:ext cx="831622"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More than 20</a:t>
              </a:r>
            </a:p>
            <a:p>
              <a:pPr algn="ctr"/>
              <a:r>
                <a:rPr lang="en-US" sz="1050" smtClean="0">
                  <a:solidFill>
                    <a:schemeClr val="bg1"/>
                  </a:solidFill>
                  <a:effectLst/>
                  <a:latin typeface="Arial"/>
                </a:rPr>
                <a:t>12%</a:t>
              </a:r>
              <a:endParaRPr lang="en-US" sz="1050">
                <a:solidFill>
                  <a:schemeClr val="bg1"/>
                </a:solidFill>
                <a:effectLst/>
                <a:latin typeface="Arial"/>
              </a:endParaRPr>
            </a:p>
          </p:txBody>
        </p:sp>
        <p:sp>
          <p:nvSpPr>
            <p:cNvPr id="127" name="TextBox 126"/>
            <p:cNvSpPr txBox="1"/>
            <p:nvPr>
              <p:custDataLst>
                <p:tags r:id="rId65"/>
              </p:custDataLst>
            </p:nvPr>
          </p:nvSpPr>
          <p:spPr bwMode="gray">
            <a:xfrm>
              <a:off x="1294816" y="2937350"/>
              <a:ext cx="1555184"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Academic Program/Dept.</a:t>
              </a:r>
            </a:p>
            <a:p>
              <a:pPr algn="ctr"/>
              <a:r>
                <a:rPr lang="en-US" sz="1050" smtClean="0">
                  <a:solidFill>
                    <a:schemeClr val="bg1"/>
                  </a:solidFill>
                  <a:effectLst/>
                  <a:latin typeface="Arial"/>
                </a:rPr>
                <a:t>9%</a:t>
              </a:r>
              <a:endParaRPr lang="en-US" sz="1050">
                <a:solidFill>
                  <a:schemeClr val="bg1"/>
                </a:solidFill>
                <a:effectLst/>
                <a:latin typeface="Arial"/>
              </a:endParaRPr>
            </a:p>
          </p:txBody>
        </p:sp>
        <p:sp>
          <p:nvSpPr>
            <p:cNvPr id="128" name="TextBox 127"/>
            <p:cNvSpPr txBox="1"/>
            <p:nvPr>
              <p:custDataLst>
                <p:tags r:id="rId66"/>
              </p:custDataLst>
            </p:nvPr>
          </p:nvSpPr>
          <p:spPr bwMode="gray">
            <a:xfrm>
              <a:off x="1649167" y="2585822"/>
              <a:ext cx="846481" cy="161583"/>
            </a:xfrm>
            <a:prstGeom prst="rect">
              <a:avLst/>
            </a:prstGeom>
            <a:noFill/>
            <a:ln cmpd="sng">
              <a:noFill/>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Research 5%</a:t>
              </a:r>
              <a:endParaRPr lang="en-US" sz="1050">
                <a:effectLst/>
                <a:latin typeface="Arial"/>
              </a:endParaRPr>
            </a:p>
          </p:txBody>
        </p:sp>
        <p:sp>
          <p:nvSpPr>
            <p:cNvPr id="129" name="TextBox 128"/>
            <p:cNvSpPr txBox="1"/>
            <p:nvPr>
              <p:custDataLst>
                <p:tags r:id="rId67"/>
              </p:custDataLst>
            </p:nvPr>
          </p:nvSpPr>
          <p:spPr bwMode="gray">
            <a:xfrm>
              <a:off x="1244882" y="2414951"/>
              <a:ext cx="1655052" cy="161583"/>
            </a:xfrm>
            <a:prstGeom prst="rect">
              <a:avLst/>
            </a:prstGeom>
            <a:solidFill>
              <a:schemeClr val="accent4"/>
            </a:solid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Undergraduate Studies 3%</a:t>
              </a:r>
              <a:endParaRPr lang="en-US" sz="1050">
                <a:solidFill>
                  <a:schemeClr val="bg1"/>
                </a:solidFill>
                <a:effectLst/>
                <a:latin typeface="Arial"/>
              </a:endParaRPr>
            </a:p>
          </p:txBody>
        </p:sp>
        <p:sp>
          <p:nvSpPr>
            <p:cNvPr id="130" name="TextBox 129"/>
            <p:cNvSpPr txBox="1"/>
            <p:nvPr>
              <p:custDataLst>
                <p:tags r:id="rId68"/>
              </p:custDataLst>
            </p:nvPr>
          </p:nvSpPr>
          <p:spPr bwMode="gray">
            <a:xfrm>
              <a:off x="1529241" y="5390484"/>
              <a:ext cx="1086334" cy="484748"/>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Academic </a:t>
              </a:r>
            </a:p>
            <a:p>
              <a:pPr algn="ctr"/>
              <a:r>
                <a:rPr lang="en-US" sz="1050" smtClean="0">
                  <a:effectLst/>
                  <a:latin typeface="Arial"/>
                </a:rPr>
                <a:t>Advising/Tutoring</a:t>
              </a:r>
            </a:p>
            <a:p>
              <a:pPr algn="ctr"/>
              <a:r>
                <a:rPr lang="en-US" sz="1050" smtClean="0">
                  <a:effectLst/>
                  <a:latin typeface="Arial"/>
                </a:rPr>
                <a:t>24%</a:t>
              </a:r>
              <a:endParaRPr lang="en-US" sz="1050">
                <a:effectLst/>
                <a:latin typeface="Arial"/>
              </a:endParaRPr>
            </a:p>
          </p:txBody>
        </p:sp>
        <p:sp>
          <p:nvSpPr>
            <p:cNvPr id="131" name="TextBox 130"/>
            <p:cNvSpPr txBox="1"/>
            <p:nvPr>
              <p:custDataLst>
                <p:tags r:id="rId69"/>
              </p:custDataLst>
            </p:nvPr>
          </p:nvSpPr>
          <p:spPr bwMode="gray">
            <a:xfrm>
              <a:off x="1544365" y="4487761"/>
              <a:ext cx="1056086"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Student Services</a:t>
              </a:r>
            </a:p>
            <a:p>
              <a:pPr algn="ctr"/>
              <a:r>
                <a:rPr lang="en-US" sz="1050" smtClean="0">
                  <a:solidFill>
                    <a:schemeClr val="bg1"/>
                  </a:solidFill>
                  <a:effectLst/>
                  <a:latin typeface="Arial"/>
                </a:rPr>
                <a:t>22%</a:t>
              </a:r>
              <a:endParaRPr lang="en-US" sz="1050">
                <a:solidFill>
                  <a:schemeClr val="bg1"/>
                </a:solidFill>
                <a:effectLst/>
                <a:latin typeface="Arial"/>
              </a:endParaRPr>
            </a:p>
          </p:txBody>
        </p:sp>
        <p:sp>
          <p:nvSpPr>
            <p:cNvPr id="132" name="TextBox 131"/>
            <p:cNvSpPr txBox="1"/>
            <p:nvPr>
              <p:custDataLst>
                <p:tags r:id="rId70"/>
              </p:custDataLst>
            </p:nvPr>
          </p:nvSpPr>
          <p:spPr bwMode="gray">
            <a:xfrm>
              <a:off x="1884940" y="1977641"/>
              <a:ext cx="374935"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Other</a:t>
              </a:r>
            </a:p>
            <a:p>
              <a:pPr algn="ctr"/>
              <a:r>
                <a:rPr lang="en-US" sz="1050" smtClean="0">
                  <a:solidFill>
                    <a:schemeClr val="bg1"/>
                  </a:solidFill>
                  <a:effectLst/>
                  <a:latin typeface="Arial"/>
                </a:rPr>
                <a:t>13%</a:t>
              </a:r>
              <a:endParaRPr lang="en-US" sz="1050">
                <a:solidFill>
                  <a:schemeClr val="bg1"/>
                </a:solidFill>
                <a:effectLst/>
                <a:latin typeface="Arial"/>
              </a:endParaRPr>
            </a:p>
          </p:txBody>
        </p:sp>
        <p:sp>
          <p:nvSpPr>
            <p:cNvPr id="59" name="TextBox 58"/>
            <p:cNvSpPr txBox="1"/>
            <p:nvPr>
              <p:custDataLst>
                <p:tags r:id="rId71"/>
              </p:custDataLst>
            </p:nvPr>
          </p:nvSpPr>
          <p:spPr bwMode="gray">
            <a:xfrm>
              <a:off x="6900671" y="1894033"/>
              <a:ext cx="734381"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Less than 1</a:t>
              </a:r>
            </a:p>
            <a:p>
              <a:pPr algn="ctr"/>
              <a:r>
                <a:rPr lang="en-US" sz="1050" smtClean="0">
                  <a:solidFill>
                    <a:schemeClr val="bg1"/>
                  </a:solidFill>
                  <a:effectLst/>
                  <a:latin typeface="Arial"/>
                </a:rPr>
                <a:t>9%</a:t>
              </a:r>
              <a:endParaRPr lang="en-US" sz="1050">
                <a:solidFill>
                  <a:schemeClr val="bg1"/>
                </a:solidFill>
                <a:effectLst/>
                <a:latin typeface="Arial"/>
              </a:endParaRPr>
            </a:p>
          </p:txBody>
        </p:sp>
        <p:sp>
          <p:nvSpPr>
            <p:cNvPr id="133" name="TextBox 132"/>
            <p:cNvSpPr txBox="1"/>
            <p:nvPr>
              <p:custDataLst>
                <p:tags r:id="rId72"/>
              </p:custDataLst>
            </p:nvPr>
          </p:nvSpPr>
          <p:spPr bwMode="gray">
            <a:xfrm>
              <a:off x="1586672" y="2755995"/>
              <a:ext cx="971472" cy="161583"/>
            </a:xfrm>
            <a:prstGeom prst="rect">
              <a:avLst/>
            </a:prstGeom>
            <a:noFill/>
            <a:ln cmpd="sng">
              <a:noFill/>
            </a:ln>
            <a:effectLst/>
            <a:extLst>
              <a:ext uri="{909E8E84-426E-40DD-AFC4-6F175D3DCCD1}">
                <a14:hiddenFill xmlns:a14="http://schemas.microsoft.com/office/drawing/2010/main">
                  <a:solidFill>
                    <a:schemeClr val="accent6"/>
                  </a:solidFill>
                </a14:hiddenFill>
              </a:ex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effectLst/>
                  <a:latin typeface="Arial"/>
                </a:rPr>
                <a:t>Admissions 3%</a:t>
              </a:r>
              <a:endParaRPr lang="en-US" sz="1050">
                <a:effectLst/>
                <a:latin typeface="Arial"/>
              </a:endParaRPr>
            </a:p>
          </p:txBody>
        </p:sp>
        <p:sp>
          <p:nvSpPr>
            <p:cNvPr id="134" name="TextBox 133"/>
            <p:cNvSpPr txBox="1"/>
            <p:nvPr>
              <p:custDataLst>
                <p:tags r:id="rId73"/>
              </p:custDataLst>
            </p:nvPr>
          </p:nvSpPr>
          <p:spPr bwMode="gray">
            <a:xfrm>
              <a:off x="1319835" y="3314419"/>
              <a:ext cx="1505146"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Enrollment Management</a:t>
              </a:r>
            </a:p>
            <a:p>
              <a:pPr algn="ctr"/>
              <a:r>
                <a:rPr lang="en-US" sz="1050" smtClean="0">
                  <a:solidFill>
                    <a:schemeClr val="bg1"/>
                  </a:solidFill>
                  <a:effectLst/>
                  <a:latin typeface="Arial"/>
                </a:rPr>
                <a:t>9%</a:t>
              </a:r>
              <a:endParaRPr lang="en-US" sz="1050">
                <a:solidFill>
                  <a:schemeClr val="bg1"/>
                </a:solidFill>
                <a:effectLst/>
                <a:latin typeface="Arial"/>
              </a:endParaRPr>
            </a:p>
          </p:txBody>
        </p:sp>
        <p:sp>
          <p:nvSpPr>
            <p:cNvPr id="135" name="TextBox 134"/>
            <p:cNvSpPr txBox="1"/>
            <p:nvPr>
              <p:custDataLst>
                <p:tags r:id="rId74"/>
              </p:custDataLst>
            </p:nvPr>
          </p:nvSpPr>
          <p:spPr bwMode="gray">
            <a:xfrm>
              <a:off x="1616655" y="3762547"/>
              <a:ext cx="911506" cy="323165"/>
            </a:xfrm>
            <a:prstGeom prst="rect">
              <a:avLst/>
            </a:prstGeom>
            <a:noFill/>
            <a:ln cmpd="sng">
              <a:noFill/>
            </a:ln>
            <a:effectLst/>
            <a:extLst>
              <a:ext uri="{91240B29-F687-4F45-9708-019B960494DF}">
                <a14:hiddenLine xmlns:a14="http://schemas.microsoft.com/office/drawing/2010/main" cmpd="sng">
                  <a:solidFill>
                    <a:srgbClr val="000000"/>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050" smtClean="0">
                  <a:solidFill>
                    <a:schemeClr val="bg1"/>
                  </a:solidFill>
                  <a:effectLst/>
                  <a:latin typeface="Arial"/>
                </a:rPr>
                <a:t>Student Affairs</a:t>
              </a:r>
            </a:p>
            <a:p>
              <a:pPr algn="ctr"/>
              <a:r>
                <a:rPr lang="en-US" sz="1050" smtClean="0">
                  <a:solidFill>
                    <a:schemeClr val="bg1"/>
                  </a:solidFill>
                  <a:effectLst/>
                  <a:latin typeface="Arial"/>
                </a:rPr>
                <a:t>12%</a:t>
              </a:r>
              <a:endParaRPr lang="en-US" sz="1050">
                <a:solidFill>
                  <a:schemeClr val="bg1"/>
                </a:solidFill>
                <a:effectLst/>
                <a:latin typeface="Arial"/>
              </a:endParaRPr>
            </a:p>
          </p:txBody>
        </p:sp>
      </p:grpSp>
      <p:sp>
        <p:nvSpPr>
          <p:cNvPr id="74" name="Content Placeholder 1"/>
          <p:cNvSpPr>
            <a:spLocks noGrp="1"/>
          </p:cNvSpPr>
          <p:nvPr>
            <p:ph idx="13"/>
          </p:nvPr>
        </p:nvSpPr>
        <p:spPr>
          <a:xfrm>
            <a:off x="526143" y="6126165"/>
            <a:ext cx="6291218" cy="643102"/>
          </a:xfrm>
        </p:spPr>
        <p:txBody>
          <a:bodyPr>
            <a:normAutofit/>
          </a:bodyPr>
          <a:lstStyle/>
          <a:p>
            <a:r>
              <a:rPr lang="en-US" sz="900" dirty="0" smtClean="0"/>
              <a:t>Sources: Tyton Partners Analysis</a:t>
            </a:r>
          </a:p>
        </p:txBody>
      </p:sp>
      <p:sp>
        <p:nvSpPr>
          <p:cNvPr id="152" name="TextBox 151"/>
          <p:cNvSpPr txBox="1"/>
          <p:nvPr/>
        </p:nvSpPr>
        <p:spPr>
          <a:xfrm>
            <a:off x="409467" y="1176131"/>
            <a:ext cx="8157260" cy="461665"/>
          </a:xfrm>
          <a:prstGeom prst="rect">
            <a:avLst/>
          </a:prstGeom>
          <a:noFill/>
        </p:spPr>
        <p:txBody>
          <a:bodyPr wrap="square" rtlCol="0">
            <a:spAutoFit/>
          </a:bodyPr>
          <a:lstStyle/>
          <a:p>
            <a:pPr algn="ctr"/>
            <a:r>
              <a:rPr lang="en-US" sz="1200" b="1" dirty="0" smtClean="0"/>
              <a:t>Survey Respondents by Functional Area, Title, and Years in Position</a:t>
            </a:r>
          </a:p>
          <a:p>
            <a:pPr algn="ctr"/>
            <a:r>
              <a:rPr lang="en-US" sz="1200" dirty="0" smtClean="0"/>
              <a:t>n = 1,096</a:t>
            </a:r>
            <a:endParaRPr lang="en-US" sz="1200" dirty="0"/>
          </a:p>
        </p:txBody>
      </p:sp>
    </p:spTree>
    <p:extLst>
      <p:ext uri="{BB962C8B-B14F-4D97-AF65-F5344CB8AC3E}">
        <p14:creationId xmlns:p14="http://schemas.microsoft.com/office/powerpoint/2010/main" val="25376580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PLORISTAG" val="MX/IjfW661gLV+xOY"/>
</p:tagLst>
</file>

<file path=ppt/tags/tag10.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3////9/////f////3//ARUAAAAUAAAA//9/////f////3////9//wAAAAAABRYAAAAsQXBsb3Jpcy5DaGFydC5BeGlzQnJlYWsrQXhpc0JyZWFrRGlzcGxheU1vZGUBAAAAB3ZhbHVlX18ACAIAAAABAAAAAQEBCgoJFwAAAAoKAAAAAAAJGAAAAAoJGQAAAAAAAAAKBRoAAAAZQXBsb3Jpcy5DaGFydC5PcmllbnRhdGlvbgEAAAAHdmFsdWVfXwAIAgAAAAEAAAAJGwAAAAEcAAAAFAAAALvoLkJscnxBu2gZRJAlqUMABB0AAAALU3lzdGVtLkd1aWQLAAAAAl9hAl9iAl9jAl9kAl9lAl9mAl9nAl9oAl9pAl9qAl9rAAAAAAAAAAAAAAAIBwcCAgICAgICAgAAAAAAAAAAAAAAAAAAAAAACgoJHgAAAAAKCgoBAAAAAAAAAP////8AAAEfAAAAFAAAALroekNGF71B6NA2QhddiENndIlBeFcCQ0cPJ0S66MNDBSAAAAAVU3lzdGVtLkRyYXdpbmcuUG9pbnRGAgAAAAF4AXkAAAsLBAAAAKN5CUTQdV9DBiEAAAAQSlVlMysyWXU0bktEZ2tmYg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wLjAuMTQ4NiwgQ3VsdHVyZT1uZXV0cmFsLCBQdWJsaWNLZXlUb2tlbj0xNmZjMTNhMjI2YzBlOTUxXV0DAAAAmwFBcGxvcmlzLkJhc2UuT2JqZWN0cy5EYXRhT2JqZWN0Q29sbGVjdGlvbmAxW1tBcGxvcmlzLkNoYXJ0LkF4aXNCcmVhaywgQXBsb3Jpcy5DaGFydCwgVmVyc2lvbj00LjAuMC4xNDg2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AuMC4xNDg2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SYAAAAWQXBsb3Jpcy5DaGFydC5BeGlzVHlwZQEAAAAHdmFsdWVfXwAIAgAAAAEAAACamRk/AAAACgkBAAAACScAAAAJKAAAAAEAAAAAAAAAAAEAAAAAAADwPwGamZmZmZm5PwAAACBBAAEJKQAAAAoJKgAAAAkrAAAACSwAAAABLQAAACAAAAC76C5CIwmxQwEuAAAAIAAAAEdXJEQjCbFDCS8AAAAJMAAAAAkxAAAACTIAAAAAAAAAAAAAAAAAAAAJMwAAAAAAAAAAAAk0AAAACQEAAAAJAQAAAAk1AAAAAQcAAAAGAAAACQEAAAABNgAAACYAAAAAAAAAzcxMPwAAAAgBAAkBAAAACTcAAAAJOAAAAAEAAAAAAAAAAAEAAAAAAADwPwGamZmZmZm5PwAAACBBAQEJOQAAAAoJOgAAAAk7AAAACTwAAAABPQAAACAAAAC76C5CIwmxQwE+AAAAIAAAALvoLkJscnxBCT8AAAAJQAAAAAlBAAAACUIAAAAAAAAAAAAAAAAAAAAJQwAAAAAAAAAAAAlEAAAACQEAAAAJAQAAAAlFAAAABAgAAACoAVN5c3RlbS5Db2xsZWN0aW9ucy5HZW5lcmljLkxpc3RgMVtbQXBsb3Jpcy5DaGFydC5Db2x1bW5PcmllbnRlZENoYXJ0K1VudXNlZFNlcmllcywgQXBsb3Jpcy5DaGFydCwgVmVyc2lvbj00LjAuMC4xNDg2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AuMC4xNDg2LCBDdWx0dXJlPW5ldXRyYWwsIFB1YmxpY0tleVRva2VuPTE2ZmMxM2EyMjZjMGU5NTFdXQMAAACXAVN5c3RlbS5Db2xsZWN0aW9ucy5HZW5lcmljLkxpc3RgMVtbQXBsb3Jpcy5DaGFydC5DaGFydERhdGFTZXJpZXM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RwAAAAlIAAAACQEAAAAJAQAAAAlJAAAABQoAAACmAUFwbG9yaXMuQmFzZS5PYmplY3RzLkRhdGFPYmplY3RDb2xsZWN0aW9uYDFbW0FwbG9yaXMuQ2hhcnQuQW5ub3RhdGlvbk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C4wLjE0ODYsIEN1bHR1cmU9bmV1dHJhbCwgUHVibGljS2V5VG9rZW49MTZmYzEzYTIyNmMwZTk1MV1dAwAAAJwBU3lzdGVtLkNvbGxlY3Rpb25zLkdlbmVyaWMuTGlzdGAxW1tBcGxvcmlzLkNoYXJ0LkFubm90YXRpb25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oAAAAJSwAAAAkBAAAACQEAAAAJTAAAAAULAAAAoQFBcGxvcmlzLkJhc2UuT2JqZWN0cy5EYXRhT2JqZWN0Q29sbGVjdGlvbmAxW1tBcGxvcmlzLkNoYXJ0LkFubm90YXRpb25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C4wLjE0ODYsIEN1bHR1cmU9bmV1dHJhbCwgUHVibGljS2V5VG9rZW49MTZmYzEzYTIyNmMwZTk1MV1dAwAAAJcBU3lzdGVtLkNvbGxlY3Rpb25zLkdlbmVyaWMuTGlzdGAxW1tBcGxvcmlzLkNoYXJ0LkFubm90YXRpb25Hcm91c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NAAAACU4AAAAJAQAAAAkBAAAACU8AAAAFDAAAAKABQXBsb3Jpcy5CYXNlLk9iamVjdHMuRGF0YU9iamVjdENvbGxlY3Rpb25gMVtbQXBsb3Jpcy5DaGFydC5DaGFydERhdGF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wLjAuMTQ4NiwgQ3VsdHVyZT1uZXV0cmFsLCBQdWJsaWNLZXlUb2tlbj0xNmZjMTNhMjI2YzBlOTUxXV0DAAAAlgFTeXN0ZW0uQ29sbGVjdGlvbnMuR2VuZXJpYy5MaXN0YDFbW0FwbG9yaXMuQ2hhcnQuQ2hhcnREYXRh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UAAAAAlRAAAACQEAAAAJAQAAAAlSAAAABQ0AAACaAUFwbG9yaXMuQmFzZS5PYmplY3RzLkRhdGFPYmplY3RDb2xsZWN0aW9uYDFbW0FwbG9yaXMuQ2hhcnQuRGVsdGFCYXI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C4wLjE0ODYsIEN1bHR1cmU9bmV1dHJhbCwgUHVibGljS2V5VG9rZW49MTZmYzEzYTIyNmMwZTk1MV1dAwAAAJABU3lzdGVtLkNvbGxlY3Rpb25zLkdlbmVyaWMuTGlzdGAxW1tBcGxvcmlzLkNoYXJ0LkRlbHRhQmF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MAAAAJVAAAAAkBAAAACQEAAAAJVQAAAAUOAAAAnQFBcGxvcmlzLkJhc2UuT2JqZWN0cy5EYXRhT2JqZWN0Q29sbGVjdGlvbmAxW1tBcGxvcmlzLkNoYXJ0LkRlbHRhQnJpZGdlLCBBcGxvcmlzLkNoYXJ0LCBWZXJzaW9uPTQuMC4wLjE0ODY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AuMC4xNDg2LCBDdWx0dXJlPW5ldXRyYWwsIFB1YmxpY0tleVRva2VuPTE2ZmMxM2EyMjZjMGU5NTFdXQMAAACTAVN5c3RlbS5Db2xsZWN0aW9ucy5HZW5lcmljLkxpc3RgMVtbQXBsb3Jpcy5DaGFydC5EZWx0YUJyaWRn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WAAAACVcAAAAJAQAAAAkBAAAACVgAAAAFDwAAAJ0BQXBsb3Jpcy5CYXNlLk9iamVjdHMuRGF0YU9iamVjdENvbGxlY3Rpb25gMVtbQXBsb3Jpcy5DaGFydC5Hcm93dGhBcnJvdy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wLjAuMTQ4NiwgQ3VsdHVyZT1uZXV0cmFsLCBQdWJsaWNLZXlUb2tlbj0xNmZjMTNhMjI2YzBlOTUxXV0DAAAAkwFTeXN0ZW0uQ29sbGVjdGlvbnMuR2VuZXJpYy5MaXN0YDFbW0FwbG9yaXMuQ2hhcnQuR3Jvd3RoQXJyb3c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WQAAAAlaAAAACQEAAAAJAQAAAAlbAAAABRAAAACkAUFwbG9yaXMuQmFzZS5PYmplY3RzLkRhdGFPYmplY3RDb2xsZWN0aW9uYDFbW0FwbG9yaXMuQ2hhcnQuV2F0ZXJmYWxs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wLjAuMTQ4NiwgQ3VsdHVyZT1uZXV0cmFsLCBQdWJsaWNLZXlUb2tlbj0xNmZjMTNhMjI2YzBlOTUxXV0DAAAAmgFTeXN0ZW0uQ29sbGVjdGlvbnMuR2VuZXJpYy5MaXN0YDFbW0FwbG9yaXMuQ2hhcnQuV2F0ZXJmYWxsQ29ubmVjdG9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wAAAAJXQAAAAkBAAAACQEAAAAJXgAAAAURAAAAogFBcGxvcmlzLkJhc2UuT2JqZWN0cy5EYXRhT2JqZWN0Q29sbGVjdGlvbmAxW1tBcGxvcmlzLkNoYXJ0LkVsZW1lbnRDb25uZWN0b3I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wLjAuMTQ4NiwgQ3VsdHVyZT1uZXV0cmFsLCBQdWJsaWNLZXlUb2tlbj0xNmZjMTNhMjI2YzBlOTUxXV0DAAAAmAFTeXN0ZW0uQ29sbGVjdGlvbnMuR2VuZXJpYy5MaXN0YDFbW0FwbG9yaXMuQ2hhcnQuRWxlbWVud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QAAAAgBAAAAAgAAAAMAAAAEAAAABQAAAAUb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aAAAACAAAAC76C5CbHJ8QQFpAAAAIAAAAEdXJEQjCbFDCWoAAAAJawAAAAAAAAAKBWwAAAAUU3lzdGVtLkRyYXdpbmcuU2l6ZUYCAAAABXdpZHRoBmhlaWdodAAACwsEAAAAAAAAAAAAAAABbQAAAGwAAAAAAAAAAAAAAAAAAAABbgAAABQAAAAAAAAAAAAAAAAAAAAAAAAAFAAAAP////8BAQoJbwAAAAEACgAPHgAAAO83AAACUEsDBBQABgAIAAAAIQBJEqz3jAEAAHg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d1OwjAUvjfxHZbemq3AhTGGwQXopZKID1DbA1vo2qan/L29ZwOMkrlJWOLNmq39/s52zobjXaGjDXjMrUlZP+mxCIy0KjfLlL3Pn+MHFmEQRgltDaRsD8jGo9ub4XzvACNCG0xZFoJ75BxlBoXAxDowtLOwvhCBbv2SOyFXYgl80Ovdc2lNABPiUHKw0XAKC7HWIXra0eODE4KzaHI4V0qlTDincykCGeXlLq/FbRpxG6POzMV2scglKCvXBVlKCD/1YkvxfxHwoLHBWY3CMXpCyMo9ZrnDu2OEV6q9zxVEM+HDiygoKN9pvrV+9WHtKmmuQ43aWR50HoTCDCAUOqnWpBC5+YN+dRh5tfQ7NlLmq4gv9DH4Jx+BPmzg1fX6UlQ0LcEx7DVgx2kPpG3KmfCg3oKnHujcwHfuFh/SFmVH4vX1/tkDJ942eaHlJKNO6fgdyBNvkz6No5m3DmlSerjcwGnilOjYERH4kEPjzPlSpDF7ueDZ0IFyjitQNdq8+m+MPgE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ABBmPgJAQAAz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zWrDMBCE74W+g9h7LdttQymRc2gp5NqmDyDktWViS0a7/fHbVyTUcSC4F9PjzqKZj5G03nx3rfjEQI13CrIkBYHO+LJxtYL33cvNAwhi7UrdeocKBiTYFNdX61dsNcdDZJueRHRxpMAy949SkrHYaUp8jy5uKh86zXEMtey12esaZZ6mKxmmHlCceYptqSBsy1sQu6GPyX97+6pqDD5789Gh4wsRkiMXRkMdamQFh/EoZkkEBXmZ4W5JBuKhjSWOEMd5Lv5+0XirA5ZvHOINTymm8hzMakkYo1vzZHXjTnWM0hxEtiTElw97soh8ghglkofN7OvI/xkm/21Gnv3B4gcAAP//AwBQSwMEFAAGAAgAAAAhAHIQge/PAQAABAMAAA8AAAB4bC93b3JrYm9vay54bWyMUtuO0zAQfUfiHyy/t3adpFRVklXpRVRCaMVl99k4bmOtL5HtkKwQ/76ThECBF57GM+O5nDMnv+uNRt+kD8rZAq+WFCNphauUvRb4y+fTYoNRiNxWXDsrC/wsA74rX7/KO+efvjr3hKCBDQWuY2y2hARRS8PD0jXSQubivOERXH8lofGSV6GWMhpNGKVrYriyeOqw9f/Tw10uSsiDE62RNk5NvNQ8wvqhVk3AZX5RWj5MiBBvmg/cwN69xkjzEI+VirIqcAau6+QfAd82b1ulIcvWlKaYlL9Q3nvE2+j2zgCIEO6ViC08CkyHXwMPD0p24XfB4KL+UdnKdQVeQz+MnmeXUQZuNyYfVRVrYH4DhMyxd1Jd6whBlqTjAHIzYSQQJo0W2RHdrtHOq3DgkcO5BobPgGKFkd8qePhztRr2vC355IxEH3mH/ipiN0VsKCLzQMG1AB4GM3ZPKaUwQjgrWu/hHHvI/GRE9vF9iGUOFrVeFfj7m4wlx+yQLFh2Sha77EgXq3XCFuv0xLJ0z1iasR+zFkz/jxiMEt4Fd4lL4QyZdAD6EUT2Qo5y2kxyKnPTb3de1OcDOml+hSNNOGAXQDNvRmYBly8AAAD//wMAUEsDBBQABgAIAAAAIQDOB1WaUwcAAM5YAAANAAAAeGwvc3R5bGVzLnhtbOxcS2/jNhC+F+h/EBT0mMjW0w5sL5pk3S6wXQRICvQqS7QtrB6GJO/aW/S/d0iKluSHLIV0mhTMwZHk4XD4cWY4pEcz+rCJQuUbSrMgicdq/6anKij2Ej+IF2P1z+fp9UBVstyNfTdMYjRWtyhTP0x+/mmU5dsQPS0RyhVgEWdjdZnnq1tNy7wlitzsJlmhGL6ZJ2nk5nCbLrRslSLXz3CjKNT0Xs/WIjeIVcrhNvLaMInc9Ot6de0l0crNg1kQBvmW8FKVyLv9tIiT1J2FIOqmb7oe401uDthHgZcmWTLPb4CdlszngYcOpRxqQw04TUbxOppGeaZ4yTrOx6q+e6TQbz75AKFtqgod9H3igxi9m94vqsYa1yitOuXV1RUj1oquJqN5Epc99mF6yEhuv8bJ93iKv4MuQQ5MNhllP5RvbghP+rhHLwmTVMlhOkAM8iR2I0Qp7t0wmKUBJpu7URBu6WMdPyAzWNBFAeCJH2q0B/o5w1RFX0P8Le0qiH20QQDCYK+3Z3eZRC4mPOisxpfxvLT87fv5LQhD5cmNswMMjvFIF7OxOp32yB9uUQJ+mtGsAmangZ+fp/UZ1r26jHxKca6zPZ3g6+wY+oWm7w3qNPA7HkTrqQp3nEGivRmoNahJzS/gB5MReKgcpfEUK1Fx/bxdgTXG4EypRhG6M9SL1N32davSQCMdTkazJPXBeTOPhD0BfTQZhWiew/SnwWKJ/+fJCj5nSZ6Dp5uM/MBdJLEbwqXGWhQXMBwPheETdvB/zXe8BwYw38wrDgycEXYH2OvhSxhJcUkZ0hvooNZoWDbSTzZS3NUq3E6BOWFN74B/eXdHBl7e/xoGizhC1QaPaZIjLycLG9GJmhwV4U/LsS+8bATrH5vvYupfhJ59Zuq/rKMZSqckdignGdtReSdSBZw3Jo/EB1xKg/VJfCQ+PC5f6o/UH6k/l1tPpX1J+5L2Je0LNkxk8/ba8bz0P9L/SP8j/Y/0P/R8Tp5vNPtDiY/Eh2e9kPoj9Ufqz+XiDWlf0r6kfUn7+q/ieel/pP+R/kf6H+l/6HmCPF9t9ocSH4kPz3rxoqQq2YgnJa0RPa2aEUnzIyupkQbOuzyVXQhLxvx4aqSymR/PkcRNziZW7loXyZIkN47k2J6SxDgvSTXxsl/8dsfy7Nh9Ra/xuF2WeakskzT4AXLjDHQPUjFRqirfU3f1jDaQx0lE0zbz00jhxPlGpGCKKomhTB4albC7tyMtwP2OpAXw35G08ObEZaTFWdMttLZvk3c3aDB0Vm8hGiDS1n8FZxpL05x3d4Ud0xZc2gyv9eSBV7FGnOx9YIDdhgIb4f/LUODNpncylBZLyPGhNGTQtuZZd69dnP8JdcPm0nZ1Y1bR3XJeWVCAs0mZakb9yqK9DoadVnrRyic0ymBTWffLXSatExZnVw8OeS6ymjF52thkJ9QusV5dTNguKgcrTXNgy6SsqxzP4n/U90I3zPPi17AaY23nsiEWv3wsqKpjVl+teBDsZMTn4WSB0zsRlwVHb0Jc7o1rQxx0fuaAgiztwqGg3rn0evCKJnnFszlEPyvwgHmTNg5aoL2UAyk2/0dtvLbdOD+WlwcvXLZ/kbGw44s3OS+VtQFvbRvXBqZgdYtotdYTnWeKQU7V4Byt8sJx/XXj3ambgl+kh1frkzBMviNf+R3eok7DIP4K9RDIIRqujDBbB2EexPhMDRRrGfg+wjUtsE11YASzJIYRBHZiGMFKJ4YROHUhjHRRYOuiwNZFga2LAlsXBbYhCmxDFNiGKLANUWAbosA2RYFtigLbFAW2KQpsUxTYliiwLVFgW6LAtkSBbYkC2xYFti0KbFwoSchyZIsC2xYFtiMKbEcU2E43sA/iKwioKnMFODWGVwfNoa4RX3vYAnL1DzEtV3vYvnO158RP58RP58QPig9xjV/nxE/nxA9+oeeS3+DEz+DEz+DEz+DEz+TEz+TEz+TEz+TEz+TEz+LEz+LEz+LEz+LEz+LEz+bEz+bED//cz+P/bU78bE78HE78nG74fcGFu0J2NlMPhkhdp/3zmEeU4kND1qIuLSl8t9+C1B/tm6YzMPq63jfx7pYeBbUixwOi5LT4Hyt4Vxw07XMfQvhEyc1jx0l75HYfIlJKbrchx/tgSj5oQ+7syI0W5E4fdIdyd5rIB8OBNRyYPbzUF+SNSBb0Og4tCvrGwTJ67AoL+jby6INSnkZ0Cv4m3p4W/Glp0hNTy+idHT0cnB85KmRzW9BbvZL+6NHiPj1euqk8A6JqZSohnHv6m7LAIuk9x7Vrn3Dpxd1JKJiPj+buOsyfd1+O1fL6D+QH6wjUv6B6DL4lOWExVsvrz7gOJOgljBDS8T5nUC0W/ivrNBirf3+8c4YPH6f69aB3N7g2DWRdD627h2vLvL97eJgOe3rv/h8YBi70ewsFaDkK6ZKCv5AD2DdvsxDK7abFYAvhn8pnY7VyQ8XH0msgNv0kg9AI3qQQ8eRfAA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TF7kTHQGAADHFAAAGAAAAHhsL3dvcmtzaGVldHMvc2hlZXQyLnhtbJRY227jNhB9L9B/EPQemXdKRpxifb8lXXTb3WdFphNhbcuVlMu26L93KFmySKqLbQIk9uHhiJwZHo7m9pf348F7VXmRZqeRjwPke+qUZLv09DTy//h9fhP6XlHGp118yE5q5H9Thf/L3c8/3b5l+dfiWanSAwunYuQ/l+V5OBgUybM6xkWQndUJRvZZfoxL+Jo/DYpzruJdNel4GBCExOAYpye/tjDMf8RGtt+niZpmyctRncraSK4OcQnrL57Tc9FYOyY/Yu4Y519fzjdJdjyDicf0kJbfKqO+d0yGq6dTlsePB9j3O2Zx0tiuvjjmj2mSZ0W2LwMwN6gX6u45GkQDsHR3u0thB9rtXq72I/8DHj5g5g/ubisHfU7VW9H57JXZeav25UQdDkBmvqcD8JhlXzVztRv5CGwW6qAS7Qovhn+v6sLGBIL45+UxRD9j0D6k+7l54LwK2sfce4wLNckOX9Jd+QzZAcmxU/v45VD+lr0tVfr0XAIKa6kcMtx9m6oigbDoxTQbmcZlfHebZ28exBfDOs6xzhY8hHl3t4lGP2h45FMwD1MLgF/vCLkdvMLakgtn3HLAcDVr4iBTB5k5yNxBFg6ydJCVg6wdZOMgWwe5d5CHLjIAN7W+0jHr8ZWGq1DoKHb51OR7VWwg8o2T9fjIr6Jf+W9cA/C3dXpo+nxSMyC+LSMyGVOXgZFJmfVQsEmZ91Cs8C96KNS0suyhMJOy6qFwk7LuoQiTsumhSJOy7aFYzr3voVjefagpvON/cvWuEXyIUTdZquBLrQj1AdPDI190DVkxGNcUWR0+FhAeCcrCMGQ0xJSGsxsrIJOaH1Z8GgiOMeYCh0JgwqVw+NMunwSMMiQlkhFGkiMmHf6sy2cB4kJGHFMcMh4yDHwr+vMuHwWYhwRzhBFmOAplaLEXXTYJCMWESkoIx5xg6ixm2aWD8QgJEVGJcSQkZ9wyvrLYUjCJeBgSyknEsMVeW+yQcM5liCJKkSChlTWbLpsGiJmBcla+7fJxUDuDRAIzgRhzw3Tf5YcBxpRHiAgqIixCyh23P9T8qEoD8AyKOKVMhJxHIZXyulcjWyERu9naZKmGrWuAWid43HLaa8BBpg4yc5C5gywcZOkgKwdZO8jGQbZdxPCD7PXDQsO9Eq9rsc6VUJ1yLtpTrodhntB3by3xLXJVcHKNSX2N9nEsr0/7OJZwzvo4lnLO+zhWhi8unKgrVpYwLnvs0KsyVvta9XCIJdPrHg61hHHTx7HEcNvD+S+lhn05MQyvpZAehhhCCrR3LrUiNr5wau2FQ8doZPyYd9HEplsbnBrjUSCQ8UMcTZkZE2QgjIdHkTNhbkyABYdW7iwMAjzR2vHSGEcBsrawMsZ5II0dIHcL6/87YWNM0EJnHZGtTeDXnDXOPNYFX+cQN+JX4Zb6MetsjK+k5ohPXGjqQjMXmrvQwoWWLrRyobULbVxo60L3LvRgQKbrrJJYnxQC1VHyUpTZsX5pgbPjV7oortVP9foD1OqlpBbGBsKtVk4aCB5yPXqWYEwbElRmV5IVpVkv6ZoO1QrmfSRmadiil2Ql/7KXZCnUqpdkHbN1L8lK9E0vyTrQ24YE5UHrJ3a9Dcyw6jK3cyK+G1bM2+sO1+UxhFW/MFqRGjejcPleV2CRJg2pLns5lJlMQuUCv4iFCGNHiabNjEZ8KcYSqkyoBgWXUFdZfp/ZfMYk1EdQaCJOkWTR1SeXtLhsqrYfBowwHkEtBcVsiBBxC9+F/QSCoRgnUP1CjSo5F1Z2Lk2+CCSFKjYKBSdIMESg+rXSYmXOgJcDMA+ajzkUvwgqbGfG2pxhZfXmu6PbZvRSU7aXmZkzuu7s5MxFRWe6GWHVTnWro25DHFX+VDVFCi/JXnSjgkLytGinE6N1wcbFEEq5Hhzr1k2lJIN2CrRSzvGTuo/zp/RUeAdo3UBXJJAgV3ndN6m/QFunkqzHrAQNq9ULmmQK2iIoAPI+y8rmCzxa2/ykypezl+UpdFqqvtfIP2d5mcdpCdIH+F8ZDBym53TkM3jjgPCSCFQNunxlmrgDYFa9l9uirP57LznM+xtSAbKN4psPYoxuuP5DhEQ3UhI8lhMUQZnwT9MPO77/WDPsGCcD9Z6oqvkX1s0/cPP78OP2s3ef7aDPBj2gX0/qI2yz+vzlEyy4+girhLmwRv23WuzgrWlB3v0L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Jo92e00BQAA6g8AABgAAAB4bC93b3Jrc2hlZXRzL3NoZWV0MS54bWyMl99zozYQx9870/+B8nLtTGMQv/HYvknsxMGTTDOX3t2zDLLNHFguKInTTv/3rkAQCdFM7iGHv1qtPrtaWGn2+VwWxjOp6pwe5yaa2KZBjinN8uN+bn798+YiMo2a4WOGC3okc/OV1Obnxc8/zV5o9aM+EMIM8HCs5+aBsdPUsur0QEpcT+iJHGFkR6sSM/hZ7a36VBGcNZPKwnJsO7BKnB/N1sO0+ogPutvlKVnR9KkkR9Y6qUiBGfDXh/xUd97O2Yf8ZRV+gVg7Hglx1Y70/pCn8ZV5WtGa7tgkpaXVoulRxlasxFmmmqORZJW4+vF0ugDHJwhumxc5e23CNY0ynSb7I63wtoAdOSMPpxIl1t1/nBM8LWZZDrnlBWFUZDc3L9F0g3zTWsyarfuWk5daejYY3j6SgqSMZFBBpsErY0vpD26YgGSDy7ox4C5xyvJnsiRFMTeXvLj+ahaBR1jA6leQn7vVbppaeqiMLa7Jkhbf84wdYEmo2Yzs8FPB3sRoErmO7SLH7we/0Jdbku8PDKZ4kDCet2n2uiJ1CqXEOYEgpQUsB3+NMucvBGQbn9uwxGpoAi5r9spzD8NbUrObnPs0jfSpZrTssIS71pEjHAWQn9aRTNi5c5Q5Ybc4BPjOJKRMQj1y4EYQ5jsT+TyrDbjJ+wozvJhV9MWAVwfc1CfMX2w05RnmafMc2MqUj17xYRiCsECvQX5e2DPrmTsUJssRE1c1WQkTwOy9uL5qcz1mE/Q2FuD2zEAjMwuQSy43AfWLoH5+G42w4OFBHBPXUcfXYtxtMs3jv9WURFM2sqJwuuOcXFY5BxxXwqLjDKIBpxiXODUl0ZSNrCicsC9j+eSyyumpHEth0XEiNNjUtTCQQDUl0ZSNrCig/I2UirXbeC6roAOOpbDoQaO3ymoqYy0MJFBNSTRlIysKKLz+Y6BcVkEHHEth0YE6URTL/4aFIMwlbE1JNGUjKwo2fInGsLmsYoeDQhAWHbZnq9gD87Uwl7A1JdGUjawo2Ly9jJQFl1VsL1a5V8Kk5Q4njpzrOPavLwZv5lpMkMg1JdGUjawo5PE4OZdVcn/w1V0Jkz7jCCnsw0IR5hK3piSaspEVhZt3irGUN/qAfPARXnU2HbozQB/s0bqzl9h1KdGljSKp+LzZjFQMb6rDxA8qYNXZdPho8AqvOwOZV/h9kxLdaqNIKi9vMWO8ovVIfdXXeq+w6Xk9tVK0dMvtrPk43vL2z9Mi42vSRrFS8XnnGcMXHQk+o33L9gfpvIZVm8U5/27x+PX+10+PtCTGF/xi8JPMp1/WyJ3eIfe3mbVr+7rjhF4AYfqeb4cosN9eBhWL9xkJqzn7OFF39rnkp0cetoI3aIHXnVGLN0RbIdgOQeUiFCIbxW4Y+GEcoLfCUql4U3mPSjQdhWrQ7645M0f//6RBXn8f0t7ISfR8PwztyLejyPMjJ377hre47Rm+PUue8J7c42qfH2ujIDvYTHsCX+uqPYU3z4yeGhXAtpTB8bn7dYC7IoGjFhzHTGNHKet+wKmV+30k7Olk0CqHw3tz/ZubJ1qxCucMTqug/01hoFidcn5wjb04CJ0YqhMuuyxP9QFwW5A9Tl/Fxc+opnk2N6skaw7Y5MzuaraYwf/GUwU+/wk823ZCF11cBlf2hc//OEFoX4Shg67CpR0Htv1vdzEr4RIxuCGP3spKnFrknJLmfhy198bFrDxPH+6+Gfc0g0sHfGL/OJIHSEHz/P0Rgmke+XEe8Nq/DazV39IX/wEAAP//AwBQSwMEFAAGAAgAAAAhAFL1gnMXAwAAXAkAABQAAAB4bC9zaGFyZWRTdHJpbmdzLnhtbJxW32/aMBB+r9T/wcpTqzUN7WCbJqBC7dj6UIEG3bRH41zISY7NbIeO/fU7B2iZDVvbN+fuu9/f2ele/aokW4KxqFUvuThvJQyU0DmqeS+5nw7TDwmzjqucS62gl6zAJlf946OutY6RrbK9pHRu8THLrCih4vZcL0CRptCm4o4+zTyzCwM8tyWAq2R22Wq9yyqOKmFC18r1kg5FqRX+rOF6I3if9LsW+13X/wwqB9PNXL+beclaesclhLIhhY+lg3kEvPce2dtO6OBtJ223Q2G7k3YiYafzJsQNuailW7EHdCXjgudQoWA8X6KlZjIDdqGVxRlKdAg2Mq+lTB1WwMZGF2D9QLhkE8eLgg28Fx01YbCN4rtmQcaIMU3W+8nuQDly9wW4pPQO4m/QgHDaML0JSqlnTXRfwyCvUKF1hhMkLIDSXmrrQvE3FL4ksJhTCoxcbyQNmp2gErL2dGOcavZUc/bMn7VA7oDO4MT5aej2Brh6vfG2ytdGv9baUM772nBdIhTsVq3pT0Nko6KgHhh2cn07OmUZWyOmIEqlpZ6vdgDTUVToLq107V7BrJErffSxBG6B2QUILFZRnO8ld2wGtNU5WGGQjmyla8McOgmMlM0XKkuC2lFhV+FMplvk7RMoxExc3fBgAmZJXYnWYKsfFAVHE6k/KaOlrDyT7rjic/DHMIanabM/kXmz+HPD85qoRbtFxItTeNyqLe8j/9u1m9a0B0TdEDAkaiiir2QDzEPlTnMI8BUscCPKEPWYBK0VJVwRb25gwY1raj+ZvHSKRa2EHxqF5HQXP2uewyebAdmEKf5dyPHRBH9HN22Ima4WEWbnVsElsHuF0UTH9UyiOGPtdEXd8pcIn+ll5GlscOkHq7RLaf/SBd2k6J5t9hKTTUKXTUJhZw7l8W/0bvgDyE1USc9D6kq6AQ/gDvThuXa7mfzPZqrpXQkbMHl8RHYIEILWr/DFWavVClWNMO3sUzXC9KK1T7eWppd7lWtp/GzTHZf+IFYdH61ZFuYy3AGs+xoipg+68fAkz+jvqP8HAAD//wMAUEsDBBQABgAIAAAAIQD7eNpwngIAABAHAAAbAAAAeGwvZHJhd2luZ3Mvdm1sRHJhd2luZzEudm1s7FXLbtswELznKwjm4IsNPZK4ASMZCFLk1hbo8xjQEm0xIbmCtJblfH2XlOzYDVoE6KGXCpBF7g53d4YDOOutYfS6VnQ53zROtEWlrGxnVhcNtLDCWQFWdNbwsxEIfwLCaqULJYbP4Uj/hiOqL9RLE0vjVIi1iCIri+/WfAlzfWs0X5yxDERbyVoZuYMNsk6oHnOuSo0+69O6tLI+SbBSosx5wiNfIDqpsMi6oSDuasV0mfOHPqbnAdM45awAaMpWP6ucp8k8jqfhlzOqUVNfj6GutcQq5zaexmZEDLiT37hXw4jUEBt4UuwRtGtxZ6i41aiaMB+jgXw9tm5kqZXDQBeeco6+bQHOqQL9tDlvaDWSOmJxoHRMp03i9Iqz4dz5CcdhhEkNrUYNTshlC2aD6oaYWdmstZsZtUIxv67xZgwg1CKJab/VJVYiSS9pXSm9rlAkHvc8065UvUh8lU63eqmNxp2odFkqd2NbmG0bWc9Cc4H+4ISttDEFGGhyfr6iRyWeMomk0EJJhOUGYS+iB9P9EDp9gfsb9gqSaCVsGbhBtmVbbBpFlzvIddD4Fz0dOHW4BCRnLaFnozx+4lJ7xUmjmTQo/DAT349lpe72OH+M0nrthFdtssgiyoaxok6MRcO2F3fGX/B7cif7tHyk0l/DtX4EHKzCsl58gE790FjdKWPaQM9Hv5AlX0dvXVFBE0Zi8ZTNr6f+k9B7QZ93YZdeZ1EvjpBU7ZaY3JOci3tpWhXy+0ig14vPsF0kPuEXY+yOXGLdIvbhce3F97sDL8JmRDt4+Le+nP+dL5M0OTVmeuRL78XRlwG292X635f/xpfJlF2lgxOn7HLKUgqQQdOLYLsXA7/ZlsF/r20Z3Po2W0b0N7j4CQAA//8DAFBLAwQUAAYACAAAACEAFENmJTYBAAAS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HdS8MwFMXfBf+Hkvc2Tef8CG0HKkPEgbCJ4ltI7tpg80ES7fbfm3WzTubj5Zz745x7y9lGdckXOC+NrhDJcpSA5kZI3VToZTVPr1HiA9OCdUZDhbbg0aw+Pyu5pdw4eHbGggsSfBJJ2lNuK9SGYCnGnregmM+iQ0dxbZxiIY6uwZbxD9YALvL8EisITLDA8A6Y2pGIDkjBR6T9dN0AEBxDBwp08JhkBP96Azjl/10YlCOnkmFrY6dD3GO24HtxdG+8HI1932f9ZIgR8xP8tnhaDlVTqXe34oDqUnDKHbBgXF3i4yEermM+LOKN1xLE7bZ+NJqFlunkwbgIAKlLfOqKxKEAVYfNJGai+wY/0uvk7n41R3WRk2lKijQnK3JFpzf0onjfpfgLiMFOvlh/AwAA//8DAFBLAwQUAAYACAAAACEAdP7pBA8BAAAiAgAAEAAAAHhsL2NvbW1lbnRzMS54bWy8UMtOwzAQvCPxD9beqZMcUEGxKzgUIXFAonyAiTeNJT8ir1ulfD1b0nDgxAnJsjzj2ZnRtpspeHHETC5FBfWqAoGxS9bFvYL33fZmDYKKidb4FFHBCQk2+vqq7VIIGAsJNoikYChlvJeSugGDoVUaMfJPn3IwhWHeSxozGksDYgleNlV1K4NxEXRrDmVImZaH1K38oS45L46KXkJFxl7BYw1ilj1bBRX7FJxYlPm88vXBPvQpjsYruAMGXfIpCxctTsgT6/pM5m2KZRbtzJCCOZO9Cc6fZrY5E/LbseinnA6jsEhddmPhnVErOVJynJzT5aXwr7IPzf+XfcPskP7Yduk9L3pBpL8AAAD//wMAUEsDBBQABgAIAAAAIQDZZieJkQEAAC8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TU8bMRCG70j9D5bvxEuKUBV5jRC04lDUiAR6nnpnsxZee+UZlqS/vt6sQjb0UKm3+Xj9+vF49PW29aLHRC6GUl7MCikw2Fi5sCnl0/rb+RcpiCFU4GPAUu6Q5LX5dKaXKXaY2CGJbBGolA1zt1CKbIMt0Cy3Q+7UMbXAOU0bFevaWbyL9rXFwGpeFFcKt4yhwuq8ezeUo+Oi5/81raId+Oh5vesysNE3XeedBc6vNA/OpkixZvEA1gWO1IivW4teq6lMZ84V2tfkeGcKraapXlnweJuvMDV4Qq2OBX2PMIxvCS6R0T0verQckyD3Ow9wLsUvIBzAStlDchA4Aw6yMdnHviNO5mdML9QgMmmVBWNxH06109hdmvlekINT4WAwguTGKeLasUf6US8h8b+I9wwj74hz0/mYHN0BwxTyHXcVWxSP8CY+Kk6APiB8d+GFnrp1zIfwMOLTol41kLDKv3LoHwv6Pk83+cHktoGwweqg+bsxrMbzuP/m4nJWfC7yX09qWh033fwBAAD//wMAUEsDBBQABgAIAAAAIQDFvWExnwAAAM4AAAAQAAAAeGwvY2FsY0NoYWluLnhtbESOTQrCMBCF94J3CLO3af1DpGkXoifQA4R0bALJpGSC6O2NIO3mwfsefLy2fwcvXpjYRVLQVDUIJBMHR6OCx/22OYHgrGnQPhIq+CBD361XrdHeXKx2JIqBWIHNeTpLycZi0FzFCaksz5iCzqWmUfKUUA9sEXPwclvXRxmKALrWiKTg2uxAuHIChP+lnPnhzxeyX4icn3RfAAAA//8DAFBLAQItABQABgAIAAAAIQBJEqz3jAEAAHgGAAATAAAAAAAAAAAAAAAAAAAAAABbQ29udGVudF9UeXBlc10ueG1sUEsBAi0AFAAGAAgAAAAhAFB8TsH2AAAATAIAAAsAAAAAAAAAAAAAAAAAxQMAAF9yZWxzLy5yZWxzUEsBAi0AFAAGAAgAAAAhAABBmPgJAQAAzAMAABoAAAAAAAAAAAAAAAAA7AYAAHhsL19yZWxzL3dvcmtib29rLnhtbC5yZWxzUEsBAi0AFAAGAAgAAAAhAHIQge/PAQAABAMAAA8AAAAAAAAAAAAAAAAANQkAAHhsL3dvcmtib29rLnhtbFBLAQItABQABgAIAAAAIQDOB1WaUwcAAM5YAAANAAAAAAAAAAAAAAAAADELAAB4bC9zdHlsZXMueG1sUEsBAi0AFAAGAAgAAAAhAOdldbjWAAAAuAEAACMAAAAAAAAAAAAAAAAArxIAAHhsL3dvcmtzaGVldHMvX3JlbHMvc2hlZXQxLnhtbC5yZWxzUEsBAi0AFAAGAAgAAAAhAExe5Ex0BgAAxxQAABgAAAAAAAAAAAAAAAAAxhMAAHhsL3dvcmtzaGVldHMvc2hlZXQyLnhtbFBLAQItABQABgAIAAAAIQD7YqVtlAYAAKcbAAATAAAAAAAAAAAAAAAAAHAaAAB4bC90aGVtZS90aGVtZTEueG1sUEsBAi0AFAAGAAgAAAAhAJo92e00BQAA6g8AABgAAAAAAAAAAAAAAAAANSEAAHhsL3dvcmtzaGVldHMvc2hlZXQxLnhtbFBLAQItABQABgAIAAAAIQBS9YJzFwMAAFwJAAAUAAAAAAAAAAAAAAAAAJ8mAAB4bC9zaGFyZWRTdHJpbmdzLnhtbFBLAQItABQABgAIAAAAIQD7eNpwngIAABAHAAAbAAAAAAAAAAAAAAAAAOgpAAB4bC9kcmF3aW5ncy92bWxEcmF3aW5nMS52bWxQSwECLQAUAAYACAAAACEAFENmJTYBAAASAgAAEQAAAAAAAAAAAAAAAAC/LAAAZG9jUHJvcHMvY29yZS54bWxQSwECLQAUAAYACAAAACEAdP7pBA8BAAAiAgAAEAAAAAAAAAAAAAAAAAAsLwAAeGwvY29tbWVudHMxLnhtbFBLAQItABQABgAIAAAAIQDZZieJkQEAAC8DAAAQAAAAAAAAAAAAAAAAAGkwAABkb2NQcm9wcy9hcHAueG1sUEsBAi0AFAAGAAgAAAAhAMW9YTGfAAAAzgAAABAAAAAAAAAAAAAAAAAAMDMAAHhsL2NhbGNDaGFpbi54bWxQSwUGAAAAAA8ADwDcAwAA/TMAAAAABSI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AAAAAFQXJpYWwGcQAAAAYrbW4tZWEJcgAAAAEACXMAAAAHIwAAAAABAAAAEQAAAAQUU3lzdGVtLkRyYXdpbmcuQ29sb3IEAAAABXQAAAAUU3lzdGVtLkRyYXdpbmcuQ29sb3IEAAAABXZhbHVlBXN0YXRlCmtub3duQ29sb3IEbmFtZQAAAAEJBwcEAAAAAAAAAAAAAAAAAAAACgF1AAAAdAAAAAAAAP//////AgAAAAoBdgAAAHQAAAD//////////wIAAAAKAXcAAAB0AAAATkEi//////8CAAAACgF4AAAAdAAAAN7c2///////AgAAAAoBeQAAAHQAAAB+aT///////wIAAAAKAXoAAAB0AAAAjIRy//////8CAAAACgF7AAAAdAAAACUh7f//////AgAAAAoBfAAAAHQAAAA0O0b//////wIAAAAKAX0AAAB0AAAAdJjD//////8CAAAACgF+AAAAdAAAAB6U9///////AgAAAAoBfwAAAHQAAAAelPf//////wIAAAAKAYAAAAB0AAAAJSHt//////8CAAAACgGBAAAAdAAAAAAAAP//////AgAAAAoBggAAAHQAAAD//////////wIAAAAKAYMAAAB0AAAATkEi//////8CAAAACgGEAAAAdAAAAN7c2///////AgAAAAoEJAAAAJgBU3lzdGVtLkNvbGxlY3Rpb25zLkdlbmVyaWMuTGlzdGAxW1tBcGxvcmlzLkJhc2UuT2JqZWN0cy5EYXRhT2JqZWN0LCBBcGxvcmlzLkJhc2UsIFZlcnNpb249NC4wLjAuMTQ4NiwgQ3VsdHVyZT1uZXV0cmFsLCBQdWJsaWNLZXlUb2tlbj0xNmZjMTNhMjI2YzBlOTUxXV0DAAAABl9pdGVtcwVfc2l6ZQhfdmVyc2lvbgQAACFBcGxvcmlzLkJhc2UuT2JqZWN0cy5EYXRhT2JqZWN0W10DAAAACAgJhQAAAAwAAAAMAAAABCUAAACVAVN5c3RlbS5Db2xsZWN0aW9ucy5HZW5lcmljLkxpc3RgMVtbQXBsb3Jpcy5CYXNlLlVJLlZpc3VhbE9iamVjdCwgQXBsb3Jpcy5CYXNlLCBWZXJzaW9uPTQuMC4wLjE0ODYsIEN1bHR1cmU9bmV1dHJhbCwgUHVibGljS2V5VG9rZW49MTZmYzEzYTIyNmMwZTk1MV1dAwAAAAZfaXRlbXMFX3NpemUIX3ZlcnNpb24EAAAeQXBsb3Jpcy5CYXNlLlVJLlZpc3VhbE9iamVjdFtdAwAAAAgICYYAAAABAAAAAQAAAAUnAAAAmwFBcGxvcmlzLkJhc2UuT2JqZWN0cy5EYXRhT2JqZWN0Q29sbGVjdGlvbmAxW1tBcGxvcmlzLkNoYXJ0LlZhbHVl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C4wLjE0ODYsIEN1bHR1cmU9bmV1dHJhbCwgUHVibGljS2V5VG9rZW49MTZmYzEzYTIyNmMwZTk1MV1dAwAAAJEBU3lzdGVtLkNvbGxlY3Rpb25zLkdlbmVyaWMuTGlzdGAxW1tBcGxvcmlzLkNoYXJ0LlZhbHVl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HAAAACYgAAAAJBgAAAAkBAAAACYkAAAAFKAAAAJsBQXBsb3Jpcy5CYXNlLk9iamVjdHMuRGF0YU9iamVjdENvbGxlY3Rpb25gMVtbQXBsb3Jpcy5DaGFydC5BeGlzQnJlYWs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AuMC4xNDg2LCBDdWx0dXJlPW5ldXRyYWwsIFB1YmxpY0tleVRva2VuPTE2ZmMxM2EyMjZjMGU5NTFdXQMAAACRAVN5c3RlbS5Db2xsZWN0aW9ucy5HZW5lcmljLkxpc3RgMVtbQXBsb3Jpcy5DaGFydC5BeGlzQnJlYW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igAAAAmLAAAACQYAAAAJAQAAAAmMAAAABS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IAAAADAAAACWMAAAAJZAAAAAllAAAAAQAAAAAKCglmAAAAAAAAAAoAAAAAAA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YgAAAAMAAAAJYwAAAAlkAAAACWUAAAABAAAAAAoGjQAAAAElCWYAAAABAAAACgAAAAAAAAAABSwAAACaAUFwbG9yaXMuQmFzZS5PYmplY3RzLkRhdGFPYmplY3RDb2xsZWN0aW9uYDFbW0FwbG9yaXMuQ2hhcnQuVGlja01hcms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C4wLjE0ODYsIEN1bHR1cmU9bmV1dHJhbCwgUHVibGljS2V5VG9rZW49MTZmYzEzYTIyNmMwZTk1MV1dAwAAAJABU3lzdGVtLkNvbGxlY3Rpb25zLkdlbmVyaWMuTGlzdGAxW1tBcGxvcmlzLkNoYXJ0LlRpY2tNYXJ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Y4AAAAJjwAAAAkGAAAACQEAAAAJkAAAAAUv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EAAAAgAAAAu+guQiMJsUMBkgAAACAAAABHVyREIwmxQwmTAAAAuAEAAP////8BAQoJlAAAAAEACgAHMAAAAAABAAAABQAAAAQVU3lzdGVtLkRyYXdpbmcuUG9pbnRGBAAAAAGVAAAAIAAAAEYXJUQjCbFDAZYAAAAgAAAAu+guQjvmvkMBlwAAACAAAADTRa9DO+a+QwGYAAAAIAAAAEdXJEQ75r5DAZkAAAAgAAAARhclRCOJs0MHMQAAAAABAAAABQAAAAQXQXBsb3Jpcy5CYXNlLkFuY2hvck1vZGUDAAAABZoAAAAXQXBsb3Jpcy5CYXNlLkFuY2hvck1vZGUBAAAAB3ZhbHVlX18ACAMAAAAEAAAAAZsAAACaAAAABQAAAAGcAAAAmgAAAAMAAAABnQAAAJoAAAAGAAAAAZ4AAACaAAAABQAAAA8yAAAABQAAAAEAAAAAAQUzAAAAFUFwbG9yaXMuQmFzZS5VSS5MYWJlbBwAAAAPbUFuY2hvclBvc2l0aW9uC21BbmNob3JNb2RlD21BZGRJbm5lck1hcmdpbhZtT2Zmc2V0RGlyZWN0aW9uQW5jaG9yF21PZmZzZXRPcnRob2dvbmFsQW5jaG9yC21UZXh0Rm9ybWF0CW1Sb3RhdGlvbgptQmFja0NvbG9yDW1Vc2VCYWNrQ29sb3IObVVzZ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EBAQAAQMDAQAAAAAHAgAAAwA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wAAAAGfAAAAIAAAAEYXJUQjCbFDAaAAAACaAAAABAAAAAAAAAAAAAAAAAmhAAAAAAAAAAmiAAAAAAAFowAAACpBcGxvcmlzLkJhc2UuVUkuTGFiZWwrTGluZUFsaWdubWVudE9wdGlvbnMBAAAAB3ZhbHVlX18ACAMAAAAAAAAAAaQAAABsAAAAAAAAAAAAAAABpQAAABQAAAAAAAAAAAAAAAAAAAAAAAAAAAAAAAamAAAADUNhdGVnb3J5IGF4aXMKCacAAAAJpgAAAOQCAAD/////AAEKCagAAAABAAoAATQAAAAkAAAACakAAAAGAAAABgAAAAE1AAAAJQAAAAmqAAAAAgAAAAIAAAABNwAAACcAAAAKCasAAAAJrAAAAAkHAAAACQEAAAAJrQAAAAE4AAAAKAAAAAoJrgAAAAmvAAAACQcAAAAJAQAAAAmwAAAABT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IAAAADAAAACWMAAAAJZAAAAAllAAAAAQAAAAAKCY0AAAAJZgAAAAAAAAAKAAAAAAAAAAAFO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wAAAAkBAAAAAQAAAAAJYgAAAAMAAAAJYwAAAAlkAAAACWUAAAABAAAAAAoKCWYAAAAAAAAACgAAAAAAAAAABT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EAAAABCWIAAAADAAAACWMAAAAJZAAAAAllAAAAAQAAAAAKCY0AAAAJZgAAAAEAAAAKAAAAAAAAAAABPAAAACwAAAAKCbEAAAAJsgAAAAkHAAAACQEAAAAJswAAAAE/AAAALwAAAAG0AAAAIAAAALvoLkIjCbFDAbUAAAAgAAAAu+guQmxyfEEJtgAAALgBAAD/////AQEKCbcAAAABAAoAB0AAAAAAAQAAAAUAAAAEFVN5c3RlbS5EcmF3aW5nLlBvaW50RgQAAAABuAAAACAAAAC76C5CmiwlQQG5AAAAIAAAABYBJkEjCbFDAboAAAAgAAAAFgEmQbbsOEMBuwAAACAAAAAWASZBbHJ8QQG8AAAAIAAAABYBJkGaLCVBB0EAAAAAAQAAAAUAAAAEF0FwbG9yaXMuQmFzZS5BbmNob3JNb2RlAwAAAAG9AAAAmgAAAAEAAAABvgAAAJoAAAAIAAAAAb8AAACaAAAAAgAAAAHAAAAAmgAAAAYAAAABwQAAAJoAAAAHAAAAD0IAAAAFAAAAAQAAAAABAUMAAAAzAAAAAcIAAAAgAAAAu+guQposJUEBwwAAAJoAAAABAAAAAAAAAAAAAAAACcQAAAAAAAAACcUAAAAAAAHGAAAAowAAAAAAAAABxwAAAGwAAAAAAAAAAAAAAAHIAAAAFAAAAAAAAAAAAAAAAAAAAAAAAAAAAAAABskAAAAKVmFsdWUgYXhpcwoJygAAAAnJAAAA5AIAAP////8AAQoJywAAAAEACgABRAAAACQAAAAJzAAAAAcAAAAHAAAAAUUAAAAlAAAACc0AAAACAAAAAgAAAAdGAAAAAAEAAAAAAAAABC5BcGxvcmlzLkNoYXJ0LkNvbHVtbk9yaWVudGVkQ2hhcnQrVW51c2VkU2VyaWVzAgAAAARHAAAAlwFTeXN0ZW0uQ29sbGVjdGlvbnMuR2VuZXJpYy5MaXN0YDFbW0FwbG9yaXMuQ2hhcnQuQ2hhcnREYXRhU2VyaWVzLCBBcGxvcmlzLkNoYXJ0LCBWZXJzaW9uPTQuMC4wLjE0ODYsIEN1bHR1cmU9bmV1dHJhbCwgUHVibGljS2V5VG9rZW49MTZmYzEzYTIyNmMwZTk1MV1dAwAAAAZfaXRlbXMFX3NpemUIX3ZlcnNpb24EAAAfQXBsb3Jpcy5DaGFydC5DaGFydERhdGFTZXJpZXNbXQIAAAAICAnOAAAADgAAALYAAAABSAAAACQAAAAJzwAAAA4AAABIAAAAAUkAAAAlAAAACdAAAAAAAAAAAAAAAARKAAAAnAFTeXN0ZW0uQ29sbGVjdGlvbnMuR2VuZXJpYy5MaXN0YDFbW0FwbG9yaXMuQ2hhcnQuQW5ub3RhdGlvbkRhdGFTZXJpZXMsIEFwbG9yaXMuQ2hhcnQsIFZlcnNpb249NC4wLjAuMTQ4NiwgQ3VsdHVyZT1uZXV0cmFsLCBQdWJsaWNLZXlUb2tlbj0xNmZjMTNhMjI2YzBlOTUxXV0DAAAABl9pdGVtcwVfc2l6ZQhfdmVyc2lvbgQAACRBcGxvcmlzLkNoYXJ0LkFubm90YXRpb25EYXRhU2VyaWVzW10CAAAACAgJ0QAAAAAAAAAAAAAAAUsAAAAkAAAACdIAAAAAAAAAAAAAAAFMAAAAJQAAAAnQAAAAAAAAAAAAAAAETQAAAJcBU3lzdGVtLkNvbGxlY3Rpb25zLkdlbmVyaWMuTGlzdGAxW1tBcGxvcmlzLkNoYXJ0LkFubm90YXRpb25Hcm91cCwgQXBsb3Jpcy5DaGFydCwgVmVyc2lvbj00LjAuMC4xNDg2LCBDdWx0dXJlPW5ldXRyYWwsIFB1YmxpY0tleVRva2VuPTE2ZmMxM2EyMjZjMGU5NTFdXQMAAAAGX2l0ZW1zBV9zaXplCF92ZXJzaW9uBAAAH0FwbG9yaXMuQ2hhcnQuQW5ub3RhdGlvbkdyb3VwW10CAAAACAgJ0wAAAAAAAAAAAAAAAU4AAAAkAAAACdIAAAAAAAAAAAAAAAFPAAAAJQAAAAnQAAAAAAAAAAAAAAAEUAAAAJYBU3lzdGVtLkNvbGxlY3Rpb25zLkdlbmVyaWMuTGlzdGAxW1tBcGxvcmlzLkNoYXJ0LkNoYXJ0RGF0YUdyb3VwLCBBcGxvcmlzLkNoYXJ0LCBWZXJzaW9uPTQuMC4wLjE0ODYsIEN1bHR1cmU9bmV1dHJhbCwgUHVibGljS2V5VG9rZW49MTZmYzEzYTIyNmMwZTk1MV1dAwAAAAZfaXRlbXMFX3NpemUIX3ZlcnNpb24EAAAeQXBsb3Jpcy5DaGFydC5DaGFydERhdGFHcm91cFtdAgAAAAgICdQAAAAEAAAAEAAAAAFRAAAAJAAAAAnVAAAABAAAAAwAAAABUgAAACUAAAAJ0AAAAAAAAAAAAAAABFMAAACQAVN5c3RlbS5Db2xsZWN0aW9ucy5HZW5lcmljLkxpc3RgMVtbQXBsb3Jpcy5DaGFydC5EZWx0YUJhciwgQXBsb3Jpcy5DaGFydCwgVmVyc2lvbj00LjAuMC4xNDg2LCBDdWx0dXJlPW5ldXRyYWwsIFB1YmxpY0tleVRva2VuPTE2ZmMxM2EyMjZjMGU5NTFdXQMAAAAGX2l0ZW1zBV9zaXplCF92ZXJzaW9uBAAAGEFwbG9yaXMuQ2hhcnQuRGVsdGFCYXJbXQIAAAAICAnWAAAAAAAAAAAAAAABVAAAACQAAAAJ0gAAAAAAAAAAAAAAAVUAAAAlAAAACdAAAAAAAAAAAAAAAARWAAAAkwFTeXN0ZW0uQ29sbGVjdGlvbnMuR2VuZXJpYy5MaXN0YDFbW0FwbG9yaXMuQ2hhcnQuRGVsdGFCcmlkZ2UsIEFwbG9yaXMuQ2hhcnQsIFZlcnNpb249NC4wLjAuMTQ4NiwgQ3VsdHVyZT1uZXV0cmFsLCBQdWJsaWNLZXlUb2tlbj0xNmZjMTNhMjI2YzBlOTUxXV0DAAAABl9pdGVtcwVfc2l6ZQhfdmVyc2lvbgQAABtBcGxvcmlzLkNoYXJ0LkRlbHRhQnJpZGdlW10CAAAACAgJ1wAAAAAAAAAAAAAAAVcAAAAkAAAACdIAAAAAAAAAAAAAAAFYAAAAJQAAAAnQAAAAAAAAAAAAAAAEWQAAAJMBU3lzdGVtLkNvbGxlY3Rpb25zLkdlbmVyaWMuTGlzdGAxW1tBcGxvcmlzLkNoYXJ0Lkdyb3d0aEFycm93LCBBcGxvcmlzLkNoYXJ0LCBWZXJzaW9uPTQuMC4wLjE0ODYsIEN1bHR1cmU9bmV1dHJhbCwgUHVibGljS2V5VG9rZW49MTZmYzEzYTIyNmMwZTk1MV1dAwAAAAZfaXRlbXMFX3NpemUIX3ZlcnNpb24EAAAbQXBsb3Jpcy5DaGFydC5Hcm93dGhBcnJvd1tdAgAAAAgICdgAAAAAAAAAAAAAAAFaAAAAJAAAAAnSAAAAAAAAAAAAAAABWwAAACUAAAAJ0AAAAAAAAAAAAAAABFwAAACaAVN5c3RlbS5Db2xsZWN0aW9ucy5HZW5lcmljLkxpc3RgMVtbQXBsb3Jpcy5DaGFydC5XYXRlcmZhbGxDb25uZWN0b3IsIEFwbG9yaXMuQ2hhcnQsIFZlcnNpb249NC4wLjAuMTQ4NiwgQ3VsdHVyZT1uZXV0cmFsLCBQdWJsaWNLZXlUb2tlbj0xNmZjMTNhMjI2YzBlOTUxXV0DAAAABl9pdGVtcwVfc2l6ZQhfdmVyc2lvbgQAACJBcGxvcmlzLkNoYXJ0LldhdGVyZmFsbENvbm5lY3RvcltdAgAAAAgICdkAAAAAAAAAAAAAAAFdAAAAJAAAAAnSAAAAAAAAAAAAAAABXgAAACUAAAAJ0AAAAAAAAAAAAAAABF8AAACYAVN5c3RlbS5Db2xsZWN0aW9ucy5HZW5lcmljLkxpc3RgMVtbQXBsb3Jpcy5DaGFydC5FbGVtZW50Q29ubmVjdG9yLCBBcGxvcmlzLkNoYXJ0LCBWZXJzaW9uPTQuMC4wLjE0ODYsIEN1bHR1cmU9bmV1dHJhbCwgUHVibGljS2V5VG9rZW49MTZmYzEzYTIyNmMwZTk1MV1dAwAAAAZfaXRlbXMFX3NpemUIX3ZlcnNpb24EAAAgQXBsb3Jpcy5DaGFydC5FbGVtZW50Q29ubmVjdG9yW10CAAAACAgJ2gAAAAAAAAAAAAAAAWAAAAAkAAAACdIAAAAAAAAAAAAAAAFhAAAAJQAAAAnQAAAAAAAAAAAAAAAFag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nbAAAACdwAAAABAAAA/v///wEAAAABAAAAAQAAAAEAAAABAAAAAQAAAAAAAQVr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d0AAAAJ3gAAAAEAAAAAAAAAAAAAAAAAAAAAAQVvAAAAH0FwbG9yaXMuQmFzZS5PYmplY3RzLlBlcnNJZERhdGECAAAAA21JZAttQ3VzdG9tRGF0YQcCCAMAAAAJ3wAAAAoFcgAAABpBcGxvcmlzLkJhc2UuT2JqZWN0cy5Db2xvcgcAAAASRGF0YU9iamVjdCttUGFyZW50FURhdGFPYmplY3QrbUNvbnRhaW5lcgVtVHlwZQRtUkdCEG1UaGVtZUNvbG9ySW5kZXgMbUF1dG9VcGRhdGVkCW1Nb2RpZmllZAICAAAAAAAICAgBAQMAAAAKCgAAAAAAAAAADQAAAAABAXMAAAByAAAACgoBAAAAAAAAAP////8AAQeFAAAAAAEAAAAQAAAABB9BcGxvcmlzLkJhc2UuT2JqZWN0cy5EYXRhT2JqZWN0AwAAAAkJAAAACQoAAAAJCwAAAAkMAAAACRAAAAAJEQAAAAkNAAAACQ4AAAAJDwAAAAkHAAAACQYAAAAJFwAAAA0EB4YAAAAAAQAAAAQAAAAEHEFwbG9yaXMuQmFzZS5VSS5WaXN1YWxPYmplY3QDAAAACRsAAAANAwSHAAAAkQFTeXN0ZW0uQ29sbGVjdGlvbnMuR2VuZXJpYy5MaXN0YDFbW0FwbG9yaXMuQ2hhcnQuVmFsdWVMaW5lLCBBcGxvcmlzLkNoYXJ0LCBWZXJzaW9uPTQuMC4wLjE0ODYsIEN1bHR1cmU9bmV1dHJhbCwgUHVibGljS2V5VG9rZW49MTZmYzEzYTIyNmMwZTk1MV1dAwAAAAZfaXRlbXMFX3NpemUIX3ZlcnNpb24EAAAZQXBsb3Jpcy5DaGFydC5WYWx1ZUxpbmVbXQIAAAAICAngAAAAAAAAAAAAAAABiAAAACQAAAAJ0gAAAAAAAAAAAAAAAYkAAAAlAAAACdAAAAAAAAAAAAAAAASKAAAAkQFTeXN0ZW0uQ29sbGVjdGlvbnMuR2VuZXJpYy5MaXN0YDFbW0FwbG9yaXMuQ2hhcnQuQXhpc0JyZWFrLCBBcGxvcmlzLkNoYXJ0LCBWZXJzaW9uPTQuMC4wLjE0ODYsIEN1bHR1cmU9bmV1dHJhbCwgUHVibGljS2V5VG9rZW49MTZmYzEzYTIyNmMwZTk1MV1dAwAAAAZfaXRlbXMFX3NpemUIX3ZlcnNpb24EAAAZQXBsb3Jpcy5DaGFydC5BeGlzQnJlYWtbXQIAAAAICAnhAAAAAAAAAAAAAAABiwAAACQAAAAJ0gAAAAAAAAAAAAAAAYwAAAAlAAAACdAAAAAAAAAAAAAAAASOAAAAkAFTeXN0ZW0uQ29sbGVjdGlvbnMuR2VuZXJpYy5MaXN0YDFbW0FwbG9yaXMuQ2hhcnQuVGlja01hcmssIEFwbG9yaXMuQ2hhcnQsIFZlcnNpb249NC4wLjAuMTQ4NiwgQ3VsdHVyZT1uZXV0cmFsLCBQdWJsaWNLZXlUb2tlbj0xNmZjMTNhMjI2YzBlOTUxXV0DAAAABl9pdGVtcwVfc2l6ZQhfdmVyc2lvbgQAABhBcGxvcmlzLkNoYXJ0LlRpY2tNYXJrW10CAAAACAgJ4gAAAAAAAAAAAAAAAY8AAAAkAAAACdIAAAAAAAAAAAAAAAGQAAAAJQAAAAnQAAAAAAAAAAAAAAABkwAAAGoAAAAKCgAAAEA/CeMAAAAJ5AAAAAEAAAD+////AAAAAAEAAAAAAAAAAAAAAAEAAAAAAAAAAAAAAZQAAABvAAAACeUAAAAKBaE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wAAAACXEAAAAJ5gAAAAEACecAAAABogAAAHIAAAAKCgEAAAAAAAAA/////wABBKcAAACWAVN5c3RlbS5Db2xsZWN0aW9ucy5HZW5lcmljLkxpc3RgMVtbQXBsb3Jpcy5CYXNlLk9iamVjdHMuVmFyaWFibGUsIEFwbG9yaXMuQmFzZSwgVmVyc2lvbj00LjAuMC4xNDg2LCBDdWx0dXJlPW5ldXRyYWwsIFB1YmxpY0tleVRva2VuPTE2ZmMxM2EyMjZjMGU5NTFdXQMAAAAGX2l0ZW1zBV9zaXplCF92ZXJzaW9uBAAAH0FwbG9yaXMuQmFzZS5PYmplY3RzLlZhcmlhYmxlW10DAAAACAgJ6AAAAAAAAAAAAAAAAagAAABvAAAACekAAAAKB6kAAAAAAQAAAAgAAAAEH0FwbG9yaXMuQmFzZS5PYmplY3RzLkRhdGFPYmplY3QDAAAACSkAAAAJKgAAAAkrAAAACSwAAAAJJwAAAAkoAAAACgoHqgAAAAABAAAABAAAAAQcQXBsb3Jpcy5CYXNlLlVJLlZpc3VhbE9iamVjdAMAAAAJLwAAAAkzAAAACgoBqwAAAIcAAAAJ4AAAAAAAAAAAAAAAAawAAAAkAAAACdIAAAAAAAAAAAAAAAGtAAAAJQAAAAnQAAAAAAAAAAAAAAABrgAAAIoAAAAJ4QAAAAAAAAAAAAAAAa8AAAAkAAAACdIAAAAAAAAAAAAAAAGwAAAAJQAAAAnQAAAAAAAAAAAAAAABsQAAAI4AAAAJ6gAAAAsAAAAhAAAAAbIAAAAkAAAACesAAAALAAAAIQAAAAGzAAAAJQAAAAnQAAAAAAAAAAAAAAABtgAAAGoAAAAKCgAAAEA/CewAAAAJ7QAAAAEAAAD+////AAAAAAEAAAAAAAAAAAAAAAEAAAAAAAAAAAAAAbcAAABvAAAACe4AAAAKBcQ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wAAAACXEAAAAJ7wAAAAEACfAAAAABxQAAAHIAAAAKCgEAAAAAAAAA/////wABAcoAAACnAAAACegAAAAAAAAAAAAAAAHLAAAAbwAAAAnxAAAACgfMAAAAAAEAAAAIAAAABB9BcGxvcmlzLkJhc2UuT2JqZWN0cy5EYXRhT2JqZWN0AwAAAAk5AAAACToAAAAJOwAAAAk8AAAACTcAAAAJOAAAAAnyAAAACgfNAAAAAAEAAAAEAAAABBxBcGxvcmlzLkJhc2UuVUkuVmlzdWFsT2JqZWN0AwAAAAk/AAAACUMAAAAKCgfOAAAAAAEAAAAgAAAABB1BcGxvcmlzLkNoYXJ0LkNoYXJ0RGF0YVNlcmllcwIAAAAJ8wAAAAn0AAAACfUAAAAJ9gAAAAn3AAAACfgAAAAJ+QAAAAn6AAAACfsAAAAJ/AAAAAn9AAAACf4AAAAJ/wAAAAkAAQAADRIHzwAAAAABAAAAIAAAAAQfQXBsb3Jpcy5CYXNlLk9iamVjdHMuRGF0YU9iamVjdAMAAAAJ8wAAAAn0AAAACfUAAAAJ9gAAAAn3AAAACfgAAAAJ/gAAAAn/AAAACQABAAAJ+QAAAAn6AAAACfsAAAAJ/AAAAAn9AAAADRIH0AAAAAABAAAAAAAAAAQcQXBsb3Jpcy5CYXNlLlVJLlZpc3VhbE9iamVjdAMAAAAH0QAAAAABAAAAAAAAAAQiQXBsb3Jpcy5DaGFydC5Bbm5vdGF0aW9uRGF0YVNlcmllcwIAAAAH0gAAAAABAAAAAAAAAAQfQXBsb3Jpcy5CYXNlLk9iamVjdHMuRGF0YU9iamVjdAMAAAAH0wAAAAABAAAAAAAAAAQdQXBsb3Jpcy5DaGFydC5Bbm5vdGF0aW9uR3JvdXACAAAAB9QAAAAAAQAAAAgAAAAEHEFwbG9yaXMuQ2hhcnQuQ2hhcnREYXRhR3JvdXACAAAACQEBAAAJAgEAAAkDAQAACQQBAAANBAfVAAAAAAEAAAAIAAAABB9BcGxvcmlzLkJhc2UuT2JqZWN0cy5EYXRhT2JqZWN0AwAAAAkBAQAACQIBAAAJAwEAAAkEAQAADQQH1gAAAAABAAAAAAAAAAQWQXBsb3Jpcy5DaGFydC5EZWx0YUJhcgIAAAAH1wAAAAABAAAAAAAAAAQZQXBsb3Jpcy5DaGFydC5EZWx0YUJyaWRnZQIAAAAH2AAAAAABAAAAAAAAAAQZQXBsb3Jpcy5DaGFydC5Hcm93dGhBcnJvdwIAAAAH2QAAAAABAAAAAAAAAAQgQXBsb3Jpcy5DaGFydC5XYXRlcmZhbGxDb25uZWN0b3ICAAAAB9oAAAAAAQAAAAAAAAAEHkFwbG9yaXMuQ2hhcnQuRWxlbWVudENvbm5lY3RvcgIAAAAB2wAAAHIAAAAKCgAAAAAAAAAADQAAAAABAdwAAAByAAAACgoBAAAAAAAAAP////8AAQHdAAAAcgAAAAoKAQAAAP///wD/////AAEB3gAAAHIAAAAKCgEAAAAAAAAA/////wABD98AAAABAAAACAAAAAAH4AAAAAABAAAAAAAAAAQXQXBsb3Jpcy5DaGFydC5WYWx1ZUxpbmUCAAAAB+EAAAAAAQAAAAAAAAAEF0FwbG9yaXMuQ2hhcnQuQXhpc0JyZWFrAgAAAAfiAAAAAAEAAAAAAAAABBZBcGxvcmlzLkNoYXJ0LlRpY2tNYXJrAgAAAAXjAAAAGkFwbG9yaXMuQmFzZS5PYmplY3RzLkNvbG9yBwAAABJEYXRhT2JqZWN0K21QYXJlbnQVRGF0YU9iamVjdCttQ29udGFpbmVyBW1UeXBlBG1SR0IQbVRoZW1lQ29sb3JJbmRleAxtQXV0b1VwZGF0ZWQJbU1vZGlmaWVkBAIAAAAAAB9BcGxvcmlzLkJhc2UuT2JqZWN0cy5MaW5lRm9ybWF0AwAAAAgICAEBAwAAAAmTAAAACgAAAAAAAAAADQAAAAAABeQAAAAaQXBsb3Jpcy5CYXNlLk9iamVjdHMuQ29sb3IHAAAAEkRhdGFPYmplY3QrbVBhcmVudBVEYXRhT2JqZWN0K21Db250YWluZXIFbVR5cGUEbVJHQhBtVGhlbWVDb2xvckluZGV4DG1BdXRvVXBkYXRlZAltTW9kaWZpZWQEAgAAAAAAH0FwbG9yaXMuQmFzZS5PYmplY3RzLkxpbmVGb3JtYXQDAAAACAgIAQEDAAAACZMAAAAKAQAAAAAAAAD/////AAEP5QAAAAEAAAAI1wAAAAHmAAAAcgAAAAoKAAAAAAAAAAANAAAAAAEB5wAAAHIAAAAKCgEAAAAAAAAA/////wABB+gAAAAAAQAAAAAAAAAEHUFwbG9yaXMuQmFzZS5PYmplY3RzLlZhcmlhYmxlAwAAAA/pAAAAAQAAAAgAAAAAB+oAAAAAAQAAABAAAAAEFkFwbG9yaXMuQ2hhcnQuVGlja01hcmsCAAAACQUBAAAJBgEAAAkHAQAACQgBAAAJCQEAAAkKAQAACQsBAAAJDAEAAAkNAQAACQ4BAAAJDwEAAA0FB+sAAAAAAQAAABAAAAAEH0FwbG9yaXMuQmFzZS5PYmplY3RzLkRhdGFPYmplY3QDAAAACQUBAAAJBgEAAAkHAQAACQgBAAAJCQEAAAkKAQAACQsBAAAJDAEAAAkNAQAACQ4BAAAJDwEAAA0FBewAAAAaQXBsb3Jpcy5CYXNlLk9iamVjdHMuQ29sb3IHAAAAEkRhdGFPYmplY3QrbVBhcmVudBVEYXRhT2JqZWN0K21Db250YWluZXIFbVR5cGUEbVJHQhBtVGhlbWVDb2xvckluZGV4DG1BdXRvVXBkYXRlZAltTW9kaWZpZWQEAgAAAAAAH0FwbG9yaXMuQmFzZS5PYmplY3RzLkxpbmVGb3JtYXQDAAAACAgIAQEDAAAACbYAAAAKAAAAAAAAAAANAAAAAAAF7QAAABpBcGxvcmlzLkJhc2UuT2JqZWN0cy5Db2xvcgcAAAASRGF0YU9iamVjdCttUGFyZW50FURhdGFPYmplY3QrbUNvbnRhaW5lcgVtVHlwZQRtUkdCEG1UaGVtZUNvbG9ySW5kZXgMbUF1dG9VcGRhdGVkCW1Nb2RpZmllZAQCAAAAAAAfQXBsb3Jpcy5CYXNlLk9iamVjdHMuTGluZUZvcm1hdAMAAAAICAgBAQMAAAAJtgAAAAoBAAAAAAAAAP////8AAQ/uAAAAAQAAAAjWAAAAAe8AAAByAAAACgoAAAAAAAAAAA0AAAAAAQHwAAAAcgAAAAoKAQAAAAAAAAD/////AAEP8QAAAAEAAAAIAAAAAAXy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iAAAAAwAAAAljAAAACWQAAAAJZQAAAAEAAAAACgmNAAAACWYAAAABAAAACgAAAAAAAAAABfMAAAAdQXBsb3Jpcy5DaGFydC5DaGFydERhdGFTZXJpZXMcAAAABm1DaGFydAttU2VyaWVzVHlwZQltRXhjZWxSb3cKbUV4Y2VsUm93MgVtQXhpcw1tRGF0YUVsZW1lbnRzEm1TZXJpZXNEZXNjcmlwdGlvbhNtU2VyaWVzRGVzY3JpcHRpb24yCm1TdGFja2VkT24MbUN1c3RvbVdpZHRoD21DdXN0b21Qb3NpdGlvbg1tQ3VzdG9tWk9yZGVyCW1Qb2x5bGluZQhtUG9seWdvbhRtUmVzdG9yZUxhYmVsVmlzaWJsZQZtTGFiZWwPbUxhYmVsUG9zaXRpb25zEW1MYWJlbEFuY2hvck1vZGVzDm1MYWJlbFBvc2l0aW9uC21TbW9vdGhMaW5lDm1TYW1lVHlwZUluZGV4DG1CYXJQb3NpdGlvbhZtTGVnZW5kVXBkYXRlU3VzcGVuZGVkFG1QZW5kaW5nTGVnZW5kVXBkYXRlGERhdGFPYmplY3QrbUNoaWxkT2JqZWN0cxJEYXRhT2JqZWN0K21QYXJlbnQVRGF0YU9iamVjdCttQ29udGFpbmVyGURhdGFPYmplY3QrbVZpc3VhbE9iamVjdHMEBAAABAQBAQQAAAAEBAAEBAQAAAAAAAADBAQDIUFwbG9yaXMuQ2hhcnQuQ29sdW1uT3JpZW50ZWRDaGFydAIAAAAYQXBsb3Jpcy5DaGFydC5TZXJpZXNUeXBlAgAAAAgIJUFwbG9yaXMuQ2hhcnQuQ29sdW1uT3JpZW50ZWRDaGFydEF4aXMCAAAAogFBcGxvcmlzLkJhc2UuT2JqZWN0cy5EYXRhT2JqZWN0Q29sbGVjdGlvbmAxW1tBcGxvcmlzLkNoYXJ0LkNoYXJ0RGF0YUVsZW1lbnQsIEFwbG9yaXMuQ2hhcnQsIFZlcnNpb249NC4wLjAuMTQ4NiwgQ3VsdHVyZT1uZXV0cmFsLCBQdWJsaWNLZXlUb2tlbj0xNmZjMTNhMjI2YzBlOTUxXV0DAAAAHUFwbG9yaXMuQ2hhcnQuQ2hhcnREYXRhU2VyaWVzAgAAAAsLCB5BcGxvcmlzLkJhc2UuVUkuVmlzdWFsUG9seWxpbmUDAAAAHUFwbG9yaXMuQmFzZS5VSS5WaXN1YWxQb2x5Z29uAwAAAAEcQXBsb3Jpcy5DaGFydC5Db25uZWN0ZWRMYWJlbAIAAAAXU3lzdGVtLkRyYXdpbmcuUG9pbnRGW10EAAAAGUFwbG9yaXMuQmFzZS5BbmNob3JNb2RlW10DAAAACAEICAg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EQAQAAEwAAAAAAAAACAAAA/////wkHAAAACREBAAAGEgEAAARNYWxlCgoAAAAAAAAAAAAAAAAKCgAJEwEAAAkUAQAACRUBAAAAAAAAAAAAAAAAAAAAAAAAAAAJFgEAAAkBAAAACQEAAAAJFwEAAAH0AAAA8wAAAAkBAAAAARgBAAATAAAAAAAAAAMAAAD/////CQcAAAAJGQEAAAYaAQAABkZlbWFsZQoKAAAAAAAAAAAAAAAACgoACRsBAAAJHAEAAAkdAQAAAAAAAAABAAAAAAAAAAAAAAAACR4BAAAJAQAAAAkBAAAACR8BAAAB9QAAAPMAAAAJAQAAAAEgAQAAEwAAAAAAAAAEAAAA/////wkHAAAACSEBAAAGIgEAAAhVbmRlciAzNQoKAAAAAAAAAAAAAAAACgoACSMBAAAJJAEAAAklAQAAAAAAAAACAAAAAAAAAAAAAAAACSYBAAAJAQAAAAkBAAAACScBAAAB9gAAAPMAAAAJAQAAAAEoAQAAEwAAAAAAAAAFAAAA/////wkHAAAACSkBAAAGKgEAAAUzNS00NAoKAAAAAAAAAAAAAAAACgoACSsBAAAJLAEAAAktAQAAAAAAAAADAAAAAAAAAAAAAAAACS4BAAAJAQAAAAkBAAAACS8BAAAB9wAAAPMAAAAJAQAAAAEwAQAAEwAAAAAAAAAGAAAA/////wkHAAAACTEBAAAGMgEAAAU0NS01NAoKAAAAAAAAAAAAAAAACgoACTMBAAAJNAEAAAk1AQAAAAAAAAAEAAAAAAAAAAAAAAAACTYBAAAJAQAAAAkBAAAACTcBAAAB+AAAAPMAAAAJAQAAAAE4AQAAEwAAAAAAAAAHAAAA/////wkHAAAACTkBAAAGOgEAAAM1NSsKCgAAAAAAAAAAAAAAAAoKAAk7AQAACTwBAAAJPQEAAAAAAAAABQAAAAAAAAAAAAAAAAk+AQAACQEAAAAJAQAAAAk/AQAAAfkAAADzAAAACQEAAAABQAEAABMAAAAAAAAACAAAAP////8JBwAAAAlBAQAABkIBAAALVW5kZXIgMSwwMDAKCgAAAAAAAAAAAAAAAAoKAAlDAQAACUQBAAAJRQEAAAAAAAAABgAAAAAAAAAAAAAAAAlGAQAACQEAAAAJAQAAAAlHAQAAAfoAAADzAAAACQEAAAABSAEAABMAAAAAAAAACQAAAP////8JBwAAAAlJAQAABkoBAAALMSwwMDAtNSwwMDAKCgAAAAAAAAAAAAAAAAoKAAlLAQAACUwBAAAJTQEAAAAAAAAABwAAAAAAAAAAAAAAAAlOAQAACQEAAAAJAQAAAAlPAQAAAfsAAADzAAAACQEAAAABUAEAABMAAAAAAAAACgAAAP////8JBwAAAAlRAQAABlIBAAAMNSwwMDAtMTAsMDAwCgoAAAAAAAAAAAAAAAAKCgAJUwEAAAlUAQAACVUBAAAAAAAAAAgAAAAAAAAAAAAAAAAJVgEAAAkBAAAACQEAAAAJVwEAAAH8AAAA8wAAAAkBAAAAAVgBAAATAAAAAAAAAAsAAAD/////CQcAAAAJWQEAAAZaAQAADTEwLDAwMC0yMCwwMDAKCgAAAAAAAAAAAAAAAAoKAAlbAQAACVwBAAAJXQEAAAAAAAAACQAAAAAAAAAAAAAAAAleAQAACQEAAAAJAQAAAAlfAQAAAf0AAADzAAAACQEAAAABYAEAABMAAAAAAAAADAAAAP////8JBwAAAAlhAQAABmIBAAAHMjAsMDAwKwoKAAAAAAAAAAAAAAAACgoACWMBAAAJZAEAAAllAQAAAAAAAAAKAAAAAAAAAAAAAAAACWYBAAAJAQAAAAkBAAAACWcBAAAB/gAAAPMAAAAJAQAAAAFoAQAAEwAAAAAAAAANAAAA/////wkHAAAACWkBAAAGagEAAAhUd28tWWVhcgoKAAAAAAAAAAAAAAAACgoACWsBAAAJbAEAAAltAQAAAAAAAAALAAAAAAAAAAAAAAAACW4BAAAJAQAAAAkBAAAACW8BAAAB/wAAAPMAAAAJAQAAAAFwAQAAEwAAAAAAAAAOAAAA/////wkHAAAACXEBAAAGcgEAABFGb3VyLVllYXINClB1YmxpYwoKAAAAAAAAAAAAAAAACgoACXMBAAAJdAEAAAl1AQAAAAAAAAAMAAAAAAAAAAAAAAAACXYBAAAJAQAAAAkBAAAACXcBAAABAAEAAPMAAAAJAQAAAAF4AQAAEwAAAAAAAAAPAAAA/////wkHAAAACXkBAAAGegEAABJGb3VyLVllYXINClByaXZhdGUKCgAAAAAAAAAAAAAAAAoKAAl7AQAACXwBAAAJfQEAAAAAAAAADQAAAAAAAAAAAAAAAAl+AQAACQEAAAAJAQAAAAl/AQAABQEB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GgAEAAAZHZW5kZXIABYEBAAAeQXBsb3Jpcy5DaGFydC5DaGFydEdyb3VwQW5jaG9yAQAAAAd2YWx1ZV9fAAgCAAAAAAAAAAoAAAAAAQAAAAEAAAAJggEAAAmDAQAACYQBAAAKCQcAAAAJhQEAAAkBAAAACQEAAAAJhgEAAAECAQAAAQEAAAkBAAAABocBAAADQWdlAAGIAQAAgQEAAAAAAAAKAAAAAAEAAAABAAAACYkBAAAJigEAAAmLAQAACgkHAAAACYwBAAAJAQAAAAkBAAAACY0BAAABAwEAAAEBAAAJAQAAAAaOAQAAFEluc3RpdHV0aW9uYWwgDQpTaXplAAGPAQAAgQEAAAAAAAAKAAAAAAEAAAABAAAACZABAAAJkQEAAAmSAQAACgkHAAAACZMBAAAJAQAAAAkBAAAACZQBAAABBAEAAAEBAAAJAQAAAAaVAQAAFEluc3RpdHV0aW9uYWwgDQpUeXBlAAGWAQAAgQEAAAAAAAAKAAAAAAEAAAABAAAACZcBAAAJmAEAAAmZAQAACgkHAAAACZoBAAAJAQAAAAkBAAAACZsBAAAFBQE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ZwBAAAKCZ0BAAAJBwAAAAEAAAAAAAAAAAGeAQAAIAAAALvoLkIjCbFDAZ8BAAAgAAAAu+geQiMJsUMACaABAAAJBwAAAAkBAAAACaEBAAABBgEAAAUBAAAJogEAAAoJowEAAAkHAAAAAZqZmZmZmbk/AaQBAAAgAAAAu+guQvseoEMBpQEAACAAAAC76B5C+x6gQwAJpgEAAAkHAAAACQEAAAAJpwEAAAEHAQAABQEAAAmoAQAACgmpAQAACQcAAAABmpmZmZmZyT8BqgEAACAAAAC76C5C0zSPQwGrAQAAIAAAALvoHkLTNI9DAAmsAQAACQcAAAAJAQAAAAmtAQAAAQgBAAAFAQAACa4BAAAKCa8BAAAJBwAAAAEzMzMzMzPTPwGwAQAAIAAAALvoLkJWlXxDAbEBAAAgAAAAu+geQlaVfEMACbIBAAAJBwAAAAkBAAAACbMBAAABCQEAAAUBAAAJtAEAAAoJtQEAAAkHAAAAAZqZmZmZmdk/AbYBAAAgAAAAu+guQgbBWkMBtwEAACAAAAC76B5CBsFaQwAJuAEAAAkHAAAACQEAAAAJuQEAAAEKAQAABQEAAAm6AQAACgm7AQAACQcAAAABAAAAAAAA4D8BvAEAACAAAAC76C5Ctuw4QwG9AQAAIAAAALvoHkK27DhDAAm+AQAACQcAAAAJAQAAAAm/AQAAAQsBAAAFAQAACcABAAAKCcEBAAAJBwAAAAEzMzMzMzPjPwHCAQAAIAAAALvoLkJmGBdDAcMBAAAgAAAAu+geQmYYF0MACcQBAAAJBwAAAAkBAAAACcUBAAABDAEAAAUBAAAJxgEAAAoJxwEAAAkHAAAAAWZmZmZmZuY/AcgBAAAgAAAAu+guQi2I6kIByQEAACAAAAC76B5CLYjqQgAJygEAAAkHAAAACQEAAAAJywEAAAENAQAABQEAAAnMAQAACgnNAQAACQcAAAABmpmZmZmZ6T8BzgEAACAAAAC76C5Cjd+mQgHPAQAAIAAAALvoHkKN36ZCAAnQAQAACQcAAAAJAQAAAAnRAQAAAQ4BAAAFAQAACdIBAAAKCdMBAAAJBwAAAAHNzMzMzMzsPwHUAQAAIAAAALvoLkLbbUZCAdUBAAAgAAAAu+geQtttRkIACdYBAAAJBwAAAAkBAAAACdcBAAABDwEAAAUBAAAJ2AEAAAoJ2QEAAAkHAAAAAQAAAAAAAPA/AdoBAAAgAAAAu+guQmxyfEEB2wEAACAAAAC76B5CbHJ8QQAJ3AEAAAkHAAAACQEAAAAJ3QEAAAURAQAAogFBcGxvcmlzLkJhc2UuT2JqZWN0cy5EYXRhT2JqZWN0Q29sbGVjdGlvbmAxW1tBcGxvcmlzLkNoYXJ0LkNoYXJ0RGF0YU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wLjAuMTQ4NiwgQ3VsdHVyZT1uZXV0cmFsLCBQdWJsaWNLZXlUb2tlbj0xNmZjMTNhMjI2YzBlOTUxXV0DAAAAmAFTeXN0ZW0uQ29sbGVjdGlvbnMuR2VuZXJpYy5MaXN0YDFbW0FwbG9yaXMuQ2hhcnQuQ2hhcnREYXRh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neAQAACd8BAAAJ8wAAAAkBAAAACeABAAAFEwEAABxBcGxvcmlzLkNoYXJ0LkNvbm5lY3RlZExhYmVsJA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CAAAAClgCAAAF4QEAACtBcGxvcmlzLkNoYXJ0LkNvbm5lY3RlZExhYmVsK2VDb25uZWN0b3JNb2RlAQAAAAd2YWx1ZV9fAAgCAAAAAQAAAAXiAQAANkFwbG9yaXMuQ2hhcnQuQ29ubmVjdGVkTGFiZWwrZUFuZ2xlZENvbm5lY3RvckRpcmVjdGlvbgEAAAAHdmFsdWVfXwAIAgAAAAAAAAAB4wEAABQAAAAA7gVEbHJ8QfDCs0IAAAAABeQBAAAtQXBsb3Jpcy5DaGFydC5Db25uZWN0ZWRMYWJlbCtlVGFyZ2V0QXJlYVNoYXBlAQAAAAd2YWx1ZV9fAAgCAAAAAAAAAAAAEEEBAeUBAAAgAAAAXmYeRGxyfEEB5gEAAJoAAAAEAAAAAAAAAAAAAAAACecBAAAAAAAACegBAAAAAAHpAQAAowAAAAAAAAAB6gEAAGwAAAAAAOBBAABgQQHrAQAAFAAAAAAAAAAAAAAAAAAAAAAAAABeutk/CRIBAAAKCewBAAAG7QEAAAAgAwAA/////wABCgnuAQAAAQAKAAcUAQAAAAEAAAACAAAABBVTeXN0ZW0uRHJhd2luZy5Qb2ludEYEAAAAAe8BAAAgAAAAXmYeRGxyfEEB8AEAACAAAAC76BpCTc+LQgcVAQAAAAEAAAACAAAABBdBcGxvcmlzLkJhc2UuQW5jaG9yTW9kZQMAAAAB8QEAAJoAAAAEAAAAAfIBAACaAAAAAgAAAAEWAQAAJAAAAAnzAQAAAQAAAAEAAAABFwEAACUAAAAJ9AEAAAEAAAADAAAAARkBAAARAQAACgn1AQAACfYBAAAJ9AAAAAkBAAAACfcBAAABGwEAABMBAAAKWAIAAAH4AQAA4QEAAAEAAAAB+QEAAOIBAAAAAAAAAfoBAAAUAAAAAO4FRGxyfEHwwrNCAAAAAAH7AQAA5AEAAAAAAAAAABBBAQH8AQAAIAAAAF5mHkRscnxBAf0BAACaAAAABAAAAAAAAAAAAAAAAAn+AQAAAAAAAAn/AQAAAAABAAIAAKMAAAAAAAAAAQECAABsAAAAAAAwQgAAYEEBAgIAABQAAAAAAAAAAAAAAAAAAAAAAAAAXrrZPwkaAQAACgkDAgAACe0BAAAgAwAA/////wABCgkEAgAAAQAKAAccAQAAAAEAAAACAAAABBVTeXN0ZW0uRHJhd2luZy5Qb2ludEYEAAAAAQUCAAAgAAAAXmYeRGxyfEEBBgIAACAAAAC76BpCNg1vQwcdAQAAAAEAAAACAAAABBdBcGxvcmlzLkJhc2UuQW5jaG9yTW9kZQMAAAABBwIAAJoAAAAEAAAAAQgCAACaAAAAAgAAAAEeAQAAJAAAAAkJAgAAAQAAAAEAAAABHwEAACUAAAAJCgIAAAEAAAADAAAAASEBAAARAQAACgkLAgAACQwCAAAJ9QAAAAkBAAAACQ0CAAABIwEAABMBAAAKWAIAAAEOAgAA4QEAAAEAAAABDwIAAOIBAAAAAAAAARACAAAUAAAAAO4FRGxyfEHwwrNCAAAAAAERAgAA5AEAAAAAAAAAABBBAQESAgAAIAAAAF5mHkRscnxBARMCAACaAAAABAAAAAAAAAAAAAAAAAkUAgAAAAAAAAkVAgAAAAABFgIAAKMAAAAAAAAAARcCAABsAAAAAABYQgAAYEEBGAIAABQAAAAAAAAAAAAAAAAAAAAAAAAAXrrZPwkiAQAACgkZAgAACe0BAAAgAwAA/////wABCgkaAgAAAQAKAAckAQAAAAEAAAACAAAABBVTeXN0ZW0uRHJhd2luZy5Qb2ludEYEAAAAARsCAAAgAAAAXmYeRGxyfEEBHAIAACAAAAC76BpCIwmxQwclAQAAAAEAAAACAAAABBdBcGxvcmlzLkJhc2UuQW5jaG9yTW9kZQMAAAABHQIAAJoAAAAEAAAAAR4CAACaAAAAAgAAAAEmAQAAJAAAAAkfAgAAAQAAAAEAAAABJwEAACUAAAAJIAIAAAEAAAADAAAAASkBAAARAQAACgkhAgAACSICAAAJ9gAAAAkBAAAACSMCAAABKwEAABMBAAAKWAIAAAEkAgAA4QEAAAEAAAABJQIAAOIBAAAAAAAAASYCAAAUAAAAAO4FRGxyfEHwwrNCAAAAAAEnAgAA5AEAAAAAAAAAABBBAQEoAgAAIAAAAF5mHkRscnxBASkCAACaAAAABAAAAAAAAAAAAAAAAAkqAgAAAAAAAAkrAgAAAAABLAIAAKMAAAAAAAAAAS0CAABsAAAAAAAEQgAAYEEBLgIAABQAAAAAAAAAAAAAAAAAAAAAAAAAXrrZPwkqAQAACgkvAgAACe0BAAAgAwAA/////wABCgkwAgAAAQAKAAcsAQAAAAEAAAACAAAABBVTeXN0ZW0uRHJhd2luZy5Qb2ludEYEAAAAATECAAAgAAAAXmYeRGxyfEEBMgIAACAAAAC76BpCIwmxQwctAQAAAAEAAAACAAAABBdBcGxvcmlzLkJhc2UuQW5jaG9yTW9kZQMAAAABMwIAAJoAAAAEAAAAATQCAACaAAAAAgAAAAEuAQAAJAAAAAk1AgAAAQAAAAEAAAABLwEAACUAAAAJNgIAAAEAAAADAAAAATEBAAARAQAACgk3AgAACTgCAAAJ9wAAAAkBAAAACTkCAAABMwEAABMBAAAKWAIAAAE6AgAA4QEAAAEAAAABOwIAAOIBAAAAAAAAATwCAAAUAAAAAO4FRGxyfEHwwrNCAAAAAAE9AgAA5AEAAAAAAAAAABBBAQE+AgAAIAAAAF5mHkRscnxBAT8CAACaAAAABAAAAAAAAAAAAAAAAAlAAgAAAAAAAAlBAgAAAAABQgIAAKMAAAAAAAAAAUMCAABsAAAAAAAEQgAAYEEBRAIAABQAAAAAAAAAAAAAAAAAAAAAAAAAXrrZPwkyAQAACglFAgAACe0BAAAgAwAA/////wABCglGAgAAAQAKAAc0AQAAAAEAAAACAAAABBVTeXN0ZW0uRHJhd2luZy5Qb2ludEYEAAAAAUcCAAAgAAAAXmYeRGxyfEEBSAIAACAAAAC76BpCIwmxQwc1AQAAAAEAAAACAAAABBdBcGxvcmlzLkJhc2UuQW5jaG9yTW9kZQMAAAABSQIAAJoAAAAEAAAAAUoCAACaAAAAAgAAAAE2AQAAJAAAAAlLAgAAAQAAAAEAAAABNwEAACUAAAAJTAIAAAEAAAADAAAAATkBAAARAQAACglNAgAACU4CAAAJ+AAAAAkBAAAACU8CAAABOwEAABMBAAAKWAIAAAFQAgAA4QEAAAEAAAABUQIAAOIBAAAAAAAAAVICAAAUAAAAAO4FRGxyfEHwwrNCAAAAAAFTAgAA5AEAAAAAAAAAABBBAQFUAgAAIAAAAF5mHkRscnxBAVUCAACaAAAABAAAAAAAAAAAAAAAAAlWAgAAAAAAAAlXAgAAAAABWAIAAKMAAAAAAAAAAVkCAABsAAAAAACwQQAAYEEBWgIAABQAAAAAAAAAAAAAAAAAAAAAAAAAXrrZPwk6AQAACglbAgAACe0BAAAgAwAA/////wABCglcAgAAAQAKAAc8AQAAAAEAAAACAAAABBVTeXN0ZW0uRHJhd2luZy5Qb2ludEYEAAAAAV0CAAAgAAAAXmYeRGxyfEEBXgIAACAAAAC76BpCIwmxQwc9AQAAAAEAAAACAAAABBdBcGxvcmlzLkJhc2UuQW5jaG9yTW9kZQMAAAABXwIAAJoAAAAEAAAAAWACAACaAAAAAgAAAAE+AQAAJAAAAAlhAgAAAQAAAAEAAAABPwEAACUAAAAJYgIAAAEAAAAFAAAAAUEBAAARAQAACgljAgAACWQCAAAJ+QAAAAkBAAAACWUCAAABQwEAABMBAAAKWAIAAAFmAgAA4QEAAAEAAAABZwIAAOIBAAAAAAAAAWgCAAAUAAAAAO4FRGxyfEHwwrNCAAAAAAFpAgAA5AEAAAAAAAAAABBBAQFqAgAAIAAAAF5mHkRscnxBAWsCAACaAAAABAAAAAAAAAAAAAAAAAlsAgAAAAAAAAltAgAAAAABbgIAAKMAAAAAAAAAAW8CAABsAAAAAAAAAAAAAAABcAIAABQAAAAAAAAAAAAAAAAAAAAAAAAAAAAAAAlCAQAACglxAgAACe0BAAAgAwAA/////wABCglyAgAAAQAKAAdEAQAAAAEAAAACAAAABBVTeXN0ZW0uRHJhd2luZy5Qb2ludEYEAAAAAXMCAAAgAAAAXmYeRGxyfEEBdAIAACAAAAC76BpCIwmxQwdFAQAAAAEAAAACAAAABBdBcGxvcmlzLkJhc2UuQW5jaG9yTW9kZQMAAAABdQIAAJoAAAAEAAAAAXYCAACaAAAAAgAAAAFGAQAAJAAAAAl3AgAAAQAAAAEAAAABRwEAACUAAAAJeAIAAAEAAAABAAAAAUkBAAARAQAACgl5AgAACXoCAAAJ+gAAAAkBAAAACXsCAAABSwEAABMBAAAKWAIAAAF8AgAA4QEAAAEAAAABfQIAAOIBAAAAAAAAAX4CAAAUAAAAAO4FRGxyfEHwwrNCAAAAAAF/AgAA5AEAAAAAAAAAABBBAQGAAgAAIAAAAF5mHkRscnxBAYECAACaAAAABAAAAAAAAAAAAAAAAAmCAgAAAAAAAAmDAgAAAAABhAIAAKMAAAAAAAAAAYUCAABsAAAAAAAAAAAAAAABhgIAABQAAAAAAAAAAAAAAAAAAAAAAAAAAAAAAAlKAQAACgmHAgAACe0BAAAgAwAA/////wABCgmIAgAAAQAKAAdMAQAAAAEAAAACAAAABBVTeXN0ZW0uRHJhd2luZy5Qb2ludEYEAAAAAYkCAAAgAAAAXmYeRGxyfEEBigIAACAAAAC76BpCIwmxQwdNAQAAAAEAAAACAAAABBdBcGxvcmlzLkJhc2UuQW5jaG9yTW9kZQMAAAABiwIAAJoAAAAEAAAAAYwCAACaAAAAAgAAAAFOAQAAJAAAAAmNAgAAAQAAAAEAAAABTwEAACUAAAAJjgIAAAEAAAABAAAAAVEBAAARAQAACgmPAgAACZACAAAJ+wAAAAkBAAAACZECAAABUwEAABMBAAAKWAIAAAGSAgAA4QEAAAEAAAABkwIAAOIBAAAAAAAAAZQCAAAUAAAAAO4FRGxyfEHwwrNCAAAAAAGVAgAA5AEAAAAAAAAAABBBAQGWAgAAIAAAAF5mHkRscnxBAZcCAACaAAAABAAAAAAAAAAAAAAAAAmYAgAAAAAAAAmZAgAAAAABmgIAAKMAAAAAAAAAAZsCAABsAAAAAAAAAAAAAAABnAIAABQAAAAAAAAAAAAAAAAAAAAAAAAAAAAAAAlSAQAACgmdAgAACe0BAAAgAwAA/////wABCgmeAgAAAQAKAAdUAQAAAAEAAAACAAAABBVTeXN0ZW0uRHJhd2luZy5Qb2ludEYEAAAAAZ8CAAAgAAAAXmYeRGxyfEEBoAIAACAAAAC76BpCIwmxQwdVAQAAAAEAAAACAAAABBdBcGxvcmlzLkJhc2UuQW5jaG9yTW9kZQMAAAABoQIAAJoAAAAEAAAAAaICAACaAAAAAgAAAAFWAQAAJAAAAAmjAgAAAQAAAAEAAAABVwEAACUAAAAJpAIAAAEAAAABAAAAAVkBAAARAQAACgmlAgAACaYCAAAJ/AAAAAkBAAAACacCAAABWwEAABMBAAAKWAIAAAGoAgAA4QEAAAEAAAABqQIAAOIBAAAAAAAAAaoCAAAUAAAAAO4FRGxyfEHwwrNCAAAAAAGrAgAA5AEAAAAAAAAAABBBAQGsAgAAIAAAAF5mHkRscnxBAa0CAACaAAAABAAAAAAAAAAAAAAAAAmuAgAAAAAAAAmvAgAAAAABsAIAAKMAAAAAAAAAAbECAABsAAAAAAAAAAAAAAABsgIAABQAAAAAAAAAAAAAAAAAAAAAAAAAAAAAAAlaAQAACgmzAgAACe0BAAAgAwAA/////wABCgm0AgAAAQAKAAdcAQAAAAEAAAACAAAABBVTeXN0ZW0uRHJhd2luZy5Qb2ludEYEAAAAAbUCAAAgAAAAXmYeRGxyfEEBtgIAACAAAAC76BpCIwmxQwddAQAAAAEAAAACAAAABBdBcGxvcmlzLkJhc2UuQW5jaG9yTW9kZQMAAAABtwIAAJoAAAAEAAAAAbgCAACaAAAAAgAAAAFeAQAAJAAAAAm5AgAAAQAAAAEAAAABXwEAACUAAAAJugIAAAEAAAABAAAAAWEBAAARAQAACgm7AgAACbwCAAAJ/QAAAAkBAAAACb0CAAABYwEAABMBAAAKWAIAAAG+AgAA4QEAAAEAAAABvwIAAOIBAAAAAAAAAcACAAAUAAAAAO4FRGxyfEHwwrNCAAAAAAHBAgAA5AEAAAAAAAAAABBBAQHCAgAAIAAAAF5mHkRscnxBAcMCAACaAAAABAAAAAAAAAAAAAAAAAnEAgAAAAAAAAnFAgAAAAABxgIAAKMAAAAAAAAAAccCAABsAAAAAAAAAAAAAAAByAIAABQAAAAAAAAAAAAAAAAAAAAAAAAAAAAAAAliAQAACgnJAgAACe0BAAAgAwAA/////wABCgnKAgAAAQAKAAdkAQAAAAEAAAACAAAABBVTeXN0ZW0uRHJhd2luZy5Qb2ludEYEAAAAAcsCAAAgAAAAXmYeRGxyfEEBzAIAACAAAAC76BpCIwmxQwdlAQAAAAEAAAACAAAABBdBcGxvcmlzLkJhc2UuQW5jaG9yTW9kZQMAAAABzQIAAJoAAAAEAAAAAc4CAACaAAAAAgAAAAFmAQAAJAAAAAnPAgAAAQAAAAEAAAABZwEAACUAAAAJ0AIAAAEAAAABAAAAAWkBAAARAQAACgnRAgAACdICAAAJ/gAAAAkBAAAACdMCAAABawEAABMBAAAKWAIAAAHUAgAA4QEAAAEAAAAB1QIAAOIBAAAAAAAAAdYCAAAUAAAAAO4FRDY5lkHwwrNCYq6OQgHXAgAA5AEAAAAAAAAAABBBAQHYAgAAIAAAAF5mHkT8yllCAdkCAACaAAAABAAAAAAAAAAAAAAAAAnaAgAAAAAAAAnbAgAAAAAB3AIAAKMAAAAAAAAAAd0CAABsAAAAAAAAAAAAAAAB3gIAABQAAAAAAAAAAAAAAAAAAAAAAAAAAAAAAAlqAQAACgnfAgAACe0BAAAgAwAA/////wABCgngAgAAAQAKAAdsAQAAAAEAAAACAAAABBVTeXN0ZW0uRHJhd2luZy5Qb2ludEYEAAAAAeECAAAgAAAAXmYeRPzKWUIB4gIAACAAAAC76BpCIwmxQwdtAQAAAAEAAAACAAAABBdBcGxvcmlzLkJhc2UuQW5jaG9yTW9kZQMAAAAB4wIAAJoAAAAEAAAAAeQCAACaAAAAAgAAAAFuAQAAJAAAAAnlAgAAAQAAAAEAAAABbwEAACUAAAAJ5gIAAAEAAAABAAAAAXEBAAARAQAACgnnAgAACegCAAAJ/wAAAAkBAAAACekCAAABcwEAABMBAAAKWAIAAAHqAgAA4QEAAAEAAAAB6wIAAOIBAAAAAAAAAewCAAAUAAAAAO4FRK88wELwwrNCcfjHQgHtAgAA5AEAAAAAAAAAABBBAQHuAgAAIAAAAF5mHkR0HBJDAe8CAACaAAAABAAAAAAAAAAAAAAAAAnwAgAAAAAAAAnxAgAAAAAB8gIAAKMAAAAAAAAAAfMCAABsAAAAAAAAAAAAAAAB9AIAABQAAAAAAAAAAAAAAAAAAAAAAAAAAAAAAAlyAQAACgn1AgAACe0BAAAgAwAA/////wABCgn2AgAAAQAKAAd0AQAAAAEAAAACAAAABBVTeXN0ZW0uRHJhd2luZy5Qb2ludEYEAAAAAfcCAAAgAAAAXmYeRHQcEkMB+AIAACAAAAC76BpCIwmxQwd1AQAAAAEAAAACAAAABBdBcGxvcmlzLkJhc2UuQW5jaG9yTW9kZQMAAAAB+QIAAJoAAAAEAAAAAfoCAACaAAAAAgAAAAF2AQAAJAAAAAn7AgAAAQAAAAEAAAABdwEAACUAAAAJ/AIAAAEAAAABAAAAAXkBAAARAQAACgn9AgAACf4CAAAJAAEAAAkBAAAACf8CAAABewEAABMBAAAKWAIAAAEAAwAA4QEAAAEAAAABAQMAAOIBAAAAAAAAAQIDAAAUAAAAAO4FRJAaSkPwwrNCtvcUQwEDAwAA5AEAAAAAAAAAABBBAQEEAwAAIAAAAF5mHkQ2S4pDAQUDAACaAAAABAAAAAAAAAAAAAAAAAkGAwAAAAAAAAkHAwAAAAABCAMAAKMAAAAAAAAAAQkDAABsAAAAAAAAAAAAAAABCgMAABQAAAAAAAAAAAAAAAAAAAAAAAAAAAAAAAl6AQAACgkLAwAACe0BAAAgAwAA/////wABCgkMAwAAAQAKAAd8AQAAAAEAAAACAAAABBVTeXN0ZW0uRHJhd2luZy5Qb2ludEYEAAAAAQ0DAAAgAAAAXmYeRDZLikMBDgMAACAAAAC76BpCIwmxQwd9AQAAAAEAAAACAAAABBdBcGxvcmlzLkJhc2UuQW5jaG9yTW9kZQMAAAABDwMAAJoAAAAEAAAAARADAACaAAAAAgAAAAF+AQAAJAAAAAkRAwAAAQAAAAEAAAABfwEAACUAAAAJEgMAAAEAAAABAAAAD4IBAAABAAAACAAAAAAHgwEAAAABAAAAAQAAAAQVQXBsb3Jpcy5CYXNlLlVJLkxhYmVsAwAAAAkTAwAAAYQBAAAzAAAAARQDAAAgAAAAGN3wQiOJs0MBFQMAAJoAAAADAAAAAAAAAAAAAAAACRYDAAAAAAAACRcDAAAAAAEYAwAAowAAAAAAAAABGQMAAGwAAAAAABhCAABAQQEaAwAAFAAAAOiiy0Kji7NDvRYWQqOLLkESg74/CYABAAAKCRsDAAAJ7QEAACADAAD/////AQEKCRwDAAABAAoAAYUBAAAkAAAACdIAAAAAAAAAAAAAAAGGAQAAJQAAAAkdAwAAAgAAAAYAAAAPiQEAAAEAAAAIAAAAAAeKAQAAAAEAAAABAAAABBVBcGxvcmlzLkJhc2UuVUkuTGFiZWwDAAAACR4DAAABiwEAADMAAAABHwMAACAAAACk64hDI4mzQwEgAwAAmgAAAAMAAAAAAAAAAAAAAAAJIQMAAAAAAAAJIgMAAAAAASMDAACjAAAAAAAAAAEkAwAAbAAAAAAAoEEAAEBBASUDAAAUAAAAdNGDQ6OLs0O/RKlBo4suQRKDvj8JhwEAAAoJJgMAAAntAQAAIAMAAP////8BAQoJJwMAAAEACgABjAEAACQAAAAJ0gAAAAAAAAAAAAAAAY0BAAAlAAAACSgDAAACAAAABgAAAA+QAQAAAQAAAAgAAAAAB5EBAAAAAQAAAAEAAAAEFUFwbG9yaXMuQmFzZS5VSS5MYWJlbAMAAAAJKQMAAAGSAQAAMwAAAAEqAwAAIAAAAAGg1UMjibNDASsDAACaAAAAAwAAAAAAAAAAAAAAAAksAwAAAAAAAAktAwAAAAABLgMAAKMAAAAAAAAAAS8DAABsAAAAAAB0QgAAyEEBMAMAABQAAABGF8dDo4uzQ6S5aUJ00bVBEoO+PwmOAQAACgkxAwAACe0BAAAgAwAA/////wEBCgkyAwAAAQAKAAGTAQAAJAAAAAkzAwAAAAAAAAAAAAABlAEAACUAAAAJNAMAAAIAAAACAAAAD5cBAAABAAAACAAAAAAHmAEAAAABAAAAAQAAAAQVQXBsb3Jpcy5CYXNlLlVJLkxhYmVsAwAAAAk1AwAAAZkBAAAzAAAAATYDAAAgAAAALyoRRCOJs0MBNwMAAJoAAAADAAAAAAAAAAAAAAAACTgDAAAAAAAACTkDAAAAAAE6AwAAowAAAAAAAAABOwMAAGwAAAAAAHRCAADIQQE8AwAAFAAAAF30CUSji7NDpLlpQnTRtUESg74/CZUBAAAKCT0DAAAJ7QEAACADAAD/////AQEKCT4DAAABAAoAAZoBAAAkAAAACTMDAAAAAAAAAAAAAAGbAQAAJQAAAAk/AwAAAgAAAAIAAAABnAEAAC8AAAABQAMAACAAAAC76C5CIwmxQwFBAwAAIAAAALvoHkIjCbFDCUIDAADMAQAA/////wEBCglDAwAAAQAKAAGdAQAAMwAAAAFEAwAAIAAAALvoGEIjCbFDAUUDAACaAAAAAgAAAAAAAAAAAAAAAAlGAwAAAAAAAAlHAwAAAAABSAMAAKMAAAAAAAAAAUkDAABsAAAAAACAQQAAQEEBSgMAABQAAACji65BRheuQ3otjEGjiy5BEoO+PwZLAwAAAjAlCglMAwAACe0BAADQAgAA/////wEBCglNAwAAAQAKAAGgAQAAJAAAAAnSAAAAAAAAAAAAAAABoQEAACUAAAAJTgMAAAIAAAACAAAAAaIBAAAvAAAAAU8DAAAgAAAAu+guQvseoEMBUAMAACAAAAC76B5C+x6gQwlRAwAAzAEAAP////8BAQoJUgMAAAEACgABowEAADMAAAABUwMAACAAAAC76BhC+x6gQwFUAwAAmgAAAAIAAAAAAAAAAAAAAAAJVQMAAAAAAAAJVgMAAAAAAVcDAACjAAAAAAAAAAFYAwAAbAAAAAAAuEEAAEBBAVkDAAAUAAAA0UV3QdFFnUM0Fr9Bo4suQRKDvj8GWgMAAAMxMCUKCVsDAAAJ7QEAANACAAD/////AQEKCVwDAAABAAoAAaYBAAAkAAAACdIAAAAAAAAAAAAAAAGnAQAAJQAAAAldAwAAAgAAAAIAAAABqAEAAC8AAAABXgMAACAAAAC76C5C0zSPQwFfAwAAIAAAALvoHkLTNI9DCWADAADMAQAA/////wEBCglhAwAAAQAKAAGpAQAAMwAAAAFiAwAAIAAAALvoGELTNI9DAWMDAACaAAAAAgAAAAAAAAAAAAAAAAlkAwAAAAAAAAllAwAAAAABZgMAAKMAAAAAAAAAAWcDAABsAAAAAAC4QQAAQEEBaAMAABQAAADRRXdBXXSMQzQWv0Gjiy5BEoO+PwZpAwAAAzIwJQoJagMAAAntAQAA0AIAAP////8BAQoJawMAAAEACgABrAEAACQAAAAJ0gAAAAAAAAAAAAAAAa0BAAAlAAAACWwDAAACAAAAAgAAAAGuAQAALwAAAAFtAwAAIAAAALvoLkJWlXxDAW4DAAAgAAAAu+geQlaVfEMJbwMAAMwBAAD/////AQEKCXADAAABAAoAAa8BAAAzAAAAAXEDAAAgAAAAu+gYQlaVfEMBcgMAAJoAAAACAAAAAAAAAAAAAAAACXMDAAAAAAAACXQDAAAAAAF1AwAAowAAAAAAAAABdgMAAGwAAAAAALhBAABAQQF3AwAAFAAAANFFd0HRRXdDNBa/QaOLLkESg74/BngDAAADMzAlCgl5AwAACe0BAADQAgAA/////wEBCgl6AwAAAQAKAAGyAQAAJAAAAAnSAAAAAAAAAAAAAAABswEAACUAAAAJewMAAAIAAAACAAAAAbQBAAAvAAAAAXwDAAAgAAAAu+guQgbBWkMBfQMAACAAAAC76B5CBsFaQwl+AwAAzAEAAP////8BAQoJfwMAAAEACgABtQEAADMAAAABgAMAACAAAAC76BhCBsFaQwGBAwAAmgAAAAIAAAAAAAAAAAAAAAAJggMAAAAAAAAJgwMAAAAAAYQDAACjAAAAAAAAAAGFAwAAbAAAAAAAuEEAAEBBAYYDAAAUAAAA0UV3QeiiVUM0Fr9Bo4suQRKDvj8GhwMAAAM0MCUKCYgDAAAJ7QEAANACAAD/////AQEKCYkDAAABAAoAAbgBAAAkAAAACdIAAAAAAAAAAAAAAAG5AQAAJQAAAAmKAwAAAgAAAAIAAAABugEAAC8AAAABiwMAACAAAAC76C5Ctuw4QwGMAwAAIAAAALvoHkK27DhDCY0DAADMAQAA/////wEBCgmOAwAAAQAKAAG7AQAAMwAAAAGPAwAAIAAAALvoGEK27DhDAZADAACaAAAAAgAAAAAAAAAAAAAAAAmRAwAAAAAAAAmSAwAAAAABkwMAAKMAAAAAAAAAAZQDAABsAAAAAAC4QQAAQEEBlQMAABQAAADRRXdBRhczQzQWv0Gjiy5BEoO+PwaWAwAAAzUwJQoJlwMAAAntAQAA0AIAAP////8BAQoJmAMAAAEACgABvgEAACQAAAAJ0gAAAAAAAAAAAAAAAb8BAAAlAAAACZkDAAACAAAAAgAAAAHAAQAALwAAAAGaAwAAIAAAALvoLkJmGBdDAZsDAAAgAAAAu+geQmYYF0MJnAMAAMwBAAD/////AQEKCZ0DAAABAAoAAcEBAAAzAAAAAZ4DAAAgAAAAu+gYQmYYF0MBnwMAAJoAAAACAAAAAAAAAAAAAAAACaADAAAAAAAACaEDAAAAAAGiAwAAowAAAAAAAAABowMAAGwAAAAAALhBAABAQQGkAwAAFAAAANFFd0FddBFDNBa/QaOLLkESg74/BqUDAAADNjAlCgmmAwAACe0BAADQAgAA/////wEBCgmnAwAAAQAKAAHEAQAAJAAAAAnSAAAAAAAAAAAAAAABxQEAACUAAAAJqAMAAAIAAAACAAAAAcYBAAAvAAAAAakDAAAgAAAAu+guQi2I6kIBqgMAACAAAAC76B5CLYjqQgmrAwAAzAEAAP////8BAQoJrAMAAAEACgABxwEAADMAAAABrQMAACAAAAC76BhCLYjqQgGuAwAAmgAAAAIAAAAAAAAAAAAAAAAJrwMAAAAAAAAJsAMAAAAAAbEDAACjAAAAAAAAAAGyAwAAbAAAAAAAuEEAAEBBAbMDAAAUAAAA0UV3Qeii30I0Fr9Bo4suQRKDvj8GtAMAAAM3MCUKCbUDAAAJ7QEAANACAAD/////AQEKCbYDAAABAAoAAcoBAAAkAAAACdIAAAAAAAAAAAAAAAHLAQAAJQAAAAm3AwAAAgAAAAIAAAABzAEAAC8AAAABuAMAACAAAAC76C5Cjd+mQgG5AwAAIAAAALvoHkKN36ZCCboDAADMAQAA/////wEBCgm7AwAAAQAKAAHNAQAAMwAAAAG8AwAAIAAAALvoGEKN36ZCAb0DAACaAAAAAgAAAAAAAAAAAAAAAAm+AwAAAAAAAAm/AwAAAAABwAMAAKMAAAAAAAAAAcEDAABsAAAAAAC4QQAAQEEBwgMAABQAAADRRXdBF12cQjQWv0Gjiy5BEoO+PwbDAwAAAzgwJQoJxAMAAAntAQAA0AIAAP////8BAQoJxQMAAAEACgAB0AEAACQAAAAJ0gAAAAAAAAAAAAAAAdEBAAAlAAAACcYDAAACAAAAAgAAAAHSAQAALwAAAAHHAwAAIAAAALvoLkLbbUZCAcgDAAAgAAAAu+geQtttRkIJyQMAAMwBAAD/////AQEKCcoDAAABAAoAAdMBAAAzAAAAAcsDAAAgAAAAu+gYQtttRkIBzAMAAJoAAAACAAAAAAAAAAAAAAAACc0DAAAAAAAACc4DAAAAAAHPAwAAowAAAAAAAAAB0AMAAGwAAAAAALhBAABAQQHRAwAAFAAAANFFd0GLLjJCNBa/QaOLLkESg74/BtIDAAADOTAlCgnTAwAACe0BAADQAgAA/////wEBCgnUAwAAAQAKAAHWAQAAJAAAAAnSAAAAAAAAAAAAAAAB1wEAACUAAAAJ1QMAAAIAAAACAAAAAdgBAAAvAAAAAdYDAAAgAAAAu+guQmxyfEEB1wMAACAAAAC76B5CbHJ8QQnYAwAAzAEAAP////8BAQoJ2QMAAAEACgAB2QEAADMAAAAB2gMAACAAAAC76BhCbHJ8QQHbAwAAmgAAAAIAAAAAAAAAAAAAAAAJ3AMAAAAAAAAJ3QMAAAAAAd4DAACjAAAAAAAAAAHfAwAAbAAAAAAA6EEAAEBBAeADAAAUAAAAAAAgQQAAIEEcuepBo4suQRKDvj8G4QMAAAQxMDAlCgniAwAACe0BAADQAgAA/////wEBCgnjAwAAAQAKAAHcAQAAJAAAAAnSAAAAAAAAAAAAAAAB3QEAACUAAAAJ5AMAAAIAAAACAAAABN4BAACYAVN5c3RlbS5Db2xsZWN0aW9ucy5HZW5lcmljLkxpc3RgMVtbQXBsb3Jpcy5DaGFydC5DaGFydERhdGFFbGVtZW50LCBBcGxvcmlzLkNoYXJ0LCBWZXJzaW9uPTQuMC4wLjE0ODYsIEN1bHR1cmU9bmV1dHJhbCwgUHVibGljS2V5VG9rZW49MTZmYzEzYTIyNmMwZTk1MV1dAwAAAAZfaXRlbXMFX3NpemUIX3ZlcnNpb24EAAAgQXBsb3Jpcy5DaGFydC5DaGFydERhdGFFbGVtZW50W10CAAAACAgJ5QMAAAQAAAAQAAAAAd8BAAAkAAAACeYDAAAEAAAADAAAAAHgAQAAJQAAAAnQAAAAAAAAAAAAAAAF5w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MAAAAKAAAAAABAQQlwAAAACXEAAAAJ5wMAAAEACegDAAAB6AEAAHIAAAAKCgAAAAD///8ADgAAAAABAewBAACnAAAACekDAAABAAAAAQAAAAHuAQAAbwAAAAnqAwAACgfzAQAAAAEAAAAEAAAABB9BcGxvcmlzLkJhc2UuT2JqZWN0cy5EYXRhT2JqZWN0AwAAAAkRAQAADQMH9AEAAAABAAAABAAAAAQcQXBsb3Jpcy5CYXNlLlVJLlZpc3VhbE9iamVjdAMAAAAJEwEAAA0DAfUBAADeAQAACesDAAAEAAAAEAAAAAH2AQAAJAAAAAnsAwAABAAAAAwAAAAB9wEAACUAAAAJ0AAAAAAAAAAAAAAABf4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0AAAACgAAAAAAQEEJcAAAAAlxAAAACe0DAAABAAnuAwAAAf8BAAByAAAACgoAAAAA////AA4AAAAAAQEDAgAApwAAAAnvAwAAAQAAAAEAAAABBAIAAG8AAAAJ8AMAAAoHCQIAAAABAAAABAAAAAQfQXBsb3Jpcy5CYXNlLk9iamVjdHMuRGF0YU9iamVjdAMAAAAJGQEAAA0DBwoCAAAAAQAAAAQAAAAEHEFwbG9yaXMuQmFzZS5VSS5WaXN1YWxPYmplY3QDAAAACRsBAAANAwELAgAA3gEAAAnxAwAABAAAABAAAAABDAIAACQAAAAJ8gMAAAQAAAAMAAAAAQ0CAAAlAAAACdAAAAAAAAAAAAAAAAUU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QAAAAoAAAAAAEBBCXAAAAAJcQAAAAnzAwAAAQAJ9AMAAAEVAgAAcgAAAAoKAAAAAP///wAOAAAAAAEBGQIAAKcAAAAJ9QMAAAEAAAABAAAAARoCAABvAAAACfYDAAAKBx8CAAAAAQAAAAQAAAAEH0FwbG9yaXMuQmFzZS5PYmplY3RzLkRhdGFPYmplY3QDAAAACSEBAAANAwcgAgAAAAEAAAAEAAAABBxBcGxvcmlzLkJhc2UuVUkuVmlzdWFsT2JqZWN0AwAAAAkjAQAADQMBIQIAAN4BAAAJ9wMAAAQAAAAQAAAAASICAAAkAAAACfgDAAAEAAAADAAAAAEjAgAAJQAAAAnQAAAAAAAAAAAAAAAFKg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YAAAAKAAAAAABAQQlwAAAACXEAAAAJ+QMAAAEACfoDAAABKwIAAHIAAAAKCgAAAAD///8ADgAAAAABAS8CAACnAAAACfsDAAABAAAAAQAAAAEwAgAAbwAAAAn8AwAACgc1AgAAAAEAAAAEAAAABB9BcGxvcmlzLkJhc2UuT2JqZWN0cy5EYXRhT2JqZWN0AwAAAAkpAQAADQMHNgIAAAABAAAABAAAAAQcQXBsb3Jpcy5CYXNlLlVJLlZpc3VhbE9iamVjdAMAAAAJKwEAAA0DATcCAADeAQAACf0DAAAEAAAAEAAAAAE4AgAAJAAAAAn+AwAABAAAAAwAAAABOQIAACUAAAAJ0AAAAAAAAAAAAAAABUA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3AAAACgAAAAAAQEEJcAAAAAlxAAAACf8DAAABAAkABAAAAUECAAByAAAACgoAAAAA////AA4AAAAAAQFFAgAApwAAAAkBBAAAAQAAAAEAAAABRgIAAG8AAAAJAgQAAAoHSwIAAAABAAAABAAAAAQfQXBsb3Jpcy5CYXNlLk9iamVjdHMuRGF0YU9iamVjdAMAAAAJMQEAAA0DB0wCAAAAAQAAAAQAAAAEHEFwbG9yaXMuQmFzZS5VSS5WaXN1YWxPYmplY3QDAAAACTMBAAANAwFNAgAA3gEAAAkDBAAABAAAABAAAAABTgIAACQAAAAJBAQAAAQAAAAMAAAAAU8CAAAlAAAACdAAAAAAAAAAAAAAAAVW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AAAAAoAAAAAAEBBCXAAAAAJcQAAAAkFBAAAAQAJBgQAAAFXAgAAcgAAAAoKAAAAAP///wAOAAAAAAEBWwIAAKcAAAAJBwQAAAEAAAABAAAAAVwCAABvAAAACQgEAAAKB2ECAAAAAQAAAAQAAAAEH0FwbG9yaXMuQmFzZS5PYmplY3RzLkRhdGFPYmplY3QDAAAACTkBAAANAwdiAgAAAAEAAAAEAAAABBxBcGxvcmlzLkJhc2UuVUkuVmlzdWFsT2JqZWN0AwAAAAk7AQAADQMBYwIAAN4BAAAJCQQAAAQAAAAEAAAAAWQCAAAkAAAACQoEAAAEAAAABAAAAAFlAgAAJQAAAAkLBAAAAAAAAAAAAAAFbA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kAAAAKAAAAAABAQQlwAAAACXEAAAAJDAQAAAEACQ0EAAABbQIAAHIAAAAKCgEAAAAAAAAA/////wABAXECAACnAAAACQ4EAAABAAAAAQAAAAFyAgAAbwAAAAkPBAAACgd3AgAAAAEAAAAEAAAABB9BcGxvcmlzLkJhc2UuT2JqZWN0cy5EYXRhT2JqZWN0AwAAAAlBAQAADQMHeAIAAAABAAAABAAAAAQcQXBsb3Jpcy5CYXNlLlVJLlZpc3VhbE9iamVjdAMAAAAJQwEAAA0DAXkCAADeAQAACRAEAAAEAAAABAAAAAF6AgAAJAAAAAkRBAAABAAAAAQAAAABewIAACUAAAAJCwQAAAAAAAAAAAAABYI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6AAAACgAAAAAAQEEJcAAAAAlxAAAACRIEAAABAAkTBAAAAYMCAAByAAAACgoBAAAAAAAAAP////8AAQGHAgAApwAAAAkUBAAAAQAAAAEAAAABiAIAAG8AAAAJFQQAAAoHjQIAAAABAAAABAAAAAQfQXBsb3Jpcy5CYXNlLk9iamVjdHMuRGF0YU9iamVjdAMAAAAJSQEAAA0DB44CAAAAAQAAAAQAAAAEHEFwbG9yaXMuQmFzZS5VSS5WaXN1YWxPYmplY3QDAAAACUsBAAANAwGPAgAA3gEAAAkWBAAABAAAAAQAAAABkAIAACQAAAAJFwQAAAQAAAAEAAAAAZECAAAlAAAACQsEAAAAAAAAAAAAAAWY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wAAAAoAAAAAAEBBCXAAAAAJcQAAAAkYBAAAAQAJGQQAAAGZAgAAcgAAAAoKAQAAAAAAAAD/////AAEBnQIAAKcAAAAJGgQAAAEAAAABAAAAAZ4CAABvAAAACRsEAAAKB6MCAAAAAQAAAAQAAAAEH0FwbG9yaXMuQmFzZS5PYmplY3RzLkRhdGFPYmplY3QDAAAACVEBAAANAwekAgAAAAEAAAAEAAAABBxBcGxvcmlzLkJhc2UuVUkuVmlzdWFsT2JqZWN0AwAAAAlTAQAADQMBpQIAAN4BAAAJHAQAAAQAAAAEAAAAAaYCAAAkAAAACR0EAAAEAAAABAAAAAGnAgAAJQAAAAkLBAAAAAAAAAAAAAAFrg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wAAAAKAAAAAABAQQlwAAAACXEAAAAJHgQAAAEACR8EAAABrwIAAHIAAAAKCgEAAAAAAAAA/////wABAbMCAACnAAAACSAEAAABAAAAAQAAAAG0AgAAbwAAAAkhBAAACge5AgAAAAEAAAAEAAAABB9BcGxvcmlzLkJhc2UuT2JqZWN0cy5EYXRhT2JqZWN0AwAAAAlZAQAADQMHugIAAAABAAAABAAAAAQcQXBsb3Jpcy5CYXNlLlVJLlZpc3VhbE9iamVjdAMAAAAJWwEAAA0DAbsCAADeAQAACSIEAAAEAAAABAAAAAG8AgAAJAAAAAkjBAAABAAAAAQAAAABvQIAACUAAAAJCwQAAAAAAAAAAAAABcQ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9AAAACgAAAAAAQEEJcAAAAAlxAAAACSQEAAABAAklBAAAAcUCAAByAAAACgoBAAAAAAAAAP////8AAQHJAgAApwAAAAkmBAAAAQAAAAEAAAABygIAAG8AAAAJJwQAAAoHzwIAAAABAAAABAAAAAQfQXBsb3Jpcy5CYXNlLk9iamVjdHMuRGF0YU9iamVjdAMAAAAJYQEAAA0DB9ACAAAAAQAAAAQAAAAEHEFwbG9yaXMuQmFzZS5VSS5WaXN1YWxPYmplY3QDAAAACWMBAAANAwHRAgAA3gEAAAkoBAAABAAAAAQAAAAB0gIAACQAAAAJKQQAAAQAAAAEAAAAAdMCAAAlAAAACQsEAAAAAAAAAAAAAAXa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gAAAAoAAAAAAEBBCXAAAAAJcQAAAAkqBAAAAQAJKwQAAAHbAgAAcgAAAAoKAQAAAAAAAAD/////AAEB3wIAAKcAAAAJLAQAAAEAAAABAAAAAeACAABvAAAACS0EAAAKB+UCAAAAAQAAAAQAAAAEH0FwbG9yaXMuQmFzZS5PYmplY3RzLkRhdGFPYmplY3QDAAAACWkBAAANAwfmAgAAAAEAAAAEAAAABBxBcGxvcmlzLkJhc2UuVUkuVmlzdWFsT2JqZWN0AwAAAAlrAQAADQMB5wIAAN4BAAAJLgQAAAQAAAAEAAAAAegCAAAkAAAACS8EAAAEAAAABAAAAAHpAgAAJQAAAAkLBAAAAAAAAAAAAAAF8A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8AAAAKAAAAAABAQQlwAAAACXEAAAAJMAQAAAEACTEEAAAB8QIAAHIAAAAKCgEAAAAAAAAA/////wABAfUCAACnAAAACTIEAAABAAAAAQAAAAH2AgAAbwAAAAkzBAAACgf7AgAAAAEAAAAEAAAABB9BcGxvcmlzLkJhc2UuT2JqZWN0cy5EYXRhT2JqZWN0AwAAAAlxAQAADQMH/AIAAAABAAAABAAAAAQcQXBsb3Jpcy5CYXNlLlVJLlZpc3VhbE9iamVjdAMAAAAJcwEAAA0DAf0CAADeAQAACTQEAAAEAAAABAAAAAH+AgAAJAAAAAk1BAAABAAAAAQAAAAB/wIAACUAAAAJCwQAAAAAAAAAAAAABQY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AAQAACgAAAAAAQEEJcAAAAAlxAAAACTYEAAABAAk3BAAAAQcDAAByAAAACgoBAAAAAAAAAP////8AAQELAwAApwAAAAk4BAAAAQAAAAEAAAABDAMAAG8AAAAJOQQAAAoHEQMAAAABAAAABAAAAAQfQXBsb3Jpcy5CYXNlLk9iamVjdHMuRGF0YU9iamVjdAMAAAAJeQEAAA0DBxIDAAAAAQAAAAQAAAAEHEFwbG9yaXMuQmFzZS5VSS5WaXN1YWxPYmplY3QDAAAACXsBAAANAwETAwAAMwAAAAE6BAAAIAAAABjd8EJsckxBATsEAACaAAAAAQAAAAAAAAAAAAAAAAk8BAAAAAAAAAk9BAAAAAABPgQAAKMAAAAAAAAAAT8EAABsAAAAAACQQQAAYEEBQAQAABQAAAAAAAAAAAAAAAAAAAAAAAAAXrrZPwZBBAAAAzEuMAoJQgQAAAntAQAANAMAAP////8AAQoJQwQAAAEACgABFgMAACIAAAAKCgAAAAAAKEEJcAAAAAlxAAAACUQEAAAAAAlFBAAAARcDAAByAAAACgoAAAAA////AA4AAAAAAQEbAwAApwAAAAlGBAAAAQAAAAEAAAABHAMAAG8AAAAJRwQAAAoHHQMAAAABAAAABAAAAAQcQXBsb3Jpcy5CYXNlLlVJLlZpc3VhbE9iamVjdAMAAAAJhAEAAAkTAwAACgoBHgMAADMAAAABSAQAACAAAACk64hDbHJMQQFJBAAAmgAAAAEAAAAAAAAAAAAAAAAJSgQAAAAAAAAJSwQAAAAAAUwEAACjAAAAAAAAAAFNBAAAbAAAAAAAkEEAAGBBAU4EAAAUAAAAAAAAAAAAAAAAAAAAAAAAAF662T8GTwQAAAMxLjAKCVAEAAAJ7QEAADQDAAD/////AAEKCVEEAAABAAoAASEDAAAiAAAACgoAAAAAAChBCXAAAAAJcQAAAAlSBAAAAAAJUwQAAAEiAwAAcgAAAAoKAAAAAP///wAOAAAAAAEBJgMAAKcAAAAJVAQAAAEAAAABAAAAAScDAABvAAAACVUEAAAKBygDAAAAAQAAAAQAAAAEHEFwbG9yaXMuQmFzZS5VSS5WaXN1YWxPYmplY3QDAAAACYsBAAAJHgMAAAoKASkDAAAzAAAAAVYEAAAgAAAAAaDVQ2xyTEEBVwQAAJoAAAABAAAAAAAAAAAAAAAACVgEAAAAAAAACVkEAAAAAAFaBAAAowAAAAAAAAABWwQAAGwAAAAAAJBBAABgQQFcBAAAFAAAAAAAAAAAAAAAAAAAAAAAAABeutk/Bl0EAAADMS4wCgleBAAACe0BAAA0AwAA/////wABCglfBAAAAQAKAAEsAwAAIgAAAAoKAAAAAAAoQQlwAAAACXEAAAAJYAQAAAAACWEEAAABLQMAAHIAAAAKCgAAAAD///8ADgAAAAABATEDAACnAAAACWIEAAABAAAAAQAAAAEyAwAAbwAAAAljBAAACgczAwAAAAEAAAAAAAAABB9BcGxvcmlzLkJhc2UuT2JqZWN0cy5EYXRhT2JqZWN0AwAAAAc0AwAAAAEAAAAEAAAABBxBcGxvcmlzLkJhc2UuVUkuVmlzdWFsT2JqZWN0AwAAAAmSAQAACSkDAAAKCgE1AwAAMwAAAAFkBAAAIAAAAC8qEURsckxBAWUEAACaAAAAAQAAAAAAAAAAAAAAAAlmBAAAAAAAAAlnBAAAAAABaAQAAKMAAAAAAAAAAWkEAABsAAAAAACQQQAAYEEBagQAABQAAAAAAAAAAAAAAAAAAAAAAAAAXrrZPwZrBAAAAzEuMAoJbAQAAAntAQAANAMAAP////8AAQoJbQQAAAEACgABOAMAACIAAAAKCgAAAAAAKEEJcAAAAAlxAAAACW4EAAAAAAlvBAAAATkDAAByAAAACgoAAAAA////AA4AAAAAAQE9AwAApwAAAAlwBAAAAQAAAAEAAAABPgMAAG8AAAAJcQQAAAoHPwMAAAABAAAABAAAAAQcQXBsb3Jpcy5CYXNlLlVJLlZpc3VhbE9iamVjdAMAAAAJmQEAAAk1AwAACgoBQgMAAGoAAAAKCgAAAEA/CXIEAAAJcwQAAAEAAAD+////AAAAAAEAAAAAAAAAAAAAAAEAAAAAAAAAAAAAAUMDAABvAAAACXQEAAAKAUYDAAAiAAAACgoAAAAAAChBCXAAAAAJcQAAAAl1BAAAAAAJdgQAAAFHAwAAcgAAAAoKAAAAAP///wAOAAAAAAEBTAMAAKcAAAAJdwQAAAEAAAABAAAAAU0DAABvAAAACXgEAAAKB04DAAAAAQAAAAQAAAAEHEFwbG9yaXMuQmFzZS5VSS5WaXN1YWxPYmplY3QDAAAACZwBAAAJnQEAAAoKAVEDAABqAAAACgoAAABAPwl5BAAACXoEAAABAAAA/v///wAAAAABAAAAAAAAAAAAAAABAAAAAAAAAAAAAAFSAwAAbwAAAAl7BAAACgFVAwAAIgAAAAoKAAAAAAAoQQlwAAAACXEAAAAJfAQAAAAACX0EAAABVgMAAHIAAAAKCgAAAAD///8ADgAAAAABAVsDAACnAAAACX4EAAABAAAAAwAAAAFcAwAAbwAAAAl/BAAACgddAwAAAAEAAAAEAAAABBxBcGxvcmlzLkJhc2UuVUkuVmlzdWFsT2JqZWN0AwAAAAmiAQAACaMBAAAKCgFgAwAAagAAAAoKAAAAQD8JgAQAAAmBBAAAAQAAAP7///8AAAAAAQAAAAAAAAAAAAAAAQAAAAAAAAAAAAABYQMAAG8AAAAJggQAAAoBZAMAACIAAAAKCgAAAAAAKEEJcAAAAAlxAAAACYMEAAAAAAmEBAAAAWUDAAByAAAACgoAAAAA////AA4AAAAAAQFqAwAApwAAAAmFBAAAAQAAAAMAAAABawMAAG8AAAAJhgQAAAoHbAMAAAABAAAABAAAAAQcQXBsb3Jpcy5CYXNlLlVJLlZpc3VhbE9iamVjdAMAAAAJqAEAAAmpAQAACgoBbwMAAGoAAAAKCgAAAEA/CYcEAAAJiAQAAAEAAAD+////AAAAAAEAAAAAAAAAAAAAAAEAAAAAAAAAAAAAAXADAABvAAAACYkEAAAKAXMDAAAiAAAACgoAAAAAAChBCXAAAAAJcQAAAAmKBAAAAAAJiwQAAAF0AwAAcgAAAAoKAAAAAP///wAOAAAAAAEBeQMAAKcAAAAJjAQAAAEAAAADAAAAAXoDAABvAAAACY0EAAAKB3sDAAAAAQAAAAQAAAAEHEFwbG9yaXMuQmFzZS5VSS5WaXN1YWxPYmplY3QDAAAACa4BAAAJrwEAAAoKAX4DAABqAAAACgoAAABAPwmOBAAACY8EAAABAAAA/v///wAAAAABAAAAAAAAAAAAAAABAAAAAAAAAAAAAAF/AwAAbwAAAAmQBAAACgGCAwAAIgAAAAoKAAAAAAAoQQlwAAAACXEAAAAJkQQAAAAACZIEAAABgwMAAHIAAAAKCgAAAAD///8ADgAAAAABAYgDAACnAAAACZMEAAABAAAAAwAAAAGJAwAAbwAAAAmUBAAACgeKAwAAAAEAAAAEAAAABBxBcGxvcmlzLkJhc2UuVUkuVmlzdWFsT2JqZWN0AwAAAAm0AQAACbUBAAAKCgGNAwAAagAAAAoKAAAAQD8JlQQAAAmWBAAAAQAAAP7///8AAAAAAQAAAAAAAAAAAAAAAQAAAAAAAAAAAAABjgMAAG8AAAAJlwQAAAoBkQMAACIAAAAKCgAAAAAAKEEJcAAAAAlxAAAACZgEAAAAAAmZBAAAAZIDAAByAAAACgoAAAAA////AA4AAAAAAQGXAwAApwAAAAmaBAAAAQAAAAMAAAABmAMAAG8AAAAJmwQAAAoHmQMAAAABAAAABAAAAAQcQXBsb3Jpcy5CYXNlLlVJLlZpc3VhbE9iamVjdAMAAAAJugEAAAm7AQAACgoBnAMAAGoAAAAKCgAAAEA/CZwEAAAJnQQAAAEAAAD+////AAAAAAEAAAAAAAAAAAAAAAEAAAAAAAAAAAAAAZ0DAABvAAAACZ4EAAAKAaADAAAiAAAACgoAAAAAAChBCXAAAAAJcQAAAAmfBAAAAAAJoAQAAAGhAwAAcgAAAAoKAAAAAP///wAOAAAAAAEBpgMAAKcAAAAJoQQAAAEAAAADAAAAAacDAABvAAAACaIEAAAKB6gDAAAAAQAAAAQAAAAEHEFwbG9yaXMuQmFzZS5VSS5WaXN1YWxPYmplY3QDAAAACcABAAAJwQEAAAoKAasDAABqAAAACgoAAABAPwmjBAAACaQEAAABAAAA/v///wAAAAABAAAAAAAAAAAAAAABAAAAAAAAAAAAAAGsAwAAbwAAAAmlBAAACgGvAwAAIgAAAAoKAAAAAAAoQQlwAAAACXEAAAAJpgQAAAAACacEAAABsAMAAHIAAAAKCgAAAAD///8ADgAAAAABAbUDAACnAAAACagEAAABAAAAAwAAAAG2AwAAbwAAAAmpBAAACge3AwAAAAEAAAAEAAAABBxBcGxvcmlzLkJhc2UuVUkuVmlzdWFsT2JqZWN0AwAAAAnGAQAACccBAAAKCgG6AwAAagAAAAoKAAAAQD8JqgQAAAmrBAAAAQAAAP7///8AAAAAAQAAAAAAAAAAAAAAAQAAAAAAAAAAAAABuwMAAG8AAAAJrAQAAAoBvgMAACIAAAAKCgAAAAAAKEEJcAAAAAlxAAAACa0EAAAAAAmuBAAAAb8DAAByAAAACgoAAAAA////AA4AAAAAAQHEAwAApwAAAAmvBAAAAQAAAAMAAAABxQMAAG8AAAAJsAQAAAoHxgMAAAABAAAABAAAAAQcQXBsb3Jpcy5CYXNlLlVJLlZpc3VhbE9iamVjdAMAAAAJzAEAAAnNAQAACgoByQMAAGoAAAAKCgAAAEA/CbEEAAAJsgQAAAEAAAD+////AAAAAAEAAAAAAAAAAAAAAAEAAAAAAAAAAAAAAcoDAABvAAAACbMEAAAKAc0DAAAiAAAACgoAAAAAAChBCXAAAAAJcQAAAAm0BAAAAAAJtQQAAAHOAwAAcgAAAAoKAAAAAP///wAOAAAAAAEB0wMAAKcAAAAJtgQAAAEAAAADAAAAAdQDAABvAAAACbcEAAAKB9UDAAAAAQAAAAQAAAAEHEFwbG9yaXMuQmFzZS5VSS5WaXN1YWxPYmplY3QDAAAACdIBAAAJ0wEAAAoKAdgDAABqAAAACgoAAABAPwm4BAAACbkEAAABAAAA/v///wAAAAABAAAAAAAAAAAAAAABAAAAAAAAAAAAAAHZAwAAbwAAAAm6BAAACgHcAwAAIgAAAAoKAAAAAAAoQQlwAAAACXEAAAAJuwQAAAAACbwEAAAB3QMAAHIAAAAKCgAAAAD///8ADgAAAAABAeIDAACnAAAACb0EAAABAAAAAwAAAAHjAwAAbwAAAAm+BAAACgfkAwAAAAEAAAAEAAAABBxBcGxvcmlzLkJhc2UuVUkuVmlzdWFsT2JqZWN0AwAAAAnYAQAACdkBAAAKCgflAwAAAAEAAAAIAAAABB5BcGxvcmlzLkNoYXJ0LkNoYXJ0RGF0YUVsZW1lbnQCAAAACb8EAAAJwAQAAAnBBAAACcIEAAANBAfmAwAAAAEAAAAIAAAABB9BcGxvcmlzLkJhc2UuT2JqZWN0cy5EYXRhT2JqZWN0AwAAAAm/BAAACcAEAAAJwQQAAAnCBAAADQQB5wMAAHIAAAAKCgAAAAAAAAAADQAAAAABAegDAAByAAAACgoBAAAAAAAAAP////8AAQfpAwAAAAEAAAAEAAAABB1BcGxvcmlzLkJhc2UuT2JqZWN0cy5WYXJpYWJsZQMAAAAFwwQAAB1BcGxvcmlzLkJhc2UuT2JqZWN0cy5WYXJpYWJsZQIAAAAGTnVtYmVyCFBvc2l0aW9uAAAICAMAAAABAAAAAAAAAAHEBAAAwwQAAAAAAAAAAAAAAcUEAADDBAAAAAAAAAAAAAABxgQAAMMEAAAAAAAAAAAAAA/qAwAAAQAAAAgAAAAAB+sDAAAAAQAAAAgAAAAEHkFwbG9yaXMuQ2hhcnQuQ2hhcnREYXRhRWxlbWVudAIAAAAJxwQAAAnIBAAACckEAAAJygQAAA0EB+wDAAAAAQAAAAgAAAAEH0FwbG9yaXMuQmFzZS5PYmplY3RzLkRhdGFPYmplY3QDAAAACccEAAAJyAQAAAnJBAAACcoEAAANBAHtAwAAcgAAAAoKAAAAAAAAAAANAAAAAAEB7gMAAHIAAAAKCgEAAAAAAAAA/////wABB+8DAAAAAQAAAAQAAAAEHUFwbG9yaXMuQmFzZS5PYmplY3RzLlZhcmlhYmxlAwAAAAHLBAAAwwQAAAEAAAAAAAAAAcwEAADDBAAAAAAAAAAAAAABzQQAAMMEAAAAAAAAAAAAAAHOBAAAwwQAAAAAAAAAAAAAD/ADAAABAAAACAAAAAAH8QMAAAABAAAACAAAAAQeQXBsb3Jpcy5DaGFydC5DaGFydERhdGFFbGVtZW50AgAAAAnPBAAACdAEAAAJ0QQAAAnSBAAADQQH8gMAAAABAAAACAAAAAQfQXBsb3Jpcy5CYXNlLk9iamVjdHMuRGF0YU9iamVjdAMAAAAJzwQAAAnQBAAACdEEAAAJ0gQAAA0EAfMDAAByAAAACgoAAAAAAAAAAA0AAAAAAQH0AwAAcgAAAAoKAQAAAAAAAAD/////AAEH9QMAAAABAAAABAAAAAQdQXBsb3Jpcy5CYXNlLk9iamVjdHMuVmFyaWFibGUDAAAAAdMEAADDBAAAAQAAAAAAAAAB1AQAAMMEAAAAAAAAAAAAAAHVBAAAwwQAAAAAAAAAAAAAAdYEAADDBAAAAAAAAAAAAAAP9gMAAAEAAAAIAAAAAAf3AwAAAAEAAAAIAAAABB5BcGxvcmlzLkNoYXJ0LkNoYXJ0RGF0YUVsZW1lbnQCAAAACdcEAAAJ2AQAAAnZBAAACdoEAAANBAf4AwAAAAEAAAAIAAAABB9BcGxvcmlzLkJhc2UuT2JqZWN0cy5EYXRhT2JqZWN0AwAAAAnXBAAACdgEAAAJ2QQAAAnaBAAADQQB+QMAAHIAAAAKCgAAAAAAAAAADQAAAAABAfoDAAByAAAACgoBAAAAAAAAAP////8AAQf7AwAAAAEAAAAEAAAABB1BcGxvcmlzLkJhc2UuT2JqZWN0cy5WYXJpYWJsZQMAAAAB2wQAAMMEAAABAAAAAAAAAAHcBAAAwwQAAAAAAAAAAAAAAd0EAADDBAAAAAAAAAAAAAAB3gQAAMMEAAAAAAAAAAAAAA/8AwAAAQAAAAgAAAAAB/0DAAAAAQAAAAgAAAAEHkFwbG9yaXMuQ2hhcnQuQ2hhcnREYXRhRWxlbWVudAIAAAAJ3wQAAAngBAAACeEEAAAJ4gQAAA0EB/4DAAAAAQAAAAgAAAAEH0FwbG9yaXMuQmFzZS5PYmplY3RzLkRhdGFPYmplY3QDAAAACd8EAAAJ4AQAAAnhBAAACeIEAAANBAH/AwAAcgAAAAoKAAAAAAAAAAANAAAAAAEBAAQAAHIAAAAKCgEAAAAAAAAA/////wABBwEEAAAAAQAAAAQAAAAEHUFwbG9yaXMuQmFzZS5PYmplY3RzLlZhcmlhYmxlAwAAAAHjBAAAwwQAAAEAAAAAAAAAAeQEAADDBAAAAAAAAAAAAAAB5QQAAMMEAAAAAAAAAAAAAAHmBAAAwwQAAAAAAAAAAAAADwIEAAABAAAACAAAAAAHAwQAAAABAAAACAAAAAQeQXBsb3Jpcy5DaGFydC5DaGFydERhdGFFbGVtZW50AgAAAAnnBAAACegEAAAJ6QQAAAnqBAAADQQHBAQAAAABAAAACAAAAAQfQXBsb3Jpcy5CYXNlLk9iamVjdHMuRGF0YU9iamVjdAMAAAAJ5wQAAAnoBAAACekEAAAJ6gQAAA0EAQUEAAByAAAACgoAAAAAAAAAAA0AAAAAAQEGBAAAcgAAAAoKAQAAAAAAAAD/////AAEHBwQAAAABAAAABAAAAAQdQXBsb3Jpcy5CYXNlLk9iamVjdHMuVmFyaWFibGUDAAAAAesEAADDBAAAAQAAAAAAAAAB7AQAAMMEAAAAAAAAAAAAAAHtBAAAwwQAAAAAAAAAAAAAAe4EAADDBAAAAAAAAAAAAAAPCAQAAAEAAAAIAAAAAAcJBAAAAAEAAAAEAAAABB5BcGxvcmlzLkNoYXJ0LkNoYXJ0RGF0YUVsZW1lbnQCAAAACe8EAAAJ8AQAAAnxBAAACfIEAAAHCgQAAAABAAAABAAAAAQfQXBsb3Jpcy5CYXNlLk9iamVjdHMuRGF0YU9iamVjdAMAAAAJ7wQAAAnwBAAACfEEAAAJ8gQAAAcLBAAAAAEAAAAAAAAABBxBcGxvcmlzLkJhc2UuVUkuVmlzdWFsT2JqZWN0AwAAAAEMBAAAcgAAAAoKAAAAAAAAAAANAAAAAAEBDQQAAHIAAAAKCgEAAAAAAAAA/////wABBw4EAAAAAQAAAAQAAAAEHUFwbG9yaXMuQmFzZS5PYmplY3RzLlZhcmlhYmxlAwAAAAHzBAAAwwQAAAEAAAAAAAAAAfQEAADDBAAAAAAAAAAAAAAB9QQAAMMEAAAAAAAAAAAAAAH2BAAAwwQAAAAAAAAAAAAADw8EAAABAAAACAAAAAAHEAQAAAABAAAABAAAAAQeQXBsb3Jpcy5DaGFydC5DaGFydERhdGFFbGVtZW50AgAAAAn3BAAACfgEAAAJ+QQAAAn6BAAABxEEAAAAAQAAAAQAAAAEH0FwbG9yaXMuQmFzZS5PYmplY3RzLkRhdGFPYmplY3QDAAAACfcEAAAJ+AQAAAn5BAAACfoEAAABEgQAAHIAAAAKCgAAAAAAAAAADQAAAAABARMEAAByAAAACgoBAAAAAAAAAP////8AAQcUBAAAAAEAAAAEAAAABB1BcGxvcmlzLkJhc2UuT2JqZWN0cy5WYXJpYWJsZQMAAAAB+wQAAMMEAAABAAAAAAAAAAH8BAAAwwQAAAAAAAAAAAAAAf0EAADDBAAAAAAAAAAAAAAB/gQAAMMEAAAAAAAAAAAAAA8VBAAAAQAAAAgAAAAABxYEAAAAAQAAAAQAAAAEHkFwbG9yaXMuQ2hhcnQuQ2hhcnREYXRhRWxlbWVudAIAAAAJ/wQAAAkABQAACQEFAAAJAgUAAAcXBAAAAAEAAAAEAAAABB9BcGxvcmlzLkJhc2UuT2JqZWN0cy5EYXRhT2JqZWN0AwAAAAn/BAAACQAFAAAJAQUAAAkCBQAAARgEAAByAAAACgoAAAAAAAAAAA0AAAAAAQEZBAAAcgAAAAoKAQAAAAAAAAD/////AAEHGgQAAAABAAAABAAAAAQdQXBsb3Jpcy5CYXNlLk9iamVjdHMuVmFyaWFibGUDAAAAAQMFAADDBAAAAQAAAAAAAAABBAUAAMMEAAAAAAAAAAAAAAEFBQAAwwQAAAAAAAAAAAAAAQYFAADDBAAAAAAAAAAAAAAPGwQAAAEAAAAIAAAAAAccBAAAAAEAAAAEAAAABB5BcGxvcmlzLkNoYXJ0LkNoYXJ0RGF0YUVsZW1lbnQCAAAACQcFAAAJCAUAAAkJBQAACQoFAAAHHQQAAAABAAAABAAAAAQfQXBsb3Jpcy5CYXNlLk9iamVjdHMuRGF0YU9iamVjdAMAAAAJBwUAAAkIBQAACQkFAAAJCgUAAAEeBAAAcgAAAAoKAAAAAAAAAAANAAAAAAEBHwQAAHIAAAAKCgEAAAAAAAAA/////wABByAEAAAAAQAAAAQAAAAEHUFwbG9yaXMuQmFzZS5PYmplY3RzLlZhcmlhYmxlAwAAAAELBQAAwwQAAAEAAAAAAAAAAQwFAADDBAAAAAAAAAAAAAABDQUAAMMEAAAAAAAAAAAAAAEOBQAAwwQAAAAAAAAAAAAADyEEAAABAAAACAAAAAAHIgQAAAABAAAABAAAAAQeQXBsb3Jpcy5DaGFydC5DaGFydERhdGFFbGVtZW50AgAAAAkPBQAACRAFAAAJEQUAAAkSBQAAByMEAAAAAQAAAAQAAAAEH0FwbG9yaXMuQmFzZS5PYmplY3RzLkRhdGFPYmplY3QDAAAACQ8FAAAJEAUAAAkRBQAACRIFAAABJAQAAHIAAAAKCgAAAAAAAAAADQAAAAABASUEAAByAAAACgoBAAAAAAAAAP////8AAQcmBAAAAAEAAAAEAAAABB1BcGxvcmlzLkJhc2UuT2JqZWN0cy5WYXJpYWJsZQMAAAABEwUAAMMEAAABAAAAAAAAAAEUBQAAwwQAAAAAAAAAAAAAARUFAADDBAAAAAAAAAAAAAABFgUAAMMEAAAAAAAAAAAAAA8nBAAAAQAAAAgAAAAABygEAAAAAQAAAAQAAAAEHkFwbG9yaXMuQ2hhcnQuQ2hhcnREYXRhRWxlbWVudAIAAAAJFwUAAAkYBQAACRkFAAAJGgUAAAcpBAAAAAEAAAAEAAAABB9BcGxvcmlzLkJhc2UuT2JqZWN0cy5EYXRhT2JqZWN0AwAAAAkXBQAACRgFAAAJGQUAAAkaBQAAASoEAAByAAAACgoAAAAAAAAAAA0AAAAAAQErBAAAcgAAAAoKAQAAAAAAAAD/////AAEHLAQAAAABAAAABAAAAAQdQXBsb3Jpcy5CYXNlLk9iamVjdHMuVmFyaWFibGUDAAAAARsFAADDBAAAAQAAAAAAAAABHAUAAMMEAAAAAAAAAAAAAAEdBQAAwwQAAAAAAAAAAAAAAR4FAADDBAAAAAAAAAAAAAAPLQQAAAEAAAAIAAAAAAcuBAAAAAEAAAAEAAAABB5BcGxvcmlzLkNoYXJ0LkNoYXJ0RGF0YUVsZW1lbnQCAAAACR8FAAAJIAUAAAkhBQAACSIFAAAHLwQAAAABAAAABAAAAAQfQXBsb3Jpcy5CYXNlLk9iamVjdHMuRGF0YU9iamVjdAMAAAAJHwUAAAkgBQAACSEFAAAJIgUAAAEwBAAAcgAAAAoKAAAAAAAAAAANAAAAAAEBMQQAAHIAAAAKCgEAAAAAAAAA/////wABBzIEAAAAAQAAAAQAAAAEHUFwbG9yaXMuQmFzZS5PYmplY3RzLlZhcmlhYmxlAwAAAAEjBQAAwwQAAAEAAAAAAAAAASQFAADDBAAAAAAAAAAAAAABJQUAAMMEAAAAAAAAAAAAAAEmBQAAwwQAAAAAAAAAAAAADzMEAAABAAAACAAAAAAHNAQAAAABAAAABAAAAAQeQXBsb3Jpcy5DaGFydC5DaGFydERhdGFFbGVtZW50AgAAAAknBQAACSgFAAAJKQUAAAkqBQAABzUEAAAAAQAAAAQAAAAEH0FwbG9yaXMuQmFzZS5PYmplY3RzLkRhdGFPYmplY3QDAAAACScFAAAJKAUAAAkpBQAACSoFAAABNgQAAHIAAAAKCgAAAAAAAAAADQAAAAABATcEAAByAAAACgoBAAAAAAAAAP////8AAQc4BAAAAAEAAAAEAAAABB1BcGxvcmlzLkJhc2UuT2JqZWN0cy5WYXJpYWJsZQMAAAABKwUAAMMEAAABAAAAAAAAAAEsBQAAwwQAAAAAAAAAAAAAAS0FAADDBAAAAAAAAAAAAAABLgUAAMMEAAAAAAAAAAAAAA85BAAAAQAAAAgAAAAABTw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EBAAAKAAAAAABAQQlwAAAACXEAAAAJLwUAAAEACTAFAAABPQQAAHIAAAAKCgAAAAD///8ADgAAAAABAUIEAACnAAAACTEFAAABAAAAAwAAAAFDBAAAbwAAAAkyBQAACgFEBAAAcgAAAAoKAAAAAAAAAAANAAAAAAABRQQAAHIAAAAKCgAAAAAAAAAADQAAAAABB0YEAAAAAQAAAAQAAAAEHUFwbG9yaXMuQmFzZS5PYmplY3RzLlZhcmlhYmxlAwAAAAEzBQAAwwQAAAEAAAAAAAAAATQFAADDBAAAAAAAAAAAAAABNQUAAMMEAAAAAAAAAAAAAAE2BQAAwwQAAAAAAAAAAAAAD0cEAAABAAAACMcAAAAFSgQ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AgEAAAoAAAAAAEBBCXAAAAAJcQAAAAk3BQAAAQAJOAUAAAFLBAAAcgAAAAoKAAAAAP///wAOAAAAAAEBUAQAAKcAAAAJOQUAAAEAAAADAAAAAVEEAABvAAAACToFAAAKAVIEAAByAAAACgoAAAAAAAAAAA0AAAAAAAFTBAAAcgAAAAoKAAAAAAAAAAANAAAAAAEHVAQAAAABAAAABAAAAAQdQXBsb3Jpcy5CYXNlLk9iamVjdHMuVmFyaWFibGUDAAAAATsFAADDBAAAAQAAAAAAAAABPAUAAMMEAAAAAAAAAAAAAAE9BQAAwwQAAAAAAAAAAAAAAT4FAADDBAAAAAAAAAAAAAAPVQQAAAEAAAAIxgAAAAVYB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DAQAACgAAAAAAQEEJcAAAAAlxAAAACT8FAAABAAlABQAAAVkEAAByAAAACgoAAAAA////AA4AAAAAAQFeBAAApwAAAAlBBQAAAQAAAAEAAAABXwQAAG8AAAAJQgUAAAoBYAQAAHIAAAAKCgAAAAAAAAAADQAAAAAAAWEEAAByAAAACgoAAAAAAAAAAA0AAAAAAQdiBAAAAAEAAAAEAAAABB1BcGxvcmlzLkJhc2UuT2JqZWN0cy5WYXJpYWJsZQMAAAABQwUAAMMEAAABAAAAAAAAAAFEBQAAwwQAAAAAAAAAAAAAAUUFAADDBAAAAAAAAAAAAAABRgUAAMMEAAAAAAAAAAAAAA9jBAAAAQAAAAjFAAAABWY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QBAAAKAAAAAABAQQlwAAAACXEAAAAJRwUAAAEACUgFAAABZwQAAHIAAAAKCgAAAAD///8ADgAAAAABAWwEAACnAAAACUkFAAABAAAAAwAAAAFtBAAAbwAAAAlKBQAACgFuBAAAcgAAAAoKAAAAAAAAAAANAAAAAAABbwQAAHIAAAAKCgAAAAAAAAAADQAAAAABB3AEAAAAAQAAAAQAAAAEHUFwbG9yaXMuQmFzZS5PYmplY3RzLlZhcmlhYmxlAwAAAAFLBQAAwwQAAAEAAAAAAAAAAUwFAADDBAAAAAAAAAAAAAABTQUAAMMEAAAAAAAAAAAAAAFOBQAAwwQAAAAAAAAAAAAAD3EEAAABAAAACMQAAAABcgQAAHIAAAAKCgAAAAAAAAAADQAAAAAABXMEAAAaQXBsb3Jpcy5CYXNlLk9iamVjdHMuQ29sb3IHAAAAEkRhdGFPYmplY3QrbVBhcmVudBVEYXRhT2JqZWN0K21Db250YWluZXIFbVR5cGUEbVJHQhBtVGhlbWVDb2xvckluZGV4DG1BdXRvVXBkYXRlZAltTW9kaWZpZWQEAgAAAAAAH0FwbG9yaXMuQmFzZS5PYmplY3RzLkxpbmVGb3JtYXQDAAAACAgIAQEDAAAACUIDAAAKAQAAAAAAAAD/////AAEPdAQAAAEAAAAI4gAAAAF1BAAAcgAAAAoKAAAAAAAAAAANAAAAAAABdgQAAHIAAAAKCgAAAAAAAAAADQAAAAABB3cEAAAAAQAAAAQAAAAEHUFwbG9yaXMuQmFzZS5PYmplY3RzLlZhcmlhYmxlAwAAAAFPBQAAwwQAAAEAAAAAAAAAAVAFAADDBAAAAAAAAAAAAAABUQUAAMMEAAAAAAAAAAAAAAFSBQAAwwQAAAAAAAAAAAAAD3gEAAABAAAACCYAAAABeQQAAHIAAAAKCgAAAAAAAAAADQAAAAAABXoEAAAaQXBsb3Jpcy5CYXNlLk9iamVjdHMuQ29sb3IHAAAAEkRhdGFPYmplY3QrbVBhcmVudBVEYXRhT2JqZWN0K21Db250YWluZXIFbVR5cGUEbVJHQhBtVGhlbWVDb2xvckluZGV4DG1BdXRvVXBkYXRlZAltTW9kaWZpZWQEAgAAAAAAH0FwbG9yaXMuQmFzZS5PYmplY3RzLkxpbmVGb3JtYXQDAAAACAgIAQEDAAAACVEDAAAKAQAAAAAAAAD/////AAEPewQAAAEAAAAI3wAAAAF8BAAAcgAAAAoKAAAAAAAAAAANAAAAAAABfQQAAHIAAAAKCgAAAAAAAAAADQAAAAABB34EAAAAAQAAAAQAAAAEHUFwbG9yaXMuQmFzZS5PYmplY3RzLlZhcmlhYmxlAwAAAAFTBQAAwwQAAAEAAAAAAAAAAVQFAADDBAAAAAAAAAAAAAABVQUAAMMEAAAAAAAAAAAAAAFWBQAAwwQAAAAAAAAAAAAAD38EAAABAAAACCMAAAABgAQAAHIAAAAKCgAAAAAAAAAADQAAAAAABYEEAAAaQXBsb3Jpcy5CYXNlLk9iamVjdHMuQ29sb3IHAAAAEkRhdGFPYmplY3QrbVBhcmVudBVEYXRhT2JqZWN0K21Db250YWluZXIFbVR5cGUEbVJHQhBtVGhlbWVDb2xvckluZGV4DG1BdXRvVXBkYXRlZAltTW9kaWZpZWQEAgAAAAAAH0FwbG9yaXMuQmFzZS5PYmplY3RzLkxpbmVGb3JtYXQDAAAACAgIAQEDAAAACWADAAAKAQAAAAAAAAD/////AAEPggQAAAEAAAAI2QAAAAGDBAAAcgAAAAoKAAAAAAAAAAANAAAAAAABhAQAAHIAAAAKCgAAAAAAAAAADQAAAAABB4UEAAAAAQAAAAQAAAAEHUFwbG9yaXMuQmFzZS5PYmplY3RzLlZhcmlhYmxlAwAAAAFXBQAAwwQAAAEAAAAAAAAAAVgFAADDBAAAAAAAAAAAAAABWQUAAMMEAAAAAAAAAAAAAAFaBQAAwwQAAAAAAAAAAAAAD4YEAAABAAAACCsAAAABhwQAAHIAAAAKCgAAAAAAAAAADQAAAAAABYgEAAAaQXBsb3Jpcy5CYXNlLk9iamVjdHMuQ29sb3IHAAAAEkRhdGFPYmplY3QrbVBhcmVudBVEYXRhT2JqZWN0K21Db250YWluZXIFbVR5cGUEbVJHQhBtVGhlbWVDb2xvckluZGV4DG1BdXRvVXBkYXRlZAltTW9kaWZpZWQEAgAAAAAAH0FwbG9yaXMuQmFzZS5PYmplY3RzLkxpbmVGb3JtYXQDAAAACAgIAQEDAAAACW8DAAAKAQAAAAAAAAD/////AAEPiQQAAAEAAAAI3QAAAAGKBAAAcgAAAAoKAAAAAAAAAAANAAAAAAABiwQAAHIAAAAKCgAAAAAAAAAADQAAAAABB4wEAAAAAQAAAAQAAAAEHUFwbG9yaXMuQmFzZS5PYmplY3RzLlZhcmlhYmxlAwAAAAFbBQAAwwQAAAEAAAAAAAAAAVwFAADDBAAAAAAAAAAAAAABXQUAAMMEAAAAAAAAAAAAAAFeBQAAwwQAAAAAAAAAAAAAD40EAAABAAAACCoAAAABjgQAAHIAAAAKCgAAAAAAAAAADQAAAAAABY8EAAAaQXBsb3Jpcy5CYXNlLk9iamVjdHMuQ29sb3IHAAAAEkRhdGFPYmplY3QrbVBhcmVudBVEYXRhT2JqZWN0K21Db250YWluZXIFbVR5cGUEbVJHQhBtVGhlbWVDb2xvckluZGV4DG1BdXRvVXBkYXRlZAltTW9kaWZpZWQEAgAAAAAAH0FwbG9yaXMuQmFzZS5PYmplY3RzLkxpbmVGb3JtYXQDAAAACAgIAQEDAAAACX4DAAAKAQAAAAAAAAD/////AAEPkAQAAAEAAAAI3AAAAAGRBAAAcgAAAAoKAAAAAAAAAAANAAAAAAABkgQAAHIAAAAKCgAAAAAAAAAADQAAAAABB5MEAAAAAQAAAAQAAAAEHUFwbG9yaXMuQmFzZS5PYmplY3RzLlZhcmlhYmxlAwAAAAFfBQAAwwQAAAEAAAAAAAAAAWAFAADDBAAAAAAAAAAAAAABYQUAAMMEAAAAAAAAAAAAAAFiBQAAwwQAAAAAAAAAAAAAD5QEAAABAAAACCcAAAABlQQAAHIAAAAKCgAAAAAAAAAADQAAAAAABZYEAAAaQXBsb3Jpcy5CYXNlLk9iamVjdHMuQ29sb3IHAAAAEkRhdGFPYmplY3QrbVBhcmVudBVEYXRhT2JqZWN0K21Db250YWluZXIFbVR5cGUEbVJHQhBtVGhlbWVDb2xvckluZGV4DG1BdXRvVXBkYXRlZAltTW9kaWZpZWQEAgAAAAAAH0FwbG9yaXMuQmFzZS5PYmplY3RzLkxpbmVGb3JtYXQDAAAACAgIAQEDAAAACY0DAAAKAQAAAAAAAAD/////AAEPlwQAAAEAAAAI2gAAAAGYBAAAcgAAAAoKAAAAAAAAAAANAAAAAAABmQQAAHIAAAAKCgAAAAAAAAAADQAAAAABB5oEAAAAAQAAAAQAAAAEHUFwbG9yaXMuQmFzZS5PYmplY3RzLlZhcmlhYmxlAwAAAAFjBQAAwwQAAAEAAAAAAAAAAWQFAADDBAAAAAAAAAAAAAABZQUAAMMEAAAAAAAAAAAAAAFmBQAAwwQAAAAAAAAAAAAAD5sEAAABAAAACCkAAAABnAQAAHIAAAAKCgAAAAAAAAAADQAAAAAABZ0EAAAaQXBsb3Jpcy5CYXNlLk9iamVjdHMuQ29sb3IHAAAAEkRhdGFPYmplY3QrbVBhcmVudBVEYXRhT2JqZWN0K21Db250YWluZXIFbVR5cGUEbVJHQhBtVGhlbWVDb2xvckluZGV4DG1BdXRvVXBkYXRlZAltTW9kaWZpZWQEAgAAAAAAH0FwbG9yaXMuQmFzZS5PYmplY3RzLkxpbmVGb3JtYXQDAAAACAgIAQEDAAAACZwDAAAKAQAAAAAAAAD/////AAEPngQAAAEAAAAI3gAAAAGfBAAAcgAAAAoKAAAAAAAAAAANAAAAAAABoAQAAHIAAAAKCgAAAAAAAAAADQAAAAABB6EEAAAAAQAAAAQAAAAEHUFwbG9yaXMuQmFzZS5PYmplY3RzLlZhcmlhYmxlAwAAAAFnBQAAwwQAAAEAAAAAAAAAAWgFAADDBAAAAAAAAAAAAAABaQUAAMMEAAAAAAAAAAAAAAFqBQAAwwQAAAAAAAAAAAAAD6IEAAABAAAACCgAAAABowQAAHIAAAAKCgAAAAAAAAAADQAAAAAABaQEAAAaQXBsb3Jpcy5CYXNlLk9iamVjdHMuQ29sb3IHAAAAEkRhdGFPYmplY3QrbVBhcmVudBVEYXRhT2JqZWN0K21Db250YWluZXIFbVR5cGUEbVJHQhBtVGhlbWVDb2xvckluZGV4DG1BdXRvVXBkYXRlZAltTW9kaWZpZWQEAgAAAAAAH0FwbG9yaXMuQmFzZS5PYmplY3RzLkxpbmVGb3JtYXQDAAAACAgIAQEDAAAACasDAAAKAQAAAAAAAAD/////AAEPpQQAAAEAAAAI4QAAAAGmBAAAcgAAAAoKAAAAAAAAAAANAAAAAAABpwQAAHIAAAAKCgAAAAAAAAAADQAAAAABB6gEAAAAAQAAAAQAAAAEHUFwbG9yaXMuQmFzZS5PYmplY3RzLlZhcmlhYmxlAwAAAAFrBQAAwwQAAAEAAAAAAAAAAWwFAADDBAAAAAAAAAAAAAABbQUAAMMEAAAAAAAAAAAAAAFuBQAAwwQAAAAAAAAAAAAAD6kEAAABAAAACCwAAAABqgQAAHIAAAAKCgAAAAAAAAAADQAAAAAABasEAAAaQXBsb3Jpcy5CYXNlLk9iamVjdHMuQ29sb3IHAAAAEkRhdGFPYmplY3QrbVBhcmVudBVEYXRhT2JqZWN0K21Db250YWluZXIFbVR5cGUEbVJHQhBtVGhlbWVDb2xvckluZGV4DG1BdXRvVXBkYXRlZAltTW9kaWZpZWQEAgAAAAAAH0FwbG9yaXMuQmFzZS5PYmplY3RzLkxpbmVGb3JtYXQDAAAACAgIAQEDAAAACboDAAAKAQAAAAAAAAD/////AAEPrAQAAAEAAAAI2wAAAAGtBAAAcgAAAAoKAAAAAAAAAAANAAAAAAABrgQAAHIAAAAKCgAAAAAAAAAADQAAAAABB68EAAAAAQAAAAQAAAAEHUFwbG9yaXMuQmFzZS5PYmplY3RzLlZhcmlhYmxlAwAAAAFvBQAAwwQAAAEAAAAAAAAAAXAFAADDBAAAAAAAAAAAAAABcQUAAMMEAAAAAAAAAAAAAAFyBQAAwwQAAAAAAAAAAAAAD7AEAAABAAAACC0AAAABsQQAAHIAAAAKCgAAAAAAAAAADQAAAAAABbIEAAAaQXBsb3Jpcy5CYXNlLk9iamVjdHMuQ29sb3IHAAAAEkRhdGFPYmplY3QrbVBhcmVudBVEYXRhT2JqZWN0K21Db250YWluZXIFbVR5cGUEbVJHQhBtVGhlbWVDb2xvckluZGV4DG1BdXRvVXBkYXRlZAltTW9kaWZpZWQEAgAAAAAAH0FwbG9yaXMuQmFzZS5PYmplY3RzLkxpbmVGb3JtYXQDAAAACAgIAQEDAAAACckDAAAKAQAAAAAAAAD/////AAEPswQAAAEAAAAI2AAAAAG0BAAAcgAAAAoKAAAAAAAAAAANAAAAAAABtQQAAHIAAAAKCgAAAAAAAAAADQAAAAABB7YEAAAAAQAAAAQAAAAEHUFwbG9yaXMuQmFzZS5PYmplY3RzLlZhcmlhYmxlAwAAAAFzBQAAwwQAAAEAAAAAAAAAAXQFAADDBAAAAAAAAAAAAAABdQUAAMMEAAAAAAAAAAAAAAF2BQAAwwQAAAAAAAAAAAAAD7cEAAABAAAACCUAAAABuAQAAHIAAAAKCgAAAAAAAAAADQAAAAAABbkEAAAaQXBsb3Jpcy5CYXNlLk9iamVjdHMuQ29sb3IHAAAAEkRhdGFPYmplY3QrbVBhcmVudBVEYXRhT2JqZWN0K21Db250YWluZXIFbVR5cGUEbVJHQhBtVGhlbWVDb2xvckluZGV4DG1BdXRvVXBkYXRlZAltTW9kaWZpZWQEAgAAAAAAH0FwbG9yaXMuQmFzZS5PYmplY3RzLkxpbmVGb3JtYXQDAAAACAgIAQEDAAAACdgDAAAKAQAAAAAAAAD/////AAEPugQAAAEAAAAI4AAAAAG7BAAAcgAAAAoKAAAAAAAAAAANAAAAAAABvAQAAHIAAAAKCgAAAAAAAAAADQAAAAABB70EAAAAAQAAAAQAAAAEHUFwbG9yaXMuQmFzZS5PYmplY3RzLlZhcmlhYmxlAwAAAAF3BQAAwwQAAAEAAAAAAAAAAXgFAADDBAAAAAAAAAAAAAABeQUAAMMEAAAAAAAAAAAAAAF6BQAAwwQAAAAAAAAAAAAAD74EAAABAAAACCQAAAAFvwQ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l7BQAACXwFAAAKCX0FAAAKCfMAAAAIBnsUrkfhetQ/CgAAAAAJfgUAAAl/BQAAAAAAAAAJgAUAAAnzAAAACQEAAAAJgQUAAAHABAAAvwQAAAoKCgmCBQAACgnzAAAACgoBAAAACYMFAAAJhAUAAAAAAAAACYUFAAAJ8wAAAAkBAAAACYYFAAABwQQAAL8EAAAKCgoJhwUAAAoJ8wAAAAoKAgAAAAoKAAAAAAAJiAUAAAnzAAAACQEAAAAJiQUAAAHCBAAAvwQAAAoKCgmKBQAACgnzAAAACgoDAAAACgoAAAAAAAmLBQAACfMAAAAJAQAAAAmMBQAAAccEAAC/BAAACY0FAAAJjgUAAAoJjwUAAAoJ9AAAAAgGw/UoXI/C5T8KAAAAAAmQBQAACZEFAAAAAAAAAAmSBQAACfQAAAAJAQAAAAmTBQAAAcgEAAC/BAAACgoKCZQFAAAKCfQAAAAKCgEAAAAJlQUAAAmWBQAAAAAAAAAJlwUAAAn0AAAACQEAAAAJmAUAAAHJBAAAvwQAAAoKCgmZBQAACgn0AAAACgoCAAAACgoAAAAAAAmaBQAACfQAAAAJAQAAAAmbBQAAAcoEAAC/BAAACgoKCZwFAAAKCfQAAAAKCgMAAAAKCgAAAAAACZ0FAAAJ9AAAAAkBAAAACZ4FAAABzwQAAL8EAAAKCgoJnwUAAAoJ9QAAAAoKAAAAAAoKAAAAAAAJoAUAAAn1AAAACQEAAAAJoQUAAAHQBAAAvwQAAAmiBQAACaMFAAAKCaQFAAAKCfUAAAAIBnE9CtejcL0/CgEAAAAJpQUAAAmmBQAAAAAAAAAJpwUAAAn1AAAACQEAAAAJqAUAAAHRBAAAvwQAAAoKCgmpBQAACgn1AAAACgoCAAAACgoAAAAAAAmqBQAACfUAAAAJAQAAAAmrBQAAAdIEAAC/BAAACgoKCawFAAAKCfUAAAAKCgMAAAAKCgAAAAAACa0FAAAJ9QAAAAkBAAAACa4FAAAB1wQAAL8EAAAKCgoJrwUAAAoJ9gAAAAoKAAAAAAoKAAAAAAAJsAUAAAn2AAAACQEAAAAJsQUAAAHYBAAAvwQAAAmyBQAACbMFAAAKCbQFAAAKCfYAAAAIBgIrhxbZzsc/CgEAAAAJtQUAAAm2BQAAAAAAAAAJtwUAAAn2AAAACQEAAAAJuAUAAAHZBAAAvwQAAAoKCgm5BQAACgn2AAAACgoCAAAACgoAAAAAAAm6BQAACfYAAAAJAQAAAAm7BQAAAdoEAAC/BAAACgoKCbwFAAAKCfYAAAAKCgMAAAAKCgAAAAAACb0FAAAJ9gAAAAkBAAAACb4FAAAB3wQAAL8EAAAKCgoJvwUAAAoJ9wAAAAoKAAAAAAoKAAAAAAAJwAUAAAn3AAAACQEAAAAJwQUAAAHgBAAAvwQAAAnCBQAACcMFAAAKCcQFAAAKCfcAAAAIBuXQItv5ftI/CgEAAAAJxQUAAAnGBQAAAAAAAAAJxwUAAAn3AAAACQEAAAAJyAUAAAHhBAAAvwQAAAoKCgnJBQAACgn3AAAACgoCAAAACgoAAAAAAAnKBQAACfcAAAAJAQAAAAnLBQAAAeIEAAC/BAAACgoKCcwFAAAKCfcAAAAKCgMAAAAKCgAAAAAACc0FAAAJ9wAAAAkBAAAACc4FAAAB5wQAAL8EAAAKCgoJzwUAAAoJ+AAAAAoKAAAAAAoKAAAAAAAJ0AUAAAn4AAAACQEAAAAJ0QUAAAHoBAAAvwQAAAnSBQAACdMFAAAKCdQFAAAKCfgAAAAIBpMYBFYOLdo/CgEAAAAJ1QUAAAnWBQAAAAAAAAAJ1wUAAAn4AAAACQEAAAAJ2AUAAAHpBAAAvwQAAAoKCgnZBQAACgn4AAAACgoCAAAACgoAAAAAAAnaBQAACfgAAAAJAQAAAAnbBQAAAeoEAAC/BAAACgoKCdwFAAAKCfgAAAAKCgMAAAAKCgAAAAAACd0FAAAJ+AAAAAkBAAAACd4FAAAB7wQAAL8EAAAKCgoJ3wUAAAoJ+QAAAAoKAAAAAAoKAAAAAAAJ4AUAAAn5AAAACQEAAAAJ4QUAAAHwBAAAvwQAAAoKCgniBQAACgn5AAAACgoBAAAACgoAAAAAAAnjBQAACfkAAAAJAQAAAAnkBQAAAfEEAAC/BAAACeUFAAAJ5gUAAAoJ5wUAAAoJ+QAAAAgG46WbxCCwsj8KAgAAAAnoBQAACekFAAAAAAAAAAnqBQAACfkAAAAJAQAAAAnrBQAAAfIEAAC/BAAACgoKCewFAAAKCfkAAAAKCgMAAAAKCgAAAAAACe0FAAAJ+QAAAAkBAAAACe4FAAAB9wQAAL8EAAAKCgoJ7wUAAAoJ+gAAAAoKAAAAAAoKAAAAAAAJ8AUAAAn6AAAACQEAAAAJ8QUAAAH4BAAAvwQAAAoKCgnyBQAACgn6AAAACgoBAAAACgoAAAAAAAnzBQAACfoAAAAJAQAAAAn0BQAAAfkEAAC/BAAACfUFAAAJ9gUAAAoJ9wUAAAoJ+gAAAAgGke18PzVe2j8KAgAAAAn4BQAACfkFAAAAAAAAAAn6BQAACfoAAAAJAQAAAAn7BQAAAfoEAAC/BAAACgoKCfwFAAAKCfoAAAAKCgMAAAAKCgAAAAAACf0FAAAJ+gAAAAkBAAAACf4FAAAB/wQAAL8EAAAKCgoJ/wUAAAoJ+wAAAAoKAAAAAAoKAAAAAAAJAAYAAAn7AAAACQEAAAAJAQYAAAEABQAAvwQAAAoKCgkCBgAACgn7AAAACgoBAAAACgoAAAAAAAkDBgAACfsAAAAJAQAAAAkEBgAAAQEFAAC/BAAACQUGAAAJBgYAAAoJBwYAAAoJ+wAAAAgGiUFg5dAiyz8KAgAAAAkIBgAACQkGAAAAAAAAAAkKBgAACfsAAAAJAQAAAAkLBgAAAQIFAAC/BAAACgoKCQwGAAAKCfsAAAAKCgMAAAAKCgAAAAAACQ0GAAAJ+wAAAAkBAAAACQ4GAAABBwUAAL8EAAAKCgoJDwYAAAoJ/AAAAAoKAAAAAAoKAAAAAAAJEAYAAAn8AAAACQEAAAAJEQYAAAEIBQAAvwQAAAoKCgkSBgAACgn8AAAACgoBAAAACgoAAAAAAAkTBgAACfwAAAAJAQAAAAkUBgAAAQkFAAC/BAAACRUGAAAJFgYAAAoJFwYAAAoJ/AAAAAgGexSuR+F6xD8KAgAAAAkYBgAACRkGAAAAAAAAAAkaBgAACfwAAAAJAQAAAAkbBgAAAQoFAAC/BAAACgoKCRwGAAAKCfwAAAAKCgMAAAAKCgAAAAAACR0GAAAJ/AAAAAkBAAAACR4GAAABDwUAAL8EAAAKCgoJHwYAAAoJ/QAAAAoKAAAAAAoKAAAAAAAJIAYAAAn9AAAACQEAAAAJIQYAAAEQBQAAvwQAAAoKCgkiBgAACgn9AAAACgoBAAAACgoAAAAAAAkjBgAACf0AAAAJAQAAAAkkBgAAAREFAAC/BAAACSUGAAAJJgYAAAoJJwYAAAoJ/QAAAAgGkxgEVg4twj8KAgAAAAkoBgAACSkGAAAAAAAAAAkqBgAACf0AAAAJAQAAAAkrBgAAARIFAAC/BAAACgoKCSwGAAAKCf0AAAAKCgMAAAAKCgAAAAAACS0GAAAJ/QAAAAkBAAAACS4GAAABFwUAAL8EAAAKCgoJLwYAAAoJ/gAAAAoKAAAAAAoKAAAAAAAJMAYAAAn+AAAACQEAAAAJMQYAAAEYBQAAvwQAAAoKCgkyBgAACgn+AAAACgoBAAAACgoAAAAAAAkzBgAACf4AAAAJAQAAAAk0BgAAARkFAAC/BAAACgoKCTUGAAAKCf4AAAAKCgIAAAAKCgAAAAAACTYGAAAJ/gAAAAkBAAAACTcGAAABGgUAAL8EAAAJOAYAAAk5BgAACgk6BgAACgn+AAAACAY1Yzz4ix3NPwoDAAAACTsGAAAJPAYAAAAAAAAACT0GAAAJ/gAAAAkBAAAACT4GAAABHwUAAL8EAAAKCgoJPwYAAAoJ/wAAAAoKAAAAAAoKAAAAAAAJQAYAAAn/AAAACQEAAAAJQQYAAAEgBQAAvwQAAAoKCglCBgAACgn/AAAACgoBAAAACgoAAAAAAAlDBgAACf8AAAAJAQAAAAlEBgAAASEFAAC/BAAACgoKCUUGAAAKCf8AAAAKCgIAAAAKCgAAAAAACUYGAAAJ/wAAAAkBAAAACUcGAAABIgUAAL8EAAAJSAYAAAlJBgAACglKBgAACgn/AAAACAZicwNQD/PTPwoDAAAACUsGAAAJTAYAAAAAAAAACU0GAAAJ/wAAAAkBAAAACU4GAAABJwUAAL8EAAAKCgoJTwYAAAoJAAEAAAoKAAAAAAoKAAAAAAAJUAYAAAkAAQAACQEAAAAJUQYAAAEoBQAAvwQAAAoKCglSBgAACgkAAQAACgoBAAAACgoAAAAAAAlTBgAACQABAAAJAQAAAAlUBgAAASkFAAC/BAAACgoKCVUGAAAKCQABAAAKCgIAAAAKCgAAAAAACVYGAAAJAAEAAAkBAAAACVcGAAABKgUAAL8EAAAJWAYAAAlZBgAACglaBgAACgkAAQAACAZ3PcGAWSvdPwoDAAAACVsGAAAJXAYAAAAAAAAACV0GAAAJAAEAAAkBAAAACV4GAAABLwUAAHIAAAAKCgAAAAAAAAAADQAAAAABATAFAAByAAAACgoBAAAAAAAAAP////8AAQcxBQAAAAEAAAAEAAAABB1BcGxvcmlzLkJhc2UuT2JqZWN0cy5WYXJpYWJsZQMAAAABXwYAAMMEAAABAAAAAAAAAAFgBgAAwwQAAAAAAAAAAAAAAWEGAADDBAAAAAAAAAAAAAABYgYAAMMEAAAAAAAAAAAAAA8yBQAAAQAAAAgAAAAAATcFAAByAAAACgoAAAAAAAAAAA0AAAAAAQE4BQAAcgAAAAoKAQAAAAAAAAD/////AAEHOQUAAAABAAAABAAAAAQdQXBsb3Jpcy5CYXNlLk9iamVjdHMuVmFyaWFibGUDAAAAAWMGAADDBAAAAQAAAAAAAAABZAYAAMMEAAAAAAAAAAAAAAFlBgAAwwQAAAAAAAAAAAAAAWYGAADDBAAAAAAAAAAAAAAPOgUAAAEAAAAIAAAAAAE/BQAAcgAAAAoKAAAAAAAAAAANAAAAAAEBQAUAAHIAAAAKCgEAAAAAAAAA/////wABB0EFAAAAAQAAAAQAAAAEHUFwbG9yaXMuQmFzZS5PYmplY3RzLlZhcmlhYmxlAwAAAAFnBgAAwwQAAAEAAAAAAAAAAWgGAADDBAAAAAAAAAAAAAABaQYAAMMEAAAAAAAAAAAAAAFqBgAAwwQAAAAAAAAAAAAAD0IFAAABAAAACAAAAAABRwUAAHIAAAAKCgAAAAAAAAAADQAAAAABAUgFAAByAAAACgoBAAAAAAAAAP////8AAQdJBQAAAAEAAAAEAAAABB1BcGxvcmlzLkJhc2UuT2JqZWN0cy5WYXJpYWJsZQMAAAABawYAAMMEAAABAAAAAAAAAAFsBgAAwwQAAAAAAAAAAAAAAW0GAADDBAAAAAAAAAAAAAABbgYAAMMEAAAAAAAAAAAAAA9KBQAAAQAAAAgAAAAAAXsFAAATAQAAClgCAAABbwYAAOEBAAACAAAAAXAGAADiAQAAAQAAAAFxBgAAFAAAAKP7lkI2OZZB6cKzQgCCzEIBcgYAAOQBAAAAAAAAAACgQAABcwYAACAAAAAY3fBCTc+LQgF0BgAAmgAAAAAAAAAAAAAAAAAAAAAJdQYAAAAAAAAJdgYAAAAAAXcGAACjAAAAAAAAAAF4BgAAbAAAAAAAAEIAAMhBAXkGAAAUAAAARhfRQi66aEJIRQBCdNG1QRKDvj8GegYAAAtNYWxlDQozMi4wJQoJewYAAAZ8BgAAAg0KNAMAAP////8BAQoJfQYAAAEACgABfAUAABsAAAABfgYAACAAAACj+5BCTRD4QgF/BgAAIAAAAEZfKENscnxBCYAGAAAJgQYAAAAAAAAKAYIGAABsAAAAAAAAAAAAAAABgwYAAGwAAAAAAAAAAAAAAAAAAAABhAYAABQAAAAAAAAAAAAAAAAAAAAAAAAApAEAAP////8BAQoJhQYAAAEACgAHfQUAAAABAAAAAgAAAAQaQXBsb3Jpcy5CYXNlLlVJLlZpc3VhbExpbmUDAAAACgoHfgUAAAABAAAAAwAAAAQVU3lzdGVtLkRyYXdpbmcuUG9pbnRGBAAAAAGGBgAAIAAAABjd8EJNz4tCAYcGAAAgAAAAo/uKQk3Pi0IBiAYAACAAAABGXytDTc+LQgd/BQAAAAEAAAADAAAABBdBcGxvcmlzLkJhc2UuQW5jaG9yTW9kZQMAAAABiQYAAJoAAAAAAAAAAYoGAACaAAAAAgAAAAGLBgAAmgAAAAQAAAABgAUAACQAAAAJ0gAAAAAAAAAAAAAAAYEFAAAlAAAACYwGAAACAAAABgAAAAeCBQAAAAEAAAACAAAABBpBcGxvcmlzLkJhc2UuVUkuVmlzdWFsTGluZQMAAAAKCgeDBQAAAAEAAAADAAAABBVTeXN0ZW0uRHJhd2luZy5Qb2ludEYEAAAAAY0GAAAgAAAAXfSnQ35CZEMBjgYAACAAAAAfjIVDfkJkQwGPBgAAIAAAAJtcykN+QmRDB4QFAAAAAQAAAAMAAAAEF0FwbG9yaXMuQmFzZS5BbmNob3JNb2RlAwAAAAGQBgAAmgAAAAAAAAABkQYAAJoAAAACAAAAAZIGAACaAAAABAAAAAGFBQAAJAAAAAnSAAAAAAAAAAAAAAABhgUAACUAAAAJkwYAAAAAAAAEAAAAB4cFAAAAAQAAAAIAAAAEGkFwbG9yaXMuQmFzZS5VSS5WaXN1YWxMaW5lAwAAAAoKAYgFAAAkAAAACTMDAAAAAAAAAAAAAAGJBQAAJQAAAAkLBAAAAAAAAAAAAAAHigUAAAABAAAAAgAAAAQaQXBsb3Jpcy5CYXNlLlVJLlZpc3VhbExpbmUDAAAACgoBiwUAACQAAAAJMwMAAAAAAAAAAAAAAYwFAAAlAAAACQsEAAAAAAAAAAAAAAGNBQAAEwEAAApYAgAAAZQGAADhAQAAAgAAAAGVBgAA4gEAAAEAAAABlgYAABQAAACj+5ZCTRD+QunCs0IgCmBDAZcGAADkAQAAAAAAAAAAoEAAAZgGAAAgAAAAGN3wQjYNb0MBmQYAAJoAAAAAAAAAAAAAAAAAAAAACZoGAAAAAAAACZsGAAAAAAGcBgAAowAAAAAAAAABnQYAAGwAAAAAABhCAADIQQGeBgAAFAAAAOiiy0LRRWNDvRYWQnTRtUESg74/Bp8GAAANRmVtYWxlDQo2OC4wJQoJoAYAAAahBgAAAg0KNAMAAP////8BAQoJogYAAAEACgABjgUAABsAAAABowYAACAAAACj+5BCIwmxQwGkBgAAIAAAAEZfKENNEPhCCaUGAAAJpgYAAAAAAAAKAacGAABsAAAAAAAAAAAAAAABqAYAAGwAAAAAAAAAAAAAAAAAAAABqQYAABQAAAAAAAAAAAAAAAAAAAAAAAAApAEAAP////8BAQoJqgYAAAEACgAHjwUAAAABAAAAAgAAAAQaQXBsb3Jpcy5CYXNlLlVJLlZpc3VhbExpbmUDAAAACgoHkAUAAAABAAAAAwAAAAQVU3lzdGVtLkRyYXdpbmcuUG9pbnRGBAAAAAGrBgAAIAAAABjd8EI2DW9DAawGAAAgAAAAo/uKQjYNb0MBrQYAACAAAABGXytDNg1vQweRBQAAAAEAAAADAAAABBdBcGxvcmlzLkJhc2UuQW5jaG9yTW9kZQMAAAABrgYAAJoAAAAAAAAAAa8GAACaAAAAAgAAAAGwBgAAmgAAAAQAAAABkgUAACQAAAAJ0gAAAAAAAAAAAAAAAZMFAAAlAAAACbEGAAACAAAABgAAAAeUBQAAAAEAAAACAAAABBpBcGxvcmlzLkJhc2UuVUkuVmlzdWFsTGluZQMAAAAKCgeVBQAAAAEAAAADAAAABBVTeXN0ZW0uRHJhd2luZy5Qb2ludEYEAAAAAbIGAAAgAAAAXfSnQwO7rUMBswYAACAAAAAfjIVDA7utQwG0BgAAIAAAAJtcykMDu61DB5YFAAAAAQAAAAMAAAAEF0FwbG9yaXMuQmFzZS5BbmNob3JNb2RlAwAAAAG1BgAAmgAAAAAAAAABtgYAAJoAAAACAAAAAbcGAACaAAAABAAAAAGXBQAAJAAAAAnSAAAAAAAAAAAAAAABmAUAACUAAAAJuAYAAAAAAAAEAAAAB5kFAAAAAQAAAAIAAAAEGkFwbG9yaXMuQmFzZS5VSS5WaXN1YWxMaW5lAwAAAAoKAZoFAAAkAAAACTMDAAAAAAAAAAAAAAGbBQAAJQAAAAkLBAAAAAAAAAAAAAAHnAUAAAABAAAAAgAAAAQaQXBsb3Jpcy5CYXNlLlVJLlZpc3VhbExpbmUDAAAACgoBnQUAACQAAAAJMwMAAAAAAAAAAAAAAZ4FAAAlAAAACQsEAAAAAAAAAAAAAAefBQAAAAEAAAACAAAABBpBcGxvcmlzLkJhc2UuVUkuVmlzdWFsTGluZQMAAAAKCgGgBQAAJAAAAAnSAAAAAAAAAAAAAAABoQUAACUAAAAJ0AAAAAAAAAAAAAAAAaIFAAATAQAAClgCAAABuQYAAOEBAAACAAAAAboGAADiAQAAAQAAAAG7BgAAFAAAAI7mZEM2OZZB6MKzQlDFA0IBvAYAAOQBAAAAAAAAAACgQAABvQYAACAAAACk64hDQ/8MQgG+BgAAmgAAAAAAAAAAAAAAAAAAAAAJvwYAAAAAAAAJwAYAAAAAAcEGAACjAAAAAAAAAAHCBgAAbAAAAAAAPEIAAMhBAcMGAAAUAAAAuuh6Q0YXvUHr0DZCdNG1QRKDvj8GxAYAAA9VbmRlciAzNQ0KMTEuNSUKCcUGAAAGxgYAAAINCjQDAAD/////AQEKCccGAAABAAoAAaMFAAAbAAAAAcgGAAAgAAAAjuZhQ+vhWkIByQYAACAAAAAB5KBDbHJ8QQnKBgAACcsGAAAAAAAACgHMBgAAbAAAAAAAAAAAAAAAAc0GAABsAAAAAAAAAAAAAAAAAAAAAc4GAAAUAAAAAAAAAAAAAAAAAAAAAAAAAKQBAAD/////AQEKCc8GAAABAAoAB6QFAAAAAQAAAAIAAAAEGkFwbG9yaXMuQmFzZS5VSS5WaXN1YWxMaW5lAwAAAAoKB6UFAAAAAQAAAAMAAAAEFVN5c3RlbS5EcmF3aW5nLlBvaW50RgQAAAAB0AYAACAAAACk64hDQ/8MQgHRBgAAIAAAAI7mXkND/wxCAdIGAAAgAAAAAWSiQ0P/DEIHpgUAAAABAAAAAwAAAAQXQXBsb3Jpcy5CYXNlLkFuY2hvck1vZGUDAAAAAdMGAACaAAAAAAAAAAHUBgAAmgAAAAIAAAAB1QYAAJoAAAAEAAAAAacFAAAkAAAACdIAAAAAAAAAAAAAAAGoBQAAJQAAAAnWBgAAAgAAAAYAAAAHqQUAAAABAAAAAgAAAAQaQXBsb3Jpcy5CYXNlLlVJLlZpc3VhbExpbmUDAAAACgoBqgUAACQAAAAJMwMAAAAAAAAAAAAAAasFAAAlAAAACQsEAAAAAAAAAAAAAAesBQAAAAEAAAACAAAABBpBcGxvcmlzLkJhc2UuVUkuVmlzdWFsTGluZQMAAAAKCgGtBQAAJAAAAAkzAwAAAAAAAAAAAAABrgUAACUAAAAJCwQAAAAAAAAAAAAAB68FAAAAAQAAAAIAAAAEGkFwbG9yaXMuQmFzZS5VSS5WaXN1YWxMaW5lAwAAAAoKAbAFAAAkAAAACdIAAAAAAAAAAAAAAAGxBQAAJQAAAAnQAAAAAAAAAAAAAAABsgUAABMBAAAKWAIAAAHXBgAA4QEAAAIAAAAB2AYAAOIBAAABAAAAAdkGAAAUAAAAjuZkQ+vhZkLowrNCOfFjQgHaBgAA5AEAAAAAAAAAAKBAAAHbBgAAIAAAAKTriENEbaxCAdwGAACaAAAAAAAAAAAAAAAAAAAAAAndBgAAAAAAAAneBgAAAAAB3wYAAKMAAAAAAAAAAeAGAABsAAAAAAAAQgAAyEEB4QYAABQAAABGF4FDRheVQkhFAEJ00bVBEoO+PwbiBgAADDM1LTQ0DQoxOC42JQoJ4wYAAAbkBgAAAg0KNAMAAP////8BAQoJ5QYAAAEACgABswUAABsAAAAB5gYAACAAAACO5mFDkmnrQgHnBgAAIAAAAAHkoEPr4VpCCegGAAAJ6QYAAAAAAAAKAeoGAABsAAAAAAAAAAAAAAAB6wYAAGwAAAAAAAAAAAAAAAAAAAAB7AYAABQAAAAAAAAAAAAAAAAAAAAAAAAApAEAAP////8BAQoJ7QYAAAEACgAHtAUAAAABAAAAAgAAAAQaQXBsb3Jpcy5CYXNlLlVJLlZpc3VhbExpbmUDAAAACgoHtQUAAAABAAAAAwAAAAQVU3lzdGVtLkRyYXdpbmcuUG9pbnRGBAAAAAHuBgAAIAAAAKTriENEbaxCAe8GAAAgAAAAjuZeQ0RtrEIB8AYAACAAAAABZKJDRG2sQge2BQAAAAEAAAADAAAABBdBcGxvcmlzLkJhc2UuQW5jaG9yTW9kZQMAAAAB8QYAAJoAAAAAAAAAAfIGAACaAAAAAgAAAAHzBgAAmgAAAAQAAAABtwUAACQAAAAJ0gAAAAAAAAAAAAAAAbgFAAAlAAAACfQGAAACAAAABgAAAAe5BQAAAAEAAAACAAAABBpBcGxvcmlzLkJhc2UuVUkuVmlzdWFsTGluZQMAAAAKCgG6BQAAJAAAAAkzAwAAAAAAAAAAAAABuwUAACUAAAAJCwQAAAAAAAAAAAAAB7wFAAAAAQAAAAIAAAAEGkFwbG9yaXMuQmFzZS5VSS5WaXN1YWxMaW5lAwAAAAoKAb0FAAAkAAAACTMDAAAAAAAAAAAAAAG+BQAAJQAAAAkLBAAAAAAAAAAAAAAHvwUAAAABAAAAAgAAAAQaQXBsb3Jpcy5CYXNlLlVJLlZpc3VhbExpbmUDAAAACgoBwAUAACQAAAAJ0gAAAAAAAAAAAAAAAcEFAAAlAAAACdAAAAAAAAAAAAAAAAHCBQAAEwEAAApYAgAAAfUGAADhAQAAAgAAAAH2BgAA4gEAAAEAAAAB9wYAABQAAACO5mRDkmnxQujCs0K2urdCAfgGAADkAQAAAAAAAAAAoEAAAfkGAAAgAAAApOuIQ3ajJkMB+gYAAJoAAAAAAAAAAAAAAAAAAAAACfsGAAAAAAAACfwGAAAAAAH9BgAAowAAAAAAAAAB/gYAAGwAAAAAAABCAADIQQH/BgAAFAAAAEYXgUNddBtDSEUAQnTRtUESg74/BgAHAAAMNDUtNTQNCjI4LjklCgkBBwAABgIHAAACDQo0AwAA/////wEBCgkDBwAAAQAKAAHDBQAAGwAAAAEEBwAAIAAAAI7mYUMkkldDAQUHAAAgAAAAAeSgQ5Jp60IJBgcAAAkHBwAAAAAAAAoBCAcAAGwAAAAAAAAAAAAAAAEJBwAAbAAAAAAAAAAAAAAAAAAAAAEKBwAAFAAAAAAAAAAAAAAAAAAAAAAAAACkAQAA/////wEBCgkLBwAAAQAKAAfEBQAAAAEAAAACAAAABBpBcGxvcmlzLkJhc2UuVUkuVmlzdWFsTGluZQMAAAAKCgfFBQAAAAEAAAADAAAABBVTeXN0ZW0uRHJhd2luZy5Qb2ludEYEAAAAAQwHAAAgAAAApOuIQ3ajJkMBDQcAACAAAACO5l5DdqMmQwEOBwAAIAAAAAFkokN2oyZDB8YFAAAAAQAAAAMAAAAEF0FwbG9yaXMuQmFzZS5BbmNob3JNb2RlAwAAAAEPBwAAmgAAAAAAAAABEAcAAJoAAAACAAAAAREHAACaAAAABAAAAAHHBQAAJAAAAAnSAAAAAAAAAAAAAAAByAUAACUAAAAJEgcAAAIAAAAGAAAAB8kFAAAAAQAAAAIAAAAEGkFwbG9yaXMuQmFzZS5VSS5WaXN1YWxMaW5lAwAAAAoKAcoFAAAkAAAACTMDAAAAAAAAAAAAAAHLBQAAJQAAAAkLBAAAAAAAAAAAAAAHzAUAAAABAAAAAgAAAAQaQXBsb3Jpcy5CYXNlLlVJLlZpc3VhbExpbmUDAAAACgoBzQUAACQAAAAJMwMAAAAAAAAAAAAAAc4FAAAlAAAACQsEAAAAAAAAAAAAAAfPBQAAAAEAAAACAAAABBpBcGxvcmlzLkJhc2UuVUkuVmlzdWFsTGluZQMAAAAKCgHQBQAAJAAAAAnSAAAAAAAAAAAAAAAB0QUAACUAAAAJ0AAAAAAAAAAAAAAAAdIFAAATAQAAClgCAAABEwcAAOEBAAACAAAAARQHAADiAQAAAQAAAAEVBwAAFAAAAI7mZEMkklpD6MKzQiKABEMBFgcAAOQBAAAAAAAAAACgQAABFwcAACAAAACk64hDGmmOQwEYBwAAmgAAAAAAAAAAAAAAAAAAAAAJGQcAAAAAAAAJGgcAAAAAARsHAACjAAAAAAAAAAEcBwAAbAAAAAAAAEIAAMhBAR0HAAAUAAAARheBQ3TRiENIRQBCdNG1QRKDvj8GHgcAAAo1NSsNCjQwLjklCgkfBwAABiAHAAACDQo0AwAA/////wEBCgkhBwAAAQAKAAHTBQAAGwAAAAEiBwAAIAAAAI7mYUMjCbFDASMHAAAgAAAAAeSgQySSV0MJJAcAAAklBwAAAAAAAAoBJgcAAGwAAAAAAAAAAAAAAAEnBwAAbAAAAAAAAAAAAAAAAAAAAAEoBwAAFAAAAAAAAAAAAAAAAAAAAAAAAACkAQAA/////wEBCgkpBwAAAQAKAAfUBQAAAAEAAAACAAAABBpBcGxvcmlzLkJhc2UuVUkuVmlzdWFsTGluZQMAAAAKCgfVBQAAAAEAAAADAAAABBVTeXN0ZW0uRHJhd2luZy5Qb2ludEYEAAAAASoHAAAgAAAApOuIQxppjkMBKwcAACAAAACO5l5DGmmOQwEsBwAAIAAAAAFkokMaaY5DB9YFAAAAAQAAAAMAAAAEF0FwbG9yaXMuQmFzZS5BbmNob3JNb2RlAwAAAAEtBwAAmgAAAAAAAAABLgcAAJoAAAACAAAAAS8HAACaAAAABAAAAAHXBQAAJAAAAAnSAAAAAAAAAAAAAAAB2AUAACUAAAAJMAcAAAIAAAAGAAAAB9kFAAAAAQAAAAIAAAAEGkFwbG9yaXMuQmFzZS5VSS5WaXN1YWxMaW5lAwAAAAoKAdoFAAAkAAAACTMDAAAAAAAAAAAAAAHbBQAAJQAAAAkLBAAAAAAAAAAAAAAH3AUAAAABAAAAAgAAAAQaQXBsb3Jpcy5CYXNlLlVJLlZpc3VhbExpbmUDAAAACgoB3QUAACQAAAAJMwMAAAAAAAAAAAAAAd4FAAAlAAAACQsEAAAAAAAAAAAAAAffBQAAAAEAAAACAAAABBpBcGxvcmlzLkJhc2UuVUkuVmlzdWFsTGluZQMAAAAKCgHgBQAAJAAAAAkzAwAAAAAAAAAAAAAB4QUAACUAAAAJCwQAAAAAAAAAAAAAB+IFAAAAAQAAAAIAAAAEGkFwbG9yaXMuQmFzZS5VSS5WaXN1YWxMaW5lAwAAAAoKAeMFAAAkAAAACTMDAAAAAAAAAAAAAAHkBQAAJQAAAAkLBAAAAAAAAAAAAAAB5QUAABMBAAAKWAIAAAExBwAA4QEAAAIAAAABMgcAAOIBAAABAAAAATMHAAAUAAAApCe/QzY5lkHowrNC2sKVQQE0BwAA5AEAAAAAAAAAAKBAAAE1BwAAIAAAAAGg1UOjGuFBATYHAACaAAAAAAAAAAAAAAAAAAAAAAk3BwAAAAAAAAk4BwAAAAABOQcAAKMAAAAAAAAAAToHAABsAAAAAAB8QgAAyEEBOwcAABQAAADoosZDuuiCQXb/cEJ00bVBEoO+PwY8BwAAEVVuZGVyIDEsMDAwDQo3LjMlCgk9BwAABj4HAAACDQo0AwAA/////wEBCgk/BwAAAQAKAAHmBQAAGwAAAAFABwAAIAAAAKSnvUMI/iFCAUEHAAAgAAAAXpjtQ2xyfEEJQgcAAAlDBwAAAAAAAAoBRAcAAGwAAAAAAAAAAAAAAAFFBwAAbAAAAAAAAAAAAAAAAAAAAAFGBwAAFAAAAAAAAAAAAAAAAAAAAAAAAACkAQAA/////wEBCglHBwAAAQAKAAfnBQAAAAEAAAACAAAABBpBcGxvcmlzLkJhc2UuVUkuVmlzdWFsTGluZQMAAAAKCgfoBQAAAAEAAAADAAAABBVTeXN0ZW0uRHJhd2luZy5Qb2ludEYEAAAAAUgHAAAgAAAAAaDVQ6Ma4UEBSQcAACAAAACkJ7xDoxrhQQFKBwAAIAAAAF4Y70OjGuFBB+kFAAAAAQAAAAMAAAAEF0FwbG9yaXMuQmFzZS5BbmNob3JNb2RlAwAAAAFLBwAAmgAAAAAAAAABTAcAAJoAAAACAAAAAU0HAACaAAAABAAAAAHqBQAAJAAAAAkzAwAAAAAAAAAAAAAB6wUAACUAAAAJTgcAAAIAAAACAAAAB+wFAAAAAQAAAAIAAAAEGkFwbG9yaXMuQmFzZS5VSS5WaXN1YWxMaW5lAwAAAAoKAe0FAAAkAAAACTMDAAAAAAAAAAAAAAHuBQAAJQAAAAkLBAAAAAAAAAAAAAAH7wUAAAABAAAAAgAAAAQaQXBsb3Jpcy5CYXNlLlVJLlZpc3VhbExpbmUDAAAACgoB8AUAACQAAAAJMwMAAAAAAAAAAAAAAfEFAAAlAAAACQsEAAAAAAAAAAAAAAfyBQAAAAEAAAACAAAABBpBcGxvcmlzLkJhc2UuVUkuVmlzdWFsTGluZQMAAAAKCgHzBQAAJAAAAAkzAwAAAAAAAAAAAAAB9AUAACUAAAAJCwQAAAAAAAAAAAAAAfUFAAATAQAAClgCAAABTwcAAOEBAAACAAAAAVAHAADiAQAAAQAAAAFRBwAAFAAAAKQnv0MI/i1C6MKzQjSEBUMBUgcAAOQBAAAAAAAAAACgQAABUwcAACAAAAABoNVDOIPcQgFUBwAAmgAAAAAAAAAAAAAAAAAAAAAJVQcAAAAAAAAJVgcAAAAAAVcHAACjAAAAAAAAAAFYBwAAbAAAAAAAdEIAAMhBAVkHAAAUAAAARhfHQ4suxkKkuWlCdNG1QRKDvj8GWgcAABIxLDAwMC01LDAwMA0KNDEuMiUKCVsHAAAGXAcAAAINCjQDAAD/////AQEKCV0HAAABAAoAAfYFAAAbAAAAAV4HAAAgAAAApKe9Q7YDNEMBXwcAACAAAABemO1DCP4hQglgBwAACWEHAAAAAAAACgFiBwAAbAAAAAAAAAAAAAAAAWMHAABsAAAAAAAAAAAAAAAAAAAAAWQHAAAUAAAAAAAAAAAAAAAAAAAAAAAAAKQBAAD/////AQEKCWUHAAABAAoAB/cFAAAAAQAAAAIAAAAEGkFwbG9yaXMuQmFzZS5VSS5WaXN1YWxMaW5lAwAAAAoKB/gFAAAAAQAAAAMAAAAEFVN5c3RlbS5EcmF3aW5nLlBvaW50RgQAAAABZgcAACAAAAABoNVDOIPcQgFnBwAAIAAAAKQnvEM4g9xCAWgHAAAgAAAAXhjvQziD3EIH+QUAAAABAAAAAwAAAAQXQXBsb3Jpcy5CYXNlLkFuY2hvck1vZGUDAAAAAWkHAACaAAAAAAAAAAFqBwAAmgAAAAIAAAABawcAAJoAAAAEAAAAAfoFAAAkAAAACTMDAAAAAAAAAAAAAAH7BQAAJQAAAAlsBwAAAgAAAAIAAAAH/AUAAAABAAAAAgAAAAQaQXBsb3Jpcy5CYXNlLlVJLlZpc3VhbExpbmUDAAAACgoB/QUAACQAAAAJMwMAAAAAAAAAAAAAAf4FAAAlAAAACQsEAAAAAAAAAAAAAAf/BQAAAAEAAAACAAAABBpBcGxvcmlzLkJhc2UuVUkuVmlzdWFsTGluZQMAAAAKCgEABgAAJAAAAAkzAwAAAAAAAAAAAAABAQYAACUAAAAJCwQAAAAAAAAAAAAABwIGAAAAAQAAAAIAAAAEGkFwbG9yaXMuQmFzZS5VSS5WaXN1YWxMaW5lAwAAAAoKAQMGAAAkAAAACTMDAAAAAAAAAAAAAAEEBgAAJQAAAAkLBAAAAAAAAAAAAAABBQYAABMBAAAKWAIAAAFtBwAA4QEAAAIAAAABbgcAAOIBAAABAAAAAW8HAAAUAAAApCe/Q7YDN0PowrNCepSDQgFwBwAA5AEAAAAAAAAAAKBAAAFxBwAAIAAAAAGg1UPU6FdDAXIHAACaAAAAAAAAAAAAAAAAAAAAAAlzBwAAAAAAAAl0BwAAAAABdQcAAKMAAAAAAAAAAXYHAABsAAAAAACIQgAAyEEBdwcAABQAAADRRcVDo4tMQwGXgUJ00bVBEoO+PwZ4BwAAEzUsMDAwLTEwLDAwMA0KMjEuMiUKCXkHAAAGegcAAAINCjQDAAD/////AQEKCXsHAAABAAoAAQYGAAAbAAAAAXwHAAAgAAAApKe9Q/PNe0MBfQcAACAAAABemO1DtgM0Qwl+BwAACX8HAAAAAAAACgGABwAAbAAAAAAAAAAAAAAAAYEHAABsAAAAAAAAAAAAAAAAAAAAAYIHAAAUAAAAAAAAAAAAAAAAAAAAAAAAAKQBAAD/////AQEKCYMHAAABAAoABwcGAAAAAQAAAAIAAAAEGkFwbG9yaXMuQmFzZS5VSS5WaXN1YWxMaW5lAwAAAAoKBwgGAAAAAQAAAAMAAAAEFVN5c3RlbS5EcmF3aW5nLlBvaW50RgQAAAABhAcAACAAAAABoNVD1OhXQwGFBwAAIAAAAKQnvEPU6FdDAYYHAAAgAAAAXhjvQ9ToV0MHCQYAAAABAAAAAwAAAAQXQXBsb3Jpcy5CYXNlLkFuY2hvck1vZGUDAAAAAYcHAACaAAAAAAAAAAGIBwAAmgAAAAIAAAABiQcAAJoAAAAEAAAAAQoGAAAkAAAACTMDAAAAAAAAAAAAAAELBgAAJQAAAAmKBwAAAgAAAAIAAAAHDAYAAAABAAAAAgAAAAQaQXBsb3Jpcy5CYXNlLlVJLlZpc3VhbExpbmUDAAAACgoBDQYAACQAAAAJMwMAAAAAAAAAAAAAAQ4GAAAlAAAACQsEAAAAAAAAAAAAAAcPBgAAAAEAAAACAAAABBpBcGxvcmlzLkJhc2UuVUkuVmlzdWFsTGluZQMAAAAKCgEQBgAAJAAAAAkzAwAAAAAAAAAAAAABEQYAACUAAAAJCwQAAAAAAAAAAAAABxIGAAAAAQAAAAIAAAAEGkFwbG9yaXMuQmFzZS5VSS5WaXN1YWxMaW5lAwAAAAoKARMGAAAkAAAACTMDAAAAAAAAAAAAAAEUBgAAJQAAAAkLBAAAAAAAAAAAAAABFQYAABMBAAAKWAIAAAGLBwAA4QEAAAIAAAABjAcAAOIBAAABAAAAAY0HAAAUAAAApCe/Q/PNfkPowrNCfLlAQgGOBwAA5AEAAAAAAAAAAKBAAAGPBwAAIAAAAAGg1UORcotDAZAHAACaAAAAAAAAAAAAAAAAAAAAAAmRBwAAAAAAAAmSBwAAAAABkwcAAKMAAAAAAAAAAZQHAABsAAAAAACUQgAAyEEBlQcAABQAAAC66MND6aKFQ7t/jEJ00bVBEoO+PwaWBwAAFDEwLDAwMC0yMCwwMDANCjE2LjAlCgmXBwAABpgHAAACDQo0AwAA/////wEBCgmZBwAAAQAKAAEWBgAAGwAAAAGaBwAAIAAAAKSnvUMp/phDAZsHAAAgAAAAXpjtQ/PNe0MJnAcAAAmdBwAAAAAAAAoBngcAAGwAAAAAAAAAAAAAAAGfBwAAbAAAAAAAAAAAAAAAAAAAAAGgBwAAFAAAAAAAAAAAAAAAAAAAAAAAAACkAQAA/////wEBCgmhBwAAAQAKAAcXBgAAAAEAAAACAAAABBpBcGxvcmlzLkJhc2UuVUkuVmlzdWFsTGluZQMAAAAKCgcYBgAAAAEAAAADAAAABBVTeXN0ZW0uRHJhd2luZy5Qb2ludEYEAAAAAaIHAAAgAAAAAaDVQ5Fyi0MBowcAACAAAACkJ7xDkXKLQwGkBwAAIAAAAF4Y70ORcotDBxkGAAAAAQAAAAMAAAAEF0FwbG9yaXMuQmFzZS5BbmNob3JNb2RlAwAAAAGlBwAAmgAAAAAAAAABpgcAAJoAAAACAAAAAacHAACaAAAABAAAAAEaBgAAJAAAAAkzAwAAAAAAAAAAAAABGwYAACUAAAAJqAcAAAIAAAACAAAABxwGAAAAAQAAAAIAAAAEGkFwbG9yaXMuQmFzZS5VSS5WaXN1YWxMaW5lAwAAAAoKAR0GAAAkAAAACTMDAAAAAAAAAAAAAAEeBgAAJQAAAAkLBAAAAAAAAAAAAAAHHwYAAAABAAAAAgAAAAQaQXBsb3Jpcy5CYXNlLlVJLlZpc3VhbExpbmUDAAAACgoBIAYAACQAAAAJMwMAAAAAAAAAAAAAASEGAAAlAAAACQsEAAAAAAAAAAAAAAciBgAAAAEAAAACAAAABBpBcGxvcmlzLkJhc2UuVUkuVmlzdWFsTGluZQMAAAAKCgEjBgAAJAAAAAkzAwAAAAAAAAAAAAABJAYAACUAAAAJCwQAAAAAAAAAAAAAASUGAAATAQAAClgCAAABqQcAAOEBAAACAAAAAaoHAADiAQAAAQAAAAGrBwAAFAAAAKQnv0MpfppD6MKzQtBXKEIBrAcAAOQBAAAAAAAAAACgQAABrQcAACAAAAABoNVDpgOlQwGuBwAAmgAAAAAAAAAAAAAAAAAAAAAJrwcAAAAAAAAJsAcAAAAAAbEHAACjAAAAAAAAAAGyBwAAbAAAAAAAKEIAAMhBAbMHAAAUAAAAiy7LQ6OLn0NgoiRCdNG1QRKDvj8GtAcAAA4yMCwwMDArDQoxNC4yJQoJtQcAAAa2BwAAAg0KNAMAAP////8BAQoJtwcAAAEACgABJgYAABsAAAABuAcAACAAAACkp71DIwmxQwG5BwAAIAAAAF6Y7UMp/phDCboHAAAJuwcAAAAAAAAKAbwHAABsAAAAAAAAAAAAAAABvQcAAGwAAAAAAAAAAAAAAAAAAAABvgcAABQAAAAAAAAAAAAAAAAAAAAAAAAApAEAAP////8BAQoJvwcAAAEACgAHJwYAAAABAAAAAgAAAAQaQXBsb3Jpcy5CYXNlLlVJLlZpc3VhbExpbmUDAAAACgoHKAYAAAABAAAAAwAAAAQVU3lzdGVtLkRyYXdpbmcuUG9pbnRGBAAAAAHABwAAIAAAAAGg1UOmA6VDAcEHAAAgAAAApCe8Q6YDpUMBwgcAACAAAABeGO9DpgOlQwcpBgAAAAEAAAADAAAABBdBcGxvcmlzLkJhc2UuQW5jaG9yTW9kZQMAAAABwwcAAJoAAAAAAAAAAcQHAACaAAAAAgAAAAHFBwAAmgAAAAQAAAABKgYAACQAAAAJMwMAAAAAAAAAAAAAASsGAAAlAAAACcYHAAACAAAAAgAAAAcsBgAAAAEAAAACAAAABBpBcGxvcmlzLkJhc2UuVUkuVmlzdWFsTGluZQMAAAAKCgEtBgAAJAAAAAkzAwAAAAAAAAAAAAABLgYAACUAAAAJCwQAAAAAAAAAAAAABy8GAAAAAQAAAAIAAAAEGkFwbG9yaXMuQmFzZS5VSS5WaXN1YWxMaW5lAwAAAAoKATAGAAAkAAAACTMDAAAAAAAAAAAAAAExBgAAJQAAAAkLBAAAAAAAAAAAAAAHMgYAAAABAAAAAgAAAAQaQXBsb3Jpcy5CYXNlLlVJLlZpc3VhbExpbmUDAAAACgoBMwYAACQAAAAJMwMAAAAAAAAAAAAAATQGAAAlAAAACQsEAAAAAAAAAAAAAAc1BgAAAAEAAAACAAAABBpBcGxvcmlzLkJhc2UuVUkuVmlzdWFsTGluZQMAAAAKCgE2BgAAJAAAAAkzAwAAAAAAAAAAAAABNwYAACUAAAAJCwQAAAAAAAAAAAAAATgGAAATAQAAClgCAAABxwcAAOEBAAACAAAAAcgHAADiAQAAAQAAAAHJBwAAFAAAAADuBUQ2OZZB8MKzQmKujkIBygcAAOQBAAAAAAAAAACgQAABywcAACAAAAAvKhFE/MpZQgHMBwAAmgAAAAAAAAAAAAAAAAAAAAAJzQcAAAAAAAAJzgcAAAAAAc8HAACjAAAAAAAAAAHQBwAAbAAAAAAASEIAAMhBAdEHAAAUAAAARhcLRLroKkKluUFCdNG1QRKDvj8G0gcAAA9Ud28tWWVhcg0KMjIuOSUKCdMHAAAG1AcAAAINCjQDAAD/////AQEKCdUHAAABAAoAATkGAAAbAAAAAdYHAAAgAAAAAC4FRK88ukIB1wcAACAAAABeJh1EbHJ8QQnYBwAACdkHAAAAAAAACgHaBwAAbAAAAAAAAAAAAAAAAdsHAABsAAAAAAAAAAAAAAAAAAAAAdwHAAAUAAAAAAAAAAAAAAAAAAAAAAAAAKQBAAD/////AQEKCd0HAAABAAoABzoGAAAAAQAAAAIAAAAEGkFwbG9yaXMuQmFzZS5VSS5WaXN1YWxMaW5lAwAAAAoKBzsGAAAAAQAAAAMAAAAEFVN5c3RlbS5EcmF3aW5nLlBvaW50RgQAAAAB3gcAACAAAAAvKhFE/MpZQgHfBwAAIAAAAABuBET8yllCAeAHAAAgAAAAXuYdRPzKWUIHPAYAAAABAAAAAwAAAAQXQXBsb3Jpcy5CYXNlLkFuY2hvck1vZGUDAAAAAeEHAACaAAAAAAAAAAHiBwAAmgAAAAIAAAAB4wcAAJoAAAAEAAAAAT0GAAAkAAAACTMDAAAAAAAAAAAAAAE+BgAAJQAAAAnkBwAAAgAAAAIAAAAHPwYAAAABAAAAAgAAAAQaQXBsb3Jpcy5CYXNlLlVJLlZpc3VhbExpbmUDAAAACgoBQAYAACQAAAAJMwMAAAAAAAAAAAAAAUEGAAAlAAAACQsEAAAAAAAAAAAAAAdCBgAAAAEAAAACAAAABBpBcGxvcmlzLkJhc2UuVUkuVmlzdWFsTGluZQMAAAAKCgFDBgAAJAAAAAkzAwAAAAAAAAAAAAABRAYAACUAAAAJCwQAAAAAAAAAAAAAB0UGAAAAAQAAAAIAAAAEGkFwbG9yaXMuQmFzZS5VSS5WaXN1YWxMaW5lAwAAAAoKAUYGAAAkAAAACTMDAAAAAAAAAAAAAAFHBgAAJQAAAAkLBAAAAAAAAAAAAAABSAYAABMBAAAKWAIAAAHlBwAA4QEAAAIAAAAB5gcAAOIBAAABAAAAAecHAAAUAAAAAO4FRK88wELwwrNCcfjHQgHoBwAA5AEAAAAAAAAAAKBAAAHpBwAAIAAAAC8qEUR0HBJDAeoHAACaAAAAAAAAAAAAAAAAAAAAAAnrBwAAAAAAAAnsBwAAAAAB7QcAAKMAAAAAAAAAAe4HAABsAAAAAABMQgAAGEIB7wcAABQAAABGFwtERhcBQ45cRUKLLgpCEoO+PwbwBwAAGEZvdXItWWVhcg0KUHVibGljDQozMS4zJQoJ8QcAAAbyBwAAAg0KNAMAAP////8BAQoJ8wcAAAEACgABSQYAABsAAAAB9AcAACAAAAAALgVEkBpHQwH1BwAAIAAAAF4mHUSvPLpCCfYHAAAJ9wcAAAAAAAAKAfgHAABsAAAAAAAAAAAAAAAB+QcAAGwAAAAAAAAAAAAAAAAAAAAB+gcAABQAAAAAAAAAAAAAAAAAAAAAAAAApAEAAP////8BAQoJ+wcAAAEACgAHSgYAAAABAAAAAgAAAAQaQXBsb3Jpcy5CYXNlLlVJLlZpc3VhbExpbmUDAAAACgoHSwYAAAABAAAAAwAAAAQVU3lzdGVtLkRyYXdpbmcuUG9pbnRGBAAAAAH8BwAAIAAAAC8qEUR0HBJDAf0HAAAgAAAAAG4ERHQcEkMB/gcAACAAAABe5h1EdBwSQwdMBgAAAAEAAAADAAAABBdBcGxvcmlzLkJhc2UuQW5jaG9yTW9kZQMAAAAB/wcAAJoAAAAAAAAAAQAIAACaAAAAAgAAAAEBCAAAmgAAAAQAAAABTQYAACQAAAAJMwMAAAAAAAAAAAAAAU4GAAAlAAAACQIIAAACAAAAAgAAAAdPBgAAAAEAAAACAAAABBpBcGxvcmlzLkJhc2UuVUkuVmlzdWFsTGluZQMAAAAKCgFQBgAAJAAAAAkzAwAAAAAAAAAAAAABUQYAACUAAAAJCwQAAAAAAAAAAAAAB1IGAAAAAQAAAAIAAAAEGkFwbG9yaXMuQmFzZS5VSS5WaXN1YWxMaW5lAwAAAAoKAVMGAAAkAAAACTMDAAAAAAAAAAAAAAFUBgAAJQAAAAkLBAAAAAAAAAAAAAAHVQYAAAABAAAAAgAAAAQaQXBsb3Jpcy5CYXNlLlVJLlZpc3VhbExpbmUDAAAACgoBVgYAACQAAAAJMwMAAAAAAAAAAAAAAVcGAAAlAAAACQsEAAAAAAAAAAAAAAFYBgAAEwEAAApYAgAAAQMIAADhAQAAAgAAAAEECAAA4gEAAAEAAAABBQgAABQAAAAA7gVEkBpKQ/DCs0K29xRDAQYIAADkAQAAAAAAAAAAoEAAAQcIAAAgAAAALyoRRDZLikMBCAgAAJoAAAAAAAAAAAAAAAAAAAAACQkIAAAAAAAACQoIAAAAAAELCAAAowAAAAAAAAABDAgAAGwAAAAAAExCAAAYQgENCAAAFAAAAEYXC0Sji4FDjlxFQosuCkISg74/Bg4IAAAZRm91ci1ZZWFyDQpQcml2YXRlDQo0NS44JQoJDwgAAAYQCAAAAg0KNAMAAP////8BAQoJEQgAAAEACgABWQYAABsAAAABEggAACAAAAAALgVEIwmxQwETCAAAIAAAAF4mHUSQGkdDCRQIAAAJFQgAAAAAAAAKARYIAABsAAAAAAAAAAAAAAABFwgAAGwAAAAAAAAAAAAAAAAAAAABGAgAABQAAAAAAAAAAAAAAAAAAAAAAAAApAEAAP////8BAQoJGQgAAAEACgAHWgYAAAABAAAAAgAAAAQaQXBsb3Jpcy5CYXNlLlVJLlZpc3VhbExpbmUDAAAACgoHWwYAAAABAAAAAwAAAAQVU3lzdGVtLkRyYXdpbmcuUG9pbnRGBAAAAAEaCAAAIAAAAC8qEUQ2S4pDARsIAAAgAAAAAG4ERDZLikMBHAgAACAAAABe5h1ENkuKQwdcBgAAAAEAAAADAAAABBdBcGxvcmlzLkJhc2UuQW5jaG9yTW9kZQMAAAABHQgAAJoAAAAAAAAAAR4IAACaAAAAAgAAAAEfCAAAmgAAAAQAAAABXQYAACQAAAAJMwMAAAAAAAAAAAAAAV4GAAAlAAAACSAIAAACAAAAAgAAAAF1BgAAIgAAAAoKAAAAAAAoQQlwAAAACXEAAAAJIQgAAAAACSIIAAABdgYAAHIAAAAKCgAAAAA/aX4ABQAAAAABAXsGAACnAAAACSMIAAACAAAABgAAAAF9BgAAbwAAAAkkCAAACgGABgAAagAAAAoKAAAAQD8JJQgAAAkmCAAAAQAAAP7///8AAAAAAQAAAAAAAAAAAAAAAQAAAAAAAAAAAAABgQYAAGsAAAAKCgknCAAACSgIAAABAAAA/v///wAAAAD/////AQABhQYAAG8AAAAJKQgAAAoHjAYAAAABAAAABAAAAAQcQXBsb3Jpcy5CYXNlLlVJLlZpc3VhbE9iamVjdAMAAAAJfAUAAAl7BQAACgoHkwYAAAABAAAABAAAAAQcQXBsb3Jpcy5CYXNlLlVJLlZpc3VhbE9iamVjdAMAAAANBAGaBgAAIgAAAAoKAAAAAAAoQQlwAAAACXEAAAAJKggAAAAACSsIAAABmwYAAHIAAAAKCgAAAAByhIwABgAAAAABAaAGAACnAAAACSwIAAACAAAABAAAAAGiBgAAbwAAAAktCAAACgGlBgAAagAAAAoKAAAAQD8JLggAAAkvCAAAAQAAAP7///8AAAAAAQAAAAAAAAAAAAAAAQAAAAAAAAAAAAABpgYAAGsAAAAKCgkwCAAACTEIAAABAAAA/v///wAAAAD/////AQABqgYAAG8AAAAJMggAAAoHsQYAAAABAAAABAAAAAQcQXBsb3Jpcy5CYXNlLlVJLlZpc3VhbE9iamVjdAMAAAAJjgUAAAmNBQAACgoHuAYAAAABAAAABAAAAAQcQXBsb3Jpcy5CYXNlLlVJLlZpc3VhbE9iamVjdAMAAAANBAG/BgAAIgAAAAoKAAAAAAAoQQlwAAAACXEAAAAJMwgAAAAACTQIAAABwAYAAHIAAAAKCgAAAADtISUABwAAAAABAcUGAACnAAAACTUIAAACAAAABgAAAAHHBgAAbwAAAAk2CAAACgHKBgAAagAAAAoKAAAAQD8JNwgAAAk4CAAAAQAAAP7///8AAAAAAQAAAAAAAAAAAAAAAQAAAAAAAAAAAAABywYAAGsAAAAKCgk5CAAACToIAAABAAAA/v///wAAAAD/////AQABzwYAAG8AAAAJOwgAAAoH1gYAAAABAAAABAAAAAQcQXBsb3Jpcy5CYXNlLlVJLlZpc3VhbE9iamVjdAMAAAAJowUAAAmiBQAACgoB3QYAACIAAAAKCgAAAAAAKEEJcAAAAAlxAAAACTwIAAAAAAk9CAAAAd4GAAByAAAACgoAAAAARjs0AAgAAAAAAQHjBgAApwAAAAk+CAAAAgAAAAYAAAAB5QYAAG8AAAAJPwgAAAoB6AYAAGoAAAAKCgAAAEA/CUAIAAAJQQgAAAEAAAD+////AAAAAAEAAAAAAAAAAAAAAAEAAAAAAAAAAAAAAekGAABrAAAACgoJQggAAAlDCAAAAQAAAP7///8AAAAA/////wEAAe0GAABvAAAACUQIAAAKB/QGAAAAAQAAAAQAAAAEHEFwbG9yaXMuQmFzZS5VSS5WaXN1YWxPYmplY3QDAAAACbMFAAAJsgUAAAoKAfsGAAAiAAAACgoAAAAAAChBCXAAAAAJcQAAAAlFCAAAAAAJRggAAAH8BgAAcgAAAAoKAAAAAMOYdAAJAAAAAAEBAQcAAKcAAAAJRwgAAAIAAAAGAAAAAQMHAABvAAAACUgIAAAKAQYHAABqAAAACgoAAABAPwlJCAAACUoIAAABAAAA/v///wAAAAABAAAAAAAAAAAAAAABAAAAAAAAAAAAAAEHBwAAawAAAAoKCUsIAAAJTAgAAAEAAAD+////AAAAAP////8BAAELBwAAbwAAAAlNCAAACgcSBwAAAAEAAAAEAAAABBxBcGxvcmlzLkJhc2UuVUkuVmlzdWFsT2JqZWN0AwAAAAnDBQAACcIFAAAKCgEZBwAAIgAAAAoKAAAAAAAoQQlwAAAACXEAAAAJTggAAAAACU8IAAABGgcAAHIAAAAKCgAAAAD3lB4ACgAAAAABAR8HAACnAAAACVAIAAACAAAABAAAAAEhBwAAbwAAAAlRCAAACgEkBwAAagAAAAoKAAAAQD8JUggAAAlTCAAAAQAAAP7///8AAAAAAQAAAAAAAAAAAAAAAQAAAAAAAAAAAAABJQcAAGsAAAAKCglUCAAACVUIAAABAAAA/v///wAAAAD/////AQABKQcAAG8AAAAJVggAAAoHMAcAAAABAAAABAAAAAQcQXBsb3Jpcy5CYXNlLlVJLlZpc3VhbE9iamVjdAMAAAAJ0wUAAAnSBQAACgoBNwcAACIAAAAKCgAAAAAAKEEJcAAAAAlxAAAACVcIAAAAAAlYCAAAATgHAAByAAAACgoAAAAAP2l+AAUAAAAAAQE9BwAApwAAAAlZCAAAAgAAAAYAAAABPwcAAG8AAAAJWggAAAoBQgcAAGoAAAAKCgAAAEA/CVsIAAAJXAgAAAEAAAD+////AAAAAAEAAAAAAAAAAAAAAAEAAAAAAAAAAAAAAUMHAABrAAAACgoJXQgAAAleCAAAAQAAAP7///8AAAAA/////wEAAUcHAABvAAAACV8IAAAKB04HAAAAAQAAAAQAAAAEHEFwbG9yaXMuQmFzZS5VSS5WaXN1YWxPYmplY3QDAAAACeYFAAAJ5QUAAAoKAVUHAAAiAAAACgoAAAAAAChBCXAAAAAJcQAAAAlgCAAAAAAJYQgAAAFWBwAAcgAAAAoKAAAAAHKEjAAGAAAAAAEBWwcAAKcAAAAJYggAAAIAAAAGAAAAAV0HAABvAAAACWMIAAAKAWAHAABqAAAACgoAAABAPwlkCAAACWUIAAABAAAA/v///wAAAAABAAAAAAAAAAAAAAABAAAAAAAAAAAAAAFhBwAAawAAAAoKCWYIAAAJZwgAAAEAAAD+////AAAAAP////8BAAFlBwAAbwAAAAloCAAACgdsBwAAAAEAAAAEAAAABBxBcGxvcmlzLkJhc2UuVUkuVmlzdWFsT2JqZWN0AwAAAAn2BQAACfUFAAAKCgFzBwAAIgAAAAoKAAAAAAAoQQlwAAAACXEAAAAJaQgAAAAACWoIAAABdAcAAHIAAAAKCgAAAADtISUABwAAAAABAXkHAACnAAAACWsIAAACAAAABgAAAAF7BwAAbwAAAAlsCAAACgF+BwAAagAAAAoKAAAAQD8JbQgAAAluCAAAAQAAAP7///8AAAAAAQAAAAAAAAAAAAAAAQAAAAAAAAAAAAABfwcAAGsAAAAKCglvCAAACXAIAAABAAAA/v///wAAAAD/////AQABgwcAAG8AAAAJcQgAAAoHigcAAAABAAAABAAAAAQcQXBsb3Jpcy5CYXNlLlVJLlZpc3VhbE9iamVjdAMAAAAJBgYAAAkFBgAACgoBkQcAACIAAAAKCgAAAAAAKEEJcAAAAAlxAAAACXIIAAAAAAlzCAAAAZIHAAByAAAACgoAAAAARjs0AAgAAAAAAQGXBwAApwAAAAl0CAAAAgAAAAQAAAABmQcAAG8AAAAJdQgAAAoBnAcAAGoAAAAKCgAAAEA/CXYIAAAJdwgAAAEAAAD+////AAAAAAEAAAAAAAAAAAAAAAEAAAAAAAAAAAAAAZ0HAABrAAAACgoJeAgAAAl5CAAAAQAAAP7///8AAAAA/////wEAAaEHAABvAAAACXoIAAAKB6gHAAAAAQAAAAQAAAAEHEFwbG9yaXMuQmFzZS5VSS5WaXN1YWxPYmplY3QDAAAACRYGAAAJFQYAAAoKAa8HAAAiAAAACgoAAAAAAChBCXAAAAAJcQAAAAl7CAAAAAAJfAgAAAGwBwAAcgAAAAoKAAAAAMOYdAAJAAAAAAEBtQcAAKcAAAAJfQgAAAIAAAAGAAAAAbcHAABvAAAACX4IAAAKAboHAABqAAAACgoAAABAPwl/CAAACYAIAAABAAAA/v///wAAAAABAAAAAAAAAAAAAAABAAAAAAAAAAAAAAG7BwAAawAAAAoKCYEIAAAJgggAAAEAAAD+////AAAAAP////8BAAG/BwAAbwAAAAmDCAAACgfGBwAAAAEAAAAEAAAABBxBcGxvcmlzLkJhc2UuVUkuVmlzdWFsT2JqZWN0AwAAAAkmBgAACSUGAAAKCgHNBwAAIgAAAAoKAAAAAAAoQQlwAAAACXEAAAAJhAgAAAAACYUIAAABzgcAAHIAAAAKCgAAAAD3lB4ACgAAAAABAdMHAACnAAAACYYIAAACAAAABgAAAAHVBwAAbwAAAAmHCAAACgHYBwAAagAAAAoKAAAAQD8JiAgAAAmJCAAAAQAAAP7///8AAAAAAQAAAAAAAAAAAAAAAQAAAAAAAAAAAAAB2QcAAGsAAAAKCgmKCAAACYsIAAABAAAA/v///wAAAAD/////AQAB3QcAAG8AAAAJjAgAAAoH5AcAAAABAAAABAAAAAQcQXBsb3Jpcy5CYXNlLlVJLlZpc3VhbE9iamVjdAMAAAAJOQYAAAk4BgAACgoB6wcAACIAAAAKCgAAAAAAKEEJcAAAAAlxAAAACY0IAAAAAAmOCAAAAewHAAByAAAACgoAAAAAP2l+AAUAAAAAAQHxBwAApwAAAAmPCAAAAgAAAAQAAAAB8wcAAG8AAAAJkAgAAAoB9gcAAGoAAAAKCgAAAEA/CZEIAAAJkggAAAEAAAD+////AAAAAAEAAAAAAAAAAAAAAAEAAAAAAAAAAAAAAfcHAABrAAAACgoJkwgAAAmUCAAAAQAAAP7///8AAAAA/////wEAAfsHAABvAAAACZUIAAAKBwIIAAAAAQAAAAQAAAAEHEFwbG9yaXMuQmFzZS5VSS5WaXN1YWxPYmplY3QDAAAACUkGAAAJSAYAAAoKAQkIAAAiAAAACgoAAAAAAChBCXAAAAAJcQAAAAmWCAAAAAAJlwgAAAEKCAAAcgAAAAoKAAAAAHKEjAAGAAAAAAEBDwgAAKcAAAAJmAgAAAIAAAAGAAAAAREIAABvAAAACZkIAAAKARQIAABqAAAACgoAAABAPwmaCAAACZsIAAABAAAA/v///wAAAAABAAAAAAAAAAAAAAABAAAAAAAAAAAAAAEVCAAAawAAAAoKCZwIAAAJnQgAAAEAAAD+////AAAAAP////8BAAEZCAAAbwAAAAmeCAAACgcgCAAAAAEAAAAEAAAABBxBcGxvcmlzLkJhc2UuVUkuVmlzdWFsT2JqZWN0AwAAAAlZBgAACVgGAAAKCgEhCAAAcgAAAAoKAAAAAP///wAOAAAAAAABIggAAHIAAAAKCgAAAAD///8ADgAAAAABByMIAAAAAQAAAAQAAAAEHUFwbG9yaXMuQmFzZS5PYmplY3RzLlZhcmlhYmxlAwAAAAGfCAAAwwQAAAMAAAAAAAAAAaAIAADDBAAAAgAAAAIAAAABoQgAAMMEAAAAAAAAAAAAAAGiCAAAwwQAAAAAAAAAAAAADyQIAAABAAAACNIAAAAFJQgAABpBcGxvcmlzLkJhc2UuT2JqZWN0cy5Db2xvcgcAAAASRGF0YU9iamVjdCttUGFyZW50FURhdGFPYmplY3QrbUNvbnRhaW5lcgVtVHlwZQRtUkdCEG1UaGVtZUNvbG9ySW5kZXgMbUF1dG9VcGRhdGVkCW1Nb2RpZmllZAQCAAAAAAAfQXBsb3Jpcy5CYXNlLk9iamVjdHMuTGluZUZvcm1hdAMAAAAICAgBAQMAAAAJgAYAAAoAAAAA////AA4AAAAAAAUmCAAAGkFwbG9yaXMuQmFzZS5PYmplY3RzLkNvbG9yBwAAABJEYXRhT2JqZWN0K21QYXJlbnQVRGF0YU9iamVjdCttQ29udGFpbmVyBW1UeXBlBG1SR0IQbVRoZW1lQ29sb3JJbmRleAxtQXV0b1VwZGF0ZWQJbU1vZGlmaWVkBAIAAAAAAB9BcGxvcmlzLkJhc2UuT2JqZWN0cy5MaW5lRm9ybWF0AwAAAAgICAEBAwAAAAmABgAACgEAAAAAAAAA/////wABAScIAAByAAAACgoAAAAAP2l+AAUAAAAAAAEoCAAAcgAAAAoKAQAAAP///wD/////AAAPKQgAAAEAAAAItQAAAAEqCAAAcgAAAAoKAAAAAP///wAOAAAAAAABKwgAAHIAAAAKCgAAAAD///8ADgAAAAABBywIAAAAAQAAAAQAAAAEHUFwbG9yaXMuQmFzZS5PYmplY3RzLlZhcmlhYmxlAwAAAAGjCAAAwwQAAAMAAAAAAAAAAaQIAADDBAAAAgAAAAIAAAABpQgAAMMEAAAAAAAAAAAAAAGmCAAAwwQAAAAAAAAAAAAADy0IAAABAAAACMgAAAAFLggAABpBcGxvcmlzLkJhc2UuT2JqZWN0cy5Db2xvcgcAAAASRGF0YU9iamVjdCttUGFyZW50FURhdGFPYmplY3QrbUNvbnRhaW5lcgVtVHlwZQRtUkdCEG1UaGVtZUNvbG9ySW5kZXgMbUF1dG9VcGRhdGVkCW1Nb2RpZmllZAQCAAAAAAAfQXBsb3Jpcy5CYXNlLk9iamVjdHMuTGluZUZvcm1hdAMAAAAICAgBAQMAAAAJpQYAAAoAAAAA////AA4AAAAAAAUvCAAAGkFwbG9yaXMuQmFzZS5PYmplY3RzLkNvbG9yBwAAABJEYXRhT2JqZWN0K21QYXJlbnQVRGF0YU9iamVjdCttQ29udGFpbmVyBW1UeXBlBG1SR0IQbVRoZW1lQ29sb3JJbmRleAxtQXV0b1VwZGF0ZWQJbU1vZGlmaWVkBAIAAAAAAB9BcGxvcmlzLkJhc2UuT2JqZWN0cy5MaW5lRm9ybWF0AwAAAAgICAEBAwAAAAmlBgAACgEAAAAAAAAA/////wABATAIAAByAAAACgoAAAAAcoSMAAYAAAAAAAExCAAAcgAAAAoKAQAAAP///wD/////AAAPMggAAAEAAAAItgAAAAEzCAAAcgAAAAoKAAAAAP///wAOAAAAAAABNAgAAHIAAAAKCgAAAAD///8ADgAAAAABBzUIAAAAAQAAAAQAAAAEHUFwbG9yaXMuQmFzZS5PYmplY3RzLlZhcmlhYmxlAwAAAAGnCAAAwwQAAAMAAAAAAAAAAagIAADDBAAAAgAAAAIAAAABqQgAAMMEAAAAAAAAAAAAAAGqCAAAwwQAAAAAAAAAAAAADzYIAAABAAAACNAAAAAFNwgAABpBcGxvcmlzLkJhc2UuT2JqZWN0cy5Db2xvcgcAAAASRGF0YU9iamVjdCttUGFyZW50FURhdGFPYmplY3QrbUNvbnRhaW5lcgVtVHlwZQRtUkdCEG1UaGVtZUNvbG9ySW5kZXgMbUF1dG9VcGRhdGVkCW1Nb2RpZmllZAQCAAAAAAAfQXBsb3Jpcy5CYXNlLk9iamVjdHMuTGluZUZvcm1hdAMAAAAICAgBAQMAAAAJygYAAAoAAAAA////AA4AAAAAAAU4CAAAGkFwbG9yaXMuQmFzZS5PYmplY3RzLkNvbG9yBwAAABJEYXRhT2JqZWN0K21QYXJlbnQVRGF0YU9iamVjdCttQ29udGFpbmVyBW1UeXBlBG1SR0IQbVRoZW1lQ29sb3JJbmRleAxtQXV0b1VwZGF0ZWQJbU1vZGlmaWVkBAIAAAAAAB9BcGxvcmlzLkJhc2UuT2JqZWN0cy5MaW5lRm9ybWF0AwAAAAgICAEBAwAAAAnKBgAACgEAAAAAAAAA/////wABATkIAAByAAAACgoAAAAA7SElAAcAAAAAAAE6CAAAcgAAAAoKAQAAAP///wD/////AAAPOwgAAAEAAAAItAAAAAE8CAAAcgAAAAoKAAAAAP///wAOAAAAAAABPQgAAHIAAAAKCgAAAAD///8ADgAAAAABBz4IAAAAAQAAAAQAAAAEHUFwbG9yaXMuQmFzZS5PYmplY3RzLlZhcmlhYmxlAwAAAAGrCAAAwwQAAAMAAAAAAAAAAawIAADDBAAAAgAAAAIAAAABrQgAAMMEAAAAAAAAAAAAAAGuCAAAwwQAAAAAAAAAAAAADz8IAAABAAAACM4AAAAFQAgAABpBcGxvcmlzLkJhc2UuT2JqZWN0cy5Db2xvcgcAAAASRGF0YU9iamVjdCttUGFyZW50FURhdGFPYmplY3QrbUNvbnRhaW5lcgVtVHlwZQRtUkdCEG1UaGVtZUNvbG9ySW5kZXgMbUF1dG9VcGRhdGVkCW1Nb2RpZmllZAQCAAAAAAAfQXBsb3Jpcy5CYXNlLk9iamVjdHMuTGluZUZvcm1hdAMAAAAICAgBAQMAAAAJ6AYAAAoAAAAA////AA4AAAAAAAVBCAAAGkFwbG9yaXMuQmFzZS5PYmplY3RzLkNvbG9yBwAAABJEYXRhT2JqZWN0K21QYXJlbnQVRGF0YU9iamVjdCttQ29udGFpbmVyBW1UeXBlBG1SR0IQbVRoZW1lQ29sb3JJbmRleAxtQXV0b1VwZGF0ZWQJbU1vZGlmaWVkBAIAAAAAAB9BcGxvcmlzLkJhc2UuT2JqZWN0cy5MaW5lRm9ybWF0AwAAAAgICAEBAwAAAAnoBgAACgEAAAAAAAAA/////wABAUIIAAByAAAACgoAAAAARjs0AAgAAAAAAAFDCAAAcgAAAAoKAQAAAP///wD/////AAAPRAgAAAEAAAAIswAAAAFFCAAAcgAAAAoKAAAAAAAAAAANAAAAAAABRggAAHIAAAAKCgAAAAAAAAAADQAAAAABB0cIAAAAAQAAAAQAAAAEHUFwbG9yaXMuQmFzZS5PYmplY3RzLlZhcmlhYmxlAwAAAAGvCAAAwwQAAAMAAAAAAAAAAbAIAADDBAAAAgAAAAIAAAABsQgAAMMEAAAAAAAAAAAAAAGyCAAAwwQAAAAAAAAAAAAAD0gIAAABAAAACM0AAAAFSQgAABpBcGxvcmlzLkJhc2UuT2JqZWN0cy5Db2xvcgcAAAASRGF0YU9iamVjdCttUGFyZW50FURhdGFPYmplY3QrbUNvbnRhaW5lcgVtVHlwZQRtUkdCEG1UaGVtZUNvbG9ySW5kZXgMbUF1dG9VcGRhdGVkCW1Nb2RpZmllZAQCAAAAAAAfQXBsb3Jpcy5CYXNlLk9iamVjdHMuTGluZUZvcm1hdAMAAAAICAgBAQMAAAAJBgcAAAoAAAAA////AA4AAAAAAAVKCAAAGkFwbG9yaXMuQmFzZS5PYmplY3RzLkNvbG9yBwAAABJEYXRhT2JqZWN0K21QYXJlbnQVRGF0YU9iamVjdCttQ29udGFpbmVyBW1UeXBlBG1SR0IQbVRoZW1lQ29sb3JJbmRleAxtQXV0b1VwZGF0ZWQJbU1vZGlmaWVkBAIAAAAAAB9BcGxvcmlzLkJhc2UuT2JqZWN0cy5MaW5lRm9ybWF0AwAAAAgICAEBAwAAAAkGBwAACgEAAAAAAAAA/////wABAUsIAAByAAAACgoAAAAAw5h0AAkAAAAAAAFMCAAAcgAAAAoKAQAAAP///wD/////AAAPTQgAAAEAAAAIrAAAAAFOCAAAcgAAAAoKAAAAAAAAAAANAAAAAAABTwgAAHIAAAAKCgAAAAAAAAAADQAAAAABB1AIAAAAAQAAAAQAAAAEHUFwbG9yaXMuQmFzZS5PYmplY3RzLlZhcmlhYmxlAwAAAAGzCAAAwwQAAAMAAAAAAAAAAbQIAADDBAAAAgAAAAIAAAABtQgAAMMEAAAAAAAAAAAAAAG2CAAAwwQAAAAAAAAAAAAAD1EIAAABAAAACM8AAAAFUggAABpBcGxvcmlzLkJhc2UuT2JqZWN0cy5Db2xvcgcAAAASRGF0YU9iamVjdCttUGFyZW50FURhdGFPYmplY3QrbUNvbnRhaW5lcgVtVHlwZQRtUkdCEG1UaGVtZUNvbG9ySW5kZXgMbUF1dG9VcGRhdGVkCW1Nb2RpZmllZAQCAAAAAAAfQXBsb3Jpcy5CYXNlLk9iamVjdHMuTGluZUZvcm1hdAMAAAAICAgBAQMAAAAJJAcAAAoAAAAA////AA4AAAAAAAVTCAAAGkFwbG9yaXMuQmFzZS5PYmplY3RzLkNvbG9yBwAAABJEYXRhT2JqZWN0K21QYXJlbnQVRGF0YU9iamVjdCttQ29udGFpbmVyBW1UeXBlBG1SR0IQbVRoZW1lQ29sb3JJbmRleAxtQXV0b1VwZGF0ZWQJbU1vZGlmaWVkBAIAAAAAAB9BcGxvcmlzLkJhc2UuT2JqZWN0cy5MaW5lRm9ybWF0AwAAAAgICAEBAwAAAAkkBwAACgEAAAAAAAAA/////wABAVQIAAByAAAACgoAAAAA95QeAAoAAAAAAAFVCAAAcgAAAAoKAQAAAP///wD/////AAAPVggAAAEAAAAIrQAAAAFXCAAAcgAAAAoKAAAAAP///wAOAAAAAAABWAgAAHIAAAAKCgAAAAD///8ADgAAAAABB1kIAAAAAQAAAAQAAAAEHUFwbG9yaXMuQmFzZS5PYmplY3RzLlZhcmlhYmxlAwAAAAG3CAAAwwQAAAMAAAAAAAAAAbgIAADDBAAAAgAAAAIAAAABuQgAAMMEAAAAAAAAAAAAAAG6CAAAwwQAAAAAAAAAAAAAD1oIAAABAAAACMoAAAAFWwgAABpBcGxvcmlzLkJhc2UuT2JqZWN0cy5Db2xvcgcAAAASRGF0YU9iamVjdCttUGFyZW50FURhdGFPYmplY3QrbUNvbnRhaW5lcgVtVHlwZQRtUkdCEG1UaGVtZUNvbG9ySW5kZXgMbUF1dG9VcGRhdGVkCW1Nb2RpZmllZAQCAAAAAAAfQXBsb3Jpcy5CYXNlLk9iamVjdHMuTGluZUZvcm1hdAMAAAAICAgBAQMAAAAJQgcAAAoAAAAA////AA4AAAAAAAVcCAAAGkFwbG9yaXMuQmFzZS5PYmplY3RzLkNvbG9yBwAAABJEYXRhT2JqZWN0K21QYXJlbnQVRGF0YU9iamVjdCttQ29udGFpbmVyBW1UeXBlBG1SR0IQbVRoZW1lQ29sb3JJbmRleAxtQXV0b1VwZGF0ZWQJbU1vZGlmaWVkBAIAAAAAAB9BcGxvcmlzLkJhc2UuT2JqZWN0cy5MaW5lRm9ybWF0AwAAAAgICAEBAwAAAAlCBwAACgEAAAAAAAAA/////wABAV0IAAByAAAACgoAAAAAP2l+AAUAAAAAAAFeCAAAcgAAAAoKAQAAAP///wD/////AAAPXwgAAAEAAAAIsQAAAAFgCAAAcgAAAAoKAAAAAP///wAOAAAAAAABYQgAAHIAAAAKCgAAAAD///8ADgAAAAABB2IIAAAAAQAAAAQAAAAEHUFwbG9yaXMuQmFzZS5PYmplY3RzLlZhcmlhYmxlAwAAAAG7CAAAwwQAAAMAAAAAAAAAAbwIAADDBAAAAgAAAAIAAAABvQgAAMMEAAAAAAAAAAAAAAG+CAAAwwQAAAAAAAAAAAAAD2MIAAABAAAACNMAAAAFZAgAABpBcGxvcmlzLkJhc2UuT2JqZWN0cy5Db2xvcgcAAAASRGF0YU9iamVjdCttUGFyZW50FURhdGFPYmplY3QrbUNvbnRhaW5lcgVtVHlwZQRtUkdCEG1UaGVtZUNvbG9ySW5kZXgMbUF1dG9VcGRhdGVkCW1Nb2RpZmllZAQCAAAAAAAfQXBsb3Jpcy5CYXNlLk9iamVjdHMuTGluZUZvcm1hdAMAAAAICAgBAQMAAAAJYAcAAAoAAAAA////AA4AAAAAAAVlCAAAGkFwbG9yaXMuQmFzZS5PYmplY3RzLkNvbG9yBwAAABJEYXRhT2JqZWN0K21QYXJlbnQVRGF0YU9iamVjdCttQ29udGFpbmVyBW1UeXBlBG1SR0IQbVRoZW1lQ29sb3JJbmRleAxtQXV0b1VwZGF0ZWQJbU1vZGlmaWVkBAIAAAAAAB9BcGxvcmlzLkJhc2UuT2JqZWN0cy5MaW5lRm9ybWF0AwAAAAgICAEBAwAAAAlgBwAACgEAAAAAAAAA/////wABAWYIAAByAAAACgoAAAAAcoSMAAYAAAAAAAFnCAAAcgAAAAoKAQAAAP///wD/////AAAPaAgAAAEAAAAIsgAAAAFpCAAAcgAAAAoKAAAAAP///wAOAAAAAAABaggAAHIAAAAKCgAAAAD///8ADgAAAAABB2sIAAAAAQAAAAQAAAAEHUFwbG9yaXMuQmFzZS5PYmplY3RzLlZhcmlhYmxlAwAAAAG/CAAAwwQAAAMAAAAAAAAAAcAIAADDBAAAAgAAAAIAAAABwQgAAMMEAAAAAAAAAAAAAAHCCAAAwwQAAAAAAAAAAAAAD2wIAAABAAAACNUAAAAFbQgAABpBcGxvcmlzLkJhc2UuT2JqZWN0cy5Db2xvcgcAAAASRGF0YU9iamVjdCttUGFyZW50FURhdGFPYmplY3QrbUNvbnRhaW5lcgVtVHlwZQRtUkdCEG1UaGVtZUNvbG9ySW5kZXgMbUF1dG9VcGRhdGVkCW1Nb2RpZmllZAQCAAAAAAAfQXBsb3Jpcy5CYXNlLk9iamVjdHMuTGluZUZvcm1hdAMAAAAICAgBAQMAAAAJfgcAAAoAAAAA////AA4AAAAAAAVuCAAAGkFwbG9yaXMuQmFzZS5PYmplY3RzLkNvbG9yBwAAABJEYXRhT2JqZWN0K21QYXJlbnQVRGF0YU9iamVjdCttQ29udGFpbmVyBW1UeXBlBG1SR0IQbVRoZW1lQ29sb3JJbmRleAxtQXV0b1VwZGF0ZWQJbU1vZGlmaWVkBAIAAAAAAB9BcGxvcmlzLkJhc2UuT2JqZWN0cy5MaW5lRm9ybWF0AwAAAAgICAEBAwAAAAl+BwAACgEAAAAAAAAA/////wABAW8IAAByAAAACgoAAAAA7SElAAcAAAAAAAFwCAAAcgAAAAoKAQAAAP///wD/////AAAPcQgAAAEAAAAIsAAAAAFyCAAAcgAAAAoKAAAAAP///wAOAAAAAAABcwgAAHIAAAAKCgAAAAD///8ADgAAAAABB3QIAAAAAQAAAAQAAAAEHUFwbG9yaXMuQmFzZS5PYmplY3RzLlZhcmlhYmxlAwAAAAHDCAAAwwQAAAMAAAAAAAAAAcQIAADDBAAAAgAAAAIAAAABxQgAAMMEAAAAAAAAAAAAAAHGCAAAwwQAAAAAAAAAAAAAD3UIAAABAAAACNQAAAAFdggAABpBcGxvcmlzLkJhc2UuT2JqZWN0cy5Db2xvcgcAAAASRGF0YU9iamVjdCttUGFyZW50FURhdGFPYmplY3QrbUNvbnRhaW5lcgVtVHlwZQRtUkdCEG1UaGVtZUNvbG9ySW5kZXgMbUF1dG9VcGRhdGVkCW1Nb2RpZmllZAQCAAAAAAAfQXBsb3Jpcy5CYXNlLk9iamVjdHMuTGluZUZvcm1hdAMAAAAICAgBAQMAAAAJnAcAAAoAAAAA////AA4AAAAAAAV3CAAAGkFwbG9yaXMuQmFzZS5PYmplY3RzLkNvbG9yBwAAABJEYXRhT2JqZWN0K21QYXJlbnQVRGF0YU9iamVjdCttQ29udGFpbmVyBW1UeXBlBG1SR0IQbVRoZW1lQ29sb3JJbmRleAxtQXV0b1VwZGF0ZWQJbU1vZGlmaWVkBAIAAAAAAB9BcGxvcmlzLkJhc2UuT2JqZWN0cy5MaW5lRm9ybWF0AwAAAAgICAEBAwAAAAmcBwAACgEAAAAAAAAA/////wABAXgIAAByAAAACgoAAAAARjs0AAgAAAAAAAF5CAAAcgAAAAoKAQAAAP///wD/////AAAPeggAAAEAAAAIrgAAAAF7CAAAcgAAAAoKAAAAAAAAAAANAAAAAAABfAgAAHIAAAAKCgAAAAAAAAAADQAAAAABB30IAAAAAQAAAAQAAAAEHUFwbG9yaXMuQmFzZS5PYmplY3RzLlZhcmlhYmxlAwAAAAHHCAAAwwQAAAMAAAAAAAAAAcgIAADDBAAAAgAAAAIAAAAByQgAAMMEAAAAAAAAAAAAAAHKCAAAwwQAAAAAAAAAAAAAD34IAAABAAAACNEAAAAFfwgAABpBcGxvcmlzLkJhc2UuT2JqZWN0cy5Db2xvcgcAAAASRGF0YU9iamVjdCttUGFyZW50FURhdGFPYmplY3QrbUNvbnRhaW5lcgVtVHlwZQRtUkdCEG1UaGVtZUNvbG9ySW5kZXgMbUF1dG9VcGRhdGVkCW1Nb2RpZmllZAQCAAAAAAAfQXBsb3Jpcy5CYXNlLk9iamVjdHMuTGluZUZvcm1hdAMAAAAICAgBAQMAAAAJugcAAAoAAAAA////AA4AAAAAAAWACAAAGkFwbG9yaXMuQmFzZS5PYmplY3RzLkNvbG9yBwAAABJEYXRhT2JqZWN0K21QYXJlbnQVRGF0YU9iamVjdCttQ29udGFpbmVyBW1UeXBlBG1SR0IQbVRoZW1lQ29sb3JJbmRleAxtQXV0b1VwZGF0ZWQJbU1vZGlmaWVkBAIAAAAAAB9BcGxvcmlzLkJhc2UuT2JqZWN0cy5MaW5lRm9ybWF0AwAAAAgICAEBAwAAAAm6BwAACgEAAAAAAAAA/////wABAYEIAAByAAAACgoAAAAAw5h0AAkAAAAAAAGCCAAAcgAAAAoKAQAAAP///wD/////AAAPgwgAAAEAAAAIrwAAAAGECAAAcgAAAAoKAAAAAAAAAAANAAAAAAABhQgAAHIAAAAKCgAAAAAAAAAADQAAAAABB4YIAAAAAQAAAAQAAAAEHUFwbG9yaXMuQmFzZS5PYmplY3RzLlZhcmlhYmxlAwAAAAHLCAAAwwQAAAMAAAAAAAAAAcwIAADDBAAAAgAAAAIAAAABzQgAAMMEAAAAAAAAAAAAAAHOCAAAwwQAAAAAAAAAAAAAD4cIAAABAAAACMwAAAAFiAgAABpBcGxvcmlzLkJhc2UuT2JqZWN0cy5Db2xvcgcAAAASRGF0YU9iamVjdCttUGFyZW50FURhdGFPYmplY3QrbUNvbnRhaW5lcgVtVHlwZQRtUkdCEG1UaGVtZUNvbG9ySW5kZXgMbUF1dG9VcGRhdGVkCW1Nb2RpZmllZAQCAAAAAAAfQXBsb3Jpcy5CYXNlLk9iamVjdHMuTGluZUZvcm1hdAMAAAAICAgBAQMAAAAJ2AcAAAoAAAAA////AA4AAAAAAAWJCAAAGkFwbG9yaXMuQmFzZS5PYmplY3RzLkNvbG9yBwAAABJEYXRhT2JqZWN0K21QYXJlbnQVRGF0YU9iamVjdCttQ29udGFpbmVyBW1UeXBlBG1SR0IQbVRoZW1lQ29sb3JJbmRleAxtQXV0b1VwZGF0ZWQJbU1vZGlmaWVkBAIAAAAAAB9BcGxvcmlzLkJhc2UuT2JqZWN0cy5MaW5lRm9ybWF0AwAAAAgICAEBAwAAAAnYBwAACgEAAAAAAAAA/////wABAYoIAAByAAAACgoAAAAA95QeAAoAAAAAAAGLCAAAcgAAAAoKAQAAAP///wD/////AAAPjAgAAAEAAAAIqwAAAAGNCAAAcgAAAAoKAAAAAP///wAOAAAAAAABjggAAHIAAAAKCgAAAAD///8ADgAAAAABB48IAAAAAQAAAAQAAAAEHUFwbG9yaXMuQmFzZS5PYmplY3RzLlZhcmlhYmxlAwAAAAHPCAAAwwQAAAMAAAAAAAAAAdAIAADDBAAAAgAAAAIAAAAB0QgAAMMEAAAAAAAAAAAAAAHSCAAAwwQAAAAAAAAAAAAAD5AIAAABAAAACMkAAAAFkQgAABpBcGxvcmlzLkJhc2UuT2JqZWN0cy5Db2xvcgcAAAASRGF0YU9iamVjdCttUGFyZW50FURhdGFPYmplY3QrbUNvbnRhaW5lcgVtVHlwZQRtUkdCEG1UaGVtZUNvbG9ySW5kZXgMbUF1dG9VcGRhdGVkCW1Nb2RpZmllZAQCAAAAAAAfQXBsb3Jpcy5CYXNlLk9iamVjdHMuTGluZUZvcm1hdAMAAAAICAgBAQMAAAAJ9gcAAAoAAAAA////AA4AAAAAAAWSCAAAGkFwbG9yaXMuQmFzZS5PYmplY3RzLkNvbG9yBwAAABJEYXRhT2JqZWN0K21QYXJlbnQVRGF0YU9iamVjdCttQ29udGFpbmVyBW1UeXBlBG1SR0IQbVRoZW1lQ29sb3JJbmRleAxtQXV0b1VwZGF0ZWQJbU1vZGlmaWVkBAIAAAAAAB9BcGxvcmlzLkJhc2UuT2JqZWN0cy5MaW5lRm9ybWF0AwAAAAgICAEBAwAAAAn2BwAACgEAAAAAAAAA/////wABAZMIAAByAAAACgoAAAAAP2l+AAUAAAAAAAGUCAAAcgAAAAoKAQAAAP///wD/////AAAPlQgAAAEAAAAIqQAAAAGWCAAAcgAAAAoKAAAAAP///wAOAAAAAAABlwgAAHIAAAAKCgAAAAD///8ADgAAAAABB5gIAAAAAQAAAAQAAAAEHUFwbG9yaXMuQmFzZS5PYmplY3RzLlZhcmlhYmxlAwAAAAHTCAAAwwQAAAMAAAAAAAAAAdQIAADDBAAAAgAAAAIAAAAB1QgAAMMEAAAAAAAAAAAAAAHWCAAAwwQAAAAAAAAAAAAAD5kIAAABAAAACMsAAAAFmggAABpBcGxvcmlzLkJhc2UuT2JqZWN0cy5Db2xvcgcAAAASRGF0YU9iamVjdCttUGFyZW50FURhdGFPYmplY3QrbUNvbnRhaW5lcgVtVHlwZQRtUkdCEG1UaGVtZUNvbG9ySW5kZXgMbUF1dG9VcGRhdGVkCW1Nb2RpZmllZAQCAAAAAAAfQXBsb3Jpcy5CYXNlLk9iamVjdHMuTGluZUZvcm1hdAMAAAAICAgBAQMAAAAJFAgAAAoAAAAA////AA4AAAAAAAWbCAAAGkFwbG9yaXMuQmFzZS5PYmplY3RzLkNvbG9yBwAAABJEYXRhT2JqZWN0K21QYXJlbnQVRGF0YU9iamVjdCttQ29udGFpbmVyBW1UeXBlBG1SR0IQbVRoZW1lQ29sb3JJbmRleAxtQXV0b1VwZGF0ZWQJbU1vZGlmaWVkBAIAAAAAAB9BcGxvcmlzLkJhc2UuT2JqZWN0cy5MaW5lRm9ybWF0AwAAAAgICAEBAwAAAAkUCAAACgEAAAAAAAAA/////wABAZwIAAByAAAACgoAAAAAcoSMAAYAAAAAAAGdCAAAcgAAAAoKAQAAAP///wD/////AAAPnggAAAEAAAAIqgAAAAs="/>
  <p:tag name="APLORISTAG" val="MX/IjfW661gLV+xOY.169"/>
</p:tagLst>
</file>

<file path=ppt/tags/tag100.xml><?xml version="1.0" encoding="utf-8"?>
<p:tagLst xmlns:a="http://schemas.openxmlformats.org/drawingml/2006/main" xmlns:r="http://schemas.openxmlformats.org/officeDocument/2006/relationships" xmlns:p="http://schemas.openxmlformats.org/presentationml/2006/main">
  <p:tag name="APLORISTAG" val="MMq8K+TY0y1GzdU7X.44"/>
</p:tagLst>
</file>

<file path=ppt/tags/tag1000.xml><?xml version="1.0" encoding="utf-8"?>
<p:tagLst xmlns:a="http://schemas.openxmlformats.org/drawingml/2006/main" xmlns:r="http://schemas.openxmlformats.org/officeDocument/2006/relationships" xmlns:p="http://schemas.openxmlformats.org/presentationml/2006/main">
  <p:tag name="APLORISTAG" val="MFNMiJ7Tp18tdIikC.43"/>
</p:tagLst>
</file>

<file path=ppt/tags/tag1001.xml><?xml version="1.0" encoding="utf-8"?>
<p:tagLst xmlns:a="http://schemas.openxmlformats.org/drawingml/2006/main" xmlns:r="http://schemas.openxmlformats.org/officeDocument/2006/relationships" xmlns:p="http://schemas.openxmlformats.org/presentationml/2006/main">
  <p:tag name="APLORISTAG" val="MFNMiJ7Tp18tdIikC.35"/>
</p:tagLst>
</file>

<file path=ppt/tags/tag1002.xml><?xml version="1.0" encoding="utf-8"?>
<p:tagLst xmlns:a="http://schemas.openxmlformats.org/drawingml/2006/main" xmlns:r="http://schemas.openxmlformats.org/officeDocument/2006/relationships" xmlns:p="http://schemas.openxmlformats.org/presentationml/2006/main">
  <p:tag name="APLORISTAG" val="MFNMiJ7Tp18tdIikC.284"/>
</p:tagLst>
</file>

<file path=ppt/tags/tag1003.xml><?xml version="1.0" encoding="utf-8"?>
<p:tagLst xmlns:a="http://schemas.openxmlformats.org/drawingml/2006/main" xmlns:r="http://schemas.openxmlformats.org/officeDocument/2006/relationships" xmlns:p="http://schemas.openxmlformats.org/presentationml/2006/main">
  <p:tag name="APLORISTAG" val="MFNMiJ7Tp18tdIikC.285"/>
</p:tagLst>
</file>

<file path=ppt/tags/tag1004.xml><?xml version="1.0" encoding="utf-8"?>
<p:tagLst xmlns:a="http://schemas.openxmlformats.org/drawingml/2006/main" xmlns:r="http://schemas.openxmlformats.org/officeDocument/2006/relationships" xmlns:p="http://schemas.openxmlformats.org/presentationml/2006/main">
  <p:tag name="APLORISTAG" val="MFNMiJ7Tp18tdIikC.287"/>
</p:tagLst>
</file>

<file path=ppt/tags/tag1005.xml><?xml version="1.0" encoding="utf-8"?>
<p:tagLst xmlns:a="http://schemas.openxmlformats.org/drawingml/2006/main" xmlns:r="http://schemas.openxmlformats.org/officeDocument/2006/relationships" xmlns:p="http://schemas.openxmlformats.org/presentationml/2006/main">
  <p:tag name="APLORISTAG" val="MFNMiJ7Tp18tdIikC.338"/>
</p:tagLst>
</file>

<file path=ppt/tags/tag1006.xml><?xml version="1.0" encoding="utf-8"?>
<p:tagLst xmlns:a="http://schemas.openxmlformats.org/drawingml/2006/main" xmlns:r="http://schemas.openxmlformats.org/officeDocument/2006/relationships" xmlns:p="http://schemas.openxmlformats.org/presentationml/2006/main">
  <p:tag name="APLORISTAG" val="MFNMiJ7Tp18tdIikC.293"/>
</p:tagLst>
</file>

<file path=ppt/tags/tag1007.xml><?xml version="1.0" encoding="utf-8"?>
<p:tagLst xmlns:a="http://schemas.openxmlformats.org/drawingml/2006/main" xmlns:r="http://schemas.openxmlformats.org/officeDocument/2006/relationships" xmlns:p="http://schemas.openxmlformats.org/presentationml/2006/main">
  <p:tag name="APLORISTAG" val="MFNMiJ7Tp18tdIikC.291"/>
</p:tagLst>
</file>

<file path=ppt/tags/tag1008.xml><?xml version="1.0" encoding="utf-8"?>
<p:tagLst xmlns:a="http://schemas.openxmlformats.org/drawingml/2006/main" xmlns:r="http://schemas.openxmlformats.org/officeDocument/2006/relationships" xmlns:p="http://schemas.openxmlformats.org/presentationml/2006/main">
  <p:tag name="APLORISTAG" val="MFNMiJ7Tp18tdIikC.289"/>
</p:tagLst>
</file>

<file path=ppt/tags/tag1009.xml><?xml version="1.0" encoding="utf-8"?>
<p:tagLst xmlns:a="http://schemas.openxmlformats.org/drawingml/2006/main" xmlns:r="http://schemas.openxmlformats.org/officeDocument/2006/relationships" xmlns:p="http://schemas.openxmlformats.org/presentationml/2006/main">
  <p:tag name="APLORISTAG" val="MFNMiJ7Tp18tdIikC.339"/>
</p:tagLst>
</file>

<file path=ppt/tags/tag101.xml><?xml version="1.0" encoding="utf-8"?>
<p:tagLst xmlns:a="http://schemas.openxmlformats.org/drawingml/2006/main" xmlns:r="http://schemas.openxmlformats.org/officeDocument/2006/relationships" xmlns:p="http://schemas.openxmlformats.org/presentationml/2006/main">
  <p:tag name="APLORISTAG" val="MMq8K+TY0y1GzdU7X.112"/>
</p:tagLst>
</file>

<file path=ppt/tags/tag1010.xml><?xml version="1.0" encoding="utf-8"?>
<p:tagLst xmlns:a="http://schemas.openxmlformats.org/drawingml/2006/main" xmlns:r="http://schemas.openxmlformats.org/officeDocument/2006/relationships" xmlns:p="http://schemas.openxmlformats.org/presentationml/2006/main">
  <p:tag name="APLORISTAG" val="MFNMiJ7Tp18tdIikC.292"/>
</p:tagLst>
</file>

<file path=ppt/tags/tag1011.xml><?xml version="1.0" encoding="utf-8"?>
<p:tagLst xmlns:a="http://schemas.openxmlformats.org/drawingml/2006/main" xmlns:r="http://schemas.openxmlformats.org/officeDocument/2006/relationships" xmlns:p="http://schemas.openxmlformats.org/presentationml/2006/main">
  <p:tag name="APLORISTAG" val="MFNMiJ7Tp18tdIikC.288"/>
</p:tagLst>
</file>

<file path=ppt/tags/tag1012.xml><?xml version="1.0" encoding="utf-8"?>
<p:tagLst xmlns:a="http://schemas.openxmlformats.org/drawingml/2006/main" xmlns:r="http://schemas.openxmlformats.org/officeDocument/2006/relationships" xmlns:p="http://schemas.openxmlformats.org/presentationml/2006/main">
  <p:tag name="APLORISTAG" val="MFNMiJ7Tp18tdIikC.340"/>
</p:tagLst>
</file>

<file path=ppt/tags/tag1013.xml><?xml version="1.0" encoding="utf-8"?>
<p:tagLst xmlns:a="http://schemas.openxmlformats.org/drawingml/2006/main" xmlns:r="http://schemas.openxmlformats.org/officeDocument/2006/relationships" xmlns:p="http://schemas.openxmlformats.org/presentationml/2006/main">
  <p:tag name="APLORISTAG" val="MFNMiJ7Tp18tdIikC.341"/>
</p:tagLst>
</file>

<file path=ppt/tags/tag1014.xml><?xml version="1.0" encoding="utf-8"?>
<p:tagLst xmlns:a="http://schemas.openxmlformats.org/drawingml/2006/main" xmlns:r="http://schemas.openxmlformats.org/officeDocument/2006/relationships" xmlns:p="http://schemas.openxmlformats.org/presentationml/2006/main">
  <p:tag name="APLORISTAG" val="MFNMiJ7Tp18tdIikC.342"/>
</p:tagLst>
</file>

<file path=ppt/tags/tag1015.xml><?xml version="1.0" encoding="utf-8"?>
<p:tagLst xmlns:a="http://schemas.openxmlformats.org/drawingml/2006/main" xmlns:r="http://schemas.openxmlformats.org/officeDocument/2006/relationships" xmlns:p="http://schemas.openxmlformats.org/presentationml/2006/main">
  <p:tag name="APLORISTAG" val="MFNMiJ7Tp18tdIikC.343"/>
</p:tagLst>
</file>

<file path=ppt/tags/tag1016.xml><?xml version="1.0" encoding="utf-8"?>
<p:tagLst xmlns:a="http://schemas.openxmlformats.org/drawingml/2006/main" xmlns:r="http://schemas.openxmlformats.org/officeDocument/2006/relationships" xmlns:p="http://schemas.openxmlformats.org/presentationml/2006/main">
  <p:tag name="APLORISTAG" val="MFNMiJ7Tp18tdIikC.344"/>
</p:tagLst>
</file>

<file path=ppt/tags/tag1017.xml><?xml version="1.0" encoding="utf-8"?>
<p:tagLst xmlns:a="http://schemas.openxmlformats.org/drawingml/2006/main" xmlns:r="http://schemas.openxmlformats.org/officeDocument/2006/relationships" xmlns:p="http://schemas.openxmlformats.org/presentationml/2006/main">
  <p:tag name="APLORISTAG" val="MFNMiJ7Tp18tdIikC.345"/>
</p:tagLst>
</file>

<file path=ppt/tags/tag1018.xml><?xml version="1.0" encoding="utf-8"?>
<p:tagLst xmlns:a="http://schemas.openxmlformats.org/drawingml/2006/main" xmlns:r="http://schemas.openxmlformats.org/officeDocument/2006/relationships" xmlns:p="http://schemas.openxmlformats.org/presentationml/2006/main">
  <p:tag name="APLORISTAG" val="MFNMiJ7Tp18tdIikC.346"/>
</p:tagLst>
</file>

<file path=ppt/tags/tag1019.xml><?xml version="1.0" encoding="utf-8"?>
<p:tagLst xmlns:a="http://schemas.openxmlformats.org/drawingml/2006/main" xmlns:r="http://schemas.openxmlformats.org/officeDocument/2006/relationships" xmlns:p="http://schemas.openxmlformats.org/presentationml/2006/main">
  <p:tag name="APLORISTAG" val="MFNMiJ7Tp18tdIikC.347"/>
</p:tagLst>
</file>

<file path=ppt/tags/tag102.xml><?xml version="1.0" encoding="utf-8"?>
<p:tagLst xmlns:a="http://schemas.openxmlformats.org/drawingml/2006/main" xmlns:r="http://schemas.openxmlformats.org/officeDocument/2006/relationships" xmlns:p="http://schemas.openxmlformats.org/presentationml/2006/main">
  <p:tag name="APLORISTAG" val="MMq8K+TY0y1GzdU7X.46"/>
</p:tagLst>
</file>

<file path=ppt/tags/tag103.xml><?xml version="1.0" encoding="utf-8"?>
<p:tagLst xmlns:a="http://schemas.openxmlformats.org/drawingml/2006/main" xmlns:r="http://schemas.openxmlformats.org/officeDocument/2006/relationships" xmlns:p="http://schemas.openxmlformats.org/presentationml/2006/main">
  <p:tag name="APLORISTAG" val="MMq8K+TY0y1GzdU7X.113"/>
</p:tagLst>
</file>

<file path=ppt/tags/tag104.xml><?xml version="1.0" encoding="utf-8"?>
<p:tagLst xmlns:a="http://schemas.openxmlformats.org/drawingml/2006/main" xmlns:r="http://schemas.openxmlformats.org/officeDocument/2006/relationships" xmlns:p="http://schemas.openxmlformats.org/presentationml/2006/main">
  <p:tag name="APLORISTAG" val="MMq8K+TY0y1GzdU7X.54"/>
</p:tagLst>
</file>

<file path=ppt/tags/tag105.xml><?xml version="1.0" encoding="utf-8"?>
<p:tagLst xmlns:a="http://schemas.openxmlformats.org/drawingml/2006/main" xmlns:r="http://schemas.openxmlformats.org/officeDocument/2006/relationships" xmlns:p="http://schemas.openxmlformats.org/presentationml/2006/main">
  <p:tag name="APLORISTAG" val="MMq8K+TY0y1GzdU7X.114"/>
</p:tagLst>
</file>

<file path=ppt/tags/tag106.xml><?xml version="1.0" encoding="utf-8"?>
<p:tagLst xmlns:a="http://schemas.openxmlformats.org/drawingml/2006/main" xmlns:r="http://schemas.openxmlformats.org/officeDocument/2006/relationships" xmlns:p="http://schemas.openxmlformats.org/presentationml/2006/main">
  <p:tag name="APLORISTAG" val="MMq8K+TY0y1GzdU7X.115"/>
</p:tagLst>
</file>

<file path=ppt/tags/tag107.xml><?xml version="1.0" encoding="utf-8"?>
<p:tagLst xmlns:a="http://schemas.openxmlformats.org/drawingml/2006/main" xmlns:r="http://schemas.openxmlformats.org/officeDocument/2006/relationships" xmlns:p="http://schemas.openxmlformats.org/presentationml/2006/main">
  <p:tag name="APLORISTAG" val="MMq8K+TY0y1GzdU7X.116"/>
</p:tagLst>
</file>

<file path=ppt/tags/tag108.xml><?xml version="1.0" encoding="utf-8"?>
<p:tagLst xmlns:a="http://schemas.openxmlformats.org/drawingml/2006/main" xmlns:r="http://schemas.openxmlformats.org/officeDocument/2006/relationships" xmlns:p="http://schemas.openxmlformats.org/presentationml/2006/main">
  <p:tag name="APLORISTAG" val="MMq8K+TY0y1GzdU7X.117"/>
</p:tagLst>
</file>

<file path=ppt/tags/tag109.xml><?xml version="1.0" encoding="utf-8"?>
<p:tagLst xmlns:a="http://schemas.openxmlformats.org/drawingml/2006/main" xmlns:r="http://schemas.openxmlformats.org/officeDocument/2006/relationships" xmlns:p="http://schemas.openxmlformats.org/presentationml/2006/main">
  <p:tag name="APLORISTAG" val="MMq8K+TY0y1GzdU7X.118"/>
</p:tagLst>
</file>

<file path=ppt/tags/tag11.xml><?xml version="1.0" encoding="utf-8"?>
<p:tagLst xmlns:a="http://schemas.openxmlformats.org/drawingml/2006/main" xmlns:r="http://schemas.openxmlformats.org/officeDocument/2006/relationships" xmlns:p="http://schemas.openxmlformats.org/presentationml/2006/main">
  <p:tag name="APLORISTAG" val="MX/IjfW661gLV+xOY.171"/>
</p:tagLst>
</file>

<file path=ppt/tags/tag110.xml><?xml version="1.0" encoding="utf-8"?>
<p:tagLst xmlns:a="http://schemas.openxmlformats.org/drawingml/2006/main" xmlns:r="http://schemas.openxmlformats.org/officeDocument/2006/relationships" xmlns:p="http://schemas.openxmlformats.org/presentationml/2006/main">
  <p:tag name="APLORISTAG" val="MMq8K+TY0y1GzdU7X.119"/>
</p:tagLst>
</file>

<file path=ppt/tags/tag111.xml><?xml version="1.0" encoding="utf-8"?>
<p:tagLst xmlns:a="http://schemas.openxmlformats.org/drawingml/2006/main" xmlns:r="http://schemas.openxmlformats.org/officeDocument/2006/relationships" xmlns:p="http://schemas.openxmlformats.org/presentationml/2006/main">
  <p:tag name="APLORISTAG" val="MMq8K+TY0y1GzdU7X.67"/>
</p:tagLst>
</file>

<file path=ppt/tags/tag112.xml><?xml version="1.0" encoding="utf-8"?>
<p:tagLst xmlns:a="http://schemas.openxmlformats.org/drawingml/2006/main" xmlns:r="http://schemas.openxmlformats.org/officeDocument/2006/relationships" xmlns:p="http://schemas.openxmlformats.org/presentationml/2006/main">
  <p:tag name="APLORISTAG" val="MMq8K+TY0y1GzdU7X.57"/>
</p:tagLst>
</file>

<file path=ppt/tags/tag113.xml><?xml version="1.0" encoding="utf-8"?>
<p:tagLst xmlns:a="http://schemas.openxmlformats.org/drawingml/2006/main" xmlns:r="http://schemas.openxmlformats.org/officeDocument/2006/relationships" xmlns:p="http://schemas.openxmlformats.org/presentationml/2006/main">
  <p:tag name="APLORISTAG" val="MMq8K+TY0y1GzdU7X.51"/>
</p:tagLst>
</file>

<file path=ppt/tags/tag114.xml><?xml version="1.0" encoding="utf-8"?>
<p:tagLst xmlns:a="http://schemas.openxmlformats.org/drawingml/2006/main" xmlns:r="http://schemas.openxmlformats.org/officeDocument/2006/relationships" xmlns:p="http://schemas.openxmlformats.org/presentationml/2006/main">
  <p:tag name="APLORISTAG" val="MMq8K+TY0y1GzdU7X.55"/>
</p:tagLst>
</file>

<file path=ppt/tags/tag115.xml><?xml version="1.0" encoding="utf-8"?>
<p:tagLst xmlns:a="http://schemas.openxmlformats.org/drawingml/2006/main" xmlns:r="http://schemas.openxmlformats.org/officeDocument/2006/relationships" xmlns:p="http://schemas.openxmlformats.org/presentationml/2006/main">
  <p:tag name="APLORISTAG" val="MMq8K+TY0y1GzdU7X.120"/>
</p:tagLst>
</file>

<file path=ppt/tags/tag116.xml><?xml version="1.0" encoding="utf-8"?>
<p:tagLst xmlns:a="http://schemas.openxmlformats.org/drawingml/2006/main" xmlns:r="http://schemas.openxmlformats.org/officeDocument/2006/relationships" xmlns:p="http://schemas.openxmlformats.org/presentationml/2006/main">
  <p:tag name="APLORISTAG" val="MMq8K+TY0y1GzdU7X.64"/>
</p:tagLst>
</file>

<file path=ppt/tags/tag117.xml><?xml version="1.0" encoding="utf-8"?>
<p:tagLst xmlns:a="http://schemas.openxmlformats.org/drawingml/2006/main" xmlns:r="http://schemas.openxmlformats.org/officeDocument/2006/relationships" xmlns:p="http://schemas.openxmlformats.org/presentationml/2006/main">
  <p:tag name="APLORISTAG" val="MMq8K+TY0y1GzdU7X.121"/>
</p:tagLst>
</file>

<file path=ppt/tags/tag118.xml><?xml version="1.0" encoding="utf-8"?>
<p:tagLst xmlns:a="http://schemas.openxmlformats.org/drawingml/2006/main" xmlns:r="http://schemas.openxmlformats.org/officeDocument/2006/relationships" xmlns:p="http://schemas.openxmlformats.org/presentationml/2006/main">
  <p:tag name="APLORISTAG" val="MMq8K+TY0y1GzdU7X.122"/>
</p:tagLst>
</file>

<file path=ppt/tags/tag119.xml><?xml version="1.0" encoding="utf-8"?>
<p:tagLst xmlns:a="http://schemas.openxmlformats.org/drawingml/2006/main" xmlns:r="http://schemas.openxmlformats.org/officeDocument/2006/relationships" xmlns:p="http://schemas.openxmlformats.org/presentationml/2006/main">
  <p:tag name="APLORISTAG" val="MMq8K+TY0y1GzdU7X.123"/>
</p:tagLst>
</file>

<file path=ppt/tags/tag12.xml><?xml version="1.0" encoding="utf-8"?>
<p:tagLst xmlns:a="http://schemas.openxmlformats.org/drawingml/2006/main" xmlns:r="http://schemas.openxmlformats.org/officeDocument/2006/relationships" xmlns:p="http://schemas.openxmlformats.org/presentationml/2006/main">
  <p:tag name="APLORISTAG" val="MX/IjfW661gLV+xOY.295"/>
</p:tagLst>
</file>

<file path=ppt/tags/tag120.xml><?xml version="1.0" encoding="utf-8"?>
<p:tagLst xmlns:a="http://schemas.openxmlformats.org/drawingml/2006/main" xmlns:r="http://schemas.openxmlformats.org/officeDocument/2006/relationships" xmlns:p="http://schemas.openxmlformats.org/presentationml/2006/main">
  <p:tag name="APLORISTAG" val="MMq8K+TY0y1GzdU7X.124"/>
</p:tagLst>
</file>

<file path=ppt/tags/tag121.xml><?xml version="1.0" encoding="utf-8"?>
<p:tagLst xmlns:a="http://schemas.openxmlformats.org/drawingml/2006/main" xmlns:r="http://schemas.openxmlformats.org/officeDocument/2006/relationships" xmlns:p="http://schemas.openxmlformats.org/presentationml/2006/main">
  <p:tag name="APLORISTAG" val="MMq8K+TY0y1GzdU7X.125"/>
</p:tagLst>
</file>

<file path=ppt/tags/tag122.xml><?xml version="1.0" encoding="utf-8"?>
<p:tagLst xmlns:a="http://schemas.openxmlformats.org/drawingml/2006/main" xmlns:r="http://schemas.openxmlformats.org/officeDocument/2006/relationships" xmlns:p="http://schemas.openxmlformats.org/presentationml/2006/main">
  <p:tag name="APLORISTAG" val="MMq8K+TY0y1GzdU7X.126"/>
</p:tagLst>
</file>

<file path=ppt/tags/tag123.xml><?xml version="1.0" encoding="utf-8"?>
<p:tagLst xmlns:a="http://schemas.openxmlformats.org/drawingml/2006/main" xmlns:r="http://schemas.openxmlformats.org/officeDocument/2006/relationships" xmlns:p="http://schemas.openxmlformats.org/presentationml/2006/main">
  <p:tag name="APLORISTAG" val="MMq8K+TY0y1GzdU7X.56"/>
</p:tagLst>
</file>

<file path=ppt/tags/tag124.xml><?xml version="1.0" encoding="utf-8"?>
<p:tagLst xmlns:a="http://schemas.openxmlformats.org/drawingml/2006/main" xmlns:r="http://schemas.openxmlformats.org/officeDocument/2006/relationships" xmlns:p="http://schemas.openxmlformats.org/presentationml/2006/main">
  <p:tag name="APLORISTAG" val="MMq8K+TY0y1GzdU7X.127"/>
</p:tagLst>
</file>

<file path=ppt/tags/tag125.xml><?xml version="1.0" encoding="utf-8"?>
<p:tagLst xmlns:a="http://schemas.openxmlformats.org/drawingml/2006/main" xmlns:r="http://schemas.openxmlformats.org/officeDocument/2006/relationships" xmlns:p="http://schemas.openxmlformats.org/presentationml/2006/main">
  <p:tag name="APLORISTAG" val="MMq8K+TY0y1GzdU7X.128"/>
</p:tagLst>
</file>

<file path=ppt/tags/tag126.xml><?xml version="1.0" encoding="utf-8"?>
<p:tagLst xmlns:a="http://schemas.openxmlformats.org/drawingml/2006/main" xmlns:r="http://schemas.openxmlformats.org/officeDocument/2006/relationships" xmlns:p="http://schemas.openxmlformats.org/presentationml/2006/main">
  <p:tag name="APLORISTAG" val="MMq8K+TY0y1GzdU7X.129"/>
</p:tagLst>
</file>

<file path=ppt/tags/tag127.xml><?xml version="1.0" encoding="utf-8"?>
<p:tagLst xmlns:a="http://schemas.openxmlformats.org/drawingml/2006/main" xmlns:r="http://schemas.openxmlformats.org/officeDocument/2006/relationships" xmlns:p="http://schemas.openxmlformats.org/presentationml/2006/main">
  <p:tag name="APLORISTAG" val="MHEquBxczdrxuEFlm"/>
</p:tagLst>
</file>

<file path=ppt/tags/tag128.xml><?xml version="1.0" encoding="utf-8"?>
<p:tagLst xmlns:a="http://schemas.openxmlformats.org/drawingml/2006/main" xmlns:r="http://schemas.openxmlformats.org/officeDocument/2006/relationships" xmlns:p="http://schemas.openxmlformats.org/presentationml/2006/main">
  <p:tag name="APLORISTAG" val="MHEquBxczdrxuEFlm.186"/>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ZQXBsb3Jpcy5DaGFydC5CdWJibGVDaGFydDYAAAAGbVhBeGlzDm1YQXhpc1Bvc2l0aW9uBm1ZQXhpcw5tWUF4aXNQb3NpdGlvbgptQ2hhcnRUeXBlDm1DaGFydEVsZW1lbnRzDG1DaGFydEdyb3Vwcw9tVW51c2VkRWxlbWVudHMTbVVudXNlZEVsZW1lbnRzTGlzdAdtTGVnZW5kEW1CdWJibGVTaXplTGVnZW5kE21EaWFtZXRlckJ1YmJsZVNpemUWbUJ1YmJsZVNjYWxlRmFjdG9yQXV0bxJtQnViYmxlU2NhbGVGYWN0b3ILbUNoYXJ0TGluZXMWbVNpemVNYWduaXR1ZGVQcm92aWRlchRtTnVtYmVyRm9ybWF0U2l6ZUFicxhtTnVtYmVyRm9ybWF0U2l6ZVBlcmNlbnQ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QEBAMDBAQAAAAEBAQEBAQEAAMAAQEHAAQHBwAAAAAABAAAAAAEAQABAQQEAAIDBAQDHUFwbG9yaXMuQ2hhcnQuQnViYmxlQ2hhcnRBeGlzAgAAAChBcGxvcmlzLkNoYXJ0LkJ1YmJsZUNoYXJ0K2VYQXhpc1Bvc2l0aW9uAgAAAB1BcGxvcmlzLkNoYXJ0LkJ1YmJsZUNoYXJ0QXhpcwIAAAAoQXBsb3Jpcy5DaGFydC5CdWJibGVDaGFydCtlWUF4aXNQb3NpdGlvbgIAAAAqQXBsb3Jpcy5DaGFydC5CdWJibGVDaGFydCtlQnViYmxlQ2hhcnRUeXBlAgAAAKQBQXBsb3Jpcy5CYXNlLk9iamVjdHMuRGF0YU9iamVjdENvbGxlY3Rpb25gMVtbQXBsb3Jpcy5DaGFydC5CdWJibGVDaGFydEVsZW1lbnQsIEFwbG9yaXMuQ2hhcnQsIFZlcnNpb249NC4wLjAuMTQ4NiwgQ3VsdHVyZT1uZXV0cmFsLCBQdWJsaWNLZXlUb2tlbj0xNmZjMTNhMjI2YzBlOTUxXV0DAAAAogFBcGxvcmlzLkJhc2UuT2JqZWN0cy5EYXRhT2JqZWN0Q29sbGVjdGlvbmAxW1tBcGxvcmlzLkNoYXJ0LkJ1YmJsZUNoYXJ0R3JvdXAsIEFwbG9yaXMuQ2hhcnQsIFZlcnNpb249NC4wLjAuMTQ4NiwgQ3VsdHVyZT1uZXV0cmFsLCBQdWJsaWNLZXlUb2tlbj0xNmZjMTNhMjI2YzBlOTUxXV0DAAAAqwFTeXN0ZW0uQ29sbGVjdGlvbnMuT2JqZWN0TW9kZWwuQ29sbGVjdGlvbmAxW1tBcGxvcmlzLkNoYXJ0LkJ1YmJsZUNoYXJ0K1VudXNlZEVsZW1lbnQsIEFwbG9yaXMuQ2hhcnQsIFZlcnNpb249NC4wLjAuMTQ4NiwgQ3VsdHVyZT1uZXV0cmFsLCBQdWJsaWNLZXlUb2tlbj0xNmZjMTNhMjI2YzBlOTUxXV2hAVN5c3RlbS5Db2xsZWN0aW9ucy5HZW5lcmljLkxpc3RgMVtbQXBsb3Jpcy5DaGFydC5CdWJibGVDaGFydCtVbnVzZWRFbGVtZW50LCBBcGxvcmlzLkNoYXJ0LCBWZXJzaW9uPTQuMC4wLjE0ODYsIEN1bHR1cmU9bmV1dHJhbCwgUHVibGljS2V5VG9rZW49MTZmYzEzYTIyNmMwZTk1MV1dH0FwbG9yaXMuQ2hhcnQuQnViYmxlQ2hhcnRMZWdlbmQCAAAAHkFwbG9yaXMuQ2hhcnQuQnViYmxlU2l6ZUxlZ2VuZAIAAAABAQahAUFwbG9yaXMuQmFzZS5PYmplY3RzLkRhdGFPYmplY3RDb2xsZWN0aW9uYDFbW0FwbG9yaXMuQ2hhcnQuQnViYmxlQ2hhcnRMaW5lLCBBcGxvcmlzLkNoYXJ0LCBWZXJzaW9uPTQuMC4wLjE0ODYsIEN1bHR1cmU9bmV1dHJhbCwgUHVibGljS2V5VG9rZW49MTZmYzEzYTIyNmMwZTk1MV1dAwAAACdBcGxvcmlzLkNoYXJ0LlN0YW5kYXJkTWFnbml0dWRlUHJvdmlkZXICAAAAGkFwbG9yaXMuQ2hhcnQuTnVtYmVyRm9ybWF0AgAAABpBcGxvcmlzLkNoYXJ0Lk51bWJlckZvcm1hdAIAAAAZQXBsb3Jpcy5DaGFydC5PcmllbnRhdGlvbgIAAAAaQXBsb3Jpcy5CYXNlLlVJLlZpc3VhbFJlY3QDAAAAGVN5c3RlbS5EcmF3aW5nLlJlY3RhbmdsZUYEAAAAAQtTeXN0ZW0uR3VpZAECARxBcGxvcmlzLkNoYXJ0LkRhdGEuRGF0YVRhYmxlAgAAAAgICAgIAQEZU3lzdGVtLkRyYXdpbmcuUmVjdGFuZ2xlRgQAAAALCwsLFVN5c3RlbS5EcmF3aW5nLlBvaW50RgQAAAAIH0FwbG9yaXMuQmFzZS5PYmplY3RzLlRleHRGb3JtYXQDAAAAFlN5c3RlbS5EcmF3aW5nLkNvbG9yW10EAAAA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UAAAAFBgAAAChBcGxvcmlzLkNoYXJ0LkJ1YmJsZUNoYXJ0K2VYQXhpc1Bvc2l0aW9uAQAAAAd2YWx1ZV9fAAgCAAAAAAAAAAkHAAAABQgAAAAoQXBsb3Jpcy5DaGFydC5CdWJibGVDaGFydCtlWUF4aXNQb3NpdGlvbgEAAAAHdmFsdWVfXwAIAgAAAAAAAAAFCQAAACpBcGxvcmlzLkNoYXJ0LkJ1YmJsZUNoYXJ0K2VCdWJibGVDaGFydFR5cGUBAAAAB3ZhbHVlX18ACAIAAAABAAAACQoAAAAJCwAAAAoJDAAAAAoKAAEAAAAAAAAAAAkNAAAACQ4AAAAJDwAAAAoFEAAAABlBcGxvcmlzLkNoYXJ0Lk9yaWVudGF0aW9uAQAAAAd2YWx1ZV9fAAgCAAAAAQAAAAkRAAAABRIAAAAZU3lzdGVtLkRyYXdpbmcuUmVjdGFuZ2xlRgQAAAABeAF5BXdpZHRoBmhlaWdodAAAAAALCwsLBAAAAKWLvkEHAC5Bii4PRIDXnEMABBMAAAALU3lzdGVtLkd1aWQLAAAAAl9hAl9iAl9jAl9kAl9lAl9mAl9nAl9oAl9pAl9qAl9rAAAAAAAAAAAAAAAIBwcCAgICAgICAgAAAAAAAAAAAAAAAAAAAAAACgoJFAAAAAAKCgkVAAAAAQAAAAAAAAAAAAAAAQABFgAAABIAAAAAACBBRhefQ6N8FUQQXcRB4LxdQk9eCEOjfBpEF12wQwUXAAAAFVN5c3RlbS5EcmF3aW5nLlBvaW50RgIAAAABeAF5AAALCwQAAADgzrZDTz4TQwYYAAAAEEhFcXVCeGN6ZHJ4dUVGbG0AAAAACgoJGQAAAAkaAAAAAAoJGwAAAAoJAQAAAAkcAAAABQUAAAAdQXBsb3Jpcy5DaGFydC5CdWJibGVDaGFydEF4aXMmAAAABm1DaGFydAltQXhpc1R5cGUKbUF4aXNUaXRsZQ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BBAQEAAAAAAAAAAAAAAQEBAQEBAQEBAQHAAAABAAAAAMEBAMZQXBsb3Jpcy5DaGFydC5CdWJibGVDaGFydAIAAAAhQXBsb3Jpcy5DaGFydC5CdWJibGVDaGFydEF4aXNUeXBlAgAAABNBcGxvcmlzLkNoYXJ0LkNoYXJ0AgAAAJsBQXBsb3Jpcy5CYXNlLk9iamVjdHMuRGF0YU9iamVjdENvbGxlY3Rpb25gMVtbQXBsb3Jpcy5DaGFydC5WYWx1ZUxpbmUsIEFwbG9yaXMuQ2hhcnQsIFZlcnNpb249NC4wLjAuMTQ4NiwgQ3VsdHVyZT1uZXV0cmFsLCBQdWJsaWNLZXlUb2tlbj0xNmZjMTNhMjI2YzBlOTUxXV0DAAAAmwFBcGxvcmlzLkJhc2UuT2JqZWN0cy5EYXRhT2JqZWN0Q29sbGVjdGlvbmAxW1tBcGxvcmlzLkNoYXJ0LkF4aXNCcmVhaywgQXBsb3Jpcy5DaGFydCwgVmVyc2lvbj00LjAuMC4xNDg2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AuMC4xNDg2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R0AAAAhQXBsb3Jpcy5DaGFydC5CdWJibGVDaGFydEF4aXNUeXBlAQAAAAd2YWx1ZV9fAAgCAAAAAAAAAAYeAAAAAVgJAQAAAAkfAAAACSAAAAABAAAAAAAAAAAAAAAAAAAAWUABAAAAAAAAJEAAAAAgQQABCSEAAAAKCSIAAAAJIwAAAAkkAAAAASUAAAAXAAAApYu+QYBHokMBJgAAABcAAADnIhVEgEeiQwknAAAACSgAAAAJKQAAAAoAAAAAAAAAAAAAAAAJKgAAAAAAAAAAAAkrAAAACQEAAAAJAQAAAAksAAAAAQcAAAAFAAAACQEAAAABLQAAAB0AAAABAAAABi4AAAABWQkBAAAACS8AAAAJMAAAAAEAAAAAAAAAAAAAAAAAAAAIQAAAAAAAAADwPwAAACBBAAEJMQAAAAoJMgAAAAkzAAAACTQAAAABNQAAABcAAACli75BgEeiQwE2AAAAFwAAAKWLvkEHAC5BCTcAAAAJOAAAAAk5AAAACgAAAAAAAAAAAAAAAAk6AAAAAAAAAAAACTsAAAAJAQAAAAkBAAAACTwAAAAFCgAAAKQBQXBsb3Jpcy5CYXNlLk9iamVjdHMuRGF0YU9iamVjdENvbGxlY3Rpb25gMVtbQXBsb3Jpcy5DaGFydC5CdWJibGVDaGFydE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iAUFwbG9yaXMuQmFzZS5PYmplY3RzLlNvcnRhYmxlQ29sbGVjdGlvbmAxW1tBcGxvcmlzLkNoYXJ0LkJ1YmJsZUNoYXJ0RWxlbWVudCwgQXBsb3Jpcy5DaGFydCwgVmVyc2lvbj00LjAuMC4xNDg2LCBDdWx0dXJlPW5ldXRyYWwsIFB1YmxpY0tleVRva2VuPTE2ZmMxM2EyMjZjMGU5NTFdXQMAAACaAVN5c3RlbS5Db2xsZWN0aW9ucy5HZW5lcmljLkxpc3RgMVtbQXBsb3Jpcy5DaGFydC5CdWJibGVDaGFydE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PQAAAAk+AAAACQEAAAAJAQAAAAk/AAAABQsAAACiAUFwbG9yaXMuQmFzZS5PYmplY3RzLkRhdGFPYmplY3RDb2xsZWN0aW9uYDFbW0FwbG9yaXMuQ2hhcnQuQnViYmxlQ2hhcnR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QnViYmxlQ2hhcnRHcm91cCwgQXBsb3Jpcy5DaGFydCwgVmVyc2lvbj00LjAuMC4xNDg2LCBDdWx0dXJlPW5ldXRyYWwsIFB1YmxpY0tleVRva2VuPTE2ZmMxM2EyMjZjMGU5NTFdXQMAAACYAVN5c3RlbS5Db2xsZWN0aW9ucy5HZW5lcmljLkxpc3RgMVtbQXBsb3Jpcy5DaGFydC5CdWJibGVDaGFydE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AAAAAJQQAAAAkBAAAACQEAAAAJQgAAAAQMAAAAoQFTeXN0ZW0uQ29sbGVjdGlvbnMuR2VuZXJpYy5MaXN0YDFbW0FwbG9yaXMuQ2hhcnQuQnViYmxlQ2hhcnQrVW51c2VkRWxlbWVudCwgQXBsb3Jpcy5DaGFydCwgVmVyc2lvbj00LjAuMC4xNDg2LCBDdWx0dXJlPW5ldXRyYWwsIFB1YmxpY0tleVRva2VuPTE2ZmMxM2EyMjZjMGU5NTFdXQMAAAAGX2l0ZW1zBV9zaXplCF92ZXJzaW9uBAAAKUFwbG9yaXMuQ2hhcnQuQnViYmxlQ2hhcnQrVW51c2VkRWxlbWVudFtdAgAAAAgICUMAAAAAAAAABAAAAAUNAAAAoQFBcGxvcmlzLkJhc2UuT2JqZWN0cy5EYXRhT2JqZWN0Q29sbGVjdGlvbmAxW1tBcGxvcmlzLkNoYXJ0LkJ1YmJsZUNoYXJ0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nViYmxlQ2hhcnRMaW5lLCBBcGxvcmlzLkNoYXJ0LCBWZXJzaW9uPTQuMC4wLjE0ODYsIEN1bHR1cmU9bmV1dHJhbCwgUHVibGljS2V5VG9rZW49MTZmYzEzYTIyNmMwZTk1MV1dAwAAAJcBU3lzdGVtLkNvbGxlY3Rpb25zLkdlbmVyaWMuTGlzdGAxW1tBcGxvcmlzLkNoYXJ0LkJ1YmJsZUNoYXJ0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EAAAACUUAAAAJAQAAAAkBAAAACUYAAAAFDgAAACdBcGxvcmlzLkNoYXJ0LlN0YW5kYXJkTWFnbml0dWRlUHJvdmlkZXIEAAAAEm1NYWduaXR1ZGVBYnNvbHV0ZRFtTWFnbml0dWRlUGVyY2VudBJtQWJzb2x1dGVWYXJpYWJsZXMRbVBlcmNlbnRWYXJpYWJsZXMAAAcHCAgICAIAAAAAAAAAAAAAAAlHAAAACUgAAAAFD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GUFwbG9yaXMuQ2hhcnQuQnViYmxlQ2hhcnQCAAAAGUFwbG9yaXMuQ2hhcnQuQnViYmxlQ2hhcnQCAAAACAEICAEICAgCAAAACQEAAAAJAQAAAAAAAAAABkkAAAABLgMAAAAGSgAAAAEsBksAAAABLQZMAAAAASsBAAAAAAoKBk0AAAAITS9kL3l5eXkAAAAACgAAAAAAAAAABREAAAAaQXBsb3Jpcy5CYXNlLlVJLlZpc3VhbFJlY3QUAAAAC21TdGFydFBvaW50CW1FbmRQb2ludAttTGluZUZvcm1hdAttRmlsbEZvcm1hdAltUm90YXRpb24SbVJlY3RhbmdsZVByb3ZpZGVyDG1QYWludE9mZnNldBJtUGFpbnRTaXplT3ZlcnJpZGUObUV4dHJhUm90YXRpb24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BAAEBAQABAAAAAAHAgAAAwAVU3lzdGVtLkRyYXdpbmcuUG9pbnRGBAAAABVTeXN0ZW0uRHJhd2luZy5Qb2ludEYEAAAAH0FwbG9yaXMuQmFzZS5PYmplY3RzLkxpbmVGb3JtYXQDAAAAH0FwbG9yaXMuQmFzZS5PYmplY3RzLkZpbGxGb3JtYXQDAAAACypBcGxvcmlzLkJhc2UuVUkuSVJlY3RhbmdsZVBvc2l0aW9uUHJvdmlkZXIDAAAAFFN5c3RlbS5EcmF3aW5nLlNpemVGBAAAABRTeXN0ZW0uRHJhd2luZy5TaXplRgQAAAALGVN5c3RlbS5EcmF3aW5nLlJlY3RhbmdsZUYEAAAACAgBAQgBAQ9TeXN0ZW0uSW50UHRyW10BAwAAAAFOAAAAFwAAAKWLvkEHAC5BAU8AAAAXAAAA5yIVRIBHokMJUAAAAAlRAAAAAAAAAAoFUgAAABRTeXN0ZW0uRHJhd2luZy5TaXplRgIAAAAFd2lkdGgGaGVpZ2h0AAALCwQAAAAAAAAAAAAAAAFTAAAAUgAAAAAAAAAAAAAAAAAAAAFUAAAAEgAAAAAAAAAAAAAAAAAAAAAAAAAUAAAA/////wEBCglVAAAAAQAKAA8UAAAAOiwAAAJQSwMEFAAGAAgAAAAhANAr4s+DAQAAgAYAABMACAJbQ29udGVudF9UeXBlc10ueG1s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xV3UrDMBS+F3yHkltZs00QkXW7cHqpA+cDxOZ0DUuTkJP9vb2n2RQdtXNsoDcNbfL9JeTrYLSudLIEj8qajPXSLkvA5FYqM8vY6/Sxc8sSDMJIoa2BjG0A2Wh4eTGYbhxgQmiDGStDcHecY15CJTC1DgzNFNZXItCrn3En8rmYAe93uzc8tyaACZ1Qc7DhYAyFWOiQPKzp89YJwVlyv11XS2VMOKdVLgIZ5fUsb8QtW3FLI/fMdWxRqBykzRcVWUoJP/ZiRfF/EPCgscVZg8IuekrI6B5L5fBqF+GZ9t4rCclE+PAkKgrK15qvrJ+/WTtP2/ehQW0vDzoPQmIJECqdxjGthDK/0I+Lkcehd2Yjdb5IfKSP/j/xcf1HPgJdMODxefqRRJoDB4BhowHPnHZLeki5FB7kS/B0F89u4Cv3AR+5repmwNP3+/td/OBtk6damnjrkBrTw/GH8NE8NbrjiAh8UNDaPZ+KVLfHC+6VD9R9LkE2aPP4/xi+AwAA//8DAFBLAwQUAAYACAAAACEAUHxOwfY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ySz0oDMRCH74LvEObezbaCiDTbiwi9idQHGJPZP+xuJiTTun17g6C4sNYek8x8882PbHfTOKgTxdSxN7AuSlDkLbvONwbeDs+rB1BJ0Dsc2JOBMyXYVbc321caUHJTaruQVKb4ZKAVCY9aJ9vSiKngQD6/1BxHlHyMjQ5oe2xIb8ryXsffDKhmTLV3BuLerUEdziFP/p/Ndd1ZemJ7HMnLwgg9r8hkjA2JgWnQHxz7d+a+yMKgl10217v8vaceSdChoLYcaRViTilKl3P90XFsX/J1+qq4JHR3vdB89aVwaBLyjtxlJQzh20jP/kD1CQAA//8DAFBLAwQUAAYACAAAACEAqBE78gsBAADUAw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vJPBasMwDIbvg72D0X1xkm5ljDq9lEGvW/cAJlHi0MQOlrotbz+TbWkKJbuEXQyS8P9//JY328+2Ee/oqXZWQRLFINDmrqhtpeDt8Hz3CIJY20I3zqKCHgm22e3N5gUbzeESmbojEVQsKTDM3ZOUlBtsNUWuQxsmpfOt5lD6SnY6P+oKZRrHa+mnGpBdaIp9ocDvixWIQ98F57+1XVnWOe5cfmrR8hUL+eH8kQwiB1HtK2QFY4vkMFlFgRjkdZj7JWE4hIRnkKGUw5nMMTwsyUDcN+FFxzS+6zn79aL2RnssXtmHdZtSTNtzMMmSMOMmnOMYWz/LMfsw6T/DpL/JyIu/mH0BAAD//wMAUEsDBBQABgAIAAAAIQAirucU0wEAACYDAAAPAAAAeGwvd29ya2Jvb2sueG1sjFJNb5wwEL1X6n+wfGdtDGyiFRCl+6GuVFWR0iZn15jFCraRbQpR1f/eAbrbrdJDL8yM5zHzZubld6Nu0XfpvLKmwPGKYiSNsJUypwJ//XKIbjHygZuKt9bIAr9Kj+/K9+/ywbqXb9a+IChgfIGbELoNIV40UnO/sp00kKmt0zxA6E7Ed07yyjdSBt0SRumaaK4MXips3P/UsHWthNxZ0WtpwlLEyZYHoO8b1Xlc5rVq5dMyEeJd95lr4D22GLXch32lgqwKnEFoB/nXg+u7D71qIcvWlKaYlJcpHxzifbBbq2EI7x+UCD04BaYTatrDk5KD//PDFKLxWZnKDgVObigs9vUcMsogHObks6pCAx3jeIIsbx+lOjUBzsGSdG5ArjrMC4ROs0Vmnu5xWmoMl5rsEQYA320UOO5YxRPFN2h2hQb/gmb/RCdXaPAv6GRCk7k4UBK8FbCpycwkUkopMBHWiN45ONgWMr93JsfwyYcyB4t6pwr84yZjyT7bJRHLDkl0n+1pFK8TFq3TA8vSLWNpxn6e1aLHN3LRSjjrbR1WwmqyKAUUJogchZwFd7sIrsz1uLl3ojnu0KHlJzjjPDUAgdD0nZmRs8TLXwAAAP//AwBQSwMEFAAGAAgAAAAhAPtipW2UBgAApxsAABMAAAB4bC90aGVtZS90aGVtZTEueG1s7FlPb9s2FL8P2HcgdG9tJ7YbB3WK2LGbrU0bxG6HHmmZllhTokDSSX0b2uOAAcO6YZcBu+0wbCvQArt0nyZbh60D+hX2SEqyGMtL0gYb1tWHRCJ/fP/f4yN19dqDiKFDIiTlcdurXa56iMQ+H9M4aHt3hv1LGx6SCsdjzHhM2t6cSO/a1vvvXcWbKiQRQbA+lpu47YVKJZuVivRhGMvLPCExzE24iLCCVxFUxgIfAd2IVdaq1WYlwjT2UIwjIHt7MqE+QUNN0tvKiPcYvMZK6gGfiYEmTZwVBjue1jRCzmWXCXSIWdsDPmN+NCQPlIcYlgom2l7V/LzK1tUK3kwXMbVibWFd3/zSdemC8XTN8BTBKGda69dbV3Zy+gbA1DKu1+t1e7WcngFg3wdNrSxFmvX+Rq2T0SyA7OMy7W61Ua27+AL99SWZW51Op9FKZbFEDcg+1pfwG9VmfXvNwRuQxTeW8PXOdrfbdPAGZPHNJXz/SqtZd/EGFDIaT5fQ2qH9fko9h0w42y2FbwB8o5rCFyiIhjy6NIsJj9WqWIvwfS76ANBAhhWNkZonZIJ9iOIujkaCYs0AbxJcmLFDvlwa0ryQ9AVNVNv7MMGQEQt6r55//+r5U/Tq+ZPjh8+OH/50/OjR8cMfLS1n4S6Og+LCl99+9ufXH6M/nn7z8vEX5XhZxP/6wye//Px5ORAyaCHRiy+f/PbsyYuvPv39u8cl8G2BR0X4kEZEolvkCB3wCHQzhnElJyNxvhXDEFNnBQ6Bdgnpngod4K05ZmW4DnGNd1dA8SgDXp/dd2QdhGKmaAnnG2HkAPc4Zx0uSg1wQ/MqWHg4i4Ny5mJWxB1gfFjGu4tjx7W9WQJVMwtKx/bdkDhi7jMcKxyQmCik5/iUkBLt7lHq2HWP+oJLPlHoHkUdTEtNMqQjJ5AWi3ZpBH6Zl+kMrnZss3cXdTgr03qHHLpISAjMSoQfEuaY8TqeKRyVkRziiBUNfhOrsEzIwVz4RVxPKvB0QBhHvTGRsmzNbQH6Fpx+A0O9KnX7HptHLlIoOi2jeRNzXkTu8Gk3xFFShh3QOCxiP5BTCFGM9rkqg+9xN0P0O/gBxyvdfZcSx92nF4I7NHBEWgSInpmJEl9eJ9yJ38GcTTAxVQZKulOpIxr/XdlmFOq25fCubLe9bdjEypJn90SxXoX7D5boHTyL9wlkxfIW9a5Cv6vQ3ltfoVfl8sXX5UUphiqtGxLba5vOO1rZeE8oYwM1Z+SmNL23hA1o3IdBvc4cOkl+EEtCeNSZDAwcXCCwWYMEVx9RFQ5CnEDfXvM0kUCmpAOJEi7hvGiGS2lrPPT+yp42G/ocYiuHxGqPj+3wuh7Ojhs5GSNVYM60GaN1TeCszNavpERBt9dhVtNCnZlbzYhmiqLDLVdZm9icy8HkuWowmFsTOhsE/RBYuQnHfs0azjuYkbG2u/VR5hbjhYt0kQzxmKQ+0nov+6hmnJTFypIiWg8bDPrseIrVCtxamuwbcDuLk4rs6ivYZd57Ey9lEbzwElA7mY4sLiYni9FR22s11hoe8nHS9iZwVIbHKAGvS91MYhbAfZOvhA37U5PZZPnCm61MMTcJanD7Ye2+pLBTBxIh1Q6WoQ0NM5WGAIs1Jyv/WgPMelEKlFSjs0mxvgHB8K9JAXZ0XUsmE+KrorMLI9p29jUtpXymiBiE4yM0YjNxgMH9OlRBnzGVcONhKoJ+ges5bW0z5RbnNOmKl2IGZ8cxS0KclludolkmW7gpSLkM5q0gHuhWKrtR7vyqmJS/IFWKYfw/U0XvJ3AFsT7WHvDhdlhgpDOl7XGhQg5VKAmp3xfQOJjaAdECV7wwDUEFd9TmvyCH+r/NOUvDpDWcJNUBDZCgsB+pUBCyD2XJRN8pxGrp3mVJspSQiaiCuDKxYo/IIWFDXQObem/3UAihbqpJWgYM7mT8ue9pBo0C3eQU882pZPnea3Pgn+58bDKDUm4dNg1NZv9cxLw9WOyqdr1Znu29RUX0xKLNqmdZAcwKW0ErTfvXFOGcW62tWEsarzUy4cCLyxrDYN4QJXCRhPQf2P+o8Jn94KE31CE/gNqK4PuFJgZhA1F9yTYeSBdIOziCxskO2mDSpKxp09ZJWy3brC+40835njC2luws/j6nsfPmzGXn5OJFGju1sGNrO7bS1ODZkykKQ5PsIGMcY76UFT9m8dF9cPQOfDaYMSVNMMGnKoGhhx6YPIDktxzN0q2/AA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FJ8IHNoBAABVAwAAGAAAAHhsL3dvcmtzaGVldHMvc2hlZXQyLnhtbIyTy27bMBBF9wX6DwT3FinZsWzDcpDECBogQY0+kjVNjSTCIimQdC2jyL93JFVpAW+8kTh8HM7cO1zftromv8B5ZU1G44hTAkbaXJkyoz9/PE4WlPggTC5qayCjZ/D0dvP50/pk3cFXAIEgwfiMViE0K8a8rEALH9kGDK4U1mkRMHQl840DkfeHdM0SzudMC2XoQFi5axi2KJSErZVHDSYMEAe1CJi/r1TjR5qW1+C0cIdjM5FWN4jYq1qFcw+lRMvVU2msE/sa627jmZAjuw8u8FpJZ70tQoQ4NiR6WfOSLRmSNutcYQWd7MRBkdG7mLLNuhfnVcHJ/zcmndZ7aw/dwlOeUd5tZRd7H3utd47shYcHW7+pPFRoKnqaQyGOdfg3uYgW04RP4+TmY/GbPX0BVVYBj8yw1K7iVX7egpco9d9b+0u3IgjMoBElvAhXKuNJDUW3JUopcQOjHwfb9LN4y96GYPUYVdgJgI7zaEpJYW0YA+RCG5596P/k6FRGf89nnCfpNJ7cze/55Kb7JPOUT9I0ie/TB76cc/4+uqPb66zRQjJoJfStuBhacbPW7Wr3/EpebI6uo3JfDeywzn789l2KrhkG/TFNdGFMln08iM0fAAAA//8DAFBLAwQUAAYACAAAACEAFJ8IHNoBAABVAwAAGAAAAHhsL3dvcmtzaGVldHMvc2hlZXQzLnhtbIyTy27bMBBF9wX6DwT3FinZsWzDcpDECBogQY0+kjVNjSTCIimQdC2jyL93JFVpAW+8kTh8HM7cO1zftromv8B5ZU1G44hTAkbaXJkyoz9/PE4WlPggTC5qayCjZ/D0dvP50/pk3cFXAIEgwfiMViE0K8a8rEALH9kGDK4U1mkRMHQl840DkfeHdM0SzudMC2XoQFi5axi2KJSErZVHDSYMEAe1CJi/r1TjR5qW1+C0cIdjM5FWN4jYq1qFcw+lRMvVU2msE/sa627jmZAjuw8u8FpJZ70tQoQ4NiR6WfOSLRmSNutcYQWd7MRBkdG7mLLNuhfnVcHJ/zcmndZ7aw/dwlOeUd5tZRd7H3utd47shYcHW7+pPFRoKnqaQyGOdfg3uYgW04RP4+TmY/GbPX0BVVYBj8yw1K7iVX7egpco9d9b+0u3IgjMoBElvAhXKuNJDUW3JUopcQOjHwfb9LN4y96GYPUYVdgJgI7zaEpJYW0YA+RCG5596P/k6FRGf89nnCfpNJ7cze/55Kb7JPOUT9I0ie/TB76cc/4+uqPb66zRQjJoJfStuBhacbPW7Wr3/EpebI6uo3JfDeywzn789l2KrhkG/TFNdGFMln08iM0fAAAA//8DAFBLAwQUAAYACAAAACEAZVA9pggDAACtBgAAGAAAAHhsL3dvcmtzaGVldHMvc2hlZXQxLnhtbIxV227bMAx9H7B/EPSe+JY6iWG7aBIUK9Bhxbq1z4osx0Jty5OU24b9+yipSZ0mA/riSKR4ziFFMen1rqnRhknFRZvhYOhjxFoqCt6uMvzzx+1ggpHSpC1ILVqW4T1T+Dr//CndCvmiKsY0AoRWZbjSuks8T9GKNUQNRcda8JRCNkTDVq481UlGChvU1F7o+7HXEN5ih5DIj2CIsuSULQRdN6zVDkSymmjQryreqQParvgQXiHJFnI96OlJXDjPES8YnelrOJVCiVIPqWg8J+08y6k3PcmzoWdAF4rVEPmy7gYA3EFyS15zvbfpYtTQ5G7VCkmWNdzILhgR2lNJzuE/rhOQ8rTgUFvTEEiyMsM3QbKIsJen9uaeONuq3hppsnxkNaOaFdBAGJnGWArxYg7egckHRGUPGERCNd+wOavrDM9G0Fu/LAcsgcA7MvTXB7Zb20oPEi2JYnNRP/NCV0AJLVuwkqxr/WacDCdR6EdBeHV0fhfbL4yvKg0hQGzLlhT7BVMUOsnoBAVU1EAHX9Rw8x6g2GTn0nJsfWCl9+YC4tdAFxIeQuJoAjTb/4YFNmNHaPNeEE3yVIotgs4FZtUR866CZAQVpMZ4Y6wZtrWyhpkzQJKQgIJjm9xPvQ1Uj76GzM9PBKcnFu5EaOUA+1ECZHJBgrGanN8Yo1O8mTsRWTWTd2TzvjM8Bnp93ugir7Ge8r6Fu1q4E453NDliW+e873ynCZrbQPcK4PrQ3UdHVuwrkSveKlSz0jTKcIyRdJ1k11p01grXsBRai+awq2DcMbg3fwgUpRD6sIFOM7iPTK87JCSHBrQTLMOdkFoSrjGqwP5bgKNedBwuPZyOpvE4nEIFYV5rTs8dAFuzFaH719mFZMKLDMu7wjYb2+l7pfMUftFaAuafeOT74TgKBjfxzB9cmU8Yj/3BeBwGs/Hcn8a+//cwWxp4CO+G/MXB0hDqsR1ldsRP3OjL02aXPNw/oa+igCcDT/Zbyx6gBHb9/AjJ2KUZAiDPfa1Y7/hHk/8DAAD//wMAUEsDBBQABgAIAAAAIQAUSeSYawMAAOQKAAANAAAAeGwvc3R5bGVzLnhtbMRWW2/TMBR+R+I/WH7v0pZ2W6umiHaLQAKEtCHx6iZOas2XyHFGC+K/c46dNqFbWQdC9KW+ne9855oze71RktxzWwmjYzo461PCdWoyoYuYfr5NepeUVI7pjEmjeUy3vKKv5y9fzCq3lfxmzbkjAKGrmK6dK6dRVKVrrlh1Zkqu4SY3VjEHW1tEVWk5yyoUUjIa9vvnkWJC04AwVekpIIrZu7rspUaVzImVkMJtPRYlKp2+K7SxbCWB6mYwYukO228ewCuRWlOZ3J0BXGTyXKT8IctJNIkAaT7LjXYVSU2tXUzHAI0apnfafNUJXoEDm1fzWfWN3DMJJwMazWepkcYSB54BYv5EM8XDiyWTYmUFPsuZEnIbjod44J3ZvFMCTMPDCHkENh09fbxqUd9YweSjmL+Ir1BJQ3WCzwNToTO+4VlMLw/I3rK1Uexp3LqD+5gLDtj+nQ+eUnZgw58q846rwPFCyn0ajDDicDCfQTo6bnUCG9Ksb7clxFtD5aDHovDuideFZdvBcHy6QGWkyJBFsfRZZotVTBP4La8DzKq52Af1fOTRO4RPJXdU1/XFJEHQ5+jy/gB/rozNoAPtCgtrKBzNZ5LnDlCtKNb470yJOoxzUK7zWSZYYTSTsIx2Es0CYFMu5Q12qS/5HhujtcmJrlWi3DvIb+h3WE27JcSuWQa8sAH8Y0IDkH+20KujQoSVpdx+rNWK28R3Tk/Rn2JitbuFd1q7fyNFoRXHzgQ2eYFP1jieOt/Zfb0dM2L0n/hE3RCFgHVidfFHsSKb/MmgYdAfD9peOnhw52TfQI557wS03yTQP5cOloTkOdWOISXd/D/wyvOwINlPw/LZAPHvVO4vdbtPFoJfOWhxRkrzlWfkLXRZK4W+gy+yDz6qrIV0QmMqTChZiyzjON9gizrEeSCO1rfiMAD9VvwjlqncqYZwdmR91R3qCwIEtAS2nlRbCmB/tmk7lodwONH4Xrb3CCjKeM5q6W73lzFt1x94JmoFSppXn8S9cR4ipu36PTbWwTm6hW/c+wrGCvgntRUx/X69uJhcXSfD3mV/cdkbveLj3mS8uOqNR8vF1VUy6Q/7yx9gBY5/U5iF/mK88mMgdNnBaFpJGMJsY2xD/qY9i2lnE+j7jxnQhq/Azoio2o+n858AAAD//wMAUEsDBBQABgAIAAAAIQADVe21iwIAAAsHAAAbAAAAeGwvZHJhd2luZ3Mvdm1sRHJhd2luZzEudm1s7FVNb9swDL33VwjqIZcE/ujaYYodoOjQ2zZg7bZjodhKrFYSDZtxnP76UbKTNh06FNiAXWYkDkVSJN/jA5L11jD6ulZ0Od80TrRFpaxsZ1YXDbSwwlkBVnTW8JMxEX6XCKuVLpQYfg5X+jdcUX2hnppYGqdCrEUUWVl8t+YmzPWt0XxxwjIQbSVrZeQONsg6oXrMuSo1+qgP69LK+ijASoky5wmPfIHoqMIi64aCuKsV02XO7/qYnjtM45SzAqApW/2ocp4mF3E8DW/OqEZNfX0Oda0lVjm38TQ2Y8aQd/SOezWMSA2xgQfF7kG7FneGiluNqgnzMRrI12PrRpZaOQxw4SHn6NsW4Jwq0E+b84asEdQzFAdIz+G0SZyeczbcOz3COIwwqaHVqMEJuWzBbFDNCZmVzVq7mVErFEma1DgfPQi1SOm41SVWItVuXim9rlCEpMeZdqXqReJrdLrVS2007kSly1K5uW1htm1kPQutBfqLE7bSxhRgoMn56YoelXjARJFCCyXBlRuEPYU+mbZD2elTut+v548oK2HLwA2kLdti0yha7UDWgeEXbDpw6rACJF0toWcjOX7iUnu+iaGZNCj8MBPfj2Wl7vZ5/hqF9doJz9lkkUUUDWNFnRiLhmMvroxf70fSJvuyvKfSt2GpnwEHobCsF5+gUz80VlfKmDbA894bEuSv3ktXVNCEkVg6Zcn5lMVTbw1GMmUfsqgXz9Ko1CXBuCYuF9fStCrE956ArRdfYbuIfcAbo++KBGLdIvHu0fbM+9MBFOVmhDnI91VJXvyhJN+/e02SSerluRflGdl7Uab/RflvRHn2QpRnJEn/CTL6i7JM3y7LiP4BFz8BAAD//wMAUEsDBBQABgAIAAAAIQCfha0mzwAAAB4BAAAUAAAAeGwvc2hhcmVkU3RyaW5ncy54bWxcj01LBDEMhu+C/yH07nYUEZG2y7IgeBNXQY9hGmcKbTo7yQz67+0iguzxeT9IXrf9KhlWmiVV9uZ60xkg7mtMPHjz9vp4dW9AFDlirkzefJOYbbi8cCIKrcvizag6PVgr/UgFZVMn4uZ81rmgNpwHK9NMGGUk0pLtTdfd2YKJDfR1YfXm1sDC6bjQ/o+DkxSchndnNTh7gl/h41zYtbNpJYGnSJhhF9ck7Xs4JF1Q26zzwgsp8cmAxHDQGZWG1MNzxn9R2/aFHwAAAP//AwBQSwMEFAAGAAgAAAAhAFaDM880AQAAEg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X0vDMBTF3wW/Q8l7m6aDKaHtQGWIOBCcKL6F5G4LNn9Irnb79mbdrJP5eDnn/jjn3nq2NV32BSFqZxvCipJkYKVT2q4b8rKc59ckiyisEp2z0JAdRDJrLy9q6bl0AZ6C8xBQQ8wSyUYufUM2iJ5TGuUGjIhFctgkrlwwAtMY1tQL+SHWQKuynFIDKJRAQffA3I9EckQqOSL9Z+gGgJIUOjBgMVJWMPrrRQgm/rswKCdOo3HnU6dj3FO2kgdxdG+jHo193xf9ZIiR8jP6tnh8Hqrm2u5vJYG0tZJcBhDoQlvT0yEdrhMRF+nGKw3qZtc+OCtwI2x270ICgLY1PXcl4lCAm+NmljLxQ4Mf6XVye7eck7Yq2TQvWc4my6ri7IpX7H2f4i8gBTv7YvsNAAD//wMAUEsDBBQABgAIAAAAIQAUvZ0oHQEAAEECAAAQAAAAeGwvY29tbWVudHMxLnhtbLxQTUsDMRC9C/6HkLvNbg9SZbOFFgqCoIcKehx3Z7uBfJTMbGn99U7drqA3L0II7728mfdItTwGrw6YyaVodTkrtMLYpNbFndUv283NQitiiC34FNHqE5Je1tdXVZNCwMikZEEkq3vm/b0x1PQYgGZpj1FeupQDsNC8M7TPCC31iBy8mRfFrQngoq4rGLhPmSZgJlCvPQytG0g99ZkrM/rqCcjApcWjI/4mKmNn9arUavQ/tFYXksJ4FFOW8yzXu6TQhzqAt/pOC2mST1m52OIRZWJRnsW8SZFH0xb6FOAsdhCcP43q/CyYr41cv6ompSx/B4wC/RBiZSTTSJ4Z482l8a+26x9ty39p+/aXtlPv8acnRvUnAAAA//8DAFBLAwQUAAYACAAAACEAvyvrnpEBAAA+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0FP4zAQhe9I+x8i36nTFiFUOUYIdsUBRKUW9mycSWPh2pFniFp+PZNEpemye9nbzLynl89jR13vtj5rIaGLoRDTSS4yCDaWLmwK8bz+dX4lMiQTSuNjgELsAcW1/nGmlik2kMgBZhwRsBA1UbOQEm0NW4MTlgMrVUxbQ9ymjYxV5SzcRfu+hUBylueXEnYEoYTyvPkKFEPioqX/DS2j7fjwZb1vGFirm6bxzhriU+pHZ1PEWFH2aKwLFLHOfu4seCXHNsWcK7DvydFe50qOW7WyxsMtf0JXxiMoeRyoezDd+pbGJdSqpUULlmLK0H3wAmciezUIHVghWpOcCcSAnW1o+to3SEn/jukNawBCJdkwDPty7B3X7kLPewMXp8YuYABh4RRx7cgDPlVLk+gvxPMxcc8w8A44q45vOub7Iu2l2b+lgXR8qn5RzPcH0YMLb/jcrOOdIThs/HSoVrVJUPIlHfTjQN3zspPvQm5rEzZQHjzfhe6lvAy/g55eTPJ5zlc/mil5fPj6EwAA//8DAFBLAQItABQABgAIAAAAIQDQK+LPgwEAAIAGAAATAAAAAAAAAAAAAAAAAAAAAABbQ29udGVudF9UeXBlc10ueG1sUEsBAi0AFAAGAAgAAAAhAFB8TsH2AAAATAIAAAsAAAAAAAAAAAAAAAAAvAMAAF9yZWxzLy5yZWxzUEsBAi0AFAAGAAgAAAAhAKgRO/ILAQAA1AMAABoAAAAAAAAAAAAAAAAA4wYAAHhsL19yZWxzL3dvcmtib29rLnhtbC5yZWxzUEsBAi0AFAAGAAgAAAAhACKu5xTTAQAAJgMAAA8AAAAAAAAAAAAAAAAALgkAAHhsL3dvcmtib29rLnhtbFBLAQItABQABgAIAAAAIQD7YqVtlAYAAKcbAAATAAAAAAAAAAAAAAAAAC4LAAB4bC90aGVtZS90aGVtZTEueG1sUEsBAi0AFAAGAAgAAAAhAOdldbjWAAAAuAEAACMAAAAAAAAAAAAAAAAA8xEAAHhsL3dvcmtzaGVldHMvX3JlbHMvc2hlZXQxLnhtbC5yZWxzUEsBAi0AFAAGAAgAAAAhABSfCBzaAQAAVQMAABgAAAAAAAAAAAAAAAAAChMAAHhsL3dvcmtzaGVldHMvc2hlZXQyLnhtbFBLAQItABQABgAIAAAAIQAUnwgc2gEAAFUDAAAYAAAAAAAAAAAAAAAAABoVAAB4bC93b3Jrc2hlZXRzL3NoZWV0My54bWxQSwECLQAUAAYACAAAACEAZVA9pggDAACtBgAAGAAAAAAAAAAAAAAAAAAqFwAAeGwvd29ya3NoZWV0cy9zaGVldDEueG1sUEsBAi0AFAAGAAgAAAAhABRJ5JhrAwAA5AoAAA0AAAAAAAAAAAAAAAAAaBoAAHhsL3N0eWxlcy54bWxQSwECLQAUAAYACAAAACEAA1XttYsCAAALBwAAGwAAAAAAAAAAAAAAAAD+HQAAeGwvZHJhd2luZ3Mvdm1sRHJhd2luZzEudm1sUEsBAi0AFAAGAAgAAAAhAJ+FrSbPAAAAHgEAABQAAAAAAAAAAAAAAAAAwiAAAHhsL3NoYXJlZFN0cmluZ3MueG1sUEsBAi0AFAAGAAgAAAAhAFaDM880AQAAEgIAABEAAAAAAAAAAAAAAAAAwyEAAGRvY1Byb3BzL2NvcmUueG1sUEsBAi0AFAAGAAgAAAAhABS9nSgdAQAAQQIAABAAAAAAAAAAAAAAAAAALiQAAHhsL2NvbW1lbnRzMS54bWxQSwECLQAUAAYACAAAACEAvyvrnpEBAAA+AwAAEAAAAAAAAAAAAAAAAAB5JQAAZG9jUHJvcHMvYXBwLnhtbFBLBQYAAAAADwAPAOQDAABAKAAAAAAPFQAAAAMAAAAIAgAAAAMAAAAEAAAABRk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lYAAAAFQXJpYWwGVwAAAAYrbW4tZWEJWAAAAAEACVkAAAAHGgAAAAABAAAAEQAAAAQUU3lzdGVtLkRyYXdpbmcuQ29sb3IEAAAABVoAAAAUU3lzdGVtLkRyYXdpbmcuQ29sb3IEAAAABXZhbHVlBXN0YXRlCmtub3duQ29sb3IEbmFtZQAAAAEJBwcEAAAAAAAAAAAAAAAAAAAACgFbAAAAWgAAAAAAAP//////AgAAAAoBXAAAAFoAAAD//////////wIAAAAKAV0AAABaAAAATkEi//////8CAAAACgFeAAAAWgAAAN7c2///////AgAAAAoBXwAAAFoAAAB+aT///////wIAAAAKAWAAAABaAAAAjIRy//////8CAAAACgFhAAAAWgAAACUh7f//////AgAAAAoBYgAAAFoAAAA0O0b//////wIAAAAKAWMAAABaAAAAdJjD//////8CAAAACgFkAAAAWgAAAB6U9///////AgAAAAoBZQAAAFoAAAAelPf//////wIAAAAKAWYAAABaAAAAJSHt//////8CAAAACgFnAAAAWgAAAAAAAP//////AgAAAAoBaAAAAFoAAAD//////////wIAAAAKAWkAAABaAAAATkEi//////8CAAAACgFqAAAAWgAAAN7c2///////AgAAAAoEGwAAAJgBU3lzdGVtLkNvbGxlY3Rpb25zLkdlbmVyaWMuTGlzdGAxW1tBcGxvcmlzLkJhc2UuT2JqZWN0cy5EYXRhT2JqZWN0LCBBcGxvcmlzLkJhc2UsIFZlcnNpb249NC4wLjAuMTQ4NiwgQ3VsdHVyZT1uZXV0cmFsLCBQdWJsaWNLZXlUb2tlbj0xNmZjMTNhMjI2YzBlOTUxXV0DAAAABl9pdGVtcwVfc2l6ZQhfdmVyc2lvbgQAACFBcGxvcmlzLkJhc2UuT2JqZWN0cy5EYXRhT2JqZWN0W10DAAAACAgJawAAAAYAAAAGAAAABBwAAACVAVN5c3RlbS5Db2xsZWN0aW9ucy5HZW5lcmljLkxpc3RgMVtbQXBsb3Jpcy5CYXNlLlVJLlZpc3VhbE9iamVjdCwgQXBsb3Jpcy5CYXNlLCBWZXJzaW9uPTQuMC4wLjE0ODYsIEN1bHR1cmU9bmV1dHJhbCwgUHVibGljS2V5VG9rZW49MTZmYzEzYTIyNmMwZTk1MV1dAwAAAAZfaXRlbXMFX3NpemUIX3ZlcnNpb24EAAAeQXBsb3Jpcy5CYXNlLlVJLlZpc3VhbE9iamVjdFtdAwAAAAgICWwAAAABAAAAAQAAAAUfAAAAmwFBcGxvcmlzLkJhc2UuT2JqZWN0cy5EYXRhT2JqZWN0Q29sbGVjdGlvbmAxW1tBcGxvcmlzLkNoYXJ0LlZhbHVl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C4wLjE0ODYsIEN1bHR1cmU9bmV1dHJhbCwgUHVibGljS2V5VG9rZW49MTZmYzEzYTIyNmMwZTk1MV1dAwAAAJEBU3lzdGVtLkNvbGxlY3Rpb25zLkdlbmVyaWMuTGlzdGAxW1tBcGxvcmlzLkNoYXJ0LlZhbHVl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tAAAACW4AAAAJBQAAAAkBAAAACW8AAAAFIAAAAJsBQXBsb3Jpcy5CYXNlLk9iamVjdHMuRGF0YU9iamVjdENvbGxlY3Rpb25gMVtbQXBsb3Jpcy5DaGFydC5BeGlzQnJlYWs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AuMC4xNDg2LCBDdWx0dXJlPW5ldXRyYWwsIFB1YmxpY0tleVRva2VuPTE2ZmMxM2EyMjZjMGU5NTFdXQMAAACRAVN5c3RlbS5Db2xsZWN0aW9ucy5HZW5lcmljLkxpc3RgMVtbQXBsb3Jpcy5DaGFydC5BeGlzQnJlYW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cAAAAAlxAAAACQUAAAAJAQAAAAlyAAAABSE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B1BcGxvcmlzLkNoYXJ0LkJ1YmJsZUNoYXJ0QXhpcwIAAAAZQXBsb3Jpcy5DaGFydC5CdWJibGVDaGFydAIAAAAIAQgIAQgICAIAAAAJBQAAAAkBAAAAAAAAAAAJSQAAAAMAAAAJSgAAAAlLAAAACUwAAAABAAAAAAoKCU0AAAAAAAAACgAAAAAAAAAABSI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B1BcGxvcmlzLkNoYXJ0LkJ1YmJsZUNoYXJ0QXhpcwIAAAAZQXBsb3Jpcy5DaGFydC5CdWJibGVDaGFydAIAAAAIAQgIAQgICAIAAAAJBQAAAAkBAAAAAAAAAAAJSQAAAAMAAAAJSgAAAAlLAAAACUwAAAABAAAAAAoKCU0AAAAAAAAACgAAAAAAAAAABSM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B1BcGxvcmlzLkNoYXJ0LkJ1YmJsZUNoYXJ0QXhpcwIAAAAZQXBsb3Jpcy5DaGFydC5CdWJibGVDaGFydAIAAAAIAQgIAQgICAIAAAAJBQAAAAkBAAAAAAAAAAAJSQAAAAMAAAAJSgAAAAlLAAAACUwAAAABAAAAAAoGcwAAAAElCU0AAAABAAAACgAAAAAAAAAABSQAAACaAUFwbG9yaXMuQmFzZS5PYmplY3RzLkRhdGFPYmplY3RDb2xsZWN0aW9uYDFbW0FwbG9yaXMuQ2hhcnQuVGlja01hcms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C4wLjE0ODYsIEN1bHR1cmU9bmV1dHJhbCwgUHVibGljS2V5VG9rZW49MTZmYzEzYTIyNmMwZTk1MV1dAwAAAJABU3lzdGVtLkNvbGxlY3Rpb25zLkdlbmVyaWMuTGlzdGAxW1tBcGxvcmlzLkNoYXJ0LlRpY2tNYXJ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XQAAAAJdQAAAAkFAAAACQEAAAAJdgAAAAUn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XcAAAAXAAAApYu+QYBHokMBeAAAABcAAADnIhVEgEeiQwl5AAAAuAEAAP////8BAQoJegAAAAEACgAHKAAAAAABAAAABAAAAAQVU3lzdGVtLkRyYXdpbmcuUG9pbnRGBAAAAAF7AAAAFwAAAMQPGESAR6JDAXwAAAAXAAAApYu+QZdkq0MBfQAAABcAAABEF5tDl2SrQwF+AAAAFwAAAOciFUSXZKtDBykAAAAAAQAAAAQAAAAEF0FwbG9yaXMuQmFzZS5BbmNob3JNb2RlAwAAAAV/AAAAF0FwbG9yaXMuQmFzZS5BbmNob3JNb2RlAQAAAAd2YWx1ZV9fAAgDAAAABAAAAAGAAAAAfwAAAAUAAAABgQAAAH8AAAADAAAAAYIAAAB/AAAABgAAAAUqAAAAFUFwbG9yaXMuQmFzZS5VSS5MYWJlbBwAAAAPbUFuY2hvclBvc2l0aW9uC21BbmNob3JNb2RlD21BZGRJbm5lck1hcmdpbhZtT2Zmc2V0RGlyZWN0aW9uQW5jaG9yF21PZmZzZXRPcnRob2dvbmFsQW5jaG9yC21UZXh0Rm9ybWF0CW1Sb3RhdGlvbgptQmFja0NvbG9yDW1Vc2VCYWNrQ29sb3IObVVzZ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EBAQAAQMDAQAAAAAHAgAAAwA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wAAAAGDAAAAFwAAAMQPGESAR6JDAYQAAAB/AAAABAAAAAAAAAAAAAAAAAmFAAAAAAAAAAmGAAAAAAAFhwAAACpBcGxvcmlzLkJhc2UuVUkuTGFiZWwrTGluZUFsaWdubWVudE9wdGlvbnMBAAAAB3ZhbHVlX18ACAMAAAAAAAAAAYgAAABSAAAAAAAAQQAAYEEBiQAAABIAAAAAAAAAAAAAAAAAAAAAAAAAXrrZPwkeAAAACgmKAAAABosAAAAA5AIAAP////8AAQoJjAAAAAEACgABKwAAABsAAAAJjQAAAAYAAAAGAAAAASwAAAAcAAAACY4AAAACAAAAAgAAAAEvAAAAHwAAAAoJjwAAAAmQAAAACQcAAAAJAQAAAAmRAAAAATAAAAAgAAAACgmSAAAACZMAAAAJBwAAAAkBAAAACZQAAAAFM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HUFwbG9yaXMuQ2hhcnQuQnViYmxlQ2hhcnRBeGlzAgAAABlBcGxvcmlzLkNoYXJ0LkJ1YmJsZUNoYXJ0AgAAAAgBCAgBCAgIAgAAAAkHAAAACQEAAAAAAAAAAAlJAAAAAwAAAAlKAAAACUsAAAAJTAAAAAEAAAAACgoJTQAAAAAAAAAKAAAAAAAAAAAFM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HUFwbG9yaXMuQ2hhcnQuQnViYmxlQ2hhcnRBeGlzAgAAABlBcGxvcmlzLkNoYXJ0LkJ1YmJsZUNoYXJ0AgAAAAgBCAgBCAgIAgAAAAkHAAAACQEAAAABAAAAAAlJAAAAAwAAAAlKAAAACUsAAAAJTAAAAAEAAAAACgoJTQAAAAAAAAAKAAAAAAAAAAAFM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HUFwbG9yaXMuQ2hhcnQuQnViYmxlQ2hhcnRBeGlzAgAAABlBcGxvcmlzLkNoYXJ0LkJ1YmJsZUNoYXJ0AgAAAAgBCAgBCAgIAgAAAAkHAAAACQEAAAAAAAAAAAlJAAAAAwAAAAlKAAAACUsAAAAJTAAAAAEAAAAACglzAAAACU0AAAABAAAACgAAAAAAAAAAATQAAAAkAAAACgmVAAAACZYAAAAJBwAAAAkBAAAACZcAAAABNwAAACcAAAABmAAAABcAAACli75BgEeiQwGZAAAAFwAAAKWLvkEHAC5BCZoAAAC4AQAA/////wEBCgmbAAAAAQAKAAc4AAAAAAEAAAAEAAAABBVTeXN0ZW0uRHJhd2luZy5Qb2ludEYEAAAAAZwAAAAXAAAApYu+QQ4A/EABnQAAABcAAACKDiRBgEeiQwGeAAAAFwAAAIoOJEGAtydDAZ8AAAAXAAAAig4kQQcALkEHOQAAAAABAAAABAAAAAQXQXBsb3Jpcy5CYXNlLkFuY2hvck1vZGUDAAAAAaAAAAB/AAAAAQAAAAGhAAAAfwAAAAYAAAABogAAAH8AAAACAAAAAaMAAAB/AAAACAAAAAE6AAAAKgAAAAGkAAAAFwAAAKWLvkEOAPxAAaUAAAB/AAAAAQAAAAAAAAAAAAAAAAmmAAAAAAAAAAmnAAAAAAABqAAAAIcAAAAAAAAAAakAAABSAAAAAAAAQQAAYEEBqgAAABIAAAAAAAAAAAAAAAAAAAAAAAAAXrrZPwkuAAAACgmrAAAACYsAAADkAgAA/////wABCgmsAAAAAQAKAAE7AAAAGwAAAAmtAAAABgAAAAYAAAABPAAAABwAAAAJrgAAAAIAAAACAAAABD0AAACaAVN5c3RlbS5Db2xsZWN0aW9ucy5HZW5lcmljLkxpc3RgMVtbQXBsb3Jpcy5DaGFydC5CdWJibGVDaGFydEVsZW1lbnQsIEFwbG9yaXMuQ2hhcnQsIFZlcnNpb249NC4wLjAuMTQ4NiwgQ3VsdHVyZT1uZXV0cmFsLCBQdWJsaWNLZXlUb2tlbj0xNmZjMTNhMjI2YzBlOTUxXV0DAAAABl9pdGVtcwVfc2l6ZQhfdmVyc2lvbgQAACJBcGxvcmlzLkNoYXJ0LkJ1YmJsZUNoYXJ0RWxlbWVudFtdAgAAAAgICa8AAAACAAAAHAAAAAE+AAAAGwAAAAmwAAAAAgAAAAYAAAABPwAAABwAAAAJsQAAAAAAAAAAAAAABEAAAACYAVN5c3RlbS5Db2xsZWN0aW9ucy5HZW5lcmljLkxpc3RgMVtbQXBsb3Jpcy5DaGFydC5CdWJibGVDaGFydEdyb3VwLCBBcGxvcmlzLkNoYXJ0LCBWZXJzaW9uPTQuMC4wLjE0ODYsIEN1bHR1cmU9bmV1dHJhbCwgUHVibGljS2V5VG9rZW49MTZmYzEzYTIyNmMwZTk1MV1dAwAAAAZfaXRlbXMFX3NpemUIX3ZlcnNpb24EAAAgQXBsb3Jpcy5DaGFydC5CdWJibGVDaGFydEdyb3VwW10CAAAACAgJsgAAAAEAAAAdAAAAAUEAAAAbAAAACbMAAAABAAAABQAAAAFCAAAAHAAAAAmxAAAAAAAAAAAAAAAHQwAAAAABAAAABAAAAAQnQXBsb3Jpcy5DaGFydC5CdWJibGVDaGFydCtVbnVzZWRFbGVtZW50AgAAAA0EBEQAAACXAVN5c3RlbS5Db2xsZWN0aW9ucy5HZW5lcmljLkxpc3RgMVtbQXBsb3Jpcy5DaGFydC5CdWJibGVDaGFydExpbmUsIEFwbG9yaXMuQ2hhcnQsIFZlcnNpb249NC4wLjAuMTQ4NiwgQ3VsdHVyZT1uZXV0cmFsLCBQdWJsaWNLZXlUb2tlbj0xNmZjMTNhMjI2YzBlOTUxXV0DAAAABl9pdGVtcwVfc2l6ZQhfdmVyc2lvbgQAAB9BcGxvcmlzLkNoYXJ0LkJ1YmJsZUNoYXJ0TGluZVtdAgAAAAgICbQAAAAAAAAAAAAAAAFFAAAAGwAAAAm1AAAAAAAAAAAAAAABRgAAABwAAAAJsQAAAAAAAAAAAAAAD0cAAAAAAAAACA9IAAAAAAAAAAgFUA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m2AAAACbcAAAABAAAA/v///wEAAAABAAAAAQAAAAEAAAABAAAAAQAAAAAAAQVR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bgAAAAJuQAAAAEAAAAAAAAAAAAAAAAAAAAAAQVVAAAAH0FwbG9yaXMuQmFzZS5PYmplY3RzLlBlcnNJZERhdGECAAAAA21JZAttQ3VzdG9tRGF0YQcCCAMAAAAJugAAAAoFWAAAABpBcGxvcmlzLkJhc2UuT2JqZWN0cy5Db2xvcgcAAAASRGF0YU9iamVjdCttUGFyZW50FURhdGFPYmplY3QrbUNvbnRhaW5lcgVtVHlwZQRtUkdCEG1UaGVtZUNvbG9ySW5kZXgMbUF1dG9VcGRhdGVkCW1Nb2RpZmllZAICAAAAAAAICAgBAQMAAAAKCgAAAAAAAAAADQAAAAABAVkAAABYAAAACgoBAAAAAAAAAP////8AAQdrAAAAAAEAAAAIAAAABB9BcGxvcmlzLkJhc2UuT2JqZWN0cy5EYXRhT2JqZWN0AwAAAAkPAAAACQoAAAAJCwAAAAkNAAAACQUAAAAJBwAAAAoKB2wAAAAAAQAAAAQAAAAEHEFwbG9yaXMuQmFzZS5VSS5WaXN1YWxPYmplY3QDAAAACREAAAANAwRtAAAAkQFTeXN0ZW0uQ29sbGVjdGlvbnMuR2VuZXJpYy5MaXN0YDFbW0FwbG9yaXMuQ2hhcnQuVmFsdWVMaW5lLCBBcGxvcmlzLkNoYXJ0LCBWZXJzaW9uPTQuMC4wLjE0ODYsIEN1bHR1cmU9bmV1dHJhbCwgUHVibGljS2V5VG9rZW49MTZmYzEzYTIyNmMwZTk1MV1dAwAAAAZfaXRlbXMFX3NpemUIX3ZlcnNpb24EAAAZQXBsb3Jpcy5DaGFydC5WYWx1ZUxpbmVbXQIAAAAICAm7AAAAAAAAAAAAAAABbgAAABsAAAAJtQAAAAAAAAAAAAAAAW8AAAAcAAAACbEAAAAAAAAAAAAAAARwAAAAkQFTeXN0ZW0uQ29sbGVjdGlvbnMuR2VuZXJpYy5MaXN0YDFbW0FwbG9yaXMuQ2hhcnQuQXhpc0JyZWFrLCBBcGxvcmlzLkNoYXJ0LCBWZXJzaW9uPTQuMC4wLjE0ODYsIEN1bHR1cmU9bmV1dHJhbCwgUHVibGljS2V5VG9rZW49MTZmYzEzYTIyNmMwZTk1MV1dAwAAAAZfaXRlbXMFX3NpemUIX3ZlcnNpb24EAAAZQXBsb3Jpcy5DaGFydC5BeGlzQnJlYWtbXQIAAAAICAm8AAAAAAAAAAAAAAABcQAAABsAAAAJtQAAAAAAAAAAAAAAAXIAAAAcAAAACbEAAAAAAAAAAAAAAAR0AAAAkAFTeXN0ZW0uQ29sbGVjdGlvbnMuR2VuZXJpYy5MaXN0YDFbW0FwbG9yaXMuQ2hhcnQuVGlja01hcmssIEFwbG9yaXMuQ2hhcnQsIFZlcnNpb249NC4wLjAuMTQ4NiwgQ3VsdHVyZT1uZXV0cmFsLCBQdWJsaWNLZXlUb2tlbj0xNmZjMTNhMjI2YzBlOTUxXV0DAAAABl9pdGVtcwVfc2l6ZQhfdmVyc2lvbgQAABhBcGxvcmlzLkNoYXJ0LlRpY2tNYXJrW10CAAAACAgJvQAAAAsAAAAXAAAAAXUAAAAbAAAACb4AAAALAAAAFwAAAAF2AAAAHAAAAAmxAAAAAAAAAAAAAAABeQAAAFAAAAAKCgAAAEA/Cb8AAAAJwAAAAAEAAAD+////AAAAAAEAAAAAAAAAAAAAAAEAAAAAAAAAAAAAAXoAAABVAAAACcEAAAAKBYU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nViYmxlQ2hhcnRBeGlzAgAAAAEBAQsaQXBsb3Jpcy5CYXNlLk9iamVjdHMuQ29sb3IDAAAAAQEaQXBsb3Jpcy5CYXNlLk9iamVjdHMuQ29sb3IDAAAAAwAAAAkFAAAACgAAAAAAQEEJVgAAAAlXAAAACcIAAAABAAnDAAAAAYYAAABYAAAACgoBAAAAAAAAAP////8AAQSKAAAAlgFTeXN0ZW0uQ29sbGVjdGlvbnMuR2VuZXJpYy5MaXN0YDFbW0FwbG9yaXMuQmFzZS5PYmplY3RzLlZhcmlhYmxlLCBBcGxvcmlzLkJhc2UsIFZlcnNpb249NC4wLjAuMTQ4NiwgQ3VsdHVyZT1uZXV0cmFsLCBQdWJsaWNLZXlUb2tlbj0xNmZjMTNhMjI2YzBlOTUxXV0DAAAABl9pdGVtcwVfc2l6ZQhfdmVyc2lvbgQAAB9BcGxvcmlzLkJhc2UuT2JqZWN0cy5WYXJpYWJsZVtdAwAAAAgICcQAAAABAAAAAQAAAAGMAAAAVQAAAAnFAAAACgeNAAAAAAEAAAAIAAAABB9BcGxvcmlzLkJhc2UuT2JqZWN0cy5EYXRhT2JqZWN0AwAAAAkhAAAACSIAAAAJIwAAAAkkAAAACR8AAAAJIAAAAAoKB44AAAAAAQAAAAQAAAAEHEFwbG9yaXMuQmFzZS5VSS5WaXN1YWxPYmplY3QDAAAACScAAAAJKgAAAAoKAY8AAABtAAAACbsAAAAAAAAAAAAAAAGQAAAAGwAAAAm1AAAAAAAAAAAAAAABkQAAABwAAAAJsQAAAAAAAAAAAAAAAZIAAABwAAAACbwAAAAAAAAAAAAAAAGTAAAAGwAAAAm1AAAAAAAAAAAAAAABlAAAABwAAAAJsQAAAAAAAAAAAAAAAZUAAAB0AAAACcYAAAAEAAAAGgAAAAGWAAAAGwAAAAnHAAAABAAAABoAAAABlwAAABwAAAAJsQAAAAAAAAAAAAAAAZoAAABQAAAACgoAAABAPwnIAAAACckAAAABAAAA/v///wAAAAABAAAAAAAAAAAAAAABAAAAAAAAAAAAAAGbAAAAVQAAAAnKAAAACgWm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J1YmJsZUNoYXJ0QXhpcwIAAAABAQELGkFwbG9yaXMuQmFzZS5PYmplY3RzLkNvbG9yAwAAAAEBGkFwbG9yaXMuQmFzZS5PYmplY3RzLkNvbG9yAwAAAAMAAAAJBwAAAAoAAAAAAEBBCVYAAAAJVwAAAAnLAAAAAQAJzAAAAAGnAAAAWAAAAAoKAQAAAAAAAAD/////AAEBqwAAAIoAAAAJzQAAAAEAAAABAAAAAawAAABVAAAACc4AAAAKB60AAAAAAQAAAAgAAAAEH0FwbG9yaXMuQmFzZS5PYmplY3RzLkRhdGFPYmplY3QDAAAACTEAAAAJMgAAAAkzAAAACTQAAAAJLwAAAAkwAAAACgoHrgAAAAABAAAABAAAAAQcQXBsb3Jpcy5CYXNlLlVJLlZpc3VhbE9iamVjdAMAAAAJNwAAAAk6AAAACgoHrwAAAAABAAAABAAAAAQgQXBsb3Jpcy5DaGFydC5CdWJibGVDaGFydEVsZW1lbnQCAAAACc8AAAAJ0AAAAAoKB7AAAAAAAQAAAAQAAAAEH0FwbG9yaXMuQmFzZS5PYmplY3RzLkRhdGFPYmplY3QDAAAACdAAAAAJzwAAAAoKB7EAAAAAAQAAAAAAAAAEHEFwbG9yaXMuQmFzZS5VSS5WaXN1YWxPYmplY3QDAAAAB7IAAAAAAQAAAAQAAAAEHkFwbG9yaXMuQ2hhcnQuQnViYmxlQ2hhcnRHcm91cAIAAAAJ0QAAAA0DB7MAAAAAAQAAAAQAAAAEH0FwbG9yaXMuQmFzZS5PYmplY3RzLkRhdGFPYmplY3QDAAAACdEAAAANAwe0AAAAAAEAAAAAAAAABB1BcGxvcmlzLkNoYXJ0LkJ1YmJsZUNoYXJ0TGluZQIAAAAHtQAAAAABAAAAAAAAAAQfQXBsb3Jpcy5CYXNlLk9iamVjdHMuRGF0YU9iamVjdAMAAAABtgAAAFgAAAAKCgAAAAAAAAAADQAAAAABAbcAAABYAAAACgoBAAAAAAAAAP////8AAQG4AAAAWAAAAAoKAQAAAP///wD/////AAEBuQAAAFgAAAAKCgEAAAAAAAAA/////wABD7oAAAABAAAACAAAAAAHuwAAAAABAAAAAAAAAAQXQXBsb3Jpcy5DaGFydC5WYWx1ZUxpbmUCAAAAB7wAAAAAAQAAAAAAAAAEF0FwbG9yaXMuQ2hhcnQuQXhpc0JyZWFrAgAAAAe9AAAAAAEAAAAQAAAABBZBcGxvcmlzLkNoYXJ0LlRpY2tNYXJrAgAAAAnSAAAACdMAAAAJ1AAAAAnVAAAACdYAAAAJ1wAAAAnYAAAACdkAAAAJ2gAAAAnbAAAACdwAAAANBQe+AAAAAAEAAAAQAAAABB9BcGxvcmlzLkJhc2UuT2JqZWN0cy5EYXRhT2JqZWN0AwAAAAnSAAAACdMAAAAJ1AAAAAnVAAAACdYAAAAJ1wAAAAnYAAAACdkAAAAJ2gAAAAnbAAAACdwAAAANBQW/AAAAGkFwbG9yaXMuQmFzZS5PYmplY3RzLkNvbG9yBwAAABJEYXRhT2JqZWN0K21QYXJlbnQVRGF0YU9iamVjdCttQ29udGFpbmVyBW1UeXBlBG1SR0IQbVRoZW1lQ29sb3JJbmRleAxtQXV0b1VwZGF0ZWQJbU1vZGlmaWVkBAIAAAAAAB9BcGxvcmlzLkJhc2UuT2JqZWN0cy5MaW5lRm9ybWF0AwAAAAgICAEBAwAAAAl5AAAACgAAAAAAAAAADQAAAAAABcAAAAAaQXBsb3Jpcy5CYXNlLk9iamVjdHMuQ29sb3IHAAAAEkRhdGFPYmplY3QrbVBhcmVudBVEYXRhT2JqZWN0K21Db250YWluZXIFbVR5cGUEbVJHQhBtVGhlbWVDb2xvckluZGV4DG1BdXRvVXBkYXRlZAltTW9kaWZpZWQEAgAAAAAAH0FwbG9yaXMuQmFzZS5PYmplY3RzLkxpbmVGb3JtYXQDAAAACAgIAQEDAAAACXkAAAAKAQAAAAAAAAD/////AAEPwQAAAAEAAAAIwAAAAAHCAAAAWAAAAAoKAAAAAAAAAAANAAAAAAEBwwAAAFgAAAAKCgEAAAAAAAAA/////wABB8QAAAAAAQAAAAQAAAAEHUFwbG9yaXMuQmFzZS5PYmplY3RzLlZhcmlhYmxlAwAAAAXdAAAAHUFwbG9yaXMuQmFzZS5PYmplY3RzLlZhcmlhYmxlAgAAAAZOdW1iZXIIUG9zaXRpb24AAAgIAwAAAAEAAAAAAAAAAd4AAADdAAAAAAAAAAAAAAAB3wAAAN0AAAAAAAAAAAAAAAHgAAAA3QAAAAAAAAAAAAAAD8UAAAABAAAACAAAAAAHxgAAAAABAAAAEAAAAAQWQXBsb3Jpcy5DaGFydC5UaWNrTWFyawIAAAAJ4QAAAAniAAAACeMAAAAJ5AAAAA0MB8cAAAAAAQAAABAAAAAEH0FwbG9yaXMuQmFzZS5PYmplY3RzLkRhdGFPYmplY3QDAAAACeEAAAAJ4gAAAAnjAAAACeQAAAANDAXIAAAAGkFwbG9yaXMuQmFzZS5PYmplY3RzLkNvbG9yBwAAABJEYXRhT2JqZWN0K21QYXJlbnQVRGF0YU9iamVjdCttQ29udGFpbmVyBW1UeXBlBG1SR0IQbVRoZW1lQ29sb3JJbmRleAxtQXV0b1VwZGF0ZWQJbU1vZGlmaWVkBAIAAAAAAB9BcGxvcmlzLkJhc2UuT2JqZWN0cy5MaW5lRm9ybWF0AwAAAAgICAEBAwAAAAmaAAAACgAAAAAAAAAADQAAAAAABckAAAAaQXBsb3Jpcy5CYXNlLk9iamVjdHMuQ29sb3IHAAAAEkRhdGFPYmplY3QrbVBhcmVudBVEYXRhT2JqZWN0K21Db250YWluZXIFbVR5cGUEbVJHQhBtVGhlbWVDb2xvckluZGV4DG1BdXRvVXBkYXRlZAltTW9kaWZpZWQEAgAAAAAAH0FwbG9yaXMuQmFzZS5PYmplY3RzLkxpbmVGb3JtYXQDAAAACAgIAQEDAAAACZoAAAAKAQAAAAAAAAD/////AAEPygAAAAEAAAAIvwAAAAHLAAAAWAAAAAoKAAAAAAAAAAANAAAAAAEBzAAAAFgAAAAKCgEAAAAAAAAA/////wABB80AAAAAAQAAAAQAAAAEHUFwbG9yaXMuQmFzZS5PYmplY3RzLlZhcmlhYmxlAwAAAAHlAAAA3QAAAAEAAAAAAAAAAeYAAADdAAAAAAAAAAAAAAAB5wAAAN0AAAAAAAAAAAAAAAHoAAAA3QAAAAAAAAAAAAAAD84AAAABAAAACAAAAAAFzwAAACBBcGxvcmlzLkNoYXJ0LkJ1YmJsZUNoYXJ0RWxlbWVudBwAAAAGbUNoYXJ0E21FbGVtZW50RGVzY3JpcHRpb24HbVhWYWx1ZQdtWVZhbHVlCm1TaXplVmFsdWUIbVZpc2libGUNbUN1c3RvbVpPcmRlcgZtR3JvdXALbUdyb3VwVmFsdWUHbUxhYmVsMQdtTGFiZWwyDW1PdXRsaWVyQXJyb3cNbVZpc3VhbEJ1YmJsZQ1tVmlzdWFsTWFya2VyDG1DZW50ZXJQb2ludAdtUmFkaXVzC21Hcm91cEluZGV4CW1FeGNlbFJvdxBtTGFiZWwxUG9zaXRpb25zEm1MYWJlbDFBbmNob3JNb2Rlcw9tTGFiZWwxUG9zaXRpb24QbUxhYmVsMlBvc2l0aW9ucxJtTGFiZWwyQW5jaG9yTW9kZXMPbUxhYmVsMlBvc2l0aW9uGERhdGFPYmplY3QrbUNoaWxkT2JqZWN0cxJEYXRhT2JqZWN0K21QYXJlbnQVRGF0YU9iamVjdCttQ29udGFpbmVyGURhdGFPYmplY3QrbVZpc3VhbE9iamVjdHMEAgICAgAABAIEBAQEBAQAAAAEBAAEBAADBAQDGUFwbG9yaXMuQ2hhcnQuQnViYmxlQ2hhcnQCAAAAAQgeQXBsb3Jpcy5DaGFydC5CdWJibGVDaGFydEdyb3VwAgAAABxBcGxvcmlzLkNoYXJ0LkNvbm5lY3RlZExhYmVsAgAAABxBcGxvcmlzLkNoYXJ0LkNvbm5lY3RlZExhYmVsAgAAABpBcGxvcmlzLkJhc2UuVUkuVmlzdWFsTGluZQMAAAAdQXBsb3Jpcy5CYXNlLlVJLlZpc3VhbEVsbGlwc2UDAAAAGkFwbG9yaXMuQ2hhcnQuVmlzdWFsTWFya2VyAgAAABVTeXN0ZW0uRHJhd2luZy5Qb2ludEYEAAAACwgIF1N5c3RlbS5EcmF3aW5nLlBvaW50RltdBAAAABlBcGxvcmlzLkJhc2UuQW5jaG9yTW9kZVtdAwAAAAgXU3lzdGVtLkRyYXdpbmcuUG9pbnRGW10EAAAAGUFwbG9yaXMuQmFzZS5BbmNob3JNb2RlW10DAAAAC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G6QAAABtSZXRlbnRpb24gaW4gU3RyYXRlZ2ljIFBsYW4IBgAAAAAAQFRACAYAAAAAAAAAQAoBAgAAAAnRAAAACgnqAAAACesAAAAKCgnsAAAAAe0AAAAXAAAAFN3zQ1bf5kIAAJBAAAAAAAIAAAAJ7gAAAAnvAAAABAAAAAnwAAAACfEAAAAEAAAACfIAAAAJAQAAAAkBAAAACfMAAAAB0AAAAM8AAAAJAQAAAAb0AAAAIUFjaGVpdmVzIElkZWFsIEFkdmlzaW5nIFNpdHVhdGlvbggGAAAAAAAASEAIBgAAAAAAAPA/CgEBAAAACdEAAAAKCfUAAAAJ9gAAAAoKCfcAAAAB+AAAABcAAAAWXZVDVf9bQwAAkEAAAAAAAwAAAAn5AAAACfoAAAAEAAAACfsAAAAJ/AAAAAQAAAAJ/QAAAAkBAAAACQEAAAAJ/gAAAAXRAAAAHkFwbG9yaXMuQ2hhcnQuQnViYmxlQ2hhcnRHcm91cAgAAAAGbUNoYXJ0EW1Hcm91cERlc2NyaXB0aW9uDW1TaG93SW5MZWdlbmQSbUZpcnN0RWxlbWVudEluZGV4GERhdGFPYmplY3QrbUNoaWxkT2JqZWN0cxJEYXRhT2JqZWN0K21QYXJlbnQVRGF0YU9iamVjdCttQ29udGFpbmVyGURhdGFPYmplY3QrbVZpc3VhbE9iamVjdHMEAQAAAwQEAxlBcGxvcmlzLkNoYXJ0LkJ1YmJsZUNoYXJ0AgAAAAEI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mLAAAAAQAAAAAJ/wAAAAkBAAAACQEAAAAJAAEAAAXSAAAAFkFwbG9yaXMuQ2hhcnQuVGlja01hcmsNAAAAC21WaXN1YWxMaW5lCW1HcmlkTGluZQZtTGFiZWwFbUF4aXMIbVZpc2libGUJbVBvc2l0aW9uC21TdGFydFBvaW50CW1FbmRQb2ludAxtSGFzR3JpZExpbmUYRGF0YU9iamVjdCttQ2hpbGRPYmplY3RzEkRhdGFPYmplY3QrbVBhcmVudBVEYXRhT2JqZWN0K21Db250YWluZXIZRGF0YU9iamVjdCttVmlzdWFsT2JqZWN0cwQEBAQAAAQEAAMEBAMaQXBsb3Jpcy5CYXNlLlVJLlZpc3VhbExpbmUDAAAAGkFwbG9yaXMuQmFzZS5VSS5WaXN1YWxMaW5lAwAAABVBcGxvcmlzLkJhc2UuVUkuTGFiZWwDAAAAEkFwbG9yaXMuQ2hhcnQuQXhpcwIAAAABBhVTeXN0ZW0uRHJhd2luZy5Qb2ludEYEAAAAFVN5c3RlbS5EcmF3aW5nLlBvaW50RgQAAAA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EAAAkCAQAACQMBAAAJBQAAAAEAAAAAAAAAAAEEAQAAFwAAAKWLvkGAR6JDAQUBAAAXAAAApYu+QYBHpEMBCQYBAAAJBQAAAAkBAAAACQcBAAAB0wAAANIAAAAJCAEAAAoJCQEAAAkFAAAAAQAAAAAAACRAAQoBAAAXAAAAiy6iQoBHokMBCwEAABcAAACLLqJCgEekQwAJDAEAAAkFAAAACQEAAAAJDQEAAAHUAAAA0gAAAAkOAQAACgkPAQAACQUAAAABAAAAAAAANEABEAEAABcAAAAWXQpDgEeiQwERAQAAFwAAABZdCkOAR6RDAAkSAQAACQUAAAAJAQAAAAkTAQAAAdUAAADSAAAACRQBAAAKCRUBAAAJBQAAAAEAAAAAAAA+QAEWAQAAFwAAAOeiQ0OAR6JDARcBAAAXAAAA56JDQ4BHpEMACRgBAAAJBQAAAAkBAAAACRkBAAAB1gAAANIAAAAJGgEAAAoJGwEAAAkFAAAAAQAAAAAAAERAARwBAAAXAAAAuOh8Q4BHokMBHQEAABcAAAC46HxDgEekQwAJHgEAAAkFAAAACQEAAAAJHwEAAAHXAAAA0gAAAAkgAQAACSEBAAAJIgEAAAkFAAAAAQAAAAAAAElAASMBAAAXAAAARBebQ4BHokMBJAEAABcAAABEF5tDgEekQwEJJQEAAAkFAAAACQEAAAAJJgEAAAHYAAAA0gAAAAknAQAACgkoAQAACQUAAAABAAAAAAAATkABKQEAABcAAAAturdDgEeiQwEqAQAAFwAAAC26t0OAR6RDAAkrAQAACQUAAAAJAQAAAAksAQAAAdkAAADSAAAACS0BAAAKCS4BAAAJBQAAAAEAAAAAAIBRQAEvAQAAFwAAABVd1EOAR6JDATABAAAXAAAAFV3UQ4BHpEMACTEBAAAJBQAAAAkBAAAACTIBAAAB2gAAANIAAAAJMwEAAAoJNAEAAAkFAAAAAQAAAAAAAFRAATUBAAAXAAAA/f/wQ4BHokMBNgEAABcAAAD9//BDgEekQwAJNwEAAAkFAAAACQEAAAAJOAEAAAHbAAAA0gAAAAk5AQAACgk6AQAACQUAAAABAAAAAACAVkABOwEAABcAAABz0QZEgEeiQwE8AQAAFwAAAHPRBkSAR6RDAAk9AQAACQUAAAAJAQAAAAk+AQAAAdwAAADSAAAACT8BAAAKCUABAAAJBQAAAAEAAAAAAABZQAFBAQAAFwAAAOciFUSAR6JDAUIBAAAXAAAA5yIVRIBHpEMACUMBAAAJBQAAAAkBAAAACUQBAAAB4QAAANIAAAAJRQEAAAlGAQAACUcBAAAJBwAAAAEAAAAAAAAAAAFIAQAAFwAAAKWLvkGAR6JDAUkBAAAXAAAApYueQYBHokMBCUoBAAAJBwAAAAkBAAAACUsBAAAB4gAAANIAAAAJTAEAAAlNAQAACU4BAAAJBwAAAAEAAAAAAADwPwFPAQAAFwAAAKWLvkFV/1tDAVABAAAXAAAApYueQVX/W0MBCVEBAAAJBwAAAAkBAAAACVIBAAAB4wAAANIAAAAJUwEAAAlUAQAACVUBAAAJBwAAAAEAAAAAAAAAQAFWAQAAFwAAAKWLvkFW3+ZCAVcBAAAXAAAApYueQVbf5kIBCVgBAAAJBwAAAAkBAAAACVkBAAAB5AAAANIAAAAJWgEAAAoJWwEAAAkHAAAAAQAAAAAAAAhAAVwBAAAXAAAApYu+QQcALkEBXQEAABcAAACli55BBwAuQQAJXgEAAAkHAAAACQEAAAAJXwEAAAXqAAAAHEFwbG9yaXMuQ2hhcnQuQ29ubmVjdGVkTGFiZWwkAAAADm1Db25uZWN0b3JMaW5lEG1aT3JkZXJDb25uZWN0b3IObUNvbm5lY3Rvck1vZGUZbUFuZ2xlZENvbm5lY3RvckRpcmVjdGlvbhBtQ29ubmVjdG9yVGFyZ2V0GW1Db25uZWN0b3JUYXJnZXRBcmVhU2hhcGUabUNvbm5lY3RvckRpc3BsYXlUaHJlc2hvbGQTbUNvbm5lY3RBbmNob3JQb2ludB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RMYWJlbCttTGluZUFsaWdubWVudA9MYWJlbCttVGV4dFNpemUVTGFiZWwrbUxhYmVsUmVjdGFuZ2xlG0xhYmVsK21Jbm5lck1hcmdpbkxlZnRSaWdodAtMYWJlbCttVGV4dBBMYWJlbCttVmFyaWFibGVzE0xhYmVsK21WYXJpYWJsZUxpc3QUTGFiZWwr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EBAQEAAAEBAAAAAQABAAABAQEAAEDAwEAAAAABwIAAAMAHkFwbG9yaXMuQmFzZS5VSS5WaXN1YWxQb2x5bGluZQMAAAAIK0FwbG9yaXMuQ2hhcnQuQ29ubmVjdGVkTGFiZWwrZUNvbm5lY3Rvck1vZGUCAAAANkFwbG9yaXMuQ2hhcnQuQ29ubmVjdGVkTGFiZWwrZUFuZ2xlZENvbm5lY3RvckRpcmVjdGlvbgIAAAAZU3lzdGVtLkRyYXdpbmcuUmVjdGFuZ2xlRgQAAAAtQXBsb3Jpcy5DaGFydC5Db25uZWN0ZWRMYWJlbCtlVGFyZ2V0QXJlYVNoYXBlAgAAAAsB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IAAAAKPgMAAAVgAQAAK0FwbG9yaXMuQ2hhcnQuQ29ubmVjdGVkTGFiZWwrZUNvbm5lY3Rvck1vZGUBAAAAB3ZhbHVlX18ACAIAAAABAAAABWEBAAA2QXBsb3Jpcy5DaGFydC5Db25uZWN0ZWRMYWJlbCtlQW5nbGVkQ29ubmVjdG9yRGlyZWN0aW9uAQAAAAd2YWx1ZV9fAAgCAAAAAAAAAAFiAQAAEgAAABSd8UNW391CAAAQQQAAEEEFYwEAAC1BcGxvcmlzLkNoYXJ0LkNvbm5lY3RlZExhYmVsK2VUYXJnZXRBcmVhU2hhcGUBAAAAB3ZhbHVlX18ACAIAAAABAAAAAACgQAABZAEAABcAAAAU3fNDVt/XQgFlAQAAfwAAAAEAAAAAAAAAAAAAAAAJZgEAAAAAAAAJZwEAAAAAAWgBAACHAAAAAAAAAAFpAQAAUgAAAAAAHEMAAGBBAWoBAAASAAAAAAAAAAAAAAAAAAAAAAAAAF662T8J6QAAAAoJawEAAAmLAAAANAMAAP////8AAQoJbAEAAAEACgAB6wAAAOoAAAAKPgMAAAFtAQAAYAEAAAEAAAABbgEAAGEBAAAAAAAAAW8BAAASAAAAFJ3xQ1bf3UIAABBBAAAQQQFwAQAAYwEAAAEAAAAAAKBAAAFxAQAAFwAAABTd80NW3/VCAXIBAAB/AAAAAwAAAAAAAAAAAAAAAAlzAQAAAAAAAAl0AQAAAAABdQEAAIcAAAAAAAAAAXYBAABSAAAAAAAAAAAAAAABdwEAABIAAAAAAAAAAAAAAAAAAAAAAAAAAAAAAAZ4AQAABjgxLzIuMAoJeQEAAAZ6AQAAAS80AwAA/////wABCgl7AQAAAQAKAAXsAAAAGkFwbG9yaXMuQ2hhcnQuVmlzdWFsTWFya2VyDgAAAAxtQ2VudGVyUG9pbnQNbU1hcmtlckZvcm1hdAttTGluZUZvcm1hdA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AAAAcCAAADABVTeXN0ZW0uRHJhd2luZy5Qb2ludEYEAAAAGkFwbG9yaXMuQ2hhcnQuTWFya2VyRm9ybWF0AgAAAB9BcGxvcmlzLkJhc2UuT2JqZWN0cy5MaW5lRm9ybWF0AwAAABlTeXN0ZW0uRHJhd2luZy5SZWN0YW5nbGVGBAAAAAgIAQEIAQEPU3lzdGVtLkludFB0cltdAQIAAAABfAEAABcAAAAU3fNDVt/mQgl9AQAACgF+AQAAEgAAABSd8UNW391CAAAQQQAAEEH4AgAA/////wEBCgl/AQAAAQEKAAfuAAAAAAEAAAAFAAAABBVTeXN0ZW0uRHJhd2luZy5Qb2ludEYEAAAAAYABAAAXAAAAFJ33Q1bf5kIBgQEAABcAAAAUHfBDVt/mQgGCAQAAFwAAABTd80NW3/VCAYMBAAAXAAAAFN3zQ1bf10IBhAEAABcAAAAU3fNDVt/mQgfvAAAAAAEAAAAFAAAABBdBcGxvcmlzLkJhc2UuQW5jaG9yTW9kZQMAAAABhQEAAH8AAAAEAAAAAYYBAAB/AAAAAgAAAAGHAQAAfwAAAAMAAAABiAEAAH8AAAABAAAAAYkBAAB/AAAAAAAAAAfwAAAAAAEAAAAFAAAABBVTeXN0ZW0uRHJhd2luZy5Qb2ludEYEAAAAAYoBAAAXAAAAFJ33Q1bf5kIBiwEAABcAAAAUHfBDVt/mQgGMAQAAFwAAABTd80NW3/VCAY0BAAAXAAAAFN3zQ1bf10IBjgEAABcAAAAU3fNDVt/mQgfxAAAAAAEAAAAFAAAABBdBcGxvcmlzLkJhc2UuQW5jaG9yTW9kZQMAAAABjwEAAH8AAAAEAAAAAZABAAB/AAAAAgAAAAGRAQAAfwAAAAMAAAABkgEAAH8AAAABAAAAAZMBAAB/AAAAAAAAAAHyAAAAGwAAAAm1AAAAAAAAAAAAAAAB8wAAABwAAAAJlAEAAAMAAAADAAAAAfUAAADqAAAACj4DAAABlQEAAGABAAABAAAAAZYBAABhAQAAAAAAAAGXAQAAEgAAABYdk0NVf1dDAAAQQQAAEEEBmAEAAGMBAAABAAAAAACgQAABmQEAABcAAAAWXZVDVX9UQwGaAQAAfwAAAAEAAAAAAAAAAAAAAAAJmwEAAAAAAAAJnAEAAAAAAZ0BAACHAAAAAAAAAAGeAQAAUgAAAAAAQkMAAGBBAZ8BAAASAAAAAAAAAAAAAAAAAAAAAAAAAF662T8J9AAAAAoJoAEAAAmLAAAANAMAAP////8AAQoJoQEAAAEACgAB9gAAAOoAAAAKPgMAAAGiAQAAYAEAAAEAAAABowEAAGEBAAAAAAAAAaQBAAASAAAAFh2TQ1V/V0MAABBBAAAQQQGlAQAAYwEAAAEAAAAAAKBAAAGmAQAAFwAAABZdlUNVf2NDAacBAAB/AAAAAwAAAAAAAAAAAAAAAAmoAQAAAAAAAAmpAQAAAAABqgEAAIcAAAAAAAAAAasBAABSAAAAAAAAAAAAAAABrAEAABIAAAAAAAAAAAAAAAAAAAAAAAAAAAAAAAatAQAABjQ4LzEuMAoJrgEAAAl6AQAANAMAAP////8AAQoJrwEAAAEACgAB9wAAAOwAAAABsAEAABcAAAAWXZVDVf9bQwmxAQAACgGyAQAAEgAAABYdk0NVf1dDAAAQQQAAEEH4AgAA/////wEBCgmzAQAAAQEKAAf5AAAAAAEAAAAFAAAABBVTeXN0ZW0uRHJhd2luZy5Qb2ludEYEAAAAAbQBAAAXAAAAFh2ZQ1X/W0MBtQEAABcAAAAWnZFDVf9bQwG2AQAAFwAAABZdlUNVf2NDAbcBAAAXAAAAFl2VQ1V/VEMBuAEAABcAAAAWXZVDVf9bQwf6AAAAAAEAAAAFAAAABBdBcGxvcmlzLkJhc2UuQW5jaG9yTW9kZQMAAAABuQEAAH8AAAAEAAAAAboBAAB/AAAAAgAAAAG7AQAAfwAAAAMAAAABvAEAAH8AAAABAAAAAb0BAAB/AAAAAAAAAAf7AAAAAAEAAAAFAAAABBVTeXN0ZW0uRHJhd2luZy5Qb2ludEYEAAAAAb4BAAAXAAAAFh2ZQ1X/W0MBvwEAABcAAAAWnZFDVf9bQwHAAQAAFwAAABZdlUNVf2NDAcEBAAAXAAAAFl2VQ1V/VEMBwgEAABcAAAAWXZVDVf9bQwf8AAAAAAEAAAAFAAAABBdBcGxvcmlzLkJhc2UuQW5jaG9yTW9kZQMAAAABwwEAAH8AAAAEAAAAAcQBAAB/AAAAAgAAAAHFAQAAfwAAAAMAAAABxgEAAH8AAAABAAAAAccBAAB/AAAAAAAAAAH9AAAAGwAAAAm1AAAAAAAAAAAAAAAB/gAAABwAAAAJyAEAAAMAAAADAAAAAf8AAAAbAAAACbUAAAAAAAAAAAAAAAEAAQAAHAAAAAmxAAAAAAAAAAAAAAABAQEAACcAAAAByQEAABcAAACli75BgEeiQwHKAQAAFwAAAKWLvkGAR6RDCcsBAADMAQAA/////wEBCgnMAQAAAQAKAAECAQAAJwAAAAHNAQAAFwAAAKWLvkEHAC5BAc4BAAAXAAAApYu+QYBHokMJzwEAAF4BAAD/////AQEKCdABAAABAAoAAQMBAAAqAAAAAdEBAAAXAAAApYu+QYAHpUMB0gEAAH8AAAADAAAAAAAAAAAAAAAACdMBAAAAAAAACdQBAAAAAAHVAQAAhwAAAAAAAAAB1gEAAFIAAAAAAOBAAABgQQHXAQAAEgAAAC66mEEAAKVDDEAcQeiiS0Feutk/BtgBAAABMAoJ2QEAAAmLAAAA0AIAAP////8BAQoJ2gEAAAEACgABBgEAABsAAAAJtQAAAAAAAAAAAAAAAQcBAAAcAAAACdsBAAADAAAAAwAAAAEIAQAAJwAAAAHcAQAAFwAAAIsuokKAR6JDAd0BAAAXAAAAiy6iQoBHpEMJ3gEAAMwBAAD/////AQEKCd8BAAABAAoAAQkBAAAqAAAAAeABAAAXAAAAiy6iQoAHpUMB4QEAAH8AAAADAAAAAAAAAAAAAAAACeIBAAAAAAAACeMBAAAAAAHkAQAAhwAAAAAAAAAB5QEAAFIAAAAAAGBBAABgQQHmAQAAEgAAAF10kUIAAKVDwAiBQeiiS0Feutk/BucBAAACMTAKCegBAAAJiwAAANACAAD/////AQEKCekBAAABAAoAAQwBAAAbAAAACbUAAAAAAAAAAAAAAAENAQAAHAAAAAnqAQAAAgAAAAQAAAABDgEAACcAAAAB6wEAABcAAAAWXQpDgEeiQwHsAQAAFwAAABZdCkOAR6RDCe0BAADMAQAA/////wEBCgnuAQAAAQAKAAEPAQAAKgAAAAHvAQAAFwAAABZdCkOAB6VDAfABAAB/AAAAAwAAAAAAAAAAAAAAAAnxAQAAAAAAAAnyAQAAAAAB8wEAAIcAAAAAAAAAAfQBAABSAAAAAABgQQAAYEEB9QEAABIAAAAAAAJDAAClQ8AIgUHooktBXrrZPwb2AQAAAjIwCgn3AQAACYsAAADQAgAA/////wEBCgn4AQAAAQAKAAESAQAAGwAAAAm1AAAAAAAAAAAAAAABEwEAABwAAAAJ+QEAAAIAAAAEAAAAARQBAAAnAAAAAfoBAAAXAAAA56JDQ4BHokMB+wEAABcAAADnokNDgEekQwn8AQAAzAEAAP////8BAQoJ/QEAAAEACgABFQEAACoAAAAB/gEAABcAAADnokNDgAelQwH/AQAAfwAAAAMAAAAAAAAAAAAAAAAJAAIAAAAAAAAJAQIAAAAAAQICAACHAAAAAAAAAAEDAgAAUgAAAAAAYEEAAGBBAQQCAAASAAAA0UU7QwAApUPACIFB6KJLQV662T8GBQIAAAIzMAoJBgIAAAmLAAAA0AIAAP////8BAQoJBwIAAAEACgABGAEAABsAAAAJtQAAAAAAAAAAAAAAARkBAAAcAAAACQgCAAACAAAABAAAAAEaAQAAJwAAAAEJAgAAFwAAALjofEOAR6JDAQoCAAAXAAAAuOh8Q4BHpEMJCwIAAMwBAAD/////AQEKCQwCAAABAAoAARsBAAAqAAAAAQ0CAAAXAAAAuOh8Q4AHpUMBDgIAAH8AAAADAAAAAAAAAAAAAAAACQ8CAAAAAAAACRACAAAAAAERAgAAhwAAAAAAAAABEgIAAFIAAAAAAGBBAABgQQETAgAAEgAAAKOLdEMAAKVDwAiBQeiiS0Feutk/BhQCAAACNDAKCRUCAAAJiwAAANACAAD/////AQEKCRYCAAABAAoAAR4BAAAbAAAACbUAAAAAAAAAAAAAAAEfAQAAHAAAAAkXAgAAAgAAAAQAAAABIAEAACcAAAABGAIAABcAAABEF5tDgEeiQwEZAgAAFwAAAEQXm0OAR6RDCRoCAADMAQAA/////wEBCgkbAgAAAQAKAAEhAQAAJwAAAAEcAgAAFwAAAEQXm0MHAC5BAR0CAAAXAAAARBebQ4BHokMJHgIAAF4BAAD/////AQEKCR8CAAABAAoAASIBAAAqAAAAASACAAAXAAAARBebQ4AHpUMBIQIAAH8AAAADAAAAAAAAAAAAAAAACSICAAAAAAAACSMCAAAAAAEkAgAAhwAAAAAAAAABJQIAAFIAAAAAAGBBAABgQQEmAgAAEgAAALrolkMAAKVDwAiBQeiiS0Feutk/BicCAAACNTAKCSgCAAAJiwAAANACAAD/////AQEKCSkCAAABAAoAASUBAAAbAAAACbUAAAAAAAAAAAAAAAEmAQAAHAAAAAkqAgAAAwAAAAMAAAABJwEAACcAAAABKwIAABcAAAAturdDgEeiQwEsAgAAFwAAAC26t0OAR6RDCS0CAADMAQAA/////wEBCgkuAgAAAQAKAAEoAQAAKgAAAAEvAgAAFwAAAC26t0OAB6VDATACAAB/AAAAAwAAAAAAAAAAAAAAAAkxAgAAAAAAAAkyAgAAAAABMwIAAIcAAAAAAAAAATQCAABSAAAAAABgQQAAYEEBNQIAABIAAACji7NDAAClQ8AIgUHooktBXrrZPwY2AgAAAjYwCgk3AgAACYsAAADQAgAA/////wEBCgk4AgAAAQAKAAErAQAAGwAAAAm1AAAAAAAAAAAAAAABLAEAABwAAAAJOQIAAAIAAAAEAAAAAS0BAAAnAAAAAToCAAAXAAAAFV3UQ4BHokMBOwIAABcAAAAVXdRDgEekQwk8AgAAzAEAAP////8BAQoJPQIAAAEACgABLgEAACoAAAABPgIAABcAAAAVXdRDgAelQwE/AgAAfwAAAAMAAAAAAAAAAAAAAAAJQAIAAAAAAAAJQQIAAAAAAUICAACHAAAAAAAAAAFDAgAAUgAAAAAAYEEAAGBBAUQCAAASAAAAiy7QQwAApUPACIFB6KJLQV662T8GRQIAAAI3MAoJRgIAAAmLAAAA0AIAAP////8BAQoJRwIAAAEACgABMQEAABsAAAAJtQAAAAAAAAAAAAAAATIBAAAcAAAACUgCAAACAAAABAAAAAEzAQAAJwAAAAFJAgAAFwAAAP3/8EOAR6JDAUoCAAAXAAAA/f/wQ4BHpEMJSwIAAMwBAAD/////AQEKCUwCAAABAAoAATQBAAAqAAAAAU0CAAAXAAAA/f/wQ4AHpUMBTgIAAH8AAAADAAAAAAAAAAAAAAAACU8CAAAAAAAACVACAAAAAAFRAgAAhwAAAAAAAAABUgIAAFIAAAAAAGBBAABgQQFTAgAAEgAAAHTR7EMAAKVDwAiBQeiiS0Feutk/BlQCAAACODAKCVUCAAAJiwAAANACAAD/////AQEKCVYCAAABAAoAATcBAAAbAAAACbUAAAAAAAAAAAAAAAE4AQAAHAAAAAlXAgAAAgAAAAQAAAABOQEAACcAAAABWAIAABcAAABz0QZEgEeiQwFZAgAAFwAAAHPRBkSAR6RDCVoCAADMAQAA/////wEBCglbAgAAAQAKAAE6AQAAKgAAAAFcAgAAFwAAAHPRBkSAB6VDAV0CAAB/AAAAAwAAAAAAAAAAAAAAAAleAgAAAAAAAAlfAgAAAAABYAIAAIcAAAAAAAAAAWECAABSAAAAAABgQQAAYEEBYgIAABIAAAAuugREAAClQ8AIgUHooktBXrrZPwZjAgAAAjkwCglkAgAACYsAAADQAgAA/////wEBCgllAgAAAQAKAAE9AQAAGwAAAAm1AAAAAAAAAAAAAAABPgEAABwAAAAJZgIAAAIAAAAEAAAAAT8BAAAnAAAAAWcCAAAXAAAA5yIVRIBHokMBaAIAABcAAADnIhVEgEekQwlpAgAAzAEAAP////8BAQoJagIAAAEACgABQAEAACoAAAABawIAABcAAADnIhVEgAelQwFsAgAAfwAAAAMAAAAAAAAAAAAAAAAJbQIAAAAAAAAJbgIAAAAAAW8CAACHAAAAAAAAAAFwAgAAUgAAAAAAsEEAAGBBAXECAAASAAAA6SISRAAApUNMN7tB6KJLQV662T8GcgIAAAMxMDAKCXMCAAAJiwAAANACAAD/////AQEKCXQCAAABAAoAAUMBAAAbAAAACXUCAAAAAAAAAAAAAAFEAQAAHAAAAAl2AgAAAgAAAAQAAAABRQEAACcAAAABdwIAABcAAACli75BgEeiQwF4AgAAFwAAAKWLnkGAR6JDCXkCAADMAQAA/////wEBCgl6AgAAAQAKAAFGAQAAJwAAAAF7AgAAFwAAAKWLvkGAR6JDAXwCAAAXAAAA5yIVRIBHokMJfQIAAF4BAAD/////AQEKCX4CAAABAAoAAUcBAAAqAAAAAX8CAAAXAAAApYuSQYBHokMBgAIAAH8AAAACAAAAAAAAAAAAAAAACYECAAAAAAAACYICAAAAAAGDAgAAhwAAAAAAAAABhAIAAFIAAAAAAOBAAABgQQGFAgAAEgAAAAAAIEFGF59DDEAcQeiiS0Feutk/BoYCAAABMAoJhwIAAAmLAAAA0AIAAP////8BAQoJiAIAAAEACgABSgEAABsAAAAJtQAAAAAAAAAAAAAAAUsBAAAcAAAACYkCAAADAAAAAwAAAAFMAQAAJwAAAAGKAgAAFwAAAKWLvkFV/1tDAYsCAAAXAAAApYueQVX/W0MJjAIAAMwBAAD/////AQEKCY0CAAABAAoAAU0BAAAnAAAAAY4CAAAXAAAApYu+QVX/W0MBjwIAABcAAADnIhVEVf9bQwmQAgAAXgEAAP////8BAQoJkQIAAAEACgABTgEAACoAAAABkgIAABcAAACli5JBVf9bQwGTAgAAfwAAAAIAAAAAAAAAAAAAAAAJlAIAAAAAAAAJlQIAAAAAAZYCAACHAAAAAAAAAAGXAgAAUgAAAAAAkEEAAGBBAZgCAAASAAAAAAAAAAAAAAAAAAAAAAAAAF662T8GmQIAAAExCgmaAgAACYsAAADQAgAA/////wABCgmbAgAAAQAKAAFRAQAAGwAAAAm1AAAAAAAAAAAAAAABUgEAABwAAAAJnAIAAAMAAAADAAAAAVMBAAAnAAAAAZ0CAAAXAAAApYu+QVbf5kIBngIAABcAAACli55BVt/mQgmfAgAAzAEAAP////8BAQoJoAIAAAEACgABVAEAACcAAAABoQIAABcAAACli75BVt/mQgGiAgAAFwAAAOciFURW3+ZCCaMCAABeAQAA/////wEBCgmkAgAAAQAKAAFVAQAAKgAAAAGlAgAAFwAAAKWLkkFW3+ZCAaYCAAB/AAAAAgAAAAAAAAAAAAAAAAmnAgAAAAAAAAmoAgAAAAABqQIAAIcAAAAAAAAAAaoCAABSAAAAAACQQQAAYEEBqwIAABIAAAAAAAAAAAAAAAAAAAAAAAAAXrrZPwasAgAAATIKCa0CAAAJiwAAANACAAD/////AAEKCa4CAAABAAoAAVgBAAAbAAAACbUAAAAAAAAAAAAAAAFZAQAAHAAAAAmvAgAAAwAAAAUAAAABWgEAACcAAAABsAIAABcAAACli75BBwAuQQGxAgAAFwAAAKWLnkEHAC5BCbICAADMAQAA/////wEBCgmzAgAAAQAKAAFbAQAAKgAAAAG0AgAAFwAAAKWLkkEHAC5BAbUCAAB/AAAAAgAAAAAAAAAAAAAAAAm2AgAAAAAAAAm3AgAAAAABuAIAAIcAAAAAAAAAAbkCAABSAAAAAACQQQAAYEEBugIAABIAAAAAAAAAAAAAAAAAAAAAAAAAXrrZPwa7AgAAATMKCbwCAAAJiwAAANACAAD/////AAEKCb0CAAABAAoAAV4BAAAbAAAACbUAAAAAAAAAAAAAAAFfAQAAHAAAAAm+AgAAAgAAAAQAAAAFZ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gQXBsb3Jpcy5DaGFydC5CdWJibGVDaGFydEVsZW1lbnQCAAAAAQEBCxpBcGxvcmlzLkJhc2UuT2JqZWN0cy5Db2xvcgMAAAABARpBcGxvcmlzLkJhc2UuT2JqZWN0cy5Db2xvcgMAAAADAAAACc8AAAAKAAAAAABAQQlWAAAACVcAAAAJvwIAAAEACcACAAABZwEAAFgAAAAKCgAAAAD///8ADgAAAAABAWsBAACKAAAACcECAAABAAAAAwAAAAFsAQAAVQAAAAnCAgAACgVz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BBcGxvcmlzLkNoYXJ0LkJ1YmJsZUNoYXJ0RWxlbWVudAIAAAABAQELGkFwbG9yaXMuQmFzZS5PYmplY3RzLkNvbG9yAwAAAAEBGkFwbG9yaXMuQmFzZS5PYmplY3RzLkNvbG9yAwAAAAMAAAAJzwAAAAoAAAAAAEBBCVYAAAAJVwAAAAnDAgAAAQAJxAIAAAF0AQAAWAAAAAoKAQAAAAAAAAD/////AAEBeQEAAIoAAAAJxQIAAAIAAAADAAAAAXsBAABVAAAACcYCAAAKBX0BAAAaQXBsb3Jpcy5DaGFydC5NYXJrZXJGb3JtYXQKAAAAEkRhdGFPYmplY3QrbVBhcmVudBVEYXRhT2JqZWN0K21Db250YWluZXIGbUNvbG9yBm1TdHlsZQVtU2l6ZQ1tVHJhbnNwYXJlbmN5CG1WaXNpYmxlC21Gb3JtYXRUeXBlFG1EZWZhdWx0U2NoZW1lRm9ybWF0CW1Nb2RpZmllZAICBAAAAAAAAAAaQXBsb3Jpcy5CYXNlLk9iamVjdHMuQ29sb3IDAAAACAsLCAgBAQIAAAAKCgnHAgAABQAAAAAAEEEAAAAAAAAAAAcAAAAAAQF/AQAAVQAAAAnIAgAACgeUAQAAAAEAAAAEAAAABBxBcGxvcmlzLkJhc2UuVUkuVmlzdWFsT2JqZWN0AwAAAAnsAAAACeoAAAAJ6wAAAAoFmw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gQXBsb3Jpcy5DaGFydC5CdWJibGVDaGFydEVsZW1lbnQCAAAAAQEBCxpBcGxvcmlzLkJhc2UuT2JqZWN0cy5Db2xvcgMAAAABARpBcGxvcmlzLkJhc2UuT2JqZWN0cy5Db2xvcgMAAAADAAAACdAAAAAKAAAAAABAQQlWAAAACVcAAAAJyQIAAAEACcoCAAABnAEAAFgAAAAKCgAAAAD///8ADgAAAAABAaABAACKAAAACcsCAAABAAAAAwAAAAGhAQAAVQAAAAnMAgAACgWo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BBcGxvcmlzLkNoYXJ0LkJ1YmJsZUNoYXJ0RWxlbWVudAIAAAABAQELGkFwbG9yaXMuQmFzZS5PYmplY3RzLkNvbG9yAwAAAAEBGkFwbG9yaXMuQmFzZS5PYmplY3RzLkNvbG9yAwAAAAMAAAAJ0AAAAAoAAAAAAEBBCVYAAAAJVwAAAAnNAgAAAQAJzgIAAAGpAQAAWAAAAAoKAQAAAAAAAAD/////AAEBrgEAAIoAAAAJzwIAAAIAAAADAAAAAa8BAABVAAAACdACAAAKAbEBAAB9AQAACgoJ0QIAAAUAAAAAABBBAAAAAAAAAAAHAAAAAAEBswEAAFUAAAAJ0gIAAAoHyAEAAAABAAAABAAAAAQcQXBsb3Jpcy5CYXNlLlVJLlZpc3VhbE9iamVjdAMAAAAJ9wAAAAn1AAAACfYAAAAKAcsBAABQAAAACgoAAABAPwnTAgAACdQCAAABAAAA/v///wAAAAABAAAAAAAAAAAAAAABAAAAAAAAAAAAAAHMAQAAVQAAAAnVAgAACgHPAQAAUAAAAAoKAAAAQD8J1gIAAAnXAgAAAQAAAP7///8AAAAAAQAAAAAAAAAAAAAAAQAAAAAAAAAAAAAB0AEAAFUAAAAJ2AIAAAoB0wEAABkAAAAKCgAAAAAAQEEJVgAAAAlXAAAACdkCAAAAAAnaAgAAAdQBAABYAAAACgoBAAAAAAAAAP////8AAQHZAQAAigAAAAnbAgAAAQAAAAEAAAAB2gEAAFUAAAAJ3AIAAAoH2wEAAAABAAAABAAAAAQcQXBsb3Jpcy5CYXNlLlVJLlZpc3VhbE9iamVjdAMAAAAJAQEAAAkDAQAACQIBAAAKAd4BAABQAAAACgoAAABAPwndAgAACd4CAAABAAAA/v///wAAAAABAAAAAAAAAAAAAAABAAAAAAAAAAAAAAHfAQAAVQAAAAnfAgAACgHiAQAAGQAAAAoKAAAAAABAQQlWAAAACVcAAAAJ4AIAAAAACeECAAAB4wEAAFgAAAAKCgEAAAAAAAAA/////wABAegBAACKAAAACeICAAABAAAAAwAAAAHpAQAAVQAAAAnjAgAACgfqAQAAAAEAAAAEAAAABBxBcGxvcmlzLkJhc2UuVUkuVmlzdWFsT2JqZWN0AwAAAAkIAQAACQkBAAAKCgHtAQAAUAAAAAoKAAAAQD8J5AIAAAnlAgAAAQAAAP7///8AAAAAAQAAAAAAAAAAAAAAAQAAAAAAAAAAAAAB7gEAAFUAAAAJ5gIAAAoB8QEAABkAAAAKCgAAAAAAQEEJVgAAAAlXAAAACecCAAAAAAnoAgAAAfIBAABYAAAACgoBAAAAAAAAAP////8AAQH3AQAAigAAAAnpAgAAAQAAAAMAAAAB+AEAAFUAAAAJ6gIAAAoH+QEAAAABAAAABAAAAAQcQXBsb3Jpcy5CYXNlLlVJLlZpc3VhbE9iamVjdAMAAAAJDgEAAAkPAQAACgoB/AEAAFAAAAAKCgAAAEA/CesCAAAJ7AIAAAEAAAD+////AAAAAAEAAAAAAAAAAAAAAAEAAAAAAAAAAAAAAf0BAABVAAAACe0CAAAKAQACAAAZAAAACgoAAAAAAEBBCVYAAAAJVwAAAAnuAgAAAAAJ7wIAAAEBAgAAWAAAAAoKAQAAAAAAAAD/////AAEBBgIAAIoAAAAJ8AIAAAEAAAADAAAAAQcCAABVAAAACfECAAAKBwgCAAAAAQAAAAQAAAAEHEFwbG9yaXMuQmFzZS5VSS5WaXN1YWxPYmplY3QDAAAACRQBAAAJFQEAAAoKAQsCAABQAAAACgoAAABAPwnyAgAACfMCAAABAAAA/v///wAAAAABAAAAAAAAAAAAAAABAAAAAAAAAAAAAAEMAgAAVQAAAAn0AgAACgEPAgAAGQAAAAoKAAAAAABAQQlWAAAACVcAAAAJ9QIAAAAACfYCAAABEAIAAFgAAAAKCgEAAAAAAAAA/////wABARUCAACKAAAACfcCAAABAAAAAwAAAAEWAgAAVQAAAAn4AgAACgcXAgAAAAEAAAAEAAAABBxBcGxvcmlzLkJhc2UuVUkuVmlzdWFsT2JqZWN0AwAAAAkaAQAACRsBAAAKCgEaAgAAUAAAAAoKAAAAQD8J+QIAAAn6AgAAAQAAAP7///8AAAAAAQAAAAAAAAAAAAAAAQAAAAAAAAAAAAABGwIAAFUAAAAJ+wIAAAoBHgIAAFAAAAAKCgAAAEA/CfwCAAAJ/QIAAAEAAAD+////AAAAAAEAAAAAAAAAAAAAAAEAAAAAAAAAAAAAAR8CAABVAAAACf4CAAAKASICAAAZAAAACgoAAAAAAEBBCVYAAAAJVwAAAAn/AgAAAAAJAAMAAAEjAgAAWAAAAAoKAQAAAAAAAAD/////AAEBKAIAAIoAAAAJAQMAAAEAAAADAAAAASkCAABVAAAACQIDAAAKByoCAAAAAQAAAAQAAAAEHEFwbG9yaXMuQmFzZS5VSS5WaXN1YWxPYmplY3QDAAAACSABAAAJIgEAAAkhAQAACgEtAgAAUAAAAAoKAAAAQD8JAwMAAAkEAwAAAQAAAP7///8AAAAAAQAAAAAAAAAAAAAAAQAAAAAAAAAAAAABLgIAAFUAAAAJBQMAAAoBMQIAABkAAAAKCgAAAAAAQEEJVgAAAAlXAAAACQYDAAAAAAkHAwAAATICAABYAAAACgoBAAAAAAAAAP////8AAQE3AgAAigAAAAkIAwAAAQAAAAMAAAABOAIAAFUAAAAJCQMAAAoHOQIAAAABAAAABAAAAAQcQXBsb3Jpcy5CYXNlLlVJLlZpc3VhbE9iamVjdAMAAAAJJwEAAAkoAQAACgoBPAIAAFAAAAAKCgAAAEA/CQoDAAAJCwMAAAEAAAD+////AAAAAAEAAAAAAAAAAAAAAAEAAAAAAAAAAAAAAT0CAABVAAAACQwDAAAKAUACAAAZAAAACgoAAAAAAEBBCVYAAAAJVwAAAAkNAwAAAAAJDgMAAAFBAgAAWAAAAAoKAQAAAAAAAAD/////AAEBRgIAAIoAAAAJDwMAAAEAAAADAAAAAUcCAABVAAAACRADAAAKB0gCAAAAAQAAAAQAAAAEHEFwbG9yaXMuQmFzZS5VSS5WaXN1YWxPYmplY3QDAAAACS0BAAAJLgEAAAoKAUsCAABQAAAACgoAAABAPwkRAwAACRIDAAABAAAA/v///wAAAAABAAAAAAAAAAAAAAABAAAAAAAAAAAAAAFMAgAAVQAAAAkTAwAACgFPAgAAGQAAAAoKAAAAAABAQQlWAAAACVcAAAAJFAMAAAAACRUDAAABUAIAAFgAAAAKCgEAAAAAAAAA/////wABAVUCAACKAAAACRYDAAABAAAAAwAAAAFWAgAAVQAAAAkXAwAACgdXAgAAAAEAAAAEAAAABBxBcGxvcmlzLkJhc2UuVUkuVmlzdWFsT2JqZWN0AwAAAAkzAQAACTQBAAAKCgFaAgAAUAAAAAoKAAAAQD8JGAMAAAkZAwAAAQAAAP7///8AAAAAAQAAAAAAAAAAAAAAAQAAAAAAAAAAAAABWwIAAFUAAAAJGgMAAAoBXgIAABkAAAAKCgAAAAAAQEEJVgAAAAlXAAAACRsDAAAAAAkcAwAAAV8CAABYAAAACgoBAAAAAAAAAP////8AAQFkAgAAigAAAAkdAwAAAQAAAAMAAAABZQIAAFUAAAAJHgMAAAoHZgIAAAABAAAABAAAAAQcQXBsb3Jpcy5CYXNlLlVJLlZpc3VhbE9iamVjdAMAAAAJOQEAAAk6AQAACgoBaQIAAFAAAAAKCgAAAEA/CR8DAAAJIAMAAAEAAAD+////AAAAAAEAAAAAAAAAAAAAAAEAAAAAAAAAAAAAAWoCAABVAAAACSEDAAAKAW0CAAAZAAAACgoAAAAAAEBBCVYAAAAJVwAAAAkiAwAAAAAJIwMAAAFuAgAAWAAAAAoKAQAAAAAAAAD/////AAEBcwIAAIoAAAAJJAMAAAEAAAADAAAAAXQCAABVAAAACSUDAAAKB3UCAAAAAQAAAAAAAAAEH0FwbG9yaXMuQmFzZS5PYmplY3RzLkRhdGFPYmplY3QDAAAAB3YCAAAAAQAAAAQAAAAEHEFwbG9yaXMuQmFzZS5VSS5WaXN1YWxPYmplY3QDAAAACT8BAAAJQAEAAAoKAXkCAABQAAAACgoAAABAPwkmAwAACScDAAABAAAA/v///wAAAAABAAAAAAAAAAAAAAABAAAAAAAAAAAAAAF6AgAAVQAAAAkoAwAACgF9AgAAUAAAAAoKAAAAQD8JKQMAAAkqAwAAAQAAAP7///8AAAAAAQAAAAAAAAAAAAAAAQAAAAAAAAAAAAABfgIAAFUAAAAJKwMAAAoBgQIAABkAAAAKCgAAAAAAQEEJVgAAAAlXAAAACSwDAAAAAAktAwAAAYICAABYAAAACgoBAAAAAAAAAP////8AAQGHAgAAigAAAAkuAwAAAQAAAAEAAAABiAIAAFUAAAAJLwMAAAoHiQIAAAABAAAABAAAAAQcQXBsb3Jpcy5CYXNlLlVJLlZpc3VhbE9iamVjdAMAAAAJRQEAAAlHAQAACUYBAAAKAYwCAABQAAAACgoAAABAPwkwAwAACTEDAAABAAAA/v///wAAAAABAAAAAAAAAAAAAAABAAAAAAAAAAAAAAGNAgAAVQAAAAkyAwAACgGQAgAAUAAAAAoKAAAAQD8JMwMAAAk0AwAAAQAAAP7///8AAAAAAQAAAAAAAAAAAAAAAQAAAAAAAAAAAAABkQIAAFUAAAAJNQMAAAoFlA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WQXBsb3Jpcy5DaGFydC5UaWNrTWFyawIAAAABAQELGkFwbG9yaXMuQmFzZS5PYmplY3RzLkNvbG9yAwAAAAEBGkFwbG9yaXMuQmFzZS5PYmplY3RzLkNvbG9yAwAAAAMAAAAJ4gAAAAoAAAAAAEBBCVYAAAAJVwAAAAk2AwAAAQAJNwMAAAGVAgAAWAAAAAoKAQAAAAAAAAD/////AAEBmgIAAIoAAAAJOAMAAAEAAAADAAAAAZsCAABVAAAACTkDAAAKB5wCAAAAAQAAAAQAAAAEHEFwbG9yaXMuQmFzZS5VSS5WaXN1YWxPYmplY3QDAAAACUwBAAAJTgEAAAlNAQAACgGfAgAAUAAAAAoKAAAAQD8JOgMAAAk7AwAAAQAAAP7///8AAAAAAQAAAAAAAAAAAAAAAQAAAAAAAAAAAAABoAIAAFUAAAAJPAMAAAoBowIAAFAAAAAKCgAAAEA/CT0DAAAJPgMAAAEAAAD+////AAAAAAEAAAAAAAAAAAAAAAEAAAAAAAAAAAAAAaQCAABVAAAACT8DAAAKBac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FkFwbG9yaXMuQ2hhcnQuVGlja01hcmsCAAAAAQEBCxpBcGxvcmlzLkJhc2UuT2JqZWN0cy5Db2xvcgMAAAABARpBcGxvcmlzLkJhc2UuT2JqZWN0cy5Db2xvcgMAAAADAAAACeMAAAAKAAAAAABAQQlWAAAACVcAAAAJQAMAAAEACUEDAAABqAIAAFgAAAAKCgEAAAAAAAAA/////wABAa0CAACKAAAACUIDAAABAAAAAwAAAAGuAgAAVQAAAAlDAwAACgevAgAAAAEAAAAEAAAABBxBcGxvcmlzLkJhc2UuVUkuVmlzdWFsT2JqZWN0AwAAAAlTAQAACVUBAAAJVAEAAAoBsgIAAFAAAAAKCgAAAEA/CUQDAAAJRQMAAAEAAAD+////AAAAAAEAAAAAAAAAAAAAAAEAAAAAAAAAAAAAAbMCAABVAAAACUYDAAAKBbY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FkFwbG9yaXMuQ2hhcnQuVGlja01hcmsCAAAAAQEBCxpBcGxvcmlzLkJhc2UuT2JqZWN0cy5Db2xvcgMAAAABARpBcGxvcmlzLkJhc2UuT2JqZWN0cy5Db2xvcgMAAAADAAAACeQAAAAKAAAAAABAQQlWAAAACVcAAAAJRwMAAAEACUgDAAABtwIAAFgAAAAKCgEAAAAAAAAA/////wABAbwCAACKAAAACUkDAAABAAAAAwAAAAG9AgAAVQAAAAlKAwAACge+AgAAAAEAAAAEAAAABBxBcGxvcmlzLkJhc2UuVUkuVmlzdWFsT2JqZWN0AwAAAAlaAQAACVsBAAAKCgG/AgAAWAAAAAoKAAAAAAAAAAANAAAAAAEBwAIAAFgAAAAKCgEAAAAAAAAA/////wABB8ECAAAAAQAAAAQAAAAEHUFwbG9yaXMuQmFzZS5PYmplY3RzLlZhcmlhYmxlAwAAAAFLAwAA3QAAAAEAAAAAAAAAAUwDAADdAAAAAAAAAAAAAAABTQMAAN0AAAAAAAAAAAAAAAFOAwAA3QAAAAAAAAAAAAAAD8ICAAABAAAACAAAAAABwwIAAFgAAAAKCgAAAAAAAAAADQAAAAABAcQCAABYAAAACgoBAAAAAAAAAP////8AAQfFAgAAAAEAAAAEAAAABB1BcGxvcmlzLkJhc2UuT2JqZWN0cy5WYXJpYWJsZQMAAAABTwMAAN0AAAACAAAAAAAAAAFQAwAA3QAAAAMAAAABAAAAAVEDAADdAAAAAAAAAAAAAAABUgMAAN0AAAAAAAAAAAAAAA/GAgAAAQAAAAgAAAAAAccCAABYAAAACgoAAAAA95QeAAoAAAAAAA/IAgAAAQAAAAi5AAAAAckCAABYAAAACgoAAAAAAAAAAA0AAAAAAQHKAgAAWAAAAAoKAQAAAAAAAAD/////AAEHywIAAAABAAAABAAAAAQdQXBsb3Jpcy5CYXNlLk9iamVjdHMuVmFyaWFibGUDAAAAAVMDAADdAAAAAQAAAAAAAAABVAMAAN0AAAAAAAAAAAAAAAFVAwAA3QAAAAAAAAAAAAAAAVYDAADdAAAAAAAAAAAAAAAPzAIAAAEAAAAIAAAAAAHNAgAAWAAAAAoKAAAAAAAAAAANAAAAAAEBzgIAAFgAAAAKCgEAAAAAAAAA/////wABB88CAAAAAQAAAAQAAAAEHUFwbG9yaXMuQmFzZS5PYmplY3RzLlZhcmlhYmxlAwAAAAFXAwAA3QAAAAIAAAAAAAAAAVgDAADdAAAAAwAAAAEAAAABWQMAAN0AAAAAAAAAAAAAAAFaAwAA3QAAAAAAAAAAAAAAD9ACAAABAAAACAAAAAAB0QIAAFgAAAAKCgAAAAD3lB4ACgAAAAAAD9ICAAABAAAACLgAAAAB0wIAAFgAAAAKCgAAAAAAAAAADQAAAAAABdQCAAAaQXBsb3Jpcy5CYXNlLk9iamVjdHMuQ29sb3IHAAAAEkRhdGFPYmplY3QrbVBhcmVudBVEYXRhT2JqZWN0K21Db250YWluZXIFbVR5cGUEbVJHQhBtVGhlbWVDb2xvckluZGV4DG1BdXRvVXBkYXRlZAltTW9kaWZpZWQEAgAAAAAAH0FwbG9yaXMuQmFzZS5PYmplY3RzLkxpbmVGb3JtYXQDAAAACAgIAQEDAAAACcsBAAAKAQAAAAAAAAD/////AAEP1QIAAAEAAAAIzAAAAAXWAgAAGkFwbG9yaXMuQmFzZS5PYmplY3RzLkNvbG9yBwAAABJEYXRhT2JqZWN0K21QYXJlbnQVRGF0YU9iamVjdCttQ29udGFpbmVyBW1UeXBlBG1SR0IQbVRoZW1lQ29sb3JJbmRleAxtQXV0b1VwZGF0ZWQJbU1vZGlmaWVkBAIAAAAAAB9BcGxvcmlzLkJhc2UuT2JqZWN0cy5MaW5lRm9ybWF0AwAAAAgICAEBAwAAAAnPAQAACgAAAAAAAAAADQAAAAAABdcCAAAaQXBsb3Jpcy5CYXNlLk9iamVjdHMuQ29sb3IHAAAAEkRhdGFPYmplY3QrbVBhcmVudBVEYXRhT2JqZWN0K21Db250YWluZXIFbVR5cGUEbVJHQhBtVGhlbWVDb2xvckluZGV4DG1BdXRvVXBkYXRlZAltTW9kaWZpZWQEAgAAAAAAH0FwbG9yaXMuQmFzZS5PYmplY3RzLkxpbmVGb3JtYXQDAAAACAgIAQEDAAAACc8BAAAKAQAAAAAAAAD/////AAEP2AIAAAEAAAAIuwAAAAHZAgAAWAAAAAoKAAAAAAAAAAANAAAAAAAB2gIAAFgAAAAKCgEAAAAAAAAA/////wABB9sCAAAAAQAAAAQAAAAEHUFwbG9yaXMuQmFzZS5PYmplY3RzLlZhcmlhYmxlAwAAAAFbAwAA3QAAAAEAAAAAAAAAAVwDAADdAAAAAAAAAAAAAAABXQMAAN0AAAAAAAAAAAAAAAFeAwAA3QAAAAAAAAAAAAAAD9wCAAABAAAACCEAAAAB3QIAAFgAAAAKCgAAAAAAAAAADQAAAAAABd4CAAAaQXBsb3Jpcy5CYXNlLk9iamVjdHMuQ29sb3IHAAAAEkRhdGFPYmplY3QrbVBhcmVudBVEYXRhT2JqZWN0K21Db250YWluZXIFbVR5cGUEbVJHQhBtVGhlbWVDb2xvckluZGV4DG1BdXRvVXBkYXRlZAltTW9kaWZpZWQEAgAAAAAAH0FwbG9yaXMuQmFzZS5PYmplY3RzLkxpbmVGb3JtYXQDAAAACAgIAQEDAAAACd4BAAAKAQAAAAAAAAD/////AAEP3wIAAAEAAAAIzwAAAAHgAgAAWAAAAAoKAAAAAAAAAAANAAAAAAAB4QIAAFgAAAAKCgEAAAAAAAAA/////wABB+ICAAAAAQAAAAQAAAAEHUFwbG9yaXMuQmFzZS5PYmplY3RzLlZhcmlhYmxlAwAAAAFfAwAA3QAAAAEAAAAAAAAAAWADAADdAAAAAAAAAAAAAAABYQMAAN0AAAAAAAAAAAAAAAFiAwAA3QAAAAAAAAAAAAAAD+MCAAABAAAACCIAAAAB5AIAAFgAAAAKCgAAAAAAAAAADQAAAAAABeUCAAAaQXBsb3Jpcy5CYXNlLk9iamVjdHMuQ29sb3IHAAAAEkRhdGFPYmplY3QrbVBhcmVudBVEYXRhT2JqZWN0K21Db250YWluZXIFbVR5cGUEbVJHQhBtVGhlbWVDb2xvckluZGV4DG1BdXRvVXBkYXRlZAltTW9kaWZpZWQEAgAAAAAAH0FwbG9yaXMuQmFzZS5PYmplY3RzLkxpbmVGb3JtYXQDAAAACAgIAQEDAAAACe0BAAAKAQAAAAAAAAD/////AAEP5gIAAAEAAAAIzgAAAAHnAgAAWAAAAAoKAAAAAAAAAAANAAAAAAAB6AIAAFgAAAAKCgEAAAAAAAAA/////wABB+kCAAAAAQAAAAQAAAAEHUFwbG9yaXMuQmFzZS5PYmplY3RzLlZhcmlhYmxlAwAAAAFjAwAA3QAAAAEAAAAAAAAAAWQDAADdAAAAAAAAAAAAAAABZQMAAN0AAAAAAAAAAAAAAAFmAwAA3QAAAAAAAAAAAAAAD+oCAAABAAAACCAAAAAB6wIAAFgAAAAKCgAAAAAAAAAADQAAAAAABewCAAAaQXBsb3Jpcy5CYXNlLk9iamVjdHMuQ29sb3IHAAAAEkRhdGFPYmplY3QrbVBhcmVudBVEYXRhT2JqZWN0K21Db250YWluZXIFbVR5cGUEbVJHQhBtVGhlbWVDb2xvckluZGV4DG1BdXRvVXBkYXRlZAltTW9kaWZpZWQEAgAAAAAAH0FwbG9yaXMuQmFzZS5PYmplY3RzLkxpbmVGb3JtYXQDAAAACAgIAQEDAAAACfwBAAAKAQAAAAAAAAD/////AAEP7QIAAAEAAAAIzQAAAAHuAgAAWAAAAAoKAAAAAAAAAAANAAAAAAAB7wIAAFgAAAAKCgEAAAAAAAAA/////wABB/ACAAAAAQAAAAQAAAAEHUFwbG9yaXMuQmFzZS5PYmplY3RzLlZhcmlhYmxlAwAAAAFnAwAA3QAAAAEAAAAAAAAAAWgDAADdAAAAAAAAAAAAAAABaQMAAN0AAAAAAAAAAAAAAAFqAwAA3QAAAAAAAAAAAAAAD/ECAAABAAAACB4AAAAB8gIAAFgAAAAKCgAAAAAAAAAADQAAAAAABfMCAAAaQXBsb3Jpcy5CYXNlLk9iamVjdHMuQ29sb3IHAAAAEkRhdGFPYmplY3QrbVBhcmVudBVEYXRhT2JqZWN0K21Db250YWluZXIFbVR5cGUEbVJHQhBtVGhlbWVDb2xvckluZGV4DG1BdXRvVXBkYXRlZAltTW9kaWZpZWQEAgAAAAAAH0FwbG9yaXMuQmFzZS5PYmplY3RzLkxpbmVGb3JtYXQDAAAACAgIAQEDAAAACQsCAAAKAQAAAAAAAAD/////AAEP9AIAAAEAAAAIywAAAAH1AgAAWAAAAAoKAAAAAAAAAAANAAAAAAAB9gIAAFgAAAAKCgEAAAAAAAAA/////wABB/cCAAAAAQAAAAQAAAAEHUFwbG9yaXMuQmFzZS5PYmplY3RzLlZhcmlhYmxlAwAAAAFrAwAA3QAAAAEAAAAAAAAAAWwDAADdAAAAAAAAAAAAAAABbQMAAN0AAAAAAAAAAAAAAAFuAwAA3QAAAAAAAAAAAAAAD/gCAAABAAAACB8AAAAB+QIAAFgAAAAKCgAAAAAAAAAADQAAAAAABfoCAAAaQXBsb3Jpcy5CYXNlLk9iamVjdHMuQ29sb3IHAAAAEkRhdGFPYmplY3QrbVBhcmVudBVEYXRhT2JqZWN0K21Db250YWluZXIFbVR5cGUEbVJHQhBtVGhlbWVDb2xvckluZGV4DG1BdXRvVXBkYXRlZAltTW9kaWZpZWQEAgAAAAAAH0FwbG9yaXMuQmFzZS5PYmplY3RzLkxpbmVGb3JtYXQDAAAACAgIAQEDAAAACRoCAAAKAQAAAAAAAAD/////AAEP+wIAAAEAAAAIxAAAAAX8AgAAGkFwbG9yaXMuQmFzZS5PYmplY3RzLkNvbG9yBwAAABJEYXRhT2JqZWN0K21QYXJlbnQVRGF0YU9iamVjdCttQ29udGFpbmVyBW1UeXBlBG1SR0IQbVRoZW1lQ29sb3JJbmRleAxtQXV0b1VwZGF0ZWQJbU1vZGlmaWVkBAIAAAAAAB9BcGxvcmlzLkJhc2UuT2JqZWN0cy5MaW5lRm9ybWF0AwAAAAgICAEBAwAAAAkeAgAACgAAAAAAAAAADQAAAAAABf0CAAAaQXBsb3Jpcy5CYXNlLk9iamVjdHMuQ29sb3IHAAAAEkRhdGFPYmplY3QrbVBhcmVudBVEYXRhT2JqZWN0K21Db250YWluZXIFbVR5cGUEbVJHQhBtVGhlbWVDb2xvckluZGV4DG1BdXRvVXBkYXRlZAltTW9kaWZpZWQEAgAAAAAAH0FwbG9yaXMuQmFzZS5PYmplY3RzLkxpbmVGb3JtYXQDAAAACAgIAQEDAAAACR4CAAAKAQAAAAAAAAD/////AAEP/gIAAAEAAAAIugAAAAH/AgAAWAAAAAoKAAAAAAAAAAANAAAAAAABAAMAAFgAAAAKCgEAAAAAAAAA/////wABBwEDAAAAAQAAAAQAAAAEHUFwbG9yaXMuQmFzZS5PYmplY3RzLlZhcmlhYmxlAwAAAAFvAwAA3QAAAAEAAAAAAAAAAXADAADdAAAAAAAAAAAAAAABcQMAAN0AAAAAAAAAAAAAAAFyAwAA3QAAAAAAAAAAAAAADwIDAAABAAAACCYAAAABAwMAAFgAAAAKCgAAAAAAAAAADQAAAAAABQQDAAAaQXBsb3Jpcy5CYXNlLk9iamVjdHMuQ29sb3IHAAAAEkRhdGFPYmplY3QrbVBhcmVudBVEYXRhT2JqZWN0K21Db250YWluZXIFbVR5cGUEbVJHQhBtVGhlbWVDb2xvckluZGV4DG1BdXRvVXBkYXRlZAltTW9kaWZpZWQEAgAAAAAAH0FwbG9yaXMuQmFzZS5PYmplY3RzLkxpbmVGb3JtYXQDAAAACAgIAQEDAAAACS0CAAAKAQAAAAAAAAD/////AAEPBQMAAAEAAAAIxQAAAAEGAwAAWAAAAAoKAAAAAAAAAAANAAAAAAABBwMAAFgAAAAKCgEAAAAAAAAA/////wABBwgDAAAAAQAAAAQAAAAEHUFwbG9yaXMuQmFzZS5PYmplY3RzLlZhcmlhYmxlAwAAAAFzAwAA3QAAAAEAAAAAAAAAAXQDAADdAAAAAAAAAAAAAAABdQMAAN0AAAAAAAAAAAAAAAF2AwAA3QAAAAAAAAAAAAAADwkDAAABAAAACCMAAAABCgMAAFgAAAAKCgAAAAAAAAAADQAAAAAABQsDAAAaQXBsb3Jpcy5CYXNlLk9iamVjdHMuQ29sb3IHAAAAEkRhdGFPYmplY3QrbVBhcmVudBVEYXRhT2JqZWN0K21Db250YWluZXIFbVR5cGUEbVJHQhBtVGhlbWVDb2xvckluZGV4DG1BdXRvVXBkYXRlZAltTW9kaWZpZWQEAgAAAAAAH0FwbG9yaXMuQmFzZS5PYmplY3RzLkxpbmVGb3JtYXQDAAAACAgIAQEDAAAACTwCAAAKAQAAAAAAAAD/////AAEPDAMAAAEAAAAIwwAAAAENAwAAWAAAAAoKAAAAAAAAAAANAAAAAAABDgMAAFgAAAAKCgEAAAAAAAAA/////wABBw8DAAAAAQAAAAQAAAAEHUFwbG9yaXMuQmFzZS5PYmplY3RzLlZhcmlhYmxlAwAAAAF3AwAA3QAAAAEAAAAAAAAAAXgDAADdAAAAAAAAAAAAAAABeQMAAN0AAAAAAAAAAAAAAAF6AwAA3QAAAAAAAAAAAAAADxADAAABAAAACCQAAAABEQMAAFgAAAAKCgAAAAAAAAAADQAAAAAABRIDAAAaQXBsb3Jpcy5CYXNlLk9iamVjdHMuQ29sb3IHAAAAEkRhdGFPYmplY3QrbVBhcmVudBVEYXRhT2JqZWN0K21Db250YWluZXIFbVR5cGUEbVJHQhBtVGhlbWVDb2xvckluZGV4DG1BdXRvVXBkYXRlZAltTW9kaWZpZWQEAgAAAAAAH0FwbG9yaXMuQmFzZS5PYmplY3RzLkxpbmVGb3JtYXQDAAAACAgIAQEDAAAACUsCAAAKAQAAAAAAAAD/////AAEPEwMAAAEAAAAIwQAAAAEUAwAAWAAAAAoKAAAAAAAAAAANAAAAAAABFQMAAFgAAAAKCgEAAAAAAAAA/////wABBxYDAAAAAQAAAAQAAAAEHUFwbG9yaXMuQmFzZS5PYmplY3RzLlZhcmlhYmxlAwAAAAF7AwAA3QAAAAEAAAAAAAAAAXwDAADdAAAAAAAAAAAAAAABfQMAAN0AAAAAAAAAAAAAAAF+AwAA3QAAAAAAAAAAAAAADxcDAAABAAAACCUAAAABGAMAAFgAAAAKCgAAAAAAAAAADQAAAAAABRkDAAAaQXBsb3Jpcy5CYXNlLk9iamVjdHMuQ29sb3IHAAAAEkRhdGFPYmplY3QrbVBhcmVudBVEYXRhT2JqZWN0K21Db250YWluZXIFbVR5cGUEbVJHQhBtVGhlbWVDb2xvckluZGV4DG1BdXRvVXBkYXRlZAltTW9kaWZpZWQEAgAAAAAAH0FwbG9yaXMuQmFzZS5PYmplY3RzLkxpbmVGb3JtYXQDAAAACAgIAQEDAAAACVoCAAAKAQAAAAAAAAD/////AAEPGgMAAAEAAAAIwgAAAAEbAwAAWAAAAAoKAAAAAAAAAAANAAAAAAABHAMAAFgAAAAKCgEAAAAAAAAA/////wABBx0DAAAAAQAAAAQAAAAEHUFwbG9yaXMuQmFzZS5PYmplY3RzLlZhcmlhYmxlAwAAAAF/AwAA3QAAAAEAAAAAAAAAAYADAADdAAAAAAAAAAAAAAABgQMAAN0AAAAAAAAAAAAAAAGCAwAA3QAAAAAAAAAAAAAADx4DAAABAAAACBsAAAABHwMAAFgAAAAKCgAAAAAAAAAADQAAAAAABSADAAAaQXBsb3Jpcy5CYXNlLk9iamVjdHMuQ29sb3IHAAAAEkRhdGFPYmplY3QrbVBhcmVudBVEYXRhT2JqZWN0K21Db250YWluZXIFbVR5cGUEbVJHQhBtVGhlbWVDb2xvckluZGV4DG1BdXRvVXBkYXRlZAltTW9kaWZpZWQEAgAAAAAAH0FwbG9yaXMuQmFzZS5PYmplY3RzLkxpbmVGb3JtYXQDAAAACAgIAQEDAAAACWkCAAAKAQAAAAAAAAD/////AAEPIQMAAAEAAAAIyQAAAAEiAwAAWAAAAAoKAAAAAAAAAAANAAAAAAABIwMAAFgAAAAKCgEAAAAAAAAA/////wABByQDAAAAAQAAAAQAAAAEHUFwbG9yaXMuQmFzZS5PYmplY3RzLlZhcmlhYmxlAwAAAAGDAwAA3QAAAAEAAAAAAAAAAYQDAADdAAAAAAAAAAAAAAABhQMAAN0AAAAAAAAAAAAAAAGGAwAA3QAAAAAAAAAAAAAADyUDAAABAAAACB0AAAABJgMAAFgAAAAKCgAAAAAAAAAADQAAAAAABScDAAAaQXBsb3Jpcy5CYXNlLk9iamVjdHMuQ29sb3IHAAAAEkRhdGFPYmplY3QrbVBhcmVudBVEYXRhT2JqZWN0K21Db250YWluZXIFbVR5cGUEbVJHQhBtVGhlbWVDb2xvckluZGV4DG1BdXRvVXBkYXRlZAltTW9kaWZpZWQEAgAAAAAAH0FwbG9yaXMuQmFzZS5PYmplY3RzLkxpbmVGb3JtYXQDAAAACAgIAQEDAAAACXkCAAAKAQAAAAAAAAD/////AAEPKAMAAAEAAAAIyAAAAAUpAwAAGkFwbG9yaXMuQmFzZS5PYmplY3RzLkNvbG9yBwAAABJEYXRhT2JqZWN0K21QYXJlbnQVRGF0YU9iamVjdCttQ29udGFpbmVyBW1UeXBlBG1SR0IQbVRoZW1lQ29sb3JJbmRleAxtQXV0b1VwZGF0ZWQJbU1vZGlmaWVkBAIAAAAAAB9BcGxvcmlzLkJhc2UuT2JqZWN0cy5MaW5lRm9ybWF0AwAAAAgICAEBAwAAAAl9AgAACgAAAAAAAAAADQAAAAAABSoDAAAaQXBsb3Jpcy5CYXNlLk9iamVjdHMuQ29sb3IHAAAAEkRhdGFPYmplY3QrbVBhcmVudBVEYXRhT2JqZWN0K21Db250YWluZXIFbVR5cGUEbVJHQhBtVGhlbWVDb2xvckluZGV4DG1BdXRvVXBkYXRlZAltTW9kaWZpZWQEAgAAAAAAH0FwbG9yaXMuQmFzZS5PYmplY3RzLkxpbmVGb3JtYXQDAAAACAgIAQEDAAAACX0CAAAKAQAAAAAAAAD/////AAEPKwMAAAEAAAAIvAAAAAEsAwAAWAAAAAoKAAAAAAAAAAANAAAAAAABLQMAAFgAAAAKCgEAAAAAAAAA/////wABBy4DAAAAAQAAAAQAAAAEHUFwbG9yaXMuQmFzZS5PYmplY3RzLlZhcmlhYmxlAwAAAAGHAwAA3QAAAAEAAAAAAAAAAYgDAADdAAAAAAAAAAAAAAABiQMAAN0AAAAAAAAAAAAAAAGKAwAA3QAAAAAAAAAAAAAADy8DAAABAAAACBwAAAABMAMAAFgAAAAKCgAAAAAAAAAADQAAAAAABTEDAAAaQXBsb3Jpcy5CYXNlLk9iamVjdHMuQ29sb3IHAAAAEkRhdGFPYmplY3QrbVBhcmVudBVEYXRhT2JqZWN0K21Db250YWluZXIFbVR5cGUEbVJHQhBtVGhlbWVDb2xvckluZGV4DG1BdXRvVXBkYXRlZAltTW9kaWZpZWQEAgAAAAAAH0FwbG9yaXMuQmFzZS5PYmplY3RzLkxpbmVGb3JtYXQDAAAACAgIAQEDAAAACYwCAAAKAQAAAAAAAAD/////AAEPMgMAAAEAAAAIxgAAAAUzAwAAGkFwbG9yaXMuQmFzZS5PYmplY3RzLkNvbG9yBwAAABJEYXRhT2JqZWN0K21QYXJlbnQVRGF0YU9iamVjdCttQ29udGFpbmVyBW1UeXBlBG1SR0IQbVRoZW1lQ29sb3JJbmRleAxtQXV0b1VwZGF0ZWQJbU1vZGlmaWVkBAIAAAAAAB9BcGxvcmlzLkJhc2UuT2JqZWN0cy5MaW5lRm9ybWF0AwAAAAgICAEBAwAAAAmQAgAACgAAAAAAAAAADQAAAAAABTQDAAAaQXBsb3Jpcy5CYXNlLk9iamVjdHMuQ29sb3IHAAAAEkRhdGFPYmplY3QrbVBhcmVudBVEYXRhT2JqZWN0K21Db250YWluZXIFbVR5cGUEbVJHQhBtVGhlbWVDb2xvckluZGV4DG1BdXRvVXBkYXRlZAltTW9kaWZpZWQEAgAAAAAAH0FwbG9yaXMuQmFzZS5PYmplY3RzLkxpbmVGb3JtYXQDAAAACAgIAQEDAAAACZACAAAKAQAAAAAAAAD/////AAEPNQMAAAEAAAAIvgAAAAE2AwAAWAAAAAoKAAAAAAAAAAANAAAAAAEBNwMAAFgAAAAKCgEAAAAAAAAA/////wABBzgDAAAAAQAAAAQAAAAEHUFwbG9yaXMuQmFzZS5PYmplY3RzLlZhcmlhYmxlAwAAAAGLAwAA3QAAAAEAAAAAAAAAAYwDAADdAAAAAAAAAAAAAAABjQMAAN0AAAAAAAAAAAAAAAGOAwAA3QAAAAAAAAAAAAAADzkDAAABAAAACAAAAAABOgMAAFgAAAAKCgAAAAAAAAAADQAAAAAABTsDAAAaQXBsb3Jpcy5CYXNlLk9iamVjdHMuQ29sb3IHAAAAEkRhdGFPYmplY3QrbVBhcmVudBVEYXRhT2JqZWN0K21Db250YWluZXIFbVR5cGUEbVJHQhBtVGhlbWVDb2xvckluZGV4DG1BdXRvVXBkYXRlZAltTW9kaWZpZWQEAgAAAAAAH0FwbG9yaXMuQmFzZS5PYmplY3RzLkxpbmVGb3JtYXQDAAAACAgIAQEDAAAACZ8CAAAKAQAAAAAAAAD/////AAEPPAMAAAEAAAAIxwAAAAU9AwAAGkFwbG9yaXMuQmFzZS5PYmplY3RzLkNvbG9yBwAAABJEYXRhT2JqZWN0K21QYXJlbnQVRGF0YU9iamVjdCttQ29udGFpbmVyBW1UeXBlBG1SR0IQbVRoZW1lQ29sb3JJbmRleAxtQXV0b1VwZGF0ZWQJbU1vZGlmaWVkBAIAAAAAAB9BcGxvcmlzLkJhc2UuT2JqZWN0cy5MaW5lRm9ybWF0AwAAAAgICAEBAwAAAAmjAgAACgAAAAAAAAAADQAAAAAABT4DAAAaQXBsb3Jpcy5CYXNlLk9iamVjdHMuQ29sb3IHAAAAEkRhdGFPYmplY3QrbVBhcmVudBVEYXRhT2JqZWN0K21Db250YWluZXIFbVR5cGUEbVJHQhBtVGhlbWVDb2xvckluZGV4DG1BdXRvVXBkYXRlZAltTW9kaWZpZWQEAgAAAAAAH0FwbG9yaXMuQmFzZS5PYmplY3RzLkxpbmVGb3JtYXQDAAAACAgIAQEDAAAACaMCAAAKAQAAAAAAAAD/////AAEPPwMAAAEAAAAIvQAAAAFAAwAAWAAAAAoKAAAAAAAAAAANAAAAAAEBQQMAAFgAAAAKCgEAAAAAAAAA/////wABB0IDAAAAAQAAAAQAAAAEHUFwbG9yaXMuQmFzZS5PYmplY3RzLlZhcmlhYmxlAwAAAAGPAwAA3QAAAAEAAAAAAAAAAZADAADdAAAAAAAAAAAAAAABkQMAAN0AAAAAAAAAAAAAAAGSAwAA3QAAAAAAAAAAAAAAD0MDAAABAAAACAAAAAABRAMAAFgAAAAKCgAAAAAAAAAADQAAAAAABUUDAAAaQXBsb3Jpcy5CYXNlLk9iamVjdHMuQ29sb3IHAAAAEkRhdGFPYmplY3QrbVBhcmVudBVEYXRhT2JqZWN0K21Db250YWluZXIFbVR5cGUEbVJHQhBtVGhlbWVDb2xvckluZGV4DG1BdXRvVXBkYXRlZAltTW9kaWZpZWQEAgAAAAAAH0FwbG9yaXMuQmFzZS5PYmplY3RzLkxpbmVGb3JtYXQDAAAACAgIAQEDAAAACbICAAAKAQAAAAAAAAD/////AAEPRgMAAAEAAAAIygAAAAFHAwAAWAAAAAoKAAAAAAAAAAANAAAAAAEBSAMAAFgAAAAKCgEAAAAAAAAA/////wABB0kDAAAAAQAAAAQAAAAEHUFwbG9yaXMuQmFzZS5PYmplY3RzLlZhcmlhYmxlAwAAAAGTAwAA3QAAAAEAAAAAAAAAAZQDAADdAAAAAAAAAAAAAAABlQMAAN0AAAAAAAAAAAAAAAGWAwAA3QAAAAAAAAAAAAAAD0oDAAABAAAACAAAAAAL"/>
</p:tagLst>
</file>

<file path=ppt/tags/tag129.xml><?xml version="1.0" encoding="utf-8"?>
<p:tagLst xmlns:a="http://schemas.openxmlformats.org/drawingml/2006/main" xmlns:r="http://schemas.openxmlformats.org/officeDocument/2006/relationships" xmlns:p="http://schemas.openxmlformats.org/presentationml/2006/main">
  <p:tag name="APLORISTAG" val="MHEquBxczdrxuEFlm.188"/>
</p:tagLst>
</file>

<file path=ppt/tags/tag13.xml><?xml version="1.0" encoding="utf-8"?>
<p:tagLst xmlns:a="http://schemas.openxmlformats.org/drawingml/2006/main" xmlns:r="http://schemas.openxmlformats.org/officeDocument/2006/relationships" xmlns:p="http://schemas.openxmlformats.org/presentationml/2006/main">
  <p:tag name="APLORISTAG" val="MX/IjfW661gLV+xOY.293"/>
</p:tagLst>
</file>

<file path=ppt/tags/tag130.xml><?xml version="1.0" encoding="utf-8"?>
<p:tagLst xmlns:a="http://schemas.openxmlformats.org/drawingml/2006/main" xmlns:r="http://schemas.openxmlformats.org/officeDocument/2006/relationships" xmlns:p="http://schemas.openxmlformats.org/presentationml/2006/main">
  <p:tag name="APLORISTAG" val="MHEquBxczdrxuEFlm.189"/>
</p:tagLst>
</file>

<file path=ppt/tags/tag131.xml><?xml version="1.0" encoding="utf-8"?>
<p:tagLst xmlns:a="http://schemas.openxmlformats.org/drawingml/2006/main" xmlns:r="http://schemas.openxmlformats.org/officeDocument/2006/relationships" xmlns:p="http://schemas.openxmlformats.org/presentationml/2006/main">
  <p:tag name="APLORISTAG" val="MHEquBxczdrxuEFlm.190"/>
</p:tagLst>
</file>

<file path=ppt/tags/tag132.xml><?xml version="1.0" encoding="utf-8"?>
<p:tagLst xmlns:a="http://schemas.openxmlformats.org/drawingml/2006/main" xmlns:r="http://schemas.openxmlformats.org/officeDocument/2006/relationships" xmlns:p="http://schemas.openxmlformats.org/presentationml/2006/main">
  <p:tag name="APLORISTAG" val="MHEquBxczdrxuEFlm.192"/>
</p:tagLst>
</file>

<file path=ppt/tags/tag133.xml><?xml version="1.0" encoding="utf-8"?>
<p:tagLst xmlns:a="http://schemas.openxmlformats.org/drawingml/2006/main" xmlns:r="http://schemas.openxmlformats.org/officeDocument/2006/relationships" xmlns:p="http://schemas.openxmlformats.org/presentationml/2006/main">
  <p:tag name="APLORISTAG" val="MHEquBxczdrxuEFlm.193"/>
</p:tagLst>
</file>

<file path=ppt/tags/tag134.xml><?xml version="1.0" encoding="utf-8"?>
<p:tagLst xmlns:a="http://schemas.openxmlformats.org/drawingml/2006/main" xmlns:r="http://schemas.openxmlformats.org/officeDocument/2006/relationships" xmlns:p="http://schemas.openxmlformats.org/presentationml/2006/main">
  <p:tag name="APLORISTAG" val="MHEquBxczdrxuEFlm.194"/>
</p:tagLst>
</file>

<file path=ppt/tags/tag135.xml><?xml version="1.0" encoding="utf-8"?>
<p:tagLst xmlns:a="http://schemas.openxmlformats.org/drawingml/2006/main" xmlns:r="http://schemas.openxmlformats.org/officeDocument/2006/relationships" xmlns:p="http://schemas.openxmlformats.org/presentationml/2006/main">
  <p:tag name="APLORISTAG" val="MHEquBxczdrxuEFlm.195"/>
</p:tagLst>
</file>

<file path=ppt/tags/tag136.xml><?xml version="1.0" encoding="utf-8"?>
<p:tagLst xmlns:a="http://schemas.openxmlformats.org/drawingml/2006/main" xmlns:r="http://schemas.openxmlformats.org/officeDocument/2006/relationships" xmlns:p="http://schemas.openxmlformats.org/presentationml/2006/main">
  <p:tag name="APLORISTAG" val="MHEquBxczdrxuEFlm.196"/>
</p:tagLst>
</file>

<file path=ppt/tags/tag137.xml><?xml version="1.0" encoding="utf-8"?>
<p:tagLst xmlns:a="http://schemas.openxmlformats.org/drawingml/2006/main" xmlns:r="http://schemas.openxmlformats.org/officeDocument/2006/relationships" xmlns:p="http://schemas.openxmlformats.org/presentationml/2006/main">
  <p:tag name="APLORISTAG" val="MHEquBxczdrxuEFlm.197"/>
</p:tagLst>
</file>

<file path=ppt/tags/tag138.xml><?xml version="1.0" encoding="utf-8"?>
<p:tagLst xmlns:a="http://schemas.openxmlformats.org/drawingml/2006/main" xmlns:r="http://schemas.openxmlformats.org/officeDocument/2006/relationships" xmlns:p="http://schemas.openxmlformats.org/presentationml/2006/main">
  <p:tag name="APLORISTAG" val="MHEquBxczdrxuEFlm.198"/>
</p:tagLst>
</file>

<file path=ppt/tags/tag139.xml><?xml version="1.0" encoding="utf-8"?>
<p:tagLst xmlns:a="http://schemas.openxmlformats.org/drawingml/2006/main" xmlns:r="http://schemas.openxmlformats.org/officeDocument/2006/relationships" xmlns:p="http://schemas.openxmlformats.org/presentationml/2006/main">
  <p:tag name="APLORISTAG" val="MHEquBxczdrxuEFlm.199"/>
</p:tagLst>
</file>

<file path=ppt/tags/tag14.xml><?xml version="1.0" encoding="utf-8"?>
<p:tagLst xmlns:a="http://schemas.openxmlformats.org/drawingml/2006/main" xmlns:r="http://schemas.openxmlformats.org/officeDocument/2006/relationships" xmlns:p="http://schemas.openxmlformats.org/presentationml/2006/main">
  <p:tag name="APLORISTAG" val="MX/IjfW661gLV+xOY.353"/>
</p:tagLst>
</file>

<file path=ppt/tags/tag140.xml><?xml version="1.0" encoding="utf-8"?>
<p:tagLst xmlns:a="http://schemas.openxmlformats.org/drawingml/2006/main" xmlns:r="http://schemas.openxmlformats.org/officeDocument/2006/relationships" xmlns:p="http://schemas.openxmlformats.org/presentationml/2006/main">
  <p:tag name="APLORISTAG" val="MHEquBxczdrxuEFlm.200"/>
</p:tagLst>
</file>

<file path=ppt/tags/tag141.xml><?xml version="1.0" encoding="utf-8"?>
<p:tagLst xmlns:a="http://schemas.openxmlformats.org/drawingml/2006/main" xmlns:r="http://schemas.openxmlformats.org/officeDocument/2006/relationships" xmlns:p="http://schemas.openxmlformats.org/presentationml/2006/main">
  <p:tag name="APLORISTAG" val="MHEquBxczdrxuEFlm.201"/>
</p:tagLst>
</file>

<file path=ppt/tags/tag142.xml><?xml version="1.0" encoding="utf-8"?>
<p:tagLst xmlns:a="http://schemas.openxmlformats.org/drawingml/2006/main" xmlns:r="http://schemas.openxmlformats.org/officeDocument/2006/relationships" xmlns:p="http://schemas.openxmlformats.org/presentationml/2006/main">
  <p:tag name="APLORISTAG" val="MHEquBxczdrxuEFlm.203"/>
</p:tagLst>
</file>

<file path=ppt/tags/tag143.xml><?xml version="1.0" encoding="utf-8"?>
<p:tagLst xmlns:a="http://schemas.openxmlformats.org/drawingml/2006/main" xmlns:r="http://schemas.openxmlformats.org/officeDocument/2006/relationships" xmlns:p="http://schemas.openxmlformats.org/presentationml/2006/main">
  <p:tag name="APLORISTAG" val="MHEquBxczdrxuEFlm.204"/>
</p:tagLst>
</file>

<file path=ppt/tags/tag144.xml><?xml version="1.0" encoding="utf-8"?>
<p:tagLst xmlns:a="http://schemas.openxmlformats.org/drawingml/2006/main" xmlns:r="http://schemas.openxmlformats.org/officeDocument/2006/relationships" xmlns:p="http://schemas.openxmlformats.org/presentationml/2006/main">
  <p:tag name="APLORISTAG" val="MHEquBxczdrxuEFlm.205"/>
</p:tagLst>
</file>

<file path=ppt/tags/tag145.xml><?xml version="1.0" encoding="utf-8"?>
<p:tagLst xmlns:a="http://schemas.openxmlformats.org/drawingml/2006/main" xmlns:r="http://schemas.openxmlformats.org/officeDocument/2006/relationships" xmlns:p="http://schemas.openxmlformats.org/presentationml/2006/main">
  <p:tag name="APLORISTAG" val="MHEquBxczdrxuEFlm.206"/>
</p:tagLst>
</file>

<file path=ppt/tags/tag146.xml><?xml version="1.0" encoding="utf-8"?>
<p:tagLst xmlns:a="http://schemas.openxmlformats.org/drawingml/2006/main" xmlns:r="http://schemas.openxmlformats.org/officeDocument/2006/relationships" xmlns:p="http://schemas.openxmlformats.org/presentationml/2006/main">
  <p:tag name="APLORISTAG" val="MHEquBxczdrxuEFlm.207"/>
</p:tagLst>
</file>

<file path=ppt/tags/tag147.xml><?xml version="1.0" encoding="utf-8"?>
<p:tagLst xmlns:a="http://schemas.openxmlformats.org/drawingml/2006/main" xmlns:r="http://schemas.openxmlformats.org/officeDocument/2006/relationships" xmlns:p="http://schemas.openxmlformats.org/presentationml/2006/main">
  <p:tag name="APLORISTAG" val="MHEquBxczdrxuEFlm.29"/>
</p:tagLst>
</file>

<file path=ppt/tags/tag148.xml><?xml version="1.0" encoding="utf-8"?>
<p:tagLst xmlns:a="http://schemas.openxmlformats.org/drawingml/2006/main" xmlns:r="http://schemas.openxmlformats.org/officeDocument/2006/relationships" xmlns:p="http://schemas.openxmlformats.org/presentationml/2006/main">
  <p:tag name="APLORISTAG" val="MHEquBxczdrxuEFlm.27"/>
</p:tagLst>
</file>

<file path=ppt/tags/tag149.xml><?xml version="1.0" encoding="utf-8"?>
<p:tagLst xmlns:a="http://schemas.openxmlformats.org/drawingml/2006/main" xmlns:r="http://schemas.openxmlformats.org/officeDocument/2006/relationships" xmlns:p="http://schemas.openxmlformats.org/presentationml/2006/main">
  <p:tag name="APLORISTAG" val="MHEquBxczdrxuEFlm.33"/>
</p:tagLst>
</file>

<file path=ppt/tags/tag15.xml><?xml version="1.0" encoding="utf-8"?>
<p:tagLst xmlns:a="http://schemas.openxmlformats.org/drawingml/2006/main" xmlns:r="http://schemas.openxmlformats.org/officeDocument/2006/relationships" xmlns:p="http://schemas.openxmlformats.org/presentationml/2006/main">
  <p:tag name="APLORISTAG" val="MX/IjfW661gLV+xOY.354"/>
</p:tagLst>
</file>

<file path=ppt/tags/tag150.xml><?xml version="1.0" encoding="utf-8"?>
<p:tagLst xmlns:a="http://schemas.openxmlformats.org/drawingml/2006/main" xmlns:r="http://schemas.openxmlformats.org/officeDocument/2006/relationships" xmlns:p="http://schemas.openxmlformats.org/presentationml/2006/main">
  <p:tag name="APLORISTAG" val="MHEquBxczdrxuEFlm.35"/>
</p:tagLst>
</file>

<file path=ppt/tags/tag151.xml><?xml version="1.0" encoding="utf-8"?>
<p:tagLst xmlns:a="http://schemas.openxmlformats.org/drawingml/2006/main" xmlns:r="http://schemas.openxmlformats.org/officeDocument/2006/relationships" xmlns:p="http://schemas.openxmlformats.org/presentationml/2006/main">
  <p:tag name="APLORISTAG" val="MHEquBxczdrxuEFlm.32"/>
</p:tagLst>
</file>

<file path=ppt/tags/tag152.xml><?xml version="1.0" encoding="utf-8"?>
<p:tagLst xmlns:a="http://schemas.openxmlformats.org/drawingml/2006/main" xmlns:r="http://schemas.openxmlformats.org/officeDocument/2006/relationships" xmlns:p="http://schemas.openxmlformats.org/presentationml/2006/main">
  <p:tag name="APLORISTAG" val="MHEquBxczdrxuEFlm.30"/>
</p:tagLst>
</file>

<file path=ppt/tags/tag153.xml><?xml version="1.0" encoding="utf-8"?>
<p:tagLst xmlns:a="http://schemas.openxmlformats.org/drawingml/2006/main" xmlns:r="http://schemas.openxmlformats.org/officeDocument/2006/relationships" xmlns:p="http://schemas.openxmlformats.org/presentationml/2006/main">
  <p:tag name="APLORISTAG" val="MHEquBxczdrxuEFlm.38"/>
</p:tagLst>
</file>

<file path=ppt/tags/tag154.xml><?xml version="1.0" encoding="utf-8"?>
<p:tagLst xmlns:a="http://schemas.openxmlformats.org/drawingml/2006/main" xmlns:r="http://schemas.openxmlformats.org/officeDocument/2006/relationships" xmlns:p="http://schemas.openxmlformats.org/presentationml/2006/main">
  <p:tag name="APLORISTAG" val="MHEquBxczdrxuEFlm.34"/>
</p:tagLst>
</file>

<file path=ppt/tags/tag155.xml><?xml version="1.0" encoding="utf-8"?>
<p:tagLst xmlns:a="http://schemas.openxmlformats.org/drawingml/2006/main" xmlns:r="http://schemas.openxmlformats.org/officeDocument/2006/relationships" xmlns:p="http://schemas.openxmlformats.org/presentationml/2006/main">
  <p:tag name="APLORISTAG" val="MHEquBxczdrxuEFlm.37"/>
</p:tagLst>
</file>

<file path=ppt/tags/tag156.xml><?xml version="1.0" encoding="utf-8"?>
<p:tagLst xmlns:a="http://schemas.openxmlformats.org/drawingml/2006/main" xmlns:r="http://schemas.openxmlformats.org/officeDocument/2006/relationships" xmlns:p="http://schemas.openxmlformats.org/presentationml/2006/main">
  <p:tag name="APLORISTAG" val="MHEquBxczdrxuEFlm.36"/>
</p:tagLst>
</file>

<file path=ppt/tags/tag157.xml><?xml version="1.0" encoding="utf-8"?>
<p:tagLst xmlns:a="http://schemas.openxmlformats.org/drawingml/2006/main" xmlns:r="http://schemas.openxmlformats.org/officeDocument/2006/relationships" xmlns:p="http://schemas.openxmlformats.org/presentationml/2006/main">
  <p:tag name="APLORISTAG" val="MHEquBxczdrxuEFlm.31"/>
</p:tagLst>
</file>

<file path=ppt/tags/tag158.xml><?xml version="1.0" encoding="utf-8"?>
<p:tagLst xmlns:a="http://schemas.openxmlformats.org/drawingml/2006/main" xmlns:r="http://schemas.openxmlformats.org/officeDocument/2006/relationships" xmlns:p="http://schemas.openxmlformats.org/presentationml/2006/main">
  <p:tag name="APLORISTAG" val="MHEquBxczdrxuEFlm.184"/>
</p:tagLst>
</file>

<file path=ppt/tags/tag159.xml><?xml version="1.0" encoding="utf-8"?>
<p:tagLst xmlns:a="http://schemas.openxmlformats.org/drawingml/2006/main" xmlns:r="http://schemas.openxmlformats.org/officeDocument/2006/relationships" xmlns:p="http://schemas.openxmlformats.org/presentationml/2006/main">
  <p:tag name="APLORISTAG" val="MHEquBxczdrxuEFlm.185"/>
</p:tagLst>
</file>

<file path=ppt/tags/tag16.xml><?xml version="1.0" encoding="utf-8"?>
<p:tagLst xmlns:a="http://schemas.openxmlformats.org/drawingml/2006/main" xmlns:r="http://schemas.openxmlformats.org/officeDocument/2006/relationships" xmlns:p="http://schemas.openxmlformats.org/presentationml/2006/main">
  <p:tag name="APLORISTAG" val="MX/IjfW661gLV+xOY.355"/>
</p:tagLst>
</file>

<file path=ppt/tags/tag160.xml><?xml version="1.0" encoding="utf-8"?>
<p:tagLst xmlns:a="http://schemas.openxmlformats.org/drawingml/2006/main" xmlns:r="http://schemas.openxmlformats.org/officeDocument/2006/relationships" xmlns:p="http://schemas.openxmlformats.org/presentationml/2006/main">
  <p:tag name="APLORISTAG" val="M8ejm1SFH7rYyU1s2"/>
</p:tagLst>
</file>

<file path=ppt/tags/tag161.xml><?xml version="1.0" encoding="utf-8"?>
<p:tagLst xmlns:a="http://schemas.openxmlformats.org/drawingml/2006/main" xmlns:r="http://schemas.openxmlformats.org/officeDocument/2006/relationships" xmlns:p="http://schemas.openxmlformats.org/presentationml/2006/main">
  <p:tag name="APLORISTAG" val="M8ejm1SFH7rYyU1s2.188"/>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EAAAAABRMAAAAYQXBsb3Jpcy5DaGFydC5TZXJpZXNUeXBlAQAAAAd2YWx1ZV9fAAgCAAAAAAAAAAoAAQUUAAAAGVN5c3RlbS5EcmF3aW5nLlJlY3RhbmdsZUYEAAAAAXgBeQV3aWR0aAZoZWlnaHQAAAAACwsLCwQAAAD//3////9/////f////3//ARUAAAAUAAAA//9/////f////3////9//wAAAAAABRYAAAAsQXBsb3Jpcy5DaGFydC5BeGlzQnJlYWsrQXhpc0JyZWFrRGlzcGxheU1vZGUBAAAAB3ZhbHVlX18ACAIAAAABAAAAAQEBCgoJFwAAAAoKAAAAAAAJGAAAAAoJGQAAAAEAAAAKBRoAAAAZQXBsb3Jpcy5DaGFydC5PcmllbnRhdGlvbgEAAAAHdmFsdWVfXwAIAgAAAAEAAAAJGwAAAAEcAAAAFAAAAP8DFkKEun1Baa8NRIxKa0MABB0AAAALU3lzdGVtLkd1aWQLAAAAAl9hAl9iAl9jAl9kAl9lAl9mAl9nAl9oAl9pAl9qAl9rAAAAAAAAAAAAAAAIBwcCAgICAgICAgAAAAAAAAAAAAAAAAAAAAAACgoJHgAAAAAKCgoBAAAAAAAAAP////8AAQEfAAAAFAAAAAAAIEEAACBBVAQURIsunkOdHVxCtt82Q6nHGUSMLqhDBSAAAAAVU3lzdGVtLkRyYXdpbmcuUG9pbnRGAgAAAAF4AXkAAAsLBAAAAOOBWEOMbKFDBiEAAAAQOGVqbTFTRkg3cll5VTFzMg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wLjAuMTQ4NiwgQ3VsdHVyZT1uZXV0cmFsLCBQdWJsaWNLZXlUb2tlbj0xNmZjMTNhMjI2YzBlOTUxXV0DAAAAmwFBcGxvcmlzLkJhc2UuT2JqZWN0cy5EYXRhT2JqZWN0Q29sbGVjdGlvbmAxW1tBcGxvcmlzLkNoYXJ0LkF4aXNCcmVhaywgQXBsb3Jpcy5DaGFydCwgVmVyc2lvbj00LjAuMC4xNDg2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AuMC4xNDg2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SYAAAAWQXBsb3Jpcy5DaGFydC5BeGlzVHlwZQEAAAAHdmFsdWVfXwAIAgAAAAEAAACamRk/AAAACgkBAAAACScAAAAJKAAAAAEAAAAAAAAAAAEAAAAAAADwPwGamZmZmZm5PwAAACBBAAEJKQAAAAoJKgAAAAkrAAAACSwAAAABLQAAACAAAAD/AxZCNCZ7QwEuAAAAIAAAAKkPF0Q0JntDCS8AAAAJMAAAAAkxAAAACTIAAAAAAAAAAAAAAAAAAAAJMwAAAAAAAAAAAAk0AAAACQEAAAAJAQAAAAk1AAAAAQcAAAAGAAAACQEAAAABNgAAACYAAAAAAAAAzcxMPwAAAAgBAAkBAAAACTcAAAAJOAAAAAEAAAAAAAAAAAGamZmZmZnpPwCamZmZmZm5PwAAACBBAAEJOQAAAAoJOgAAAAk7AAAACTwAAAABPQAAACAAAAD/AxZCNCZ7QwE+AAAAIAAAAP8DFkKEun1BCT8AAAAJQAAAAAlBAAAACUIAAAAAAAAAAAAAAAAAAAAJQwAAAAAAAAAAAAlEAAAACQEAAAAJAQAAAAlFAAAABAgAAACoAVN5c3RlbS5Db2xsZWN0aW9ucy5HZW5lcmljLkxpc3RgMVtbQXBsb3Jpcy5DaGFydC5Db2x1bW5PcmllbnRlZENoYXJ0K1VudXNlZFNlcmllcywgQXBsb3Jpcy5DaGFydCwgVmVyc2lvbj00LjAuMC4xNDg2LCBDdWx0dXJlPW5ldXRyYWwsIFB1YmxpY0tleVRva2VuPTE2ZmMxM2EyMjZjMGU5NTFdXQMAAAAGX2l0ZW1zBV9zaXplCF92ZXJzaW9uBAAAMEFwbG9yaXMuQ2hhcnQuQ29sdW1uT3JpZW50ZWRDaGFydCtVbnVzZWRTZXJpZXNbXQIAAAAICAlGAAAAAAAAABUAAAAFCQAAAKEBQXBsb3Jpcy5CYXNlLk9iamVjdHMuRGF0YU9iamVjdENvbGxlY3Rpb25gMVtbQXBsb3Jpcy5DaGFydC5DaGFydE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AuMC4xNDg2LCBDdWx0dXJlPW5ldXRyYWwsIFB1YmxpY0tleVRva2VuPTE2ZmMxM2EyMjZjMGU5NTFdXQMAAACXAVN5c3RlbS5Db2xsZWN0aW9ucy5HZW5lcmljLkxpc3RgMVtbQXBsb3Jpcy5DaGFydC5DaGFydERhdGFTZXJpZXM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RwAAAAlIAAAACQEAAAAJAQAAAAlJAAAABQoAAACmAUFwbG9yaXMuQmFzZS5PYmplY3RzLkRhdGFPYmplY3RDb2xsZWN0aW9uYDFbW0FwbG9yaXMuQ2hhcnQuQW5ub3RhdGlvbk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C4wLjE0ODYsIEN1bHR1cmU9bmV1dHJhbCwgUHVibGljS2V5VG9rZW49MTZmYzEzYTIyNmMwZTk1MV1dAwAAAJwBU3lzdGVtLkNvbGxlY3Rpb25zLkdlbmVyaWMuTGlzdGAxW1tBcGxvcmlzLkNoYXJ0LkFubm90YXRpb25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oAAAAJSwAAAAkBAAAACQEAAAAJTAAAAAULAAAAoQFBcGxvcmlzLkJhc2UuT2JqZWN0cy5EYXRhT2JqZWN0Q29sbGVjdGlvbmAxW1tBcGxvcmlzLkNoYXJ0LkFubm90YXRpb25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C4wLjE0ODYsIEN1bHR1cmU9bmV1dHJhbCwgUHVibGljS2V5VG9rZW49MTZmYzEzYTIyNmMwZTk1MV1dAwAAAJcBU3lzdGVtLkNvbGxlY3Rpb25zLkdlbmVyaWMuTGlzdGAxW1tBcGxvcmlzLkNoYXJ0LkFubm90YXRpb25Hcm91c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NAAAACU4AAAAJAQAAAAkBAAAACU8AAAAFDAAAAKABQXBsb3Jpcy5CYXNlLk9iamVjdHMuRGF0YU9iamVjdENvbGxlY3Rpb25gMVtbQXBsb3Jpcy5DaGFydC5DaGFydERhdGF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wLjAuMTQ4NiwgQ3VsdHVyZT1uZXV0cmFsLCBQdWJsaWNLZXlUb2tlbj0xNmZjMTNhMjI2YzBlOTUxXV0DAAAAlgFTeXN0ZW0uQ29sbGVjdGlvbnMuR2VuZXJpYy5MaXN0YDFbW0FwbG9yaXMuQ2hhcnQuQ2hhcnREYXRh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UAAAAAlRAAAACQEAAAAJAQAAAAlSAAAABQ0AAACaAUFwbG9yaXMuQmFzZS5PYmplY3RzLkRhdGFPYmplY3RDb2xsZWN0aW9uYDFbW0FwbG9yaXMuQ2hhcnQuRGVsdGFCYXI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C4wLjE0ODYsIEN1bHR1cmU9bmV1dHJhbCwgUHVibGljS2V5VG9rZW49MTZmYzEzYTIyNmMwZTk1MV1dAwAAAJABU3lzdGVtLkNvbGxlY3Rpb25zLkdlbmVyaWMuTGlzdGAxW1tBcGxvcmlzLkNoYXJ0LkRlbHRhQmF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MAAAAJVAAAAAkBAAAACQEAAAAJVQAAAAUOAAAAnQFBcGxvcmlzLkJhc2UuT2JqZWN0cy5EYXRhT2JqZWN0Q29sbGVjdGlvbmAxW1tBcGxvcmlzLkNoYXJ0LkRlbHRhQnJpZGdlLCBBcGxvcmlzLkNoYXJ0LCBWZXJzaW9uPTQuMC4wLjE0ODY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AuMC4xNDg2LCBDdWx0dXJlPW5ldXRyYWwsIFB1YmxpY0tleVRva2VuPTE2ZmMxM2EyMjZjMGU5NTFdXQMAAACTAVN5c3RlbS5Db2xsZWN0aW9ucy5HZW5lcmljLkxpc3RgMVtbQXBsb3Jpcy5DaGFydC5EZWx0YUJyaWRn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WAAAACVcAAAAJAQAAAAkBAAAACVgAAAAFDwAAAJ0BQXBsb3Jpcy5CYXNlLk9iamVjdHMuRGF0YU9iamVjdENvbGxlY3Rpb25gMVtbQXBsb3Jpcy5DaGFydC5Hcm93dGhBcnJvdy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wLjAuMTQ4NiwgQ3VsdHVyZT1uZXV0cmFsLCBQdWJsaWNLZXlUb2tlbj0xNmZjMTNhMjI2YzBlOTUxXV0DAAAAkwFTeXN0ZW0uQ29sbGVjdGlvbnMuR2VuZXJpYy5MaXN0YDFbW0FwbG9yaXMuQ2hhcnQuR3Jvd3RoQXJyb3c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WQAAAAlaAAAACQEAAAAJAQAAAAlbAAAABRAAAACkAUFwbG9yaXMuQmFzZS5PYmplY3RzLkRhdGFPYmplY3RDb2xsZWN0aW9uYDFbW0FwbG9yaXMuQ2hhcnQuV2F0ZXJmYWxs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wLjAuMTQ4NiwgQ3VsdHVyZT1uZXV0cmFsLCBQdWJsaWNLZXlUb2tlbj0xNmZjMTNhMjI2YzBlOTUxXV0DAAAAmgFTeXN0ZW0uQ29sbGVjdGlvbnMuR2VuZXJpYy5MaXN0YDFbW0FwbG9yaXMuQ2hhcnQuV2F0ZXJmYWxsQ29ubmVjdG9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wAAAAJXQAAAAkBAAAACQEAAAAJXgAAAAURAAAAogFBcGxvcmlzLkJhc2UuT2JqZWN0cy5EYXRhT2JqZWN0Q29sbGVjdGlvbmAxW1tBcGxvcmlzLkNoYXJ0LkVsZW1lbnRDb25uZWN0b3I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wLjAuMTQ4NiwgQ3VsdHVyZT1uZXV0cmFsLCBQdWJsaWNLZXlUb2tlbj0xNmZjMTNhMjI2YzBlOTUxXV0DAAAAmAFTeXN0ZW0uQ29sbGVjdGlvbnMuR2VuZXJpYy5MaXN0YDFbW0FwbG9yaXMuQ2hhcnQuRWxlbWVud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DAAAAAgBAAAAAgAAAAMAAAAEAAAABQAAAAYAAAAHAAAACAAAAAkAAAAKAAAACwAAAAwAAAAFGwAAABpBcGxvcmlzLkJhc2UuVUkuVmlzdWFsUmVjdBQAAAALbVN0YXJ0UG9pbnQJbUVuZFBvaW50C21MaW5lRm9ybWF0C21GaWxsRm9ybWF0CW1Sb3RhdGlvbhJtUmVjdGFuZ2xlUHJvdmlkZXIMbVBhaW50T2Zmc2V0Em1QYWludFNpemVPdmVycmlkZQ5tRXh0cmFSb3RhdGlvbg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QEBAAEAAAAAAcCAAADABVTeXN0ZW0uRHJhd2luZy5Qb2ludEYEAAAAFVN5c3RlbS5EcmF3aW5nLlBvaW50RgQAAAAfQXBsb3Jpcy5CYXNlLk9iamVjdHMuTGluZUZvcm1hdAMAAAAfQXBsb3Jpcy5CYXNlLk9iamVjdHMuRmlsbEZvcm1hdAMAAAALKkFwbG9yaXMuQmFzZS5VSS5JUmVjdGFuZ2xlUG9zaXRpb25Qcm92aWRlcgMAAAAUU3lzdGVtLkRyYXdpbmcuU2l6ZUYEAAAAFFN5c3RlbS5EcmF3aW5nLlNpemVGBAAAAAsZU3lzdGVtLkRyYXdpbmcuUmVjdGFuZ2xlRgQAAAAICAEBCAEBD1N5c3RlbS5JbnRQdHJbXQEDAAAAAWgAAAAgAAAA/wMWQoS6fUEBaQAAACAAAACpDxdENCZ7QwlqAAAACWsAAAAAAAAACgVsAAAAFFN5c3RlbS5EcmF3aW5nLlNpemVGAgAAAAV3aWR0aAZoZWlnaHQAAAsLBAAAAAAAAAAAAAAAAW0AAABsAAAAAAAAAAAAAAAAAAAAAW4AAAAUAAAAAAAAAAAAAAAAAAAAAAAAABQAAAD/////AQEKCW8AAAABAAoADx4AAAB1LAAAAlBLAwQUAAYACAAAACEAkleNNXkBAABwBQ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RLTsMwEN0jcYfIW5S4ZYEQatoFhSVUohzA2JMmqmNbHvd3eyZuQVCFhKrdxErs95t4ZjTZ1jpZg8fKmpwNswFLwEirKrPI2fv8Ob1nCQZhlNDWQM52gGwyvr4azXcOMCG0wZyVIbgHzlGWUAvMrANDO4X1tQj06hfcCbkUC+C3g8Edl9YEMCENDQcbj6ZQiJUOydOWPu+dEJwlj/tzjVTOhHO6kiKQUd7s8lbcuhO3NurIXGqLopKgrFzVZCkj/NSLDcX/Q8CDxg5nLQqH6Bkho3ssK4c3hwivVHtfKUhmwocXUVNQvtV8Y/3yw9pl1l2HFrWjPOg8CIUlQKh1FtesFpX5h348jDwuwwsbafJF4h4fgS4U8Pg830Kk6RHEsNOAF067J+1TLoUH9RY83b2LG/jJ3eND2rrpBDy/3r/v3hdvlzy14cxbhzQhPJz+E746rUGnjojAhwo6e+1bkcbL6YJHzQbN/FKgWrR5nJfjTwA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IyWxW7zAAAAugI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Sz2rDMAzG74O9g9F9cdKNMUadXsag1y17AGMrcWhiG0v7k7efyaBNoXSXXAyfhL/vJ6Ht7mccxBcm6oNXUBUlCPQm2N53Cj6a17snEMTaWz0EjwomJNjVtzfbNxw050/k+kgiu3hS4Jjjs5RkHI6aihDR504b0qg5y9TJqM1Bdyg3Zfko09ID6jNPsbcK0t7eg2immJP/9w5t2xt8CeZzRM8XIiTxNOQBRKNTh6zgTxeZEeTl+IdV451OaN855e0uKZblazDVmjDfIR3IIfJpHccSyblTXYPZrAnD+WDwBDJLOb9HBnl2cfUvAAAA//8DAFBLAwQUAAYACAAAACEAMqRF68ABAADPAgAADwAAAHhsL3dvcmtib29rLnhtbIxSS4+cMAy+V+p/iHKfSQgwuxoBq+k81JGqag/t7jkNYYg2D5SEwqrqf6+B0od66cn5bMf299nFw2g0+ip9UM6WONlSjKQVrlb2VuLPny6be4xC5Lbm2llZ4lcZ8EP19k0xOP/yxbkXBAVsKHEbY7cnJIhWGh62rpMWIo3zhkeA/kZC5yWvQytlNJowSnfEcGXxUmHv/6eGaxol5MmJ3kgblyJeah5h/NCqLuCqaJSWTwsjxLvuIzcw96gx0jzEc62irEucA3SD/Mvh++5drzRE2Y7SDJPqF8tHj3gf3dEZIBHCoxKxh0eJ6ZQ16fCk5BB+f5ggGp+Vrd1Q4vSOgrCvK2SUARzm4LOqYwsdk2RKWXzvpbq1EdbB0mxuQP7oMAsInWaL7Mzu0GnnVTjxyGFdk8JXYJFg5PcKHv5aJ9OcZP0ruBZAaTJzYkYphWzhrOi9B2WPEPlJTo7xQ4hVARb1XpX4213O0nN+Sjcsv6SbQ36mm2SXss0uu7A8OzKW5ez7ulYz/rNXo4R3wTVxK5why0rhFASRo5DzZdwvl1EVZtwfvGivJ3TR/AZ6s5kHzAJs1snIeovVDwAAAP//AwBQSwMEFAAGAAgAAAAhALLb7cdmAQAAxgIAABQAAAB4bC9zaGFyZWRTdHJpbmdzLnhtbJSSwW4aMRCG70i8g+VLTmQJQVVVLYuiREikrVoR+gBT7yzryJ4h9rAtb99ZaIq0Sg692TO/v/l/2+Xydwymw5Q908LeXE+tQXJce9ot7I/tavLRmixANQQmXNgjZrusxqMyZzF6lvLCtiL7T0WRXYsR8jXvkbTTcIoguk27Iu8TQp1bRImhmE2nH4oInqxxfCDRubfWHMi/HPD+X6Eqs69Kqb5gh8FwY9bUcegwIklZSFUWff+s2bJAGBYfmK7EfCb+NeysfMoyOSIkMx5tUJSo8YeqJznU2lHJE4jPDbi3VA/oAiQVMI1H6vIrPHMaor7RRHxERc1ex9a4S9hXHMd9wLfQ96CK3uJd3fmsL/I+dv4f2A2Ca5Wm4HyOmHUZOfVusGm88xo7HN+fdrGsJzQzS3vyKS2QmfW1ZObm7/2egw5hJxOmH3pxMR6dAGsDcSh/5J+K/R7ADd6/0H9Y/QEAAP//AwBQSwMEFAAGAAgAAAAhAOdldbjWAAAAuAEAACMAAAB4bC93b3Jrc2hlZXRzL19yZWxzL3NoZWV0MS54bWwucmVsc6yQyWoDMQxA74X+g9E91kwOoZR4cgmFXEP6AcLWLHS8YLlp8vd1KIUMBHrpUdvTk7a7i5/VmbNMMRhodQOKg41uCoOB99Pb6gWUFAqO5hjYwJUFdt3z0/bIM5U6JOOURFVKEANjKekVUezInkTHxKFW+pg9lRrmARPZDxoY102zwXzPgG7BVAdnIB9cC+p0TXXz3+zY95PlfbSfnkN5sALPft5n+qrHVSrlgYsBrdH95OSu3uraC/jYaf2fTjb6m64sjH6Tra7/u2ng4t/dNwAAAP//AwBQSwMEFAAGAAgAAAAhAPtipW2UBgAApxsAABMAAAB4bC90aGVtZS90aGVtZTEueG1s7FlPb9s2FL8P2HcgdG9tJ7YbB3WK2LGbrU0bxG6HHmmZllhTokDSSX0b2uOAAcO6YZcBu+0wbCvQArt0nyZbh60D+hX2SEqyGMtL0gYb1tWHRCJ/fP/f4yN19dqDiKFDIiTlcdurXa56iMQ+H9M4aHt3hv1LGx6SCsdjzHhM2t6cSO/a1vvvXcWbKiQRQbA+lpu47YVKJZuVivRhGMvLPCExzE24iLCCVxFUxgIfAd2IVdaq1WYlwjT2UIwjIHt7MqE+QUNN0tvKiPcYvMZK6gGfiYEmTZwVBjue1jRCzmWXCXSIWdsDPmN+NCQPlIcYlgom2l7V/LzK1tUK3kwXMbVibWFd3/zSdemC8XTN8BTBKGda69dbV3Zy+gbA1DKu1+t1e7WcngFg3wdNrSxFmvX+Rq2T0SyA7OMy7W61Ua27+AL99SWZW51Op9FKZbFEDcg+1pfwG9VmfXvNwRuQxTeW8PXOdrfbdPAGZPHNJXz/SqtZd/EGFDIaT5fQ2qH9fko9h0w42y2FbwB8o5rCFyiIhjy6NIsJj9WqWIvwfS76ANBAhhWNkZonZIJ9iOIujkaCYs0AbxJcmLFDvlwa0ryQ9AVNVNv7MMGQEQt6r55//+r5U/Tq+ZPjh8+OH/50/OjR8cMfLS1n4S6Og+LCl99+9ufXH6M/nn7z8vEX5XhZxP/6wye//Px5ORAyaCHRiy+f/PbsyYuvPv39u8cl8G2BR0X4kEZEolvkCB3wCHQzhnElJyNxvhXDEFNnBQ6Bdgnpngod4K05ZmW4DnGNd1dA8SgDXp/dd2QdhGKmaAnnG2HkAPc4Zx0uSg1wQ/MqWHg4i4Ny5mJWxB1gfFjGu4tjx7W9WQJVMwtKx/bdkDhi7jMcKxyQmCik5/iUkBLt7lHq2HWP+oJLPlHoHkUdTEtNMqQjJ5AWi3ZpBH6Zl+kMrnZss3cXdTgr03qHHLpISAjMSoQfEuaY8TqeKRyVkRziiBUNfhOrsEzIwVz4RVxPKvB0QBhHvTGRsmzNbQH6Fpx+A0O9KnX7HptHLlIoOi2jeRNzXkTu8Gk3xFFShh3QOCxiP5BTCFGM9rkqg+9xN0P0O/gBxyvdfZcSx92nF4I7NHBEWgSInpmJEl9eJ9yJ38GcTTAxVQZKulOpIxr/XdlmFOq25fCubLe9bdjEypJn90SxXoX7D5boHTyL9wlkxfIW9a5Cv6vQ3ltfoVfl8sXX5UUphiqtGxLba5vOO1rZeE8oYwM1Z+SmNL23hA1o3IdBvc4cOkl+EEtCeNSZDAwcXCCwWYMEVx9RFQ5CnEDfXvM0kUCmpAOJEi7hvGiGS2lrPPT+yp42G/ocYiuHxGqPj+3wuh7Ojhs5GSNVYM60GaN1TeCszNavpERBt9dhVtNCnZlbzYhmiqLDLVdZm9icy8HkuWowmFsTOhsE/RBYuQnHfs0azjuYkbG2u/VR5hbjhYt0kQzxmKQ+0nov+6hmnJTFypIiWg8bDPrseIrVCtxamuwbcDuLk4rs6ivYZd57Ey9lEbzwElA7mY4sLiYni9FR22s11hoe8nHS9iZwVIbHKAGvS91MYhbAfZOvhA37U5PZZPnCm61MMTcJanD7Ye2+pLBTBxIh1Q6WoQ0NM5WGAIs1Jyv/WgPMelEKlFSjs0mxvgHB8K9JAXZ0XUsmE+KrorMLI9p29jUtpXymiBiE4yM0YjNxgMH9OlRBnzGVcONhKoJ+ges5bW0z5RbnNOmKl2IGZ8cxS0KclludolkmW7gpSLkM5q0gHuhWKrtR7vyqmJS/IFWKYfw/U0XvJ3AFsT7WHvDhdlhgpDOl7XGhQg5VKAmp3xfQOJjaAdECV7wwDUEFd9TmvyCH+r/NOUvDpDWcJNUBDZCgsB+pUBCyD2XJRN8pxGrp3mVJspSQiaiCuDKxYo/IIWFDXQObem/3UAihbqpJWgYM7mT8ue9pBo0C3eQU882pZPnea3Pgn+58bDKDUm4dNg1NZv9cxLw9WOyqdr1Znu29RUX0xKLNqmdZAcwKW0ErTfvXFOGcW62tWEsarzUy4cCLyxrDYN4QJXCRhPQf2P+o8Jn94KE31CE/gNqK4PuFJgZhA1F9yTYeSBdIOziCxskO2mDSpKxp09ZJWy3brC+40835njC2luws/j6nsfPmzGXn5OJFGju1sGNrO7bS1ODZkykKQ5PsIGMcY76UFT9m8dF9cPQOfDaYMSVNMMGnKoGhhx6YPIDktxzN0q2/AAAA//8DAFBLAwQUAAYACAAAACEAmn3YIsQGAABzYQAADQAAAHhsL3N0eWxlcy54bWzsnd1v2zYQwN8H7H8QVOwx0fdXYLtYknot0BUFkgF7lSXaJkqJhiS3dof97zuSkm05jhOVTLMH5sHRx92R+vF4Ek0dPXq7KYjxFVU1puXYdC5t00BlRnNcLsbmX/fTi9g06iYt85TQEo3NLarNt5NffxnVzZaguyVCjQEmynpsLptmdWVZdbZERVpf0hUq4cycVkXawG61sOpVhdK8ZkoFsVzbDq0ixaUpLFwV2XOMFGn1Zb26yGixShs8wwQ3W27LNIrs6sOipFU6I1DVjeOnWWeb7zwwX+CsojWdN5dgzqLzOc7Qw1omVmKBpcmoXBfToqmNjK7LZmy6u0OGOPMhB4Shbxriom9oDtWwL+3fTKtT7kkGfck3b950wlZb1GQ0p+W+xBAuh13V1ZeSfiun7BSUCNVgUpNR/d34mhI44rACM0poZTTQGlALfqRMCyQkblKCZxVmYvO0wGQrDrvsAG/AVq7AgJMdtEQJ4nPGpNqyEnZWFIXLHG0QMIiPSrtPl7RImeCDwnp2O5svXf/1Qf1PlWWzqqqC9VRhR6zkWmZHkLekaJZqMRub06nN//pX9gcmxLhLy5odbpuC/6uhqeBcz9XZgckIOl2DqnLKNNvt++0KPKyE+CDMcLknpBdVunXc4EDB4gVORjNa5RCPuk7GvFscmowImjdQ0Qovlux/Q1fwOaNNA513MspxuqBlSmDT6jTaDbicDBFyx2LW3/O9bccG65v5QaeE+Md8nPVktgmX0m4Ki2IHSugpJXsl91ElI12tyHYKxrlpsQf293vX/Mr3+78TvCgLdKjwuaINyhoerLmX9upxUPnH63Fcea0EMb1r77bpf4ie90TTf1oXM1RN+f1w38isI+33VLoAuw+d9l/hij+7PpoPhJQzvU/z0XxkQr72H+0/2n9e7n6q+5fuX7p/6f4FAyY+eNPPz3p8ce55Xo+/zt8vNB/NR+Z+qv1H+4/2n5d7HtP9S/cv3b90/3qt8Y6OPzr+6Pij44+OP+J9BP398/l4qPloPjL3C+0/2n9k/OeHXhr6eUravbV7y7i39h/tP9p/Xm44pvuX7l+6f+n+9Vpfd+j4o+OPjj86/uj4I75u1dNP5+Oh5qP5yNwvXst/rMNMUJEXepASGv9QQqixmZ/ODIVg+nQ66U67TRHlGYE8Lfix7E5m9pHUvq4mfVti76C5WFpt2uWXGkta4e+Q+8iSxzNIOEUi53szP0p0bZPbn8qPbS/IOfmidHdUZMLu9tqLfpWKnr7l/S+q1lWi/7J5d1QVQ+Nbla7u0QZSk7nfWSdani9WIFqebZ51vwgGEyfekX9OtbsM2E52iM+yhSwanD3lxTKdcrh/nmTLgxCEnYO89KOs9F2UMthCBJDATwmh31BuvIds+4rg8gusBcGjDiSxG7M1Jg0uWRCCZPQlznPElvNgr6cPMASTEWoMQWxXYwgWvFBjCJYxUWLIVQXbVQXbVQXbVQXbVQXbUwXbUwXbUwXbUwXbUwXbVwXbVwXbVwXbVwXbVwU7UAU7UAU7UAU7UAU7UAU7VAU7VAWbrRGl5HYUqoIdqoIdqYIdqYIdRYpgR/BopaTVYH0sRYbgOVtNjeCRXo0hVbBjVbATVbATVbATVbATVbATVbAdWxVtx1aF27FV8XZsVcAdexjxB4O+vjoE77NjvgfqsOrdYX8frt9vnOH6/SYZrt9viOH6kvxcSX6uJD9YOU+q/VxJfq4kP0+SnyfJz5Pk50ny8yT5+ZL8fEl+viQ/X5KfL8kvkOQXSPILJPkFkvwCSX6hJL9Qkl8oyS+U5BdK8osk+UX9cd/g+18EGgfP+4P14/4ob7h+f3A3XL8/gB6uL8kvhhJl+CWS/BJJfokkv0SSXyLJz7ElATq2JEHHlkTo2JIMHXsYxE9s5VnSzRr1+fGFSY9nij6jik0Gdxr9kMWXbj7W4IvCO74fxZ7juo7PvncXk1TPEmfThkJcLF/dLdncToEdW2dOLMT9UxNdR+KhA7yFePgccfYNvRCPnyPOIrIQ954hHjlwAxHi0TnxOIkj1/Vi9rzQip8138onrHu08mfZdPLsea6VF2ty71oWpijzzX7JbO4oDVtgny+mvZu0hPJyNE/XpLnfnRyb++0/UY7XBbhDK/UZf6UNNzE299sf2cre0E4wbQmT0R9rWNMe/hvrCo/Nf95dR8ntu6l7EdvX8YXvoeAiCa5vLwL/5vr2dprYrn3zL1wG+zWCK1gmX2K1f/6rBPDug+Nf1QR+E6BqL7at/N3+2Ng82BHVZ7W3oNrik1+ExX2R/1rC5D8AAAD//wMAUEsDBBQABgAIAAAAIQDJm5HyOAQAACEMAAAYAAAAeGwvd29ya3NoZWV0cy9zaGVldDEueG1snFZdc6M2FH3vTP8Dw7sBAebDY3snsZNNdpM207S7zzLINhNAVJJju53+916JjyBIdtz6wRLSuUfn6l5Jd/7pVOTGK2E8o+XCRJZjGqRMaJqVu4X5x++3k8g0uMBlinNakoV5Jtz8tPz5p/mRshe+J0QYwFDyhbkXoprZNk/2pMDcohUpYWZLWYEFfLKdzStGcKqMitx2HSewC5yVZs0wY5dw0O02S8iaJoeClKImYSTHAvTzfVbxlu2UXsSXMnwEX1s9PYnreqbjQ/5IX5EljHK6FVZCC7uWNvYytmPNzyIZEb2zWQVmL4dqAsQVOLfJ8kyclbumUSSz+11JGd7kEJET8nHSU4nH9JfrBKblPM1gb2VCGIxsF+YVmv3imvZyriL3LSNH3usbAm+eSU4SQVJIINOQibGh9EUC72HIAUauAJIRJyJ7JSuS5wvzBtD8T7XGDZrdIMePpmEgV7K7pfr9dtlblVNPzNhgTlY0/56lYg9rQ+6mZIsPuXgbjKzIcx0PudNu8jd6vCPZbi/AxIeNk/s3S89rwhNIKSkYFCQ0h+Xg3ygyeTBg1/Gp9q9ZLegxc3GWoQDUhnBxm0lq00gOXNCiVdew1nxuwwftsebrC23oPM3Ea0ygbUzcqYUC3wmkb53JpQrAc+URtJcqgGWUCbSdyf8XEDRs0HZsb7Fq/FF510UhbEyg/dhE3zW4vpRmaBsTFI8DB3t6YeDihg/aSyXIvKyTBzofG+muoi7joPOxke4satNKdlp3PcvrTsB/zhLUZp08KR/LGGhvEwUFXvRDO6QOe33W1JFfY4GXc0aPBtze4DmvsHxb0EyuL09sHMF1ksjZKzmtQDDMYfR16cztV7gwkgZxXSNATYfwdMRqjIh0xHqM8HWEusUWZn+VQEfc1hyQtZ2OWEd8Hq8y1RF3Y0SoI+7HCDTYkC9jIQjpLF/fYXF1yMMY8oawIXZdACELRwFE0y6AcloP4EDMdY0I6uBaoT/YtpU+70d+rP103Wsd7YWDUN8M5r3Q6f/efFTpdztAu3Ef7Aw8+ayj3SD4EfpOR6NooPS+Px9ZU83p2LuZDLR+6eOnlu6X447wX/t41xoTPvQBaEiIRoSPNd5XD5o8vFBQyNirgTpl6ie/Pv8V3pFHzHZZyY2cbOHUOBacHlY/2qovaKVG4dhtqIBntv3aQ4lJYAXHgqtrS6loP+BRl7zPRBwqg7IM3npVNS7MijLBcCbghoHxvyhM5OsqA3lu7MdB6MagFmpkkSXjCaDNyQ4n56ZeNNgsSxcmu0/V5UZO4oGL5Rxa48CA8294sR039NDkKrh2JlP55wahMwlDF12HKyeG1PinrecKqDkGhfW7xVyBE5ucEqLK6qguN5fz4jR7evhmPNIUihN4fH4tyRNsgep/fwZnVFfWWyCv/ldibVnDqft4+S8AAAD//wMAUEsDBBQABgAIAAAAIQCeMb79nAIAABAHAAAbAAAAeGwvZHJhd2luZ3Mvdm1sRHJhd2luZzEudm1s7JXLbtswEEX3+QqCWXhjQ48krsFIBoIU2bUF+lwGtERbTEiOII1lOV/fIaXYcYMWAbropgJkkZzhcO7lAZz11jB6XSu6nG8bJ9qiUla2M6uLBlpY46wAKzpr+NmYCH9KhPVaF0oMn8OW/g1bVF+o4yGW2qkQaxFFVhbfrfkS+vrWaL48YxmItpK1MnIPW2SdUD3mXJUafdSHdWllfRJgpUSZ84RHvkB0UmGZdUNB3NeK6TLn931Mzz2mccpZAdCUrX5SOU+TeRxPwy9nVKOmc30OnVpLrHJu42lsxowh7+Q37tXQIh2IDTwq9gDatbg3VNxqVE3oj1FDvh7bNLLUymGQC485R39sAc6pAn23OW9oNIp6oeIg6aWcNonTK86GfecnGocWJjW0GjU4IVctmC2qa1JmZbPRbmbUGsV8UeP1uIBQiySm+U6XWIkkvaRxpfSmQpH4vKeZdqXqReKrdLrVK2007kWly1K5a9vCbNfIehYOF+g3TthaG1OAgSbn52t6VOIlk0kKLZQkWG4Rnk30yXQ/lJ0e0/0NewfJtBJ2DNxg26otto2iyx3sOnj8i58OnDpcAhJZK+jZaI/vuNTecfJoJg0K38zEn8eyUnfPeX4bhfXGCe/aZJlFFA1tRZ0Yi4ZpL26Nv+D3RCf7tHqg0l/DtX4EHFBhWS8+QKd+aKxulTFtkOdXvxCSr1dvXFFBE1pi8ZTNF1P/SehNp+ximKWLLOrFi0yqdkNK7sjO5Z00rQrx55UgrxefYbdMfMAPxrVbosS6ZeyXx7E3388Ouig3I9mB4d9yOf87Lt8t5qdgpgcur45UpskLKtP/VP4bKj2LlyOIRGYSAPV8XgTqjvy+mcqA32sqk0Dr27CM6G9w+RMAAP//AwBQSwMEFAAGAAgAAAAhAPqpjyI0AQAAEg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X0vDMBTF3wW/Q8l7m6bDIaHtQGWIOBCcKL5dkrst2PwhiXb79mbdrJP5eDnn/jjn3nq21V32hT4oaxrCipJkaISVyqwb8rKc59ckCxGMhM4abMgOA5m1lxe1cFxYj0/eOvRRYcgSyQQuXEM2MTpOaRAb1BCK5DBJXFmvIabRr6kD8QFrpFVZTqnGCBIi0D0wdyORHJFSjEj36bsBIAXFDjWaGCgrGP31RvQ6/LswKCdOreLOpU7HuKdsKQ7i6N4GNRr7vi/6yRAj5Wf0bfH4PFTNldnfSiBpaym48AjR+ramp0M6XAchLtKNVwrlza59sAbiBkx2b30CoDI1PXcl4lCA6+NmljLxQ4Mf6XVye7eck7Yq2TQvWc4my6riFePs6n2f4i8gBTv7YvsNAAD//wMAUEsDBBQABgAIAAAAIQBq2oPADwEAACICAAAQAAAAeGwvY29tbWVudHMxLnhtbLxQy07DMBC8I/EP1t6pkxxQQbErLkVIPSBRPsDEm8aSH5HXrVq+ng1pOHDihGRZnvHszGjbzTl4ccJMLkUF9aoCgbFL1sWDgvf99m4NgoqJ1vgUUcEFCTb69qbtUggYCwk2iKRgKGV8lJK6AYOhVRox8k+fcjCFYT5IGjMaSwNiCV42VXUvg3ERdGuOZUiZlofUrfyhrjk7R0UvoSJjr2BXg5hlL1ZBxT4FzyzKfF75+mAf+hQn4xU8AIMu+ZSFixbPyBPreiLzNsUyi/ZmSMFMZG+C85eZbSZCfjsW/ZzTcRQWqctuLLwzaiVHSo6Tc7q8Fv5V9qn5/7JvmB3SH9suvedFL4j0FwAAAP//AwBQSwMEFAAGAAgAAAAhAPShL/GKAQAADQ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JNT+MwEIbvK+1/iHynTlmEVpVjhGBXHBZtpRY4G2fSWLi25Rmill+/k0Sl6cKJ23y8fufx2Opqt/VFBxldDJWYz0pRQLCxdmFTiYf177OfokAyoTY+BqjEHlBc6e/f1DLHBJkcYMEWASvREqWFlGhb2BqccTtwp4l5a4jTvJGxaZyF22hftxBInpflpYQdQaihPkvvhmJ0XHT0VdM62p4PH9f7xMBaXafknTXEt9T3zuaIsaHi3lgXKGJb/NpZ8EpOZYo5V2Bfs6O9LpWcpmpljYcbHqEb4xGUPBbUHZh+fUvjMmrV0aIDSzEX6N54geeieDYIPVglOpOdCcSAvWxMhtgnpKyfYn7BFoBQSRaMxSGcaqexu9DzQcDBqbA3GEG4cYq4duQB/zZLk+kT4vmUeGAYeUec6+RjdnhryHyAHO7N4/4b8MeFF3xI68iH4LDA06JatSZDzTs/9I8Fdce7y743uWlN2EB90Hxs9A//OP5uPb+YlT9KfslJTcnjP9b/AAAA//8DAFBLAQItABQABgAIAAAAIQCSV401eQEAAHAFAAATAAAAAAAAAAAAAAAAAAAAAABbQ29udGVudF9UeXBlc10ueG1sUEsBAi0AFAAGAAgAAAAhAFB8TsH2AAAATAIAAAsAAAAAAAAAAAAAAAAAsgMAAF9yZWxzLy5yZWxzUEsBAi0AFAAGAAgAAAAhAIyWxW7zAAAAugIAABoAAAAAAAAAAAAAAAAA2QYAAHhsL19yZWxzL3dvcmtib29rLnhtbC5yZWxzUEsBAi0AFAAGAAgAAAAhADKkRevAAQAAzwIAAA8AAAAAAAAAAAAAAAAADAkAAHhsL3dvcmtib29rLnhtbFBLAQItABQABgAIAAAAIQCy2+3HZgEAAMYCAAAUAAAAAAAAAAAAAAAAAPkKAAB4bC9zaGFyZWRTdHJpbmdzLnhtbFBLAQItABQABgAIAAAAIQDnZXW41gAAALgBAAAjAAAAAAAAAAAAAAAAAJEMAAB4bC93b3Jrc2hlZXRzL19yZWxzL3NoZWV0MS54bWwucmVsc1BLAQItABQABgAIAAAAIQD7YqVtlAYAAKcbAAATAAAAAAAAAAAAAAAAAKgNAAB4bC90aGVtZS90aGVtZTEueG1sUEsBAi0AFAAGAAgAAAAhAJp92CLEBgAAc2EAAA0AAAAAAAAAAAAAAAAAbRQAAHhsL3N0eWxlcy54bWxQSwECLQAUAAYACAAAACEAyZuR8jgEAAAhDAAAGAAAAAAAAAAAAAAAAABcGwAAeGwvd29ya3NoZWV0cy9zaGVldDEueG1sUEsBAi0AFAAGAAgAAAAhAJ4xvv2cAgAAEAcAABsAAAAAAAAAAAAAAAAAyh8AAHhsL2RyYXdpbmdzL3ZtbERyYXdpbmcxLnZtbFBLAQItABQABgAIAAAAIQD6qY8iNAEAABICAAARAAAAAAAAAAAAAAAAAJ8iAABkb2NQcm9wcy9jb3JlLnhtbFBLAQItABQABgAIAAAAIQBq2oPADwEAACICAAAQAAAAAAAAAAAAAAAAAAolAAB4bC9jb21tZW50czEueG1sUEsBAi0AFAAGAAgAAAAhAPShL/GKAQAADQMAABAAAAAAAAAAAAAAAAAARyYAAGRvY1Byb3BzL2FwcC54bWxQSwUGAAAAAA0ADQBYAwAABykAAAAABSI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AAAAAFQXJpYWwGcQAAAAYrbW4tZWEJcgAAAAEACXMAAAAHIwAAAAABAAAAEQAAAAQUU3lzdGVtLkRyYXdpbmcuQ29sb3IEAAAABXQAAAAUU3lzdGVtLkRyYXdpbmcuQ29sb3IEAAAABXZhbHVlBXN0YXRlCmtub3duQ29sb3IEbmFtZQAAAAEJBwcEAAAAAAAAAAAAAAAAAAAACgF1AAAAdAAAAAAAAP//////AgAAAAoBdgAAAHQAAAD//////////wIAAAAKAXcAAAB0AAAATkEi//////8CAAAACgF4AAAAdAAAAN7c2///////AgAAAAoBeQAAAHQAAAB+aT///////wIAAAAKAXoAAAB0AAAAjIRy//////8CAAAACgF7AAAAdAAAACUh7f//////AgAAAAoBfAAAAHQAAAA0O0b//////wIAAAAKAX0AAAB0AAAAdJjD//////8CAAAACgF+AAAAdAAAAB6U9///////AgAAAAoBfwAAAHQAAAAelPf//////wIAAAAKAYAAAAB0AAAAJSHt//////8CAAAACgGBAAAAdAAAAAAAAP//////AgAAAAoBggAAAHQAAAD//////////wIAAAAKAYMAAAB0AAAATkEi//////8CAAAACgGEAAAAdAAAAN7c2///////AgAAAAoEJAAAAJgBU3lzdGVtLkNvbGxlY3Rpb25zLkdlbmVyaWMuTGlzdGAxW1tBcGxvcmlzLkJhc2UuT2JqZWN0cy5EYXRhT2JqZWN0LCBBcGxvcmlzLkJhc2UsIFZlcnNpb249NC4wLjAuMTQ4NiwgQ3VsdHVyZT1uZXV0cmFsLCBQdWJsaWNLZXlUb2tlbj0xNmZjMTNhMjI2YzBlOTUxXV0DAAAABl9pdGVtcwVfc2l6ZQhfdmVyc2lvbgQAACFBcGxvcmlzLkJhc2UuT2JqZWN0cy5EYXRhT2JqZWN0W10DAAAACAgJhQAAAAwAAAAMAAAABCUAAACVAVN5c3RlbS5Db2xsZWN0aW9ucy5HZW5lcmljLkxpc3RgMVtbQXBsb3Jpcy5CYXNlLlVJLlZpc3VhbE9iamVjdCwgQXBsb3Jpcy5CYXNlLCBWZXJzaW9uPTQuMC4wLjE0ODYsIEN1bHR1cmU9bmV1dHJhbCwgUHVibGljS2V5VG9rZW49MTZmYzEzYTIyNmMwZTk1MV1dAwAAAAZfaXRlbXMFX3NpemUIX3ZlcnNpb24EAAAeQXBsb3Jpcy5CYXNlLlVJLlZpc3VhbE9iamVjdFtdAwAAAAgICYYAAAABAAAAAQAAAAUnAAAAmwFBcGxvcmlzLkJhc2UuT2JqZWN0cy5EYXRhT2JqZWN0Q29sbGVjdGlvbmAxW1tBcGxvcmlzLkNoYXJ0LlZhbHVl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C4wLjE0ODYsIEN1bHR1cmU9bmV1dHJhbCwgUHVibGljS2V5VG9rZW49MTZmYzEzYTIyNmMwZTk1MV1dAwAAAJEBU3lzdGVtLkNvbGxlY3Rpb25zLkdlbmVyaWMuTGlzdGAxW1tBcGxvcmlzLkNoYXJ0LlZhbHVl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HAAAACYgAAAAJBgAAAAkBAAAACYkAAAAFKAAAAJsBQXBsb3Jpcy5CYXNlLk9iamVjdHMuRGF0YU9iamVjdENvbGxlY3Rpb25gMVtbQXBsb3Jpcy5DaGFydC5BeGlzQnJlYWs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AuMC4xNDg2LCBDdWx0dXJlPW5ldXRyYWwsIFB1YmxpY0tleVRva2VuPTE2ZmMxM2EyMjZjMGU5NTFdXQMAAACRAVN5c3RlbS5Db2xsZWN0aW9ucy5HZW5lcmljLkxpc3RgMVtbQXBsb3Jpcy5DaGFydC5BeGlzQnJlYW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igAAAAmLAAAACQYAAAAJAQAAAAmMAAAABS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IAAAADAAAACWMAAAAJZAAAAAllAAAAAQAAAAAKCglmAAAAAAAAAAoAAAAAAA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YgAAAAMAAAAJYwAAAAlkAAAACWUAAAABAAAAAAoGjQAAAAElCWYAAAABAAAACgAAAAAAAAAABSwAAACaAUFwbG9yaXMuQmFzZS5PYmplY3RzLkRhdGFPYmplY3RDb2xsZWN0aW9uYDFbW0FwbG9yaXMuQ2hhcnQuVGlja01hcms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C4wLjE0ODYsIEN1bHR1cmU9bmV1dHJhbCwgUHVibGljS2V5VG9rZW49MTZmYzEzYTIyNmMwZTk1MV1dAwAAAJABU3lzdGVtLkNvbGxlY3Rpb25zLkdlbmVyaWMuTGlzdGAxW1tBcGxvcmlzLkNoYXJ0LlRpY2tNYXJ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Y4AAAAJjwAAAAkGAAAACQEAAAAJkAAAAAUv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EAAAAgAAAA/wMWQjQme0MBkgAAACAAAACpDxdENCZ7QwmTAAAAuAEAAP////8BAQoJlAAAAAEACgAHMAAAAAABAAAABQAAAAQVU3lzdGVtLkRyYXdpbmcuUG9pbnRGBAAAAAGVAAAAIAAAAKnPF0Q0JntDAZYAAAAgAAAA/wMWQhsTo0MBlwAAACAAAADpb6BDGxOjQwGYAAAAIAAAAKkPF0QbE6NDAZkAAAAgAAAAqc8XRBoTgEMHMQAAAAABAAAABQAAAAQXQXBsb3Jpcy5CYXNlLkFuY2hvck1vZGUDAAAABZoAAAAXQXBsb3Jpcy5CYXNlLkFuY2hvck1vZGUBAAAAB3ZhbHVlX18ACAMAAAAEAAAAAZsAAACaAAAABQAAAAGcAAAAmgAAAAMAAAABnQAAAJoAAAAGAAAAAZ4AAACaAAAABQAAAA8yAAAABQAAAAEAAAAAAQUzAAAAFUFwbG9yaXMuQmFzZS5VSS5MYWJlbBwAAAAPbUFuY2hvclBvc2l0aW9uC21BbmNob3JNb2RlD21BZGRJbm5lck1hcmdpbhZtT2Zmc2V0RGlyZWN0aW9uQW5jaG9yF21PZmZzZXRPcnRob2dvbmFsQW5jaG9yC21UZXh0Rm9ybWF0CW1Sb3RhdGlvbgptQmFja0NvbG9yDW1Vc2VCYWNrQ29sb3IObVVzZ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EBAQAAQMDAQAAAAAHAgAAAwA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wAAAAGfAAAAIAAAAKnPF0Q0JntDAaAAAACaAAAABAAAAAAAAAAAAAAAAAmhAAAAAAAAAAmiAAAAAAAFowAAACpBcGxvcmlzLkJhc2UuVUkuTGFiZWwrTGluZUFsaWdubWVudE9wdGlvbnMBAAAAB3ZhbHVlX18ACAMAAAAAAAAAAaQAAABsAAAAAAAAAAAAAAABpQAAABQAAAAAAAAAAAAAAAAAAAAAAAAAAAAAAAamAAAADUNhdGVnb3J5IGF4aXMKCacAAAAJpgAAAOQCAAD/////AAEKCagAAAABAAoBATQAAAAkAAAACakAAAAGAAAABgAAAAE1AAAAJQAAAAmqAAAAAgAAAAIAAAABNwAAACcAAAAKCasAAAAJrAAAAAkHAAAACQEAAAAJrQAAAAE4AAAAKAAAAAoJrgAAAAmvAAAACQcAAAAJAQAAAAmwAAAABT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IAAAADAAAACWMAAAAJZAAAAAllAAAAAQAAAAAKBrEAAAABJQlmAAAAAAAAAAoAAAAAAA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iAAAAAwAAAAljAAAACWQAAAAJZQAAAAEAAAAACgmxAAAACWYAAAAAAAAACgAAAAAAAAAABT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EAAAABCWIAAAADAAAACWMAAAAJZAAAAAllAAAAAQAAAAAKCY0AAAAJZgAAAAEAAAAKAAAAAAAAAAABPAAAACwAAAAKCbIAAAAJswAAAAkHAAAACQEAAAAJtAAAAAE/AAAALwAAAAG1AAAAIAAAAP8DFkI0JntDAbYAAAAgAAAA/wMWQoS6fUEJtwAAALgBAAD/////AQEKCbgAAAABAAoAB0AAAAAAAQAAAAUAAAAEFVN5c3RlbS5EcmF3aW5nLlBvaW50RgQAAAABuQAAACAAAAD/AxZCsnQmQQG6AAAAIAAAAPazGUE0JntDAbsAAAAgAAAA9rMZQe6ABUMBvAAAACAAAAD2sxlBhLp9QQG9AAAAIAAAAPazGUGydCZBB0EAAAAAAQAAAAUAAAAEF0FwbG9yaXMuQmFzZS5BbmNob3JNb2RlAwAAAAG+AAAAmgAAAAEAAAABvwAAAJoAAAAIAAAAAcAAAACaAAAAAgAAAAHBAAAAmgAAAAYAAAABwgAAAJoAAAAHAAAAD0IAAAAFAAAAAQAAAAABAUMAAAAzAAAAAcMAAAAgAAAA/wMWQrJ0JkEBxAAAAJoAAAABAAAAAAAAAAAAAAAACcUAAAAAAAAACcYAAAAAAAHHAAAAowAAAAAAAAAByAAAAGwAAAAAAAAAAAAAAAHJAAAAFAAAAAAAAAAAAAAAAAAAAAAAAAAAAAAABsoAAAAKVmFsdWUgYXhpcwoJywAAAAnKAAAA5AIAAP////8AAQoJzAAAAAEACgEBRAAAACQAAAAJzQAAAAgAAAAIAAAAAUUAAAAlAAAACc4AAAACAAAAAgAAAAdGAAAAAAEAAAAEAAAABC5BcGxvcmlzLkNoYXJ0LkNvbHVtbk9yaWVudGVkQ2hhcnQrVW51c2VkU2VyaWVzAgAAAAXPAAAALkFwbG9yaXMuQ2hhcnQuQ29sdW1uT3JpZW50ZWRDaGFydCtVbnVzZWRTZXJpZXMDAAAACEV4Y2VsUm93A1JvdwtEZXNjcmlwdGlvbgAEAggaQXBsb3Jpcy5DaGFydC5EYXRhLkRhdGFSb3cCAAAAAgAAAAAAAAAKCgHQAAAAzwAAAAAAAAAKCgHRAAAAzwAAAAAAAAAKCgHSAAAAzwAAAAAAAAAKCgRHAAAAlwFTeXN0ZW0uQ29sbGVjdGlvbnMuR2VuZXJpYy5MaXN0YDFbW0FwbG9yaXMuQ2hhcnQuQ2hhcnREYXRhU2VyaWVzLCBBcGxvcmlzLkNoYXJ0LCBWZXJzaW9uPTQuMC4wLjE0ODYsIEN1bHR1cmU9bmV1dHJhbCwgUHVibGljS2V5VG9rZW49MTZmYzEzYTIyNmMwZTk1MV1dAwAAAAZfaXRlbXMFX3NpemUIX3ZlcnNpb24EAAAfQXBsb3Jpcy5DaGFydC5DaGFydERhdGFTZXJpZXNbXQIAAAAICAnTAAAAAQAAAPoAAAABSAAAACQAAAAJ1AAAAAEAAABLAAAAAUkAAAAlAAAACdUAAAAAAAAAAAAAAARKAAAAnAFTeXN0ZW0uQ29sbGVjdGlvbnMuR2VuZXJpYy5MaXN0YDFbW0FwbG9yaXMuQ2hhcnQuQW5ub3RhdGlvbkRhdGFTZXJpZXMsIEFwbG9yaXMuQ2hhcnQsIFZlcnNpb249NC4wLjAuMTQ4NiwgQ3VsdHVyZT1uZXV0cmFsLCBQdWJsaWNLZXlUb2tlbj0xNmZjMTNhMjI2YzBlOTUxXV0DAAAABl9pdGVtcwVfc2l6ZQhfdmVyc2lvbgQAACRBcGxvcmlzLkNoYXJ0LkFubm90YXRpb25EYXRhU2VyaWVzW10CAAAACAgJ1gAAAAAAAAAAAAAAAUsAAAAkAAAACdcAAAAAAAAAAAAAAAFMAAAAJQAAAAnVAAAAAAAAAAAAAAAETQAAAJcBU3lzdGVtLkNvbGxlY3Rpb25zLkdlbmVyaWMuTGlzdGAxW1tBcGxvcmlzLkNoYXJ0LkFubm90YXRpb25Hcm91cCwgQXBsb3Jpcy5DaGFydCwgVmVyc2lvbj00LjAuMC4xNDg2LCBDdWx0dXJlPW5ldXRyYWwsIFB1YmxpY0tleVRva2VuPTE2ZmMxM2EyMjZjMGU5NTFdXQMAAAAGX2l0ZW1zBV9zaXplCF92ZXJzaW9uBAAAH0FwbG9yaXMuQ2hhcnQuQW5ub3RhdGlvbkdyb3VwW10CAAAACAgJ2AAAAAAAAAAAAAAAAU4AAAAkAAAACdcAAAAAAAAAAAAAAAFPAAAAJQAAAAnVAAAAAAAAAAAAAAAEUAAAAJYBU3lzdGVtLkNvbGxlY3Rpb25zLkdlbmVyaWMuTGlzdGAxW1tBcGxvcmlzLkNoYXJ0LkNoYXJ0RGF0YUdyb3VwLCBBcGxvcmlzLkNoYXJ0LCBWZXJzaW9uPTQuMC4wLjE0ODYsIEN1bHR1cmU9bmV1dHJhbCwgUHVibGljS2V5VG9rZW49MTZmYzEzYTIyNmMwZTk1MV1dAwAAAAZfaXRlbXMFX3NpemUIX3ZlcnNpb24EAAAeQXBsb3Jpcy5DaGFydC5DaGFydERhdGFHcm91cFtdAgAAAAgICdkAAAALAAAAJwAAAAFRAAAAJAAAAAnaAAAACwAAAA0AAAABUgAAACUAAAAJ1QAAAAAAAAAAAAAABFMAAACQAVN5c3RlbS5Db2xsZWN0aW9ucy5HZW5lcmljLkxpc3RgMVtbQXBsb3Jpcy5DaGFydC5EZWx0YUJhciwgQXBsb3Jpcy5DaGFydCwgVmVyc2lvbj00LjAuMC4xNDg2LCBDdWx0dXJlPW5ldXRyYWwsIFB1YmxpY0tleVRva2VuPTE2ZmMxM2EyMjZjMGU5NTFdXQMAAAAGX2l0ZW1zBV9zaXplCF92ZXJzaW9uBAAAGEFwbG9yaXMuQ2hhcnQuRGVsdGFCYXJbXQIAAAAICAnbAAAAAAAAAAAAAAABVAAAACQAAAAJ1wAAAAAAAAAAAAAAAVUAAAAlAAAACdUAAAAAAAAAAAAAAARWAAAAkwFTeXN0ZW0uQ29sbGVjdGlvbnMuR2VuZXJpYy5MaXN0YDFbW0FwbG9yaXMuQ2hhcnQuRGVsdGFCcmlkZ2UsIEFwbG9yaXMuQ2hhcnQsIFZlcnNpb249NC4wLjAuMTQ4NiwgQ3VsdHVyZT1uZXV0cmFsLCBQdWJsaWNLZXlUb2tlbj0xNmZjMTNhMjI2YzBlOTUxXV0DAAAABl9pdGVtcwVfc2l6ZQhfdmVyc2lvbgQAABtBcGxvcmlzLkNoYXJ0LkRlbHRhQnJpZGdlW10CAAAACAgJ3AAAAAAAAAAAAAAAAVcAAAAkAAAACdcAAAAAAAAAAAAAAAFYAAAAJQAAAAnVAAAAAAAAAAAAAAAEWQAAAJMBU3lzdGVtLkNvbGxlY3Rpb25zLkdlbmVyaWMuTGlzdGAxW1tBcGxvcmlzLkNoYXJ0Lkdyb3d0aEFycm93LCBBcGxvcmlzLkNoYXJ0LCBWZXJzaW9uPTQuMC4wLjE0ODYsIEN1bHR1cmU9bmV1dHJhbCwgUHVibGljS2V5VG9rZW49MTZmYzEzYTIyNmMwZTk1MV1dAwAAAAZfaXRlbXMFX3NpemUIX3ZlcnNpb24EAAAbQXBsb3Jpcy5DaGFydC5Hcm93dGhBcnJvd1tdAgAAAAgICd0AAAAAAAAAAAAAAAFaAAAAJAAAAAnXAAAAAAAAAAAAAAABWwAAACUAAAAJ1QAAAAAAAAAAAAAABFwAAACaAVN5c3RlbS5Db2xsZWN0aW9ucy5HZW5lcmljLkxpc3RgMVtbQXBsb3Jpcy5DaGFydC5XYXRlcmZhbGxDb25uZWN0b3IsIEFwbG9yaXMuQ2hhcnQsIFZlcnNpb249NC4wLjAuMTQ4NiwgQ3VsdHVyZT1uZXV0cmFsLCBQdWJsaWNLZXlUb2tlbj0xNmZjMTNhMjI2YzBlOTUxXV0DAAAABl9pdGVtcwVfc2l6ZQhfdmVyc2lvbgQAACJBcGxvcmlzLkNoYXJ0LldhdGVyZmFsbENvbm5lY3RvcltdAgAAAAgICd4AAAAAAAAAAAAAAAFdAAAAJAAAAAnXAAAAAAAAAAAAAAABXgAAACUAAAAJ1QAAAAAAAAAAAAAABF8AAACYAVN5c3RlbS5Db2xsZWN0aW9ucy5HZW5lcmljLkxpc3RgMVtbQXBsb3Jpcy5DaGFydC5FbGVtZW50Q29ubmVjdG9yLCBBcGxvcmlzLkNoYXJ0LCBWZXJzaW9uPTQuMC4wLjE0ODYsIEN1bHR1cmU9bmV1dHJhbCwgUHVibGljS2V5VG9rZW49MTZmYzEzYTIyNmMwZTk1MV1dAwAAAAZfaXRlbXMFX3NpemUIX3ZlcnNpb24EAAAgQXBsb3Jpcy5DaGFydC5FbGVtZW50Q29ubmVjdG9yW10CAAAACAgJ3wAAAAAAAAAAAAAAAWAAAAAkAAAACdcAAAAAAAAAAAAAAAFhAAAAJQAAAAnVAAAAAAAAAAAAAAAFag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ngAAAACeEAAAABAAAA/v///wEAAAABAAAAAQAAAAEAAAABAAAAAQAAAAAAAQVr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eIAAAAJ4wAAAAEAAAAAAAAAAAAAAAAAAAAAAQVvAAAAH0FwbG9yaXMuQmFzZS5PYmplY3RzLlBlcnNJZERhdGECAAAAA21JZAttQ3VzdG9tRGF0YQcCCAMAAAAJ5AAAAAoFcgAAABpBcGxvcmlzLkJhc2UuT2JqZWN0cy5Db2xvcgcAAAASRGF0YU9iamVjdCttUGFyZW50FURhdGFPYmplY3QrbUNvbnRhaW5lcgVtVHlwZQRtUkdCEG1UaGVtZUNvbG9ySW5kZXgMbUF1dG9VcGRhdGVkCW1Nb2RpZmllZAICAAAAAAAICAgBAQMAAAAKCgAAAAAAAAAADQAAAAABAXMAAAByAAAACgoBAAAAAAAAAP////8AAQeFAAAAAAEAAAAQAAAABB9BcGxvcmlzLkJhc2UuT2JqZWN0cy5EYXRhT2JqZWN0AwAAAAkJAAAACQoAAAAJCwAAAAkMAAAACRAAAAAJEQAAAAkNAAAACQ4AAAAJDwAAAAkHAAAACQYAAAAJFwAAAA0EB4YAAAAAAQAAAAQAAAAEHEFwbG9yaXMuQmFzZS5VSS5WaXN1YWxPYmplY3QDAAAACRsAAAANAwSHAAAAkQFTeXN0ZW0uQ29sbGVjdGlvbnMuR2VuZXJpYy5MaXN0YDFbW0FwbG9yaXMuQ2hhcnQuVmFsdWVMaW5lLCBBcGxvcmlzLkNoYXJ0LCBWZXJzaW9uPTQuMC4wLjE0ODYsIEN1bHR1cmU9bmV1dHJhbCwgUHVibGljS2V5VG9rZW49MTZmYzEzYTIyNmMwZTk1MV1dAwAAAAZfaXRlbXMFX3NpemUIX3ZlcnNpb24EAAAZQXBsb3Jpcy5DaGFydC5WYWx1ZUxpbmVbXQIAAAAICAnlAAAAAAAAAAAAAAABiAAAACQAAAAJ1wAAAAAAAAAAAAAAAYkAAAAlAAAACdUAAAAAAAAAAAAAAASKAAAAkQFTeXN0ZW0uQ29sbGVjdGlvbnMuR2VuZXJpYy5MaXN0YDFbW0FwbG9yaXMuQ2hhcnQuQXhpc0JyZWFrLCBBcGxvcmlzLkNoYXJ0LCBWZXJzaW9uPTQuMC4wLjE0ODYsIEN1bHR1cmU9bmV1dHJhbCwgUHVibGljS2V5VG9rZW49MTZmYzEzYTIyNmMwZTk1MV1dAwAAAAZfaXRlbXMFX3NpemUIX3ZlcnNpb24EAAAZQXBsb3Jpcy5DaGFydC5BeGlzQnJlYWtbXQIAAAAICAnmAAAAAAAAAAAAAAABiwAAACQAAAAJ1wAAAAAAAAAAAAAAAYwAAAAlAAAACdUAAAAAAAAAAAAAAASOAAAAkAFTeXN0ZW0uQ29sbGVjdGlvbnMuR2VuZXJpYy5MaXN0YDFbW0FwbG9yaXMuQ2hhcnQuVGlja01hcmssIEFwbG9yaXMuQ2hhcnQsIFZlcnNpb249NC4wLjAuMTQ4NiwgQ3VsdHVyZT1uZXV0cmFsLCBQdWJsaWNLZXlUb2tlbj0xNmZjMTNhMjI2YzBlOTUxXV0DAAAABl9pdGVtcwVfc2l6ZQhfdmVyc2lvbgQAABhBcGxvcmlzLkNoYXJ0LlRpY2tNYXJrW10CAAAACAgJ5wAAAAAAAAAAAAAAAY8AAAAkAAAACdcAAAAAAAAAAAAAAAGQAAAAJQAAAAnVAAAAAAAAAAAAAAABkwAAAGoAAAAKCgAAAEA/CegAAAAJ6QAAAAEAAAD+////AAAAAAEAAAAAAAAAAAAAAAEAAAAAAAAAAAAAAZQAAABvAAAACeoAAAAKBaE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wAAAACXEAAAAJ6wAAAAEACewAAAABogAAAHIAAAAKCgEAAAAAAAAA/////wABBKcAAACWAVN5c3RlbS5Db2xsZWN0aW9ucy5HZW5lcmljLkxpc3RgMVtbQXBsb3Jpcy5CYXNlLk9iamVjdHMuVmFyaWFibGUsIEFwbG9yaXMuQmFzZSwgVmVyc2lvbj00LjAuMC4xNDg2LCBDdWx0dXJlPW5ldXRyYWwsIFB1YmxpY0tleVRva2VuPTE2ZmMxM2EyMjZjMGU5NTFdXQMAAAAGX2l0ZW1zBV9zaXplCF92ZXJzaW9uBAAAH0FwbG9yaXMuQmFzZS5PYmplY3RzLlZhcmlhYmxlW10DAAAACAgJ7QAAAAAAAAAAAAAAAagAAABvAAAACe4AAAAKB6kAAAAAAQAAAAgAAAAEH0FwbG9yaXMuQmFzZS5PYmplY3RzLkRhdGFPYmplY3QDAAAACSkAAAAJKgAAAAkrAAAACSwAAAAJJwAAAAkoAAAACgoHqgAAAAABAAAABAAAAAQcQXBsb3Jpcy5CYXNlLlVJLlZpc3VhbE9iamVjdAMAAAAJLwAAAAkzAAAACgoBqwAAAIcAAAAJ5QAAAAAAAAAAAAAAAawAAAAkAAAACdcAAAAAAAAAAAAAAAGtAAAAJQAAAAnVAAAAAAAAAAAAAAABrgAAAIoAAAAJ5gAAAAAAAAAAAAAAAa8AAAAkAAAACdcAAAAAAAAAAAAAAAGwAAAAJQAAAAnVAAAAAAAAAAAAAAABsgAAAI4AAAAJ7wAAAAkAAABfAAAAAbMAAAAkAAAACfAAAAAJAAAAXwAAAAG0AAAAJQAAAAnVAAAAAAAAAAAAAAABtwAAAGoAAAAKCgAAAEA/CfEAAAAJ8gAAAAEAAAD+////AAAAAAEAAAAAAAAAAAAAAAEAAAAAAAAAAAAAAbgAAABvAAAACfMAAAAKBcU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wAAAACXEAAAAJ9AAAAAEACfUAAAABxgAAAHIAAAAKCgEAAAAAAAAA/////wABAcsAAACnAAAACe0AAAAAAAAAAAAAAAHMAAAAbwAAAAn2AAAACgfNAAAAAAEAAAAIAAAABB9BcGxvcmlzLkJhc2UuT2JqZWN0cy5EYXRhT2JqZWN0AwAAAAk5AAAACToAAAAJOwAAAAk8AAAACTcAAAAJOAAAAAn3AAAACfgAAAAHzgAAAAABAAAABAAAAAQcQXBsb3Jpcy5CYXNlLlVJLlZpc3VhbE9iamVjdAMAAAAJPwAAAAlDAAAACgoH0wAAAAABAAAAIAAAAAQdQXBsb3Jpcy5DaGFydC5DaGFydERhdGFTZXJpZXMCAAAACfkAAAANHwfUAAAAAAEAAAAgAAAABB9BcGxvcmlzLkJhc2UuT2JqZWN0cy5EYXRhT2JqZWN0AwAAAAn5AAAADR8H1QAAAAABAAAAAAAAAAQcQXBsb3Jpcy5CYXNlLlVJLlZpc3VhbE9iamVjdAMAAAAH1gAAAAABAAAAAAAAAAQiQXBsb3Jpcy5DaGFydC5Bbm5vdGF0aW9uRGF0YVNlcmllcwIAAAAH1wAAAAABAAAAAAAAAAQfQXBsb3Jpcy5CYXNlLk9iamVjdHMuRGF0YU9iamVjdAMAAAAH2AAAAAABAAAAAAAAAAQdQXBsb3Jpcy5DaGFydC5Bbm5vdGF0aW9uR3JvdXACAAAAB9kAAAAAAQAAABAAAAAEHEFwbG9yaXMuQ2hhcnQuQ2hhcnREYXRhR3JvdXACAAAACfoAAAAJ+wAAAAn8AAAACf0AAAAJ/gAAAAn/AAAACQABAAAJAQEAAAkCAQAACQMBAAAJBAEAAA0FB9oAAAAAAQAAABAAAAAEH0FwbG9yaXMuQmFzZS5PYmplY3RzLkRhdGFPYmplY3QDAAAACQQBAAAJAAEAAAn9AAAACfsAAAAJ/wAAAAkBAQAACfwAAAAJ+gAAAAkCAQAACf4AAAAJAwEAAA0FB9sAAAAAAQAAAAAAAAAEFkFwbG9yaXMuQ2hhcnQuRGVsdGFCYXICAAAAB9wAAAAAAQAAAAAAAAAEGUFwbG9yaXMuQ2hhcnQuRGVsdGFCcmlkZ2UCAAAAB90AAAAAAQAAAAAAAAAEGUFwbG9yaXMuQ2hhcnQuR3Jvd3RoQXJyb3cCAAAAB94AAAAAAQAAAAAAAAAEIEFwbG9yaXMuQ2hhcnQuV2F0ZXJmYWxsQ29ubmVjdG9yAgAAAAffAAAAAAEAAAAAAAAABB5BcGxvcmlzLkNoYXJ0LkVsZW1lbnRDb25uZWN0b3ICAAAAAeAAAAByAAAACgoAAAAAAAAAAA0AAAAAAQHhAAAAcgAAAAoKAQAAAAAAAAD/////AAEB4gAAAHIAAAAKCgEAAAD///8A/////wABAeMAAAByAAAACgoBAAAAAAAAAP////8AAQ/kAAAAAQAAAAgAAAAAB+UAAAAAAQAAAAAAAAAEF0FwbG9yaXMuQ2hhcnQuVmFsdWVMaW5lAgAAAAfmAAAAAAEAAAAAAAAABBdBcGxvcmlzLkNoYXJ0LkF4aXNCcmVhawIAAAAH5wAAAAABAAAAAAAAAAQWQXBsb3Jpcy5DaGFydC5UaWNrTWFyawIAAAAF6AAAABpBcGxvcmlzLkJhc2UuT2JqZWN0cy5Db2xvcgcAAAASRGF0YU9iamVjdCttUGFyZW50FURhdGFPYmplY3QrbUNvbnRhaW5lcgVtVHlwZQRtUkdCEG1UaGVtZUNvbG9ySW5kZXgMbUF1dG9VcGRhdGVkCW1Nb2RpZmllZAQCAAAAAAAfQXBsb3Jpcy5CYXNlLk9iamVjdHMuTGluZUZvcm1hdAMAAAAICAgBAQMAAAAJkwAAAAoAAAAAAAAAAA0AAAAAAAXpAAAAGkFwbG9yaXMuQmFzZS5PYmplY3RzLkNvbG9yBwAAABJEYXRhT2JqZWN0K21QYXJlbnQVRGF0YU9iamVjdCttQ29udGFpbmVyBW1UeXBlBG1SR0IQbVRoZW1lQ29sb3JJbmRleAxtQXV0b1VwZGF0ZWQJbU1vZGlmaWVkBAIAAAAAAB9BcGxvcmlzLkJhc2UuT2JqZWN0cy5MaW5lRm9ybWF0AwAAAAgICAEBAwAAAAmTAAAACgEAAAAAAAAA/////wABD+oAAAABAAAACBkBAAAB6wAAAHIAAAAKCgAAAAAAAAAADQAAAAABAewAAAByAAAACgoBAAAAAAAAAP////8AAQftAAAAAAEAAAAAAAAABB1BcGxvcmlzLkJhc2UuT2JqZWN0cy5WYXJpYWJsZQMAAAAP7gAAAAEAAAAIAAAAAAfvAAAAAAEAAAAgAAAABBZBcGxvcmlzLkNoYXJ0LlRpY2tNYXJrAgAAAAkFAQAACQYBAAAJBwEAAAkIAQAACQkBAAAJCgEAAAkLAQAACQwBAAAJDQEAAA0XB/AAAAAAAQAAACAAAAAEH0FwbG9yaXMuQmFzZS5PYmplY3RzLkRhdGFPYmplY3QDAAAACQUBAAAJBgEAAAkHAQAACQgBAAAJCQEAAAkKAQAACQsBAAAJDAEAAAkNAQAADRcF8QAAABpBcGxvcmlzLkJhc2UuT2JqZWN0cy5Db2xvcgcAAAASRGF0YU9iamVjdCttUGFyZW50FURhdGFPYmplY3QrbUNvbnRhaW5lcgVtVHlwZQRtUkdCEG1UaGVtZUNvbG9ySW5kZXgMbUF1dG9VcGRhdGVkCW1Nb2RpZmllZAQCAAAAAAAfQXBsb3Jpcy5CYXNlLk9iamVjdHMuTGluZUZvcm1hdAMAAAAICAgBAQMAAAAJtwAAAAoAAAAAAAAAAA0AAAAAAAXyAAAAGkFwbG9yaXMuQmFzZS5PYmplY3RzLkNvbG9yBwAAABJEYXRhT2JqZWN0K21QYXJlbnQVRGF0YU9iamVjdCttQ29udGFpbmVyBW1UeXBlBG1SR0IQbVRoZW1lQ29sb3JJbmRleAxtQXV0b1VwZGF0ZWQJbU1vZGlmaWVkBAIAAAAAAB9BcGxvcmlzLkJhc2UuT2JqZWN0cy5MaW5lRm9ybWF0AwAAAAgICAEBAwAAAAm3AAAACgEAAAAAAAAA/////wABD/MAAAABAAAACBgBAAAB9AAAAHIAAAAKCgAAAAAAAAAADQAAAAABAfUAAAByAAAACgoBAAAAAAAAAP////8AAQ/2AAAAAQAAAAgAAAAABfc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IAAAADAAAACWMAAAAJZAAAAAllAAAAAQAAAAAKCY0AAAAJZgAAAAEAAAAKAAAAAAAAAAAF+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wAAAAkBAAAAAAAAAAAGDgEAAAEuAwAAAAYPAQAAASwGEAEAAAEtBhEBAAABKwEAAAAACgoGEgEAAAhNL2QveXl5eQAAAAAKAAAAAAAAAAAF+QA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AuMC4xNDg2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ARMBAAATAAAAAAAAAAIAAAD/////CQcAAAAJFAEAAAYVAQAABVRvdGFsCgoAAAAAAAAAAAAAAAAKCgAJFgEAAAkXAQAACRgBAAAAAAAAAAAAAAAAAAAAAAAAAAAJGQEAAAkBAAAACQEAAAAJGgEAAAX6AAAAHEFwbG9yaXMuQ2hhcnQuQ2hhcnREYXRhR3JvdXARAAAABm1DaGFydBFtR3JvdXBEZXNjcmlwdGlvbgdtSGlkZGVuDG1Hcm91cEFuY2hvcgptQ3VzdG9tU3VtE21QbGFjZWhvbGRlcnNCZWZvcmUQbVRvdGFsTGFiZWxDb3VudAltQmFyQ291bnQTbUxhYmVsQmFyUmVmZXJlbmNlcwxtVG90YWxMYWJlbHMObUNhdGVnb3J5TGFiZWwQbUFubm90YXRpb25Hcm91cBJtTWFnbml0dWRlUHJvdmlkZXIYRGF0YU9iamVjdCttQ2hpbGRPYmplY3RzEkRhdGFPYmplY3QrbVBhcmVudBVEYXRhT2JqZWN0K21Db250YWluZXIZRGF0YU9iamVjdCttVmlzdWFsT2JqZWN0cwQCAAQCAAAABwQEBAQDBAQDIUFwbG9yaXMuQ2hhcnQuQ29sdW1uT3JpZW50ZWRDaGFydAIAAAABHkFwbG9yaXMuQ2hhcnQuQ2hhcnRHcm91cEFuY2hvcgIAAAAICAgIF0FwbG9yaXMuQmFzZS5VSS5MYWJlbFtdAwAAABVBcGxvcmlzLkJhc2UuVUkuTGFiZWwDAAAAHUFwbG9yaXMuQ2hhcnQuQW5ub3RhdGlvbkdyb3VwAgAAACBBcGxvcmlzLkNoYXJ0LklNYWduaXR1ZGVQcm92aWRlcgIAAAC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hsBAAAWRmlyc3QteWVhciANClJldGVudGlvbgAFHAEAAB5BcGxvcmlzLkNoYXJ0LkNoYXJ0R3JvdXBBbmNob3IBAAAAB3ZhbHVlX18ACAIAAAAAAAAACgAAAAAAAAAAAQAAAAkdAQAACR4BAAAJHwEAAAoJBwAAAAkgAQAACQEAAAAJAQAAAAkhAQAAAfsAAAD6AAAACQEAAAAGIgEAACZPbi10aW1lIA0KNC15ZWFyIA0KZGVncmVlIA0KY29tcGxldGlvbgABIwEAABwBAAAAAAAACgAAAAAAAAAAAQAAAAkkAQAACSUBAAAJJgEAAAoJBwAAAAknAQAACQEAAAAJAQAAAAkoAQAAAfwAAAD6AAAACQEAAAAGKQEAABZTdHVkZW50IA0KU2F0aXNmYWN0aW9uAAEqAQAAHAEAAAAAAAAKAAAAAAAAAAABAAAACSsBAAAJLAEAAAktAQAACgkHAAAACS4BAAAJAQAAAAkBAAAACS8BAAAB/QAAAPoAAAAJAQAAAAYwAQAAJk9uLXRpbWUgDQoyLXllYXIgDQpkZWdyZWUgDQpjb21wbGV0aW9uAAExAQAAHAEAAAAAAAAKAAAAAAAAAAABAAAACTIBAAAJMwEAAAk0AQAACgkHAAAACTUBAAAJAQAAAAkBAAAACTYBAAAB/gAAAPoAAAAJAQAAAAY3AQAAKFJlYWNoaW5nIA0Kc3R1ZGVudHMgDQptb3JlIA0KZWZmaWNpZW50bHkAATgBAAAcAQAAAAAAAAoAAAAAAAAAAAEAAAAJOQEAAAk6AQAACTsBAAAKCQcAAAAJPAEAAAkBAAAACQEAAAAJPQEAAAH/AAAA+gAAAAkBAAAABj4BAAAVRGVjbGFyYXRpb24NCm9mIE1ham9yAAE/AQAAHAEAAAAAAAAKAAAAAAAAAAABAAAACUABAAAJQQEAAAlCAQAACgkHAAAACUMBAAAJAQAAAAkBAAAACUQBAAABAAEAAPoAAAAJAQAAAAZFAQAAEUNhcmVlciANCkFkdmlzaW5nAAFGAQAAHAEAAAAAAAAKAAAAAAAAAAABAAAACUcBAAAJSAEAAAlJAQAACgkHAAAACUoBAAAJAQAAAAkBAAAACUsBAAABAQEAAPoAAAAJAQAAAAZMAQAAPU9uLXRpbWUgDQpjb21wbGV0aW9uIA0Kb2Ygb3RoZXIgDQp0aGFuIDIgDQpvciA0IHllYXIgDQpkZWdyZWUAAU0BAAAcAQAAAAAAAAoAAAAAAAAAAAEAAAAJTgEAAAlPAQAACVABAAAKCQcAAAAJUQEAAAkBAAAACQEAAAAJUgEAAAECAQAA+gAAAAkBAAAABlMBAAAfUmVhY2ggbW9yZQ0Kc3R1ZGVudHMNCnRoYW4gSSBhbQABVAEAABwBAAAAAAAACgAAAAAAAAAAAQAAAAlVAQAACVYBAAAJVwEAAAoJBwAAAAlYAQAACQEAAAAJAQAAAAlZAQAAAQMBAAD6AAAACQEAAAAGWgEAAA9Kb2IgDQpQbGFjZW1lbnQAAVsBAAAcAQAAAAAAAAoAAAAAAAAAAAEAAAAJXAEAAAldAQAACV4BAAAKCQcAAAAJXwEAAAkBAAAACQEAAAAJYAEAAAEEAQAA+gAAAAkBAAAABmEBAAAKRG9uJ3QgS25vdwEBYgEAABwBAAAAAAAACgAAAAAAAAAAAQAAAAljAQAACWQBAAAKCgkHAAAACWUBAAAJAQAAAAkBAAAACWYBAAAFBQE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WcBAAAKCWgBAAAJBwAAAAEAAAAAAAAAAAFpAQAAIAAAAP8DFkI0JntDAWoBAAAgAAAA/wMGQjQme0MACWsBAAAJBwAAAAkBAAAACWwBAAABBgEAAAUBAAAJbQEAAAoJbgEAAAkHAAAAAZqZmZmZmbk/AW8BAAAgAAAA/wMWQuO8XUMBcAEAACAAAAD/AwZC47xdQwAJcQEAAAkHAAAACQEAAAAJcgEAAAEHAQAABQEAAAlzAQAACgl0AQAACQcAAAABmpmZmZmZyT8BdQEAACAAAAD/AxZCkVNAQwF2AQAAIAAAAP8DBkKRU0BDAAl3AQAACQcAAAAJAQAAAAl4AQAAAQgBAAAFAQAACXkBAAAKCXoBAAAJBwAAAAEzMzMzMzPTPwF7AQAAIAAAAP8DFkJA6iJDAXwBAAAgAAAA/wMGQkDqIkMACX0BAAAJBwAAAAkBAAAACX4BAAABCQEAAAUBAAAJfwEAAAoJgAEAAAkHAAAAAZqZmZmZmdk/AYEBAAAgAAAA/wMWQu6ABUMBggEAACAAAAD/AwZC7oAFQwAJgwEAAAkHAAAACQEAAAAJhAEAAAEKAQAABQEAAAmFAQAACgmGAQAACQcAAAABAAAAAAAA4D8BhwEAACAAAAD/AxZCOS/QQgGIAQAAIAAAAP8DBkI5L9BCAAmJAQAACQcAAAAJAQAAAAmKAQAAAQsBAAAFAQAACYsBAAAKCYwBAAAJBwAAAAEzMzMzMzPjPwGNAQAAIAAAAP8DFkKWXJVCAY4BAAAgAAAA/wMGQpZclUIACY8BAAAJBwAAAAkBAAAACZABAAABDAEAAAUBAAAJkQEAAAoJkgEAAAkHAAAAAWZmZmZmZuY/AZMBAAAgAAAA/wMWQucTNUIBlAEAACAAAAD/AwZC5xM1QgAJlQEAAAkHAAAACQEAAAAJlgEAAAENAQAABQEAAAmXAQAACgmYAQAACQcAAAABmpmZmZmZ6T8BmQEAACAAAAD/AxZChLp9QQGaAQAAIAAAAP8DBkKEun1BAAmbAQAACQcAAAAJAQAAAAmcAQAABRQBAACiAUFwbG9yaXMuQmFzZS5PYmplY3RzLkRhdGFPYmplY3RDb2xsZWN0aW9uYDFbW0FwbG9yaXMuQ2hhcnQuQ2hhcnREYXRhRWxlbWVudCwgQXBsb3Jpcy5DaGFydCwgVmVyc2lvbj00LjAuMC4xNDg2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Q2hhcnREYXRhRWxlbWVudCwgQXBsb3Jpcy5DaGFydCwgVmVyc2lvbj00LjAuMC4xNDg2LCBDdWx0dXJlPW5ldXRyYWwsIFB1YmxpY0tleVRva2VuPTE2ZmMxM2EyMjZjMGU5NTFdXQMAAACYAVN5c3RlbS5Db2xsZWN0aW9ucy5HZW5lcmljLkxpc3RgMVtbQXBsb3Jpcy5DaGFydC5DaGFydERhdGF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0BAAAJngEAAAn5AAAACQEAAAAJnwEAAAUWAQAAHEFwbG9yaXMuQ2hhcnQuQ29ubmVjdGVkTGFiZWwkAAAADm1Db25uZWN0b3JMaW5lEG1aT3JkZXJDb25uZWN0b3IObUNvbm5lY3Rvck1vZGUZbUFuZ2xlZENvbm5lY3RvckRpcmVjdGlvbhBtQ29ubmVjdG9yVGFyZ2V0GW1Db25uZWN0b3JUYXJnZXRBcmVhU2hhcGUabUNvbm5lY3RvckRpc3BsYXlUaHJlc2hvbGQTbUNvbm5lY3RBbmNob3JQb2ludB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RMYWJlbCttTGluZUFsaWdubWVudA9MYWJlbCttVGV4dFNpemUVTGFiZWwrbUxhYmVsUmVjdGFuZ2xlG0xhYmVsK21Jbm5lck1hcmdpbkxlZnRSaWdodAtMYWJlbCttVGV4dBBMYWJlbCttVmFyaWFibGVzE0xhYmVsK21WYXJpYWJsZUxpc3QUTGFiZWwr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EBAQEAAAEBAAAAAQABAAABAQEAAEDAwEAAAAABwIAAAMAHkFwbG9yaXMuQmFzZS5VSS5WaXN1YWxQb2x5bGluZQMAAAAIK0FwbG9yaXMuQ2hhcnQuQ29ubmVjdGVkTGFiZWwrZUNvbm5lY3Rvck1vZGUCAAAANkFwbG9yaXMuQ2hhcnQuQ29ubmVjdGVkTGFiZWwrZUFuZ2xlZENvbm5lY3RvckRpcmVjdGlvbgIAAAAZU3lzdGVtLkRyYXdpbmcuUmVjdGFuZ2xlRgQAAAAtQXBsb3Jpcy5DaGFydC5Db25uZWN0ZWRMYWJlbCtlVGFyZ2V0QXJlYVNoYXBlAgAAAAsB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IAAAAKWAIAAAWgAQAAK0FwbG9yaXMuQ2hhcnQuQ29ubmVjdGVkTGFiZWwrZUNvbm5lY3Rvck1vZGUBAAAAB3ZhbHVlX18ACAIAAAABAAAABaEBAAA2QXBsb3Jpcy5DaGFydC5Db25uZWN0ZWRMYWJlbCtlQW5nbGVkQ29ubmVjdG9yRGlyZWN0aW9uAQAAAAd2YWx1ZV9fAAgCAAAAAAAAAAGiAQAAFAAAAJxMDER2YndDwF7rQQC+Qz8FowEAAC1BcGxvcmlzLkNoYXJ0LkNvbm5lY3RlZExhYmVsK2VUYXJnZXRBcmVhU2hhcGUBAAAAB3ZhbHVlX18ACAIAAAAAAAAAAAAQQQEBpAEAACAAAACSpxVEVcR3QwGlAQAAmgAAAAQAAAAAAAAAAAAAAAAJpgEAAAAAAAAJpwEAAAAAAagBAACjAAAAAAAAAAGpAQAAbAAAAAAA4EEAAGBBAaoBAAAUAAAAAAAAAAAAAAAAAAAAAAAAAF662T8JFQEAAAoJqwEAAAasAQAAACADAAD/////AAEKCa0BAAABAAoBBxcBAAAAAQAAAAIAAAAEFVN5c3RlbS5EcmF3aW5nLlBvaW50RgQAAAABrgEAACAAAACSpxVEVcR3QwGvAQAAIAAAAP8DAkLoAA1DBxgBAAAAAQAAAAIAAAAEF0FwbG9yaXMuQmFzZS5BbmNob3JNb2RlAwAAAAGwAQAAmgAAAAQAAAABsQEAAJoAAAACAAAAARkBAAAkAAAACbIBAAABAAAAAQAAAAEaAQAAJQAAAAmzAQAAAQAAAAMAAAAPHQEAAAAAAAAIBx4BAAAAAQAAAAAAAAAEFUFwbG9yaXMuQmFzZS5VSS5MYWJlbAMAAAABHwEAADMAAAABtAEAACAAAACQroNCGhOAQwG1AQAAmgAAAAMAAAAAAAAAAAAAAAAJtgEAAAAAAAAJtwEAAAAAAbgBAACjAAAAAAAAAAG5AQAAbAAAAAAATEIAAMhBAboBAAAUAAAA6KIjQosugEOOXEVCdNG1QRKDvj8JGwEAAAoJuwEAAAmsAQAAIAMAAP////8BAQoJvAEAAAEACgABIAEAACQAAAAJvQEAAAAAAAAAAAAAASEBAAAlAAAACb4BAAABAAAAAwAAAA8kAQAAAAAAAAgHJQEAAAABAAAAAAAAAAQVQXBsb3Jpcy5CYXNlLlVJLkxhYmVsAwAAAAEmAQAAMwAAAAG/AQAAIAAAALEH9UIaE4BDAcABAACaAAAAAwAAAAAAAAAAAAAAAAnBAQAAAAAAAAnCAQAAAAABwwEAAKMAAAAAAAAAAcQBAABsAAAAAABcQgAATEIBxQEAABQAAAAuusBCiy6AQzHoU0JddDlCEoO+PwkiAQAACgnGAQAACawBAAAgAwAA/////wEBCgnHAQAAAQAKAAEnAQAAJAAAAAnXAAAAAAAAAAAAAAABKAEAACUAAAAJyAEAAAEAAAAHAAAADysBAAAAAAAACAcsAQAAAAEAAAAAAAAABBVBcGxvcmlzLkJhc2UuVUkuTGFiZWwDAAAAAS0BAAAzAAAAAckBAAAgAAAAaTAzQxoTgEMBygEAAJoAAAADAAAAAAAAAAAAAAAACcsBAAAAAAAACcwBAAAAAAHNAQAAowAAAAAAAAABzgEAAGwAAAAAAGxCAADIQQHPAQAAFAAAALroFkOLLoBD1HNiQnTRtUESg74/CSkBAAAKCdABAAAJrAEAACADAAD/////AQEKCdEBAAABAAoAAS4BAAAkAAAACb0BAAAAAAAAAAAAAAEvAQAAJQAAAAnSAQAAAQAAAAMAAAAPMgEAAAAAAAAIBzMBAAAAAQAAAAAAAAAEFUFwbG9yaXMuQmFzZS5VSS5MYWJlbAMAAAABNAEAADMAAAAB0wEAACAAAAD63GtDGhOAQwHUAQAAmgAAAAMAAAAAAAAAAAAAAAAJ1QEAAAAAAAAJ1gEAAAAAAdcBAACjAAAAAAAAAAHYAQAAbAAAAAAAXEIAAExCAdkBAAAUAAAARhdRQ4sugEMx6FNCXXQ5QhKDvj8JMAEAAAoJ2gEAAAmsAQAAIAMAAP////8BAQoJ2wEAAAEACgABNQEAACQAAAAJ1wAAAAAAAAAAAAAAATYBAAAlAAAACdwBAAABAAAAAwAAAA85AQAAAAAAAAgHOgEAAAABAAAAAAAAAAQVQXBsb3Jpcy5CYXNlLlVJLkxhYmVsAwAAAAE7AQAAMwAAAAHdAQAAIAAAAMVEkkMaE4BDAd4BAACaAAAAAwAAAAAAAAAAAAAAAAnfAQAAAAAAAAngAQAAAAAB4QEAAKMAAAAAAAAAAeIBAABsAAAAAABQQgAATEIB4wEAABQAAADpooVDiy6AQ3f/SEJddDlCEoO+Pwk3AQAACgnkAQAACawBAAAgAwAA/////wEBCgnlAQAAAQAKAAE8AQAAJAAAAAm9AQAAAAAAAAAAAAABPQEAACUAAAAJ5gEAAAEAAAADAAAAD0ABAAAAAAAACAdBAQAAAAEAAAAAAAAABBVBcGxvcmlzLkJhc2UuVUkuTGFiZWwDAAAAAUIBAAAzAAAAAecBAAAgAAAADZuuQxoTgEMB6AEAAJoAAAADAAAAAAAAAAAAAAAACekBAAAAAAAACeoBAAAAAAHrAQAAowAAAAAAAAAB7AEAAGwAAAAAAGhCAADIQQHtAQAAFAAAAF10oEOLLoBD69BeQnTRtUESg74/CT4BAAAKCe4BAAAJrAEAACADAAD/////AQEKCe8BAAABAAoAAUMBAAAkAAAACfABAAAAAAAAAAAAAAFEAQAAJQAAAAnxAQAAAQAAAAcAAAAPRwEAAAAAAAAIB0gBAAAAAQAAAAAAAAAEFUFwbG9yaXMuQmFzZS5VSS5MYWJlbAMAAAABSQEAADMAAAAB8gEAACAAAABW8cpDGhOAQwHzAQAAmgAAAAMAAAAAAAAAAAAAAAAJ9AEAAAAAAAAJ9QEAAAAAAfYBAACjAAAAAAAAAAH3AQAAbAAAAAAALEIAAMhBAfgBAAAUAAAA0UXAQ4sugENIRShCdNG1QRKDvj8JRQEAAAoJ+QEAAAmsAQAAIAMAAP////8BAQoJ+gEAAAEACgABSgEAACQAAAAJ1wAAAAAAAAAAAAAAAUsBAAAlAAAACfsBAAABAAAABwAAAA9OAQAAAAAAAAgHTwEAAAABAAAAAAAAAAQVQXBsb3Jpcy5CYXNlLlVJLkxhYmVsAwAAAAFQAQAAMwAAAAH8AQAAIAAAAJ5H50MaE4BDAf0BAACaAAAAAwAAAAAAAAAAAAAAAAn+AQAAAAAAAAn/AQAAAAABAAIAAKMAAAAAAAAAAQECAABsAAAAAABsQgAAmkIBAgIAABQAAADRRdlDiy6AQ9RzYkIAAIxCEoO+PwlMAQAACgkDAgAACawBAAAgAwAA/////wEBCgkEAgAAAQAKAAFRAQAAJAAAAAm9AQAAAAAAAAAAAAABUgEAACUAAAAJBQIAAAEAAAADAAAAD1UBAAAAAAAACAdWAQAAAAEAAAAAAAAABBVBcGxvcmlzLkJhc2UuVUkuTGFiZWwDAAAAAVcBAAAzAAAAAQYCAAAgAAAA884BRBoTgEMBBwIAAJoAAAADAAAAAAAAAAAAAAAACQgCAAAAAAAACQkCAAAAAAEKAgAAowAAAAAAAAABCwIAAGwAAAAAAHhCAAAYQgEMAgAAFAAAAAAA9UOLLoBDjVxtQosuCkISg74/CVMBAAAKCQ0CAAAJrAEAACADAAD/////AQEKCQ4CAAABAAoAAVgBAAAkAAAACb0BAAAAAAAAAAAAAAFZAQAAJQAAAAkPAgAAAQAAAAMAAAAPXAEAAAAAAAAIB10BAAAAAQAAAAAAAAAEFUFwbG9yaXMuQmFzZS5VSS5MYWJlbAMAAAABXgEAADMAAAABEAIAACAAAAAX+g9EGhOAQwERAgAAmgAAAAMAAAAAAAAAAAAAAAAJEgIAAAAAAAAJEwIAAAAAARQCAACjAAAAAAAAAAEVAgAAbAAAAAAAWEIAAMhBARYCAAAUAAAAAIAJRIsugENIRVBCdNG1QRKDvj8JWgEAAAoJFwIAAAmsAQAAIAMAAP////8BAQoJGAIAAAEACgABXwEAACQAAAAJvQEAAAAAAAAAAAAAAWABAAAlAAAACRkCAAABAAAAAwAAAA9jAQAAAAAAAAgHZAEAAAABAAAAAAAAAAQVQXBsb3Jpcy5CYXNlLlVJLkxhYmVsAwAAAAFlAQAAJAAAAAnXAAAAAAAAAAAAAAABZgEAACUAAAAJGgIAAAAAAAAIAAAAAWcBAAAvAAAAARsCAAAgAAAA/wMWQjQme0MBHAIAACAAAAD/AwZCNCZ7QwkdAgAAzAEAAP////8BAQoJHgIAAAEACgABaAEAADMAAAABHwIAACAAAAD/AwBCNCZ7QwEgAgAAmgAAAAIAAAAAAAAAAAAAAAAJIQIAAAAAAAAJIgIAAAAAASMCAACjAAAAAAAAAAEkAgAAbAAAAAAAgEEAAEBBASUCAAAUAAAAuuiCQV10dUN6LYxBo4suQRKDvj8GJgIAAAIwJQoJJwIAAAmsAQAA0AIAAP////8BAQoJKAIAAAEACgABawEAACQAAAAJ1wAAAAAAAAAAAAAAAWwBAAAlAAAACSkCAAACAAAAAgAAAAFtAQAALwAAAAEqAgAAIAAAAP8DFkLjvF1DASsCAAAgAAAA/wMGQuO8XUMJLAIAAMwBAAD/////AQEKCS0CAAABAAoAAW4BAAAzAAAAAS4CAAAgAAAA/wMAQuO8XUMBLwIAAJoAAAACAAAAAAAAAAAAAAAACTACAAAAAAAACTECAAAAAAEyAgAAowAAAAAAAAABMwIAAGwAAAAAALhBAABAQQE0AgAAFAAAAAAAIEEXXVhDNBa/QaOLLkESg74/BjUCAAADMTAlCgk2AgAACawBAADQAgAA/////wEBCgk3AgAAAQAKAAFxAQAAJAAAAAnXAAAAAAAAAAAAAAABcgEAACUAAAAJOAIAAAIAAAACAAAAAXMBAAAvAAAAATkCAAAgAAAA/wMWQpFTQEMBOgIAACAAAAD/AwZCkVNAQwk7AgAAzAEAAP////8BAQoJPAIAAAEACgABdAEAADMAAAABPQIAACAAAAD/AwBCkVNAQwE+AgAAmgAAAAIAAAAAAAAAAAAAAAAJPwIAAAAAAAAJQAIAAAAAAUECAACjAAAAAAAAAAFCAgAAbAAAAAAAuEEAAEBBAUMCAAAUAAAAAAAgQdFFO0M0Fr9Bo4suQRKDvj8GRAIAAAMyMCUKCUUCAAAJrAEAANACAAD/////AQEKCUYCAAABAAoAAXcBAAAkAAAACdcAAAAAAAAAAAAAAAF4AQAAJQAAAAlHAgAAAgAAAAIAAAABeQEAAC8AAAABSAIAACAAAAD/AxZCQOoiQwFJAgAAIAAAAP8DBkJA6iJDCUoCAADMAQAA/////wEBCglLAgAAAQAKAAF6AQAAMwAAAAFMAgAAIAAAAP8DAEJA6iJDAU0CAACaAAAAAgAAAAAAAAAAAAAAAAlOAgAAAAAAAAlPAgAAAAABUAIAAKMAAAAAAAAAAVECAABsAAAAAAC4QQAAQEEBUgIAABQAAAAAACBB0UUdQzQWv0Gjiy5BEoO+PwZTAgAAAzMwJQoJVAIAAAmsAQAA0AIAAP////8BAQoJVQIAAAEACgABfQEAACQAAAAJ1wAAAAAAAAAAAAAAAX4BAAAlAAAACVYCAAACAAAAAgAAAAF/AQAALwAAAAFXAgAAIAAAAP8DFkLugAVDAVgCAAAgAAAA/wMGQu6ABUMJWQIAAMwBAAD/////AQEKCVoCAAABAAoAAYABAAAzAAAAAVsCAAAgAAAA/wMAQu6ABUMBXAIAAJoAAAACAAAAAAAAAAAAAAAACV0CAAAAAAAACV4CAAAAAAFfAgAAowAAAAAAAAABYAIAAGwAAAAAALhBAABAQQFhAgAAFAAAAAAAIEGLLgBDNBa/QaOLLkESg74/BmICAAADNDAlCgljAgAACawBAADQAgAA/////wEBCglkAgAAAQAKAAGDAQAAJAAAAAnXAAAAAAAAAAAAAAABhAEAACUAAAAJZQIAAAIAAAACAAAAAYUBAAAvAAAAAWYCAAAgAAAA/wMWQjkv0EIBZwIAACAAAAD/AwZCOS/QQgloAgAAzAEAAP////8BAQoJaQIAAAEACgABhgEAADMAAAABagIAACAAAAD/AwBCOS/QQgFrAgAAmgAAAAIAAAAAAAAAAAAAAAAJbAIAAAAAAAAJbQIAAAAAAW4CAACjAAAAAAAAAAFvAgAAbAAAAAAAuEEAAEBBAXACAAAUAAAAAAAgQYsuxkI0Fr9Bo4suQRKDvj8GcQIAAAM1MCUKCXICAAAJrAEAANACAAD/////AQEKCXMCAAABAAoAAYkBAAAkAAAACb0BAAAAAAAAAAAAAAGKAQAAJQAAAAl0AgAAAgAAAAIAAAABiwEAAC8AAAABdQIAACAAAAD/AxZCllyVQgF2AgAAIAAAAP8DBkKWXJVCCXcCAADMAQAA/////wEBCgl4AgAAAQAKAAGMAQAAMwAAAAF5AgAAIAAAAP8DAEKWXJVCAXoCAACaAAAAAgAAAAAAAAAAAAAAAAl7AgAAAAAAAAl8AgAAAAABfQIAAKMAAAAAAAAAAX4CAABsAAAAAAC4QQAAQEEBfwIAABQAAAAAACBBiy6KQjQWv0Gjiy5BEoO+PwaAAgAAAzYwJQoJgQIAAAmsAQAA0AIAAP////8BAQoJggIAAAEACgABjwEAACQAAAAJvQEAAAAAAAAAAAAAAZABAAAlAAAACYMCAAACAAAAAgAAAAGRAQAALwAAAAGEAgAAIAAAAP8DFkLnEzVCAYUCAAAgAAAA/wMGQucTNUIJhgIAAMwBAAD/////AQEKCYcCAAABAAoAAZIBAAAzAAAAAYgCAAAgAAAA/wMAQucTNUIBiQIAAJoAAAACAAAAAAAAAAAAAAAACYoCAAAAAAAACYsCAAAAAAGMAgAAowAAAAAAAAABjQIAAGwAAAAAALhBAABAQQGOAgAAFAAAAAAAIEEAACBCNBa/QaOLLkESg74/Bo8CAAADNzAlCgmQAgAACawBAADQAgAA/////wEBCgmRAgAAAQAKAAGVAQAAJAAAAAm9AQAAAAAAAAAAAAABlgEAACUAAAAJkgIAAAIAAAACAAAAAZcBAAAvAAAAAZMCAAAgAAAA/wMWQoS6fUEBlAIAACAAAAD/AwZChLp9QQmVAgAAzAEAAP////8BAQoJlgIAAAEACgABmAEAADMAAAABlwIAACAAAAD/AwBChLp9QQGYAgAAmgAAAAIAAAAAAAAAAAAAAAAJmQIAAAAAAAAJmgIAAAAAAZsCAACjAAAAAAAAAAGcAgAAbAAAAAAAuEEAAEBBAZ0CAAAUAAAAAAAgQQAAIEE0Fr9Bo4suQRKDvj8GngIAAAM4MCUKCZ8CAAAJrAEAANACAAD/////AQEKCaACAAABAAoAAZsBAAAkAAAACb0BAAAAAAAAAAAAAAGcAQAAJQAAAAmhAgAAAgAAAAIAAAAEnQEAAJgBU3lzdGVtLkNvbGxlY3Rpb25zLkdlbmVyaWMuTGlzdGAxW1tBcGxvcmlzLkNoYXJ0LkNoYXJ0RGF0YUVsZW1lbnQsIEFwbG9yaXMuQ2hhcnQsIFZlcnNpb249NC4wLjAuMTQ4NiwgQ3VsdHVyZT1uZXV0cmFsLCBQdWJsaWNLZXlUb2tlbj0xNmZjMTNhMjI2YzBlOTUxXV0DAAAABl9pdGVtcwVfc2l6ZQhfdmVyc2lvbgQAACBBcGxvcmlzLkNoYXJ0LkNoYXJ0RGF0YUVsZW1lbnRbXQIAAAAICAmiAgAACwAAACcAAAABngEAACQAAAAJowIAAAsAAAANAAAAAZ8BAAAlAAAACdUAAAAAAAAAAAAAAAWm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QAAAAoAAAAAAEBBCXAAAAAJcQAAAAmkAgAAAQAJpQIAAAGnAQAAcgAAAAoKAAAAAP///wAOAAAAAAEBqwEAAKcAAAAJpgIAAAEAAAABAAAAAa0BAABvAAAACacCAAAKB7IBAAAAAQAAAAQAAAAEH0FwbG9yaXMuQmFzZS5PYmplY3RzLkRhdGFPYmplY3QDAAAACRQBAAANAwezAQAAAAEAAAAEAAAABBxBcGxvcmlzLkJhc2UuVUkuVmlzdWFsT2JqZWN0AwAAAAkWAQAADQMBtgEAACIAAAAKCgAAAAAAKEEJcAAAAAlxAAAACagCAAAAAAmpAgAAAbcBAAByAAAACgoAAAAA////AA4AAAAAAQG7AQAApwAAAAmqAgAAAQAAAAEAAAABvAEAAG8AAAAJqwIAAAoHvQEAAAABAAAAAAAAAAQfQXBsb3Jpcy5CYXNlLk9iamVjdHMuRGF0YU9iamVjdAMAAAAHvgEAAAABAAAABAAAAAQcQXBsb3Jpcy5CYXNlLlVJLlZpc3VhbE9iamVjdAMAAAAJHwEAAA0DAcEBAAAiAAAACgoAAAAAAChBCXAAAAAJcQAAAAmsAgAAAAAJrQIAAAHCAQAAcgAAAAoKAAAAAP///wAOAAAAAAEBxgEAAKcAAAAJrgIAAAEAAAABAAAAAccBAABvAAAACa8CAAAKB8gBAAAAAQAAAAQAAAAEHEFwbG9yaXMuQmFzZS5VSS5WaXN1YWxPYmplY3QDAAAACSYBAAANAwHLAQAAIgAAAAoKAAAAAAAoQQlwAAAACXEAAAAJsAIAAAAACbECAAABzAEAAHIAAAAKCgAAAAD///8ADgAAAAABAdABAACnAAAACbICAAABAAAAAQAAAAHRAQAAbwAAAAmzAgAACgfSAQAAAAEAAAAEAAAABBxBcGxvcmlzLkJhc2UuVUkuVmlzdWFsT2JqZWN0AwAAAAktAQAADQMB1QEAACIAAAAKCgAAAAAAKEEJcAAAAAlxAAAACbQCAAAAAAm1AgAAAdYBAAByAAAACgoAAAAA////AA4AAAAAAQHaAQAApwAAAAm2AgAAAQAAAAEAAAAB2wEAAG8AAAAJtwIAAAoH3AEAAAABAAAABAAAAAQcQXBsb3Jpcy5CYXNlLlVJLlZpc3VhbE9iamVjdAMAAAAJNAEAAA0DAd8BAAAiAAAACgoAAAAAAChBCXAAAAAJcQAAAAm4AgAAAAAJuQIAAAHgAQAAcgAAAAoKAAAAAP///wAOAAAAAAEB5AEAAKcAAAAJugIAAAEAAAABAAAAAeUBAABvAAAACbsCAAAKB+YBAAAAAQAAAAQAAAAEHEFwbG9yaXMuQmFzZS5VSS5WaXN1YWxPYmplY3QDAAAACTsBAAANAwHpAQAAIgAAAAoKAAAAAAAoQQlwAAAACXEAAAAJvAIAAAAACb0CAAAB6gEAAHIAAAAKCgAAAAD///8ADgAAAAABAe4BAACnAAAACb4CAAABAAAAAQAAAAHvAQAAbwAAAAm/AgAACgfwAQAAAAEAAAAAAAAABB9BcGxvcmlzLkJhc2UuT2JqZWN0cy5EYXRhT2JqZWN0AwAAAAfxAQAAAAEAAAAEAAAABBxBcGxvcmlzLkJhc2UuVUkuVmlzdWFsT2JqZWN0AwAAAAlCAQAADQMB9AEAACIAAAAKCgAAAAAAKEEJcAAAAAlxAAAACcACAAAAAAnBAgAAAfUBAAByAAAACgoAAAAA////AA4AAAAAAQH5AQAApwAAAAnCAgAAAQAAAAEAAAAB+gEAAG8AAAAJwwIAAAoH+wEAAAABAAAABAAAAAQcQXBsb3Jpcy5CYXNlLlVJLlZpc3VhbE9iamVjdAMAAAAJSQEAAA0DAf4BAAAiAAAACgoAAAAAAChBCXAAAAAJcQAAAAnEAgAAAAAJxQIAAAH/AQAAcgAAAAoKAAAAAP///wAOAAAAAAEBAwIAAKcAAAAJxgIAAAEAAAABAAAAAQQCAABvAAAACccCAAAKBwUCAAAAAQAAAAQAAAAEHEFwbG9yaXMuQmFzZS5VSS5WaXN1YWxPYmplY3QDAAAACVABAAANAwEIAgAAIgAAAAoKAAAAAAAoQQlwAAAACXEAAAAJyAIAAAAACckCAAABCQIAAHIAAAAKCgAAAAD///8ADgAAAAABAQ0CAACnAAAACcoCAAABAAAAAQAAAAEOAgAAbwAAAAnLAgAACgcPAgAAAAEAAAAEAAAABBxBcGxvcmlzLkJhc2UuVUkuVmlzdWFsT2JqZWN0AwAAAAlXAQAADQMBEgIAACIAAAAKCgAAAAAAKEEJcAAAAAlxAAAACcwCAAAAAAnNAgAAARMCAAByAAAACgoAAAAA////AA4AAAAAAQEXAgAApwAAAAnOAgAAAQAAAAEAAAABGAIAAG8AAAAJzwIAAAoHGQIAAAABAAAABAAAAAQcQXBsb3Jpcy5CYXNlLlVJLlZpc3VhbE9iamVjdAMAAAAJXgEAAA0DBxoCAAAAAQAAAAQAAAAEHEFwbG9yaXMuQmFzZS5VSS5WaXN1YWxPYmplY3QDAAAADQQBHQIAAGoAAAAKCgAAAEA/CdACAAAJ0QIAAAEAAAD+////AAAAAAEAAAAAAAAAAAAAAAEAAAAAAAAAAAAAAR4CAABvAAAACdICAAAKASECAAAiAAAACgoAAAAAAChBCXAAAAAJcQAAAAnTAgAAAAAJ1AIAAAEiAgAAcgAAAAoKAAAAAP///wAOAAAAAAEBJwIAAKcAAAAJ1QIAAAEAAAABAAAAASgCAABvAAAACdYCAAAKBykCAAAAAQAAAAQAAAAEHEFwbG9yaXMuQmFzZS5VSS5WaXN1YWxPYmplY3QDAAAACWcBAAAJaAEAAAoKASwCAABqAAAACgoAAABAPwnXAgAACdgCAAABAAAA/v///wAAAAABAAAAAAAAAAAAAAABAAAAAAAAAAAAAAEtAgAAbwAAAAnZAgAACgEwAgAAIgAAAAoKAAAAAAAoQQlwAAAACXEAAAAJ2gIAAAAACdsCAAABMQIAAHIAAAAKCgAAAAD///8ADgAAAAABATYCAACnAAAACdwCAAABAAAAAwAAAAE3AgAAbwAAAAndAgAACgc4AgAAAAEAAAAEAAAABBxBcGxvcmlzLkJhc2UuVUkuVmlzdWFsT2JqZWN0AwAAAAltAQAACW4BAAAKCgE7AgAAagAAAAoKAAAAQD8J3gIAAAnfAgAAAQAAAP7///8AAAAAAQAAAAAAAAAAAAAAAQAAAAAAAAAAAAABPAIAAG8AAAAJ4AIAAAoBPwIAACIAAAAKCgAAAAAAKEEJcAAAAAlxAAAACeECAAAAAAniAgAAAUACAAByAAAACgoAAAAA////AA4AAAAAAQFFAgAApwAAAAnjAgAAAQAAAAMAAAABRgIAAG8AAAAJ5AIAAAoHRwIAAAABAAAABAAAAAQcQXBsb3Jpcy5CYXNlLlVJLlZpc3VhbE9iamVjdAMAAAAJcwEAAAl0AQAACgoBSgIAAGoAAAAKCgAAAEA/CeUCAAAJ5gIAAAEAAAD+////AAAAAAEAAAAAAAAAAAAAAAEAAAAAAAAAAAAAAUsCAABvAAAACecCAAAKAU4CAAAiAAAACgoAAAAAAChBCXAAAAAJcQAAAAnoAgAAAAAJ6QIAAAFPAgAAcgAAAAoKAAAAAP///wAOAAAAAAEBVAIAAKcAAAAJ6gIAAAEAAAADAAAAAVUCAABvAAAACesCAAAKB1YCAAAAAQAAAAQAAAAEHEFwbG9yaXMuQmFzZS5VSS5WaXN1YWxPYmplY3QDAAAACXkBAAAJegEAAAoKAVkCAABqAAAACgoAAABAPwnsAgAACe0CAAABAAAA/v///wAAAAABAAAAAAAAAAAAAAABAAAAAAAAAAAAAAFaAgAAbwAAAAnuAgAACgFdAgAAIgAAAAoKAAAAAAAoQQlwAAAACXEAAAAJ7wIAAAAACfACAAABXgIAAHIAAAAKCgAAAAD///8ADgAAAAABAWMCAACnAAAACfECAAABAAAAAwAAAAFkAgAAbwAAAAnyAgAACgdlAgAAAAEAAAAEAAAABBxBcGxvcmlzLkJhc2UuVUkuVmlzdWFsT2JqZWN0AwAAAAl/AQAACYABAAAKCgFoAgAAagAAAAoKAAAAQD8J8wIAAAn0AgAAAQAAAP7///8AAAAAAQAAAAAAAAAAAAAAAQAAAAAAAAAAAAABaQIAAG8AAAAJ9QIAAAoBbAIAACIAAAAKCgAAAAAAKEEJcAAAAAlxAAAACfYCAAAAAAn3AgAAAW0CAAByAAAACgoAAAAA////AA4AAAAAAQFyAgAApwAAAAn4AgAAAQAAAAMAAAABcwIAAG8AAAAJ+QIAAAoHdAIAAAABAAAABAAAAAQcQXBsb3Jpcy5CYXNlLlVJLlZpc3VhbE9iamVjdAMAAAAJhQEAAAmGAQAACgoBdwIAAGoAAAAKCgAAAEA/CfoCAAAJ+wIAAAEAAAD+////AAAAAAEAAAAAAAAAAAAAAAEAAAAAAAAAAAAAAXgCAABvAAAACfwCAAAKAXsCAAAiAAAACgoAAAAAAChBCXAAAAAJcQAAAAn9AgAAAAAJ/gIAAAF8AgAAcgAAAAoKAAAAAP///wAOAAAAAAEBgQIAAKcAAAAJ/wIAAAEAAAADAAAAAYICAABvAAAACQADAAAKB4MCAAAAAQAAAAQAAAAEHEFwbG9yaXMuQmFzZS5VSS5WaXN1YWxPYmplY3QDAAAACYsBAAAJjAEAAAoKAYYCAABqAAAACgoAAABAPwkBAwAACQIDAAABAAAA/v///wAAAAABAAAAAAAAAAAAAAABAAAAAAAAAAAAAAGHAgAAbwAAAAkDAwAACgGKAgAAIgAAAAoKAAAAAAAoQQlwAAAACXEAAAAJBAMAAAAACQUDAAABiwIAAHIAAAAKCgAAAAD///8ADgAAAAABAZACAACnAAAACQYDAAABAAAAAwAAAAGRAgAAbwAAAAkHAwAACgeSAgAAAAEAAAAEAAAABBxBcGxvcmlzLkJhc2UuVUkuVmlzdWFsT2JqZWN0AwAAAAmRAQAACZIBAAAKCgGVAgAAagAAAAoKAAAAQD8JCAMAAAkJAwAAAQAAAP7///8AAAAAAQAAAAAAAAAAAAAAAQAAAAAAAAAAAAABlgIAAG8AAAAJCgMAAAoBmQIAACIAAAAKCgAAAAAAKEEJcAAAAAlxAAAACQsDAAAAAAkMAwAAAZoCAAByAAAACgoAAAAA////AA4AAAAAAQGfAgAApwAAAAkNAwAAAQAAAAMAAAABoAIAAG8AAAAJDgMAAAoHoQIAAAABAAAABAAAAAQcQXBsb3Jpcy5CYXNlLlVJLlZpc3VhbE9iamVjdAMAAAAJlwEAAAmYAQAACgoHogIAAAABAAAAEAAAAAQeQXBsb3Jpcy5DaGFydC5DaGFydERhdGFFbGVtZW50AgAAAAkPAwAACRADAAAJEQMAAAkSAwAACRMDAAAJFAMAAAkVAwAACRYDAAAJFwMAAAkYAwAACRkDAAANBQejAgAAAAEAAAAQAAAABB9BcGxvcmlzLkJhc2UuT2JqZWN0cy5EYXRhT2JqZWN0AwAAAAkZAwAACRUDAAAJEgMAAAkQAwAACRQDAAAJFgMAAAkRAwAACQ8DAAAJFwMAAAkTAwAACRgDAAANBQGkAgAAcgAAAAoKAAAAAAAAAAANAAAAAAEBpQIAAHIAAAAKCgEAAAAAAAAA/////wABB6YCAAAAAQAAAAQAAAAEHUFwbG9yaXMuQmFzZS5PYmplY3RzLlZhcmlhYmxlAwAAAAUaAwAAHUFwbG9yaXMuQmFzZS5PYmplY3RzLlZhcmlhYmxlAgAAAAZOdW1iZXIIUG9zaXRpb24AAAgIAwAAAAEAAAAAAAAAARsDAAAaAwAAAAAAAAAAAAABHAMAABoDAAAAAAAAAAAAAAEdAwAAGgMAAAAAAAAAAAAAD6cCAAABAAAACAAAAAABqAIAAHIAAAAKCgAAAAAAAAAADQAAAAAAAakCAAByAAAACgoAAAAAAAAAAA0AAAAAAQeqAgAAAAEAAAAEAAAABB1BcGxvcmlzLkJhc2UuT2JqZWN0cy5WYXJpYWJsZQMAAAABHgMAABoDAAABAAAAAAAAAAEfAwAAGgMAAAAAAAAAAAAAASADAAAaAwAAAAAAAAAAAAABIQMAABoDAAAAAAAAAAAAAA+rAgAAAQAAAAjWAAAAAawCAAByAAAACgoAAAAAAAAAAA0AAAAAAAGtAgAAcgAAAAoKAAAAAAAAAAANAAAAAAEHrgIAAAABAAAABAAAAAQdQXBsb3Jpcy5CYXNlLk9iamVjdHMuVmFyaWFibGUDAAAAASIDAAAaAwAAAQAAAAAAAAABIwMAABoDAAAAAAAAAAAAAAEkAwAAGgMAAAAAAAAAAAAAASUDAAAaAwAAAAAAAAAAAAAPrwIAAAEAAAAIcQAAAAGwAgAAcgAAAAoKAAAAAAAAAAANAAAAAAABsQIAAHIAAAAKCgAAAAAAAAAADQAAAAABB7ICAAAAAQAAAAQAAAAEHUFwbG9yaXMuQmFzZS5PYmplY3RzLlZhcmlhYmxlAwAAAAEmAwAAGgMAAAEAAAAAAAAAAScDAAAaAwAAAAAAAAAAAAABKAMAABoDAAAAAAAAAAAAAAEpAwAAGgMAAAAAAAAAAAAAD7MCAAABAAAACNUAAAABtAIAAHIAAAAKCgAAAAAAAAAADQAAAAAAAbUCAAByAAAACgoAAAAAAAAAAA0AAAAAAQe2AgAAAAEAAAAEAAAABB1BcGxvcmlzLkJhc2UuT2JqZWN0cy5WYXJpYWJsZQMAAAABKgMAABoDAAABAAAAAAAAAAErAwAAGgMAAAAAAAAAAAAAASwDAAAaAwAAAAAAAAAAAAABLQMAABoDAAAAAAAAAAAAAA+3AgAAAQAAAAguAAAAAbgCAAByAAAACgoAAAAAAAAAAA0AAAAAAAG5AgAAcgAAAAoKAAAAAAAAAAANAAAAAAEHugIAAAABAAAABAAAAAQdQXBsb3Jpcy5CYXNlLk9iamVjdHMuVmFyaWFibGUDAAAAAS4DAAAaAwAAAQAAAAAAAAABLwMAABoDAAAAAAAAAAAAAAEwAwAAGgMAAAAAAAAAAAAAATEDAAAaAwAAAAAAAAAAAAAPuwIAAAEAAAAI0gAAAAG8AgAAcgAAAAoKAAAAAAAAAAANAAAAAAABvQIAAHIAAAAKCgAAAAAAAAAADQAAAAABB74CAAAAAQAAAAQAAAAEHUFwbG9yaXMuQmFzZS5PYmplY3RzLlZhcmlhYmxlAwAAAAEyAwAAGgMAAAEAAAAAAAAAATMDAAAaAwAAAAAAAAAAAAABNAMAABoDAAAAAAAAAAAAAAE1AwAAGgMAAAAAAAAAAAAAD78CAAABAAAACHAAAAABwAIAAHIAAAAKCgAAAAAAAAAADQAAAAAAAcECAAByAAAACgoAAAAAAAAAAA0AAAAAAQfCAgAAAAEAAAAEAAAABB1BcGxvcmlzLkJhc2UuT2JqZWN0cy5WYXJpYWJsZQMAAAABNgMAABoDAAABAAAAAAAAAAE3AwAAGgMAAAAAAAAAAAAAATgDAAAaAwAAAAAAAAAAAAABOQMAABoDAAAAAAAAAAAAAA/DAgAAAQAAAAilAAAAAcQCAAByAAAACgoAAAAAAAAAAA0AAAAAAAHFAgAAcgAAAAoKAAAAAAAAAAANAAAAAAEHxgIAAAABAAAABAAAAAQdQXBsb3Jpcy5CYXNlLk9iamVjdHMuVmFyaWFibGUDAAAAAToDAAAaAwAAAQAAAAAAAAABOwMAABoDAAAAAAAAAAAAAAE8AwAAGgMAAAAAAAAAAAAAAT0DAAAaAwAAAAAAAAAAAAAPxwIAAAEAAAAI0QAAAAHIAgAAcgAAAAoKAAAAAAAAAAANAAAAAAAByQIAAHIAAAAKCgAAAAAAAAAADQAAAAABB8oCAAAAAQAAAAQAAAAEHUFwbG9yaXMuQmFzZS5PYmplY3RzLlZhcmlhYmxlAwAAAAE+AwAAGgMAAAEAAAAAAAAAAT8DAAAaAwAAAAAAAAAAAAABQAMAABoDAAAAAAAAAAAAAAFBAwAAGgMAAAAAAAAAAAAAD8sCAAABAAAACNQAAAABzAIAAHIAAAAKCgAAAAAAAAAADQAAAAAAAc0CAAByAAAACgoAAAAAAAAAAA0AAAAAAQfOAgAAAAEAAAAEAAAABB1BcGxvcmlzLkJhc2UuT2JqZWN0cy5WYXJpYWJsZQMAAAABQgMAABoDAAABAAAAAAAAAAFDAwAAGgMAAAAAAAAAAAAAAUQDAAAaAwAAAAAAAAAAAAABRQMAABoDAAAAAAAAAAAAAA/PAgAAAQAAAAjTAAAAAdACAAByAAAACgoAAAAAAAAAAA0AAAAAAAXRAgAAGkFwbG9yaXMuQmFzZS5PYmplY3RzLkNvbG9yBwAAABJEYXRhT2JqZWN0K21QYXJlbnQVRGF0YU9iamVjdCttQ29udGFpbmVyBW1UeXBlBG1SR0IQbVRoZW1lQ29sb3JJbmRleAxtQXV0b1VwZGF0ZWQJbU1vZGlmaWVkBAIAAAAAAB9BcGxvcmlzLkJhc2UuT2JqZWN0cy5MaW5lRm9ybWF0AwAAAAgICAEBAwAAAAkdAgAACgEAAAAAAAAA/////wABD9ICAAABAAAACBwBAAAB0wIAAHIAAAAKCgAAAAAAAAAADQAAAAAAAdQCAAByAAAACgoAAAAAAAAAAA0AAAAAAQfVAgAAAAEAAAAEAAAABB1BcGxvcmlzLkJhc2UuT2JqZWN0cy5WYXJpYWJsZQMAAAABRgMAABoDAAABAAAAAAAAAAFHAwAAGgMAAAAAAAAAAAAAAUgDAAAaAwAAAAAAAAAAAAABSQMAABoDAAAAAAAAAAAAAA/WAgAAAQAAAAgmAAAAAdcCAAByAAAACgoAAAAAAAAAAA0AAAAAAAXYAgAAGkFwbG9yaXMuQmFzZS5PYmplY3RzLkNvbG9yBwAAABJEYXRhT2JqZWN0K21QYXJlbnQVRGF0YU9iamVjdCttQ29udGFpbmVyBW1UeXBlBG1SR0IQbVRoZW1lQ29sb3JJbmRleAxtQXV0b1VwZGF0ZWQJbU1vZGlmaWVkBAIAAAAAAB9BcGxvcmlzLkJhc2UuT2JqZWN0cy5MaW5lRm9ybWF0AwAAAAgICAEBAwAAAAksAgAACgEAAAAAAAAA/////wABD9kCAAABAAAACBsBAAAB2gIAAHIAAAAKCgAAAAAAAAAADQAAAAAAAdsCAAByAAAACgoAAAAAAAAAAA0AAAAAAQfcAgAAAAEAAAAEAAAABB1BcGxvcmlzLkJhc2UuT2JqZWN0cy5WYXJpYWJsZQMAAAABSgMAABoDAAABAAAAAAAAAAFLAwAAGgMAAAAAAAAAAAAAAUwDAAAaAwAAAAAAAAAAAAABTQMAABoDAAAAAAAAAAAAAA/dAgAAAQAAAAgjAAAAAd4CAAByAAAACgoAAAAAAAAAAA0AAAAAAAXfAgAAGkFwbG9yaXMuQmFzZS5PYmplY3RzLkNvbG9yBwAAABJEYXRhT2JqZWN0K21QYXJlbnQVRGF0YU9iamVjdCttQ29udGFpbmVyBW1UeXBlBG1SR0IQbVRoZW1lQ29sb3JJbmRleAxtQXV0b1VwZGF0ZWQJbU1vZGlmaWVkBAIAAAAAAB9BcGxvcmlzLkJhc2UuT2JqZWN0cy5MaW5lRm9ybWF0AwAAAAgICAEBAwAAAAk7AgAACgEAAAAAAAAA/////wABD+ACAAABAAAACB0BAAAB4QIAAHIAAAAKCgAAAAAAAAAADQAAAAAAAeICAAByAAAACgoAAAAAAAAAAA0AAAAAAQfjAgAAAAEAAAAEAAAABB1BcGxvcmlzLkJhc2UuT2JqZWN0cy5WYXJpYWJsZQMAAAABTgMAABoDAAABAAAAAAAAAAFPAwAAGgMAAAAAAAAAAAAAAVADAAAaAwAAAAAAAAAAAAABUQMAABoDAAAAAAAAAAAAAA/kAgAAAQAAAAgrAAAAAeUCAAByAAAACgoAAAAAAAAAAA0AAAAAAAXmAgAAGkFwbG9yaXMuQmFzZS5PYmplY3RzLkNvbG9yBwAAABJEYXRhT2JqZWN0K21QYXJlbnQVRGF0YU9iamVjdCttQ29udGFpbmVyBW1UeXBlBG1SR0IQbVRoZW1lQ29sb3JJbmRleAxtQXV0b1VwZGF0ZWQJbU1vZGlmaWVkBAIAAAAAAB9BcGxvcmlzLkJhc2UuT2JqZWN0cy5MaW5lRm9ybWF0AwAAAAgICAEBAwAAAAlKAgAACgEAAAAAAAAA/////wABD+cCAAABAAAACB8BAAAB6AIAAHIAAAAKCgAAAAAAAAAADQAAAAAAAekCAAByAAAACgoAAAAAAAAAAA0AAAAAAQfqAgAAAAEAAAAEAAAABB1BcGxvcmlzLkJhc2UuT2JqZWN0cy5WYXJpYWJsZQMAAAABUgMAABoDAAABAAAAAAAAAAFTAwAAGgMAAAAAAAAAAAAAAVQDAAAaAwAAAAAAAAAAAAABVQMAABoDAAAAAAAAAAAAAA/rAgAAAQAAAAgqAAAAAewCAAByAAAACgoAAAAAAAAAAA0AAAAAAAXtAgAAGkFwbG9yaXMuQmFzZS5PYmplY3RzLkNvbG9yBwAAABJEYXRhT2JqZWN0K21QYXJlbnQVRGF0YU9iamVjdCttQ29udGFpbmVyBW1UeXBlBG1SR0IQbVRoZW1lQ29sb3JJbmRleAxtQXV0b1VwZGF0ZWQJbU1vZGlmaWVkBAIAAAAAAB9BcGxvcmlzLkJhc2UuT2JqZWN0cy5MaW5lRm9ybWF0AwAAAAgICAEBAwAAAAlZAgAACgEAAAAAAAAA/////wABD+4CAAABAAAACB4BAAAB7wIAAHIAAAAKCgAAAAAAAAAADQAAAAAAAfACAAByAAAACgoAAAAAAAAAAA0AAAAAAQfxAgAAAAEAAAAEAAAABB1BcGxvcmlzLkJhc2UuT2JqZWN0cy5WYXJpYWJsZQMAAAABVgMAABoDAAABAAAAAAAAAAFXAwAAGgMAAAAAAAAAAAAAAVgDAAAaAwAAAAAAAAAAAAABWQMAABoDAAAAAAAAAAAAAA/yAgAAAQAAAAgnAAAAAfMCAAByAAAACgoAAAAAAAAAAA0AAAAAAAX0AgAAGkFwbG9yaXMuQmFzZS5PYmplY3RzLkNvbG9yBwAAABJEYXRhT2JqZWN0K21QYXJlbnQVRGF0YU9iamVjdCttQ29udGFpbmVyBW1UeXBlBG1SR0IQbVRoZW1lQ29sb3JJbmRleAxtQXV0b1VwZGF0ZWQJbU1vZGlmaWVkBAIAAAAAAB9BcGxvcmlzLkJhc2UuT2JqZWN0cy5MaW5lRm9ybWF0AwAAAAgICAEBAwAAAAloAgAACgEAAAAAAAAA/////wABD/UCAAABAAAACBoBAAAB9gIAAHIAAAAKCgAAAAAAAAAADQAAAAAAAfcCAAByAAAACgoAAAAAAAAAAA0AAAAAAQf4AgAAAAEAAAAEAAAABB1BcGxvcmlzLkJhc2UuT2JqZWN0cy5WYXJpYWJsZQMAAAABWgMAABoDAAABAAAAAAAAAAFbAwAAGgMAAAAAAAAAAAAAAVwDAAAaAwAAAAAAAAAAAAABXQMAABoDAAAAAAAAAAAAAA/5AgAAAQAAAAjOAAAAAfoCAAByAAAACgoAAAAAAAAAAA0AAAAAAAX7AgAAGkFwbG9yaXMuQmFzZS5PYmplY3RzLkNvbG9yBwAAABJEYXRhT2JqZWN0K21QYXJlbnQVRGF0YU9iamVjdCttQ29udGFpbmVyBW1UeXBlBG1SR0IQbVRoZW1lQ29sb3JJbmRleAxtQXV0b1VwZGF0ZWQJbU1vZGlmaWVkBAIAAAAAAB9BcGxvcmlzLkJhc2UuT2JqZWN0cy5MaW5lRm9ybWF0AwAAAAgICAEBAwAAAAl3AgAACgEAAAAAAAAA/////wABD/wCAAABAAAACCEBAAAB/QIAAHIAAAAKCgAAAAAAAAAADQAAAAAAAf4CAAByAAAACgoAAAAAAAAAAA0AAAAAAQf/AgAAAAEAAAAEAAAABB1BcGxvcmlzLkJhc2UuT2JqZWN0cy5WYXJpYWJsZQMAAAABXgMAABoDAAABAAAAAAAAAAFfAwAAGgMAAAAAAAAAAAAAAWADAAAaAwAAAAAAAAAAAAABYQMAABoDAAAAAAAAAAAAAA8AAwAAAQAAAAjPAAAAAQEDAAByAAAACgoAAAAAAAAAAA0AAAAAAAUCAwAAGkFwbG9yaXMuQmFzZS5PYmplY3RzLkNvbG9yBwAAABJEYXRhT2JqZWN0K21QYXJlbnQVRGF0YU9iamVjdCttQ29udGFpbmVyBW1UeXBlBG1SR0IQbVRoZW1lQ29sb3JJbmRleAxtQXV0b1VwZGF0ZWQJbU1vZGlmaWVkBAIAAAAAAB9BcGxvcmlzLkJhc2UuT2JqZWN0cy5MaW5lRm9ybWF0AwAAAAgICAEBAwAAAAmGAgAACgEAAAAAAAAA/////wABDwMDAAABAAAACCABAAABBAMAAHIAAAAKCgAAAAAAAAAADQAAAAAAAQUDAAByAAAACgoAAAAAAAAAAA0AAAAAAQcGAwAAAAEAAAAEAAAABB1BcGxvcmlzLkJhc2UuT2JqZWN0cy5WYXJpYWJsZQMAAAABYgMAABoDAAABAAAAAAAAAAFjAwAAGgMAAAAAAAAAAAAAAWQDAAAaAwAAAAAAAAAAAAABZQMAABoDAAAAAAAAAAAAAA8HAwAAAQAAAAjNAAAAAQgDAAByAAAACgoAAAAAAAAAAA0AAAAAAAUJAwAAGkFwbG9yaXMuQmFzZS5PYmplY3RzLkNvbG9yBwAAABJEYXRhT2JqZWN0K21QYXJlbnQVRGF0YU9iamVjdCttQ29udGFpbmVyBW1UeXBlBG1SR0IQbVRoZW1lQ29sb3JJbmRleAxtQXV0b1VwZGF0ZWQJbU1vZGlmaWVkBAIAAAAAAB9BcGxvcmlzLkJhc2UuT2JqZWN0cy5MaW5lRm9ybWF0AwAAAAgICAEBAwAAAAmVAgAACgEAAAAAAAAA/////wABDwoDAAABAAAACCIBAAABCwMAAHIAAAAKCgAAAAAAAAAADQAAAAAAAQwDAAByAAAACgoAAAAAAAAAAA0AAAAAAQcNAwAAAAEAAAAEAAAABB1BcGxvcmlzLkJhc2UuT2JqZWN0cy5WYXJpYWJsZQMAAAABZgMAABoDAAABAAAAAAAAAAFnAwAAGgMAAAAAAAAAAAAAAWgDAAAaAwAAAAAAAAAAAAABaQMAABoDAAAAAAAAAAAAAA8OAwAAAQAAAAjQAAAABQ8DAAAeQXBsb3Jpcy5DaGFydC5DaGFydERhdGFFbGVtZW50EQAAAAZtTGFiZWwKbVJlY3RhbmdsZQVtTGluZQ5tQ3Jvc3NiYXJMaW5lcwdtTWFya2VyB21TZXJpZXMGbVZhbHVlB21WYWx1ZTILbUdyb3VwSW5kZXgPbUxhYmVsUG9zaXRpb25zEW1MYWJlbEFuY2hvck1vZGVzDm1MYWJlbFBvc2l0aW9uIG1TZWxmVHJpZ2dlcmVkTWFya2VyRm9ybWF0VXBkYXRlGERhdGFPYmplY3QrbUNoaWxkT2JqZWN0cxJEYXRhT2JqZWN0K21QYXJlbnQVRGF0YU9iamVjdCttQ29udGFpbmVyGURhdGFPYmplY3QrbVZpc3VhbE9iamVjdHMEBAQEBAQCAgAEBAAAAwQEAxxBcGxvcmlzLkNoYXJ0LkNvbm5lY3RlZExhYmVsAgAAABpBcGxvcmlzLkJhc2UuVUkuVmlzdWFsUmVjdAMAAAAaQXBsb3Jpcy5CYXNlLlVJLlZpc3VhbExpbmUDAAAAHEFwbG9yaXMuQmFzZS5VSS5WaXN1YWxMaW5lW10DAAAAGkFwbG9yaXMuQ2hhcnQuVmlzdWFsTWFya2VyAgAAAB1BcGxvcmlzLkNoYXJ0LkNoYXJ0RGF0YVNlcmllcwIAAAAIF1N5c3RlbS5EcmF3aW5nLlBvaW50RltdBAAAABlBcGxvcmlzLkJhc2UuQW5jaG9yTW9kZVtdAwAAAAg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gMAAAlrAwAACglsAwAACgn5AAAACAYrhxbZzvfnPwoAAAAACW0DAAAJbgMAAAMAAAAACW8DAAAJ+QAAAAkBAAAACXADAAABEAMAAA8DAAAJcQMAAAlyAwAACglzAwAACgn5AAAACAYK16NwPQrfPwoBAAAACXQDAAAJdQMAAAMAAAAACXYDAAAJ+QAAAAkBAAAACXcDAAABEQMAAA8DAAAJeAMAAAl5AwAACgl6AwAACgn5AAAACAb+1HjpJjHYPwoCAAAACXsDAAAJfAMAAAMAAAAACX0DAAAJ+QAAAAkBAAAACX4DAAABEgMAAA8DAAAJfwMAAAmAAwAACgmBAwAACgn5AAAACAbFILByaJHVPwoDAAAACYIDAAAJgwMAAAMAAAAACYQDAAAJ+QAAAAkBAAAACYUDAAABEwMAAA8DAAAJhgMAAAmHAwAACgmIAwAACgn5AAAACAZ1kxgEVg7VPwoEAAAACYkDAAAJigMAAAMAAAAACYsDAAAJ+QAAAAkBAAAACYwDAAABFAMAAA8DAAAJjQMAAAmOAwAACgmPAwAACgn5AAAACAagGi/dJAbRPwoFAAAACZADAAAJkQMAAAMAAAAACZIDAAAJ+QAAAAkBAAAACZMDAAABFQMAAA8DAAAJlAMAAAmVAwAACgmWAwAACgn5AAAACAaq8dJNYhDIPwoGAAAACZcDAAAJmAMAAAMAAAAACZkDAAAJ+QAAAAkBAAAACZoDAAABFgMAAA8DAAAJmwMAAAmcAwAACgmdAwAACgn5AAAACAZqvHSTGAS2PwoHAAAACZ4DAAAJnwMAAAMAAAAACaADAAAJ+QAAAAkBAAAACaEDAAABFwMAAA8DAAAJogMAAAmjAwAACgmkAwAACgn5AAAACAbJdr6fGi+tPwoIAAAACaUDAAAJpgMAAAMAAAAACacDAAAJ+QAAAAkBAAAACagDAAABGAMAAA8DAAAJqQMAAAmqAwAACgmrAwAACgn5AAAACAZaZDvfT42XPwoJAAAACawDAAAJrQMAAAMAAAAACa4DAAAJ+QAAAAkBAAAACa8DAAABGQMAAA8DAAAKCgoJsAMAAAoJ+QAAAAgGnMQgsHJokT8KCgAAAAmxAwAACbIDAAAAAAAAAAmzAwAACfkAAAAJAQAAAAm0AwAAAWoDAAAWAQAAClgCAAABtQMAAKABAAAAAAAAAbYDAAChAQAAAQAAAAG3AwAAFAAAAGyFTEJwbgdC0F7rQZhKVkMBuAMAAKMBAAAAAAAAAACgQAABuQMAACAAAACQroNC4NzeQQG6AwAAmgAAAAEAAAAAAAAAAAAAAAAJuwMAAAAAAAAJvAMAAAAAAb0DAACjAAAAAAAAAAG+AwAAbAAAAAAAuEEAAEBBAb8DAAAUAAAAo4tWQosuikE0Fr9Bo4suQRKDvj8GwAMAAAM3NSUKCcEDAAAJrAEAADQDAAD/////AQEKCcIDAAABAAoAAWsDAAAbAAAAAcMDAAAgAAAAbIVAQjQme0MBxAMAACAAAABqGqdC4Nz2QQnFAwAACcYDAAAAAAAACgHHAwAAbAAAAAAAAAAAAAAAAcgDAABsAAAAAAAAAAAAAAAAAAAAAckDAAAUAAAAAAAAAAAAAAAAAAAAAAAAAKQBAAD/////AQEKCcoDAAABAAoAB2wDAAAAAQAAAAIAAAAEGkFwbG9yaXMuQmFzZS5VSS5WaXN1YWxMaW5lAwAAAAoKB20DAAAAAQAAAAQAAAAEFVN5c3RlbS5EcmF3aW5nLlBvaW50RgQAAAABywMAACAAAACQroNC6AANQwHMAwAAIAAAAGyFNELoAA1DAc0DAAAgAAAAahqtQugADUMBzgMAACAAAACQroNC4NzeQQduAwAAAAEAAAAEAAAABBdBcGxvcmlzLkJhc2UuQW5jaG9yTW9kZQMAAAABzwMAAJoAAAAAAAAAAdADAACaAAAAAgAAAAHRAwAAmgAAAAQAAAAB0gMAAJoAAAABAAAAAW8DAAAkAAAACb0BAAAAAAAAAAAAAAFwAwAAJQAAAAnTAwAAAgAAAAIAAAABcQMAABYBAAAKWAIAAAHUAwAAoAEAAAAAAAAB1QMAAKEBAAABAAAAAdYDAAAUAAAA15vXQgUC30LUXutBMqUIQwHXAwAAowEAAAAAAAAAAKBAAAHYAwAAIAAAALEH9UIFAtNCAdkDAACaAAAAAQAAAAAAAAAAAAAAAAnaAwAAAAAAAAnbAwAAAAAB3AMAAKMAAAAAAAAAAd0DAABsAAAAAAC4QQAAQEEB3gMAABQAAAB00d1CRhe9QjQWv0Gjiy5BEoO+PwbfAwAAAzQ5JQoJ4AMAAAmsAQAANAMAAP////8BAQoJ4QMAAAEACgABcgMAABsAAAAB4gMAACAAAADXm9FCNCZ7QwHjAwAAIAAAAMY5DEMFAtlCCeQDAAAJ5QMAAAAAAAAKAeYDAABsAAAAAAAAAAAAAAAB5wMAAGwAAAAAAAAAAAAAAAAAAAAB6AMAABQAAAAAAAAAAAAAAAAAAAAAAAAApAEAAP////8BAQoJ6QMAAAEACgAHcwMAAAABAAAAAgAAAAQaQXBsb3Jpcy5CYXNlLlVJLlZpc3VhbExpbmUDAAAACgoHdAMAAAABAAAABAAAAAQVU3lzdGVtLkRyYXdpbmcuUG9pbnRGBAAAAAHqAwAAIAAAALEH9UKb0zNDAesDAAAgAAAA15vLQpvTM0MB7AMAACAAAADGOQ9Dm9MzQwHtAwAAIAAAALEH9UIFAtNCB3UDAAAAAQAAAAQAAAAEF0FwbG9yaXMuQmFzZS5BbmNob3JNb2RlAwAAAAHuAwAAmgAAAAAAAAAB7wMAAJoAAAACAAAAAfADAACaAAAABAAAAAHxAwAAmgAAAAEAAAABdgMAACQAAAAJ1wAAAAAAAAAAAAAAAXcDAAAlAAAACfIDAAACAAAAAgAAAAF4AwAAFgEAAApYAgAAAfMDAACgAQAAAAAAAAH0AwAAoQEAAAEAAAAB9QMAABQAAAB8eiRDYfkOQ9Be60GmWdJCAfYDAACjAQAAAAAAAAAAoEAAAfcDAAAgAAAAaTAzQ2H5CEMB+AMAAJoAAAABAAAAAAAAAAAAAAAACfkDAAAAAAAACfoDAAAAAAH7AwAAowAAAAAAAAAB/AMAAGwAAAAAALhBAABAQQH9AwAAFAAAANFFJ0MuuvxCNBa/QaOLLkESg74/Bv4DAAADMzglCgn/AwAACawBAAA0AwAA/////wEBCgkABAAAAQAKAAF5AwAAGwAAAAEBBAAAIAAAAHx6IUM0JntDAQIEAAAgAAAAVuZEQ2H5C0MJAwQAAAkEBAAAAAAAAAoBBQQAAGwAAAAAAAAAAAAAAAEGBAAAbAAAAAAAAAAAAAAAAAAAAAEHBAAAFAAAAAAAAAAAAAAAAAAAAAAAAACkAQAA/////wEBCgkIBAAAAQAKAAd6AwAAAAEAAAACAAAABBpBcGxvcmlzLkJhc2UuVUkuVmlzdWFsTGluZQMAAAAKCgd7AwAAAAEAAAAEAAAABBVTeXN0ZW0uRHJhd2luZy5Qb2ludEYEAAAAAQkEAAAgAAAAaTAzQ8qPQ0MBCgQAACAAAAB8eh5Dyo9DQwELBAAAIAAAAFbmR0PKj0NDAQwEAAAgAAAAaTAzQ2H5CEMHfAMAAAABAAAABAAAAAQXQXBsb3Jpcy5CYXNlLkFuY2hvck1vZGUDAAAAAQ0EAACaAAAAAAAAAAEOBAAAmgAAAAIAAAABDwQAAJoAAAAEAAAAARAEAACaAAAAAQAAAAF9AwAAJAAAAAm9AQAAAAAAAAAAAAABfgMAACUAAAAJEQQAAAIAAAACAAAAAX8DAAAWAQAAClgCAAABEgQAAKABAAAAAAAAARMEAAChAQAAAQAAAAEUBAAAFAAAAAwnXUNnCBtD0F7rQZo7ukIBFQQAAKMBAAAAAAAAAACgQAABFgQAACAAAAD53GtDZwgVQwEXBAAAmgAAAAEAAAAAAAAAAAAAAAAJGAQAAAAAAAAJGQQAAAAAARoEAACjAAAAAAAAAAEbBAAAbAAAAAAAuEEAAEBBARwEAAAUAAAA6KJfQ4suCkM0Fr9Bo4suQRKDvj8GHQQAAAMzNCUKCR4EAAAJrAEAADQDAAD/////AQEKCR8EAAABAAoAAYADAAAbAAAAASAEAAAgAAAADCdaQzQme0MBIQQAACAAAADmkn1DZwgYQwkiBAAACSMEAAAAAAAACgEkBAAAbAAAAAAAAAAAAAAAASUEAABsAAAAAAAAAAAAAAAAAAAAASYEAAAUAAAAAAAAAAAAAAAAAAAAAAAAAKQBAAD/////AQEKCScEAAABAAoAB4EDAAAAAQAAAAIAAAAEGkFwbG9yaXMuQmFzZS5VSS5WaXN1YWxMaW5lAwAAAAoKB4IDAAAAAQAAAAQAAAAEFVN5c3RlbS5EcmF3aW5nLlBvaW50RgQAAAABKAQAACAAAAD53GtDTpdJQwEpBAAAIAAAAAwnV0NOl0lDASoEAAAgAAAAc0mAQ06XSUMBKwQAACAAAAD53GtDZwgVQweDAwAAAAEAAAAEAAAABBdBcGxvcmlzLkJhc2UuQW5jaG9yTW9kZQMAAAABLAQAAJoAAAAAAAAAAS0EAACaAAAAAgAAAAEuBAAAmgAAAAQAAAABLwQAAJoAAAABAAAAAYQDAAAkAAAACdcAAAAAAAAAAAAAAAGFAwAAJQAAAAkwBAAAAgAAAAYAAAABhgMAABYBAAAKWAIAAAExBAAAoAEAAAAAAAABMgQAAKEBAAABAAAAATMEAAAUAAAAzumKQ79iHUPgXutB6oa1QgE0BAAAowEAAAAAAAAAAKBAAAE1BAAAIAAAAMVEkkO/YhdDATYEAACaAAAAAQAAAAAAAAAAAAAAAAk3BAAAAAAAAAk4BAAAAAABOQQAAKMAAAAAAAAAAToEAABsAAAAAAC4QQAAQEEBOwQAABQAAABddIxDuugMQzQWv0Gjiy5BEoO+PwY8BAAAAzMzJQoJPQQAAAmsAQAANAMAAP////8BAQoJPgQAAAEACgABhwMAABsAAAABPwQAACAAAADOaYlDNCZ7QwFABAAAIAAAALwfm0O/YhpDCUEEAAAJQgQAAAAAAAAKAUMEAABsAAAAAAAAAAAAAAABRAQAAGwAAAAAAAAAAAAAAAAAAAABRQQAABQAAAAAAAAAAAAAAAAAAAAAAAAApAEAAP////8BAQoJRgQAAAEACgAHiAMAAAABAAAAAgAAAAQaQXBsb3Jpcy5CYXNlLlVJLlZpc3VhbExpbmUDAAAACgoHiQMAAAABAAAABAAAAAQVU3lzdGVtLkRyYXdpbmcuUG9pbnRGBAAAAAFHBAAAIAAAAMVEkkN6xEpDAUgEAAAgAAAAzumHQ3rESkMBSQQAACAAAAC8n5xDesRKQwFKBAAAIAAAAMVEkkO/YhdDB4oDAAAAAQAAAAQAAAAEF0FwbG9yaXMuQmFzZS5BbmNob3JNb2RlAwAAAAFLBAAAmgAAAAAAAAABTAQAAJoAAAACAAAAAU0EAACaAAAABAAAAAFOBAAAmgAAAAEAAAABiwMAACQAAAAJvQEAAAAAAAAAAAAAAYwDAAAlAAAACU8EAAACAAAAAgAAAAGNAwAAFgEAAApYAgAAAVAEAACgAQAAAAAAAAFRBAAAoQEAAAEAAAABUgQAABQAAAAWQKdDN+ovQ+Be60H6d5BCAVMEAACjAQAAAAAAAAAAoEAAAVQEAAAgAAAADZuuQzfqKUMBVQQAAJoAAAABAAAAAAAAAAAAAAAACVYEAAAAAAAACVcEAAAAAAFYBAAAowAAAAAAAAABWQQAAGwAAAAAALhBAABAQQFaBAAAFAAAAOiiqENGFx9DNBa/QaOLLkESg74/BlsEAAADMjclCglcBAAACawBAAA0AwAA/////wEBCgldBAAAAQAKAAGOAwAAGwAAAAFeBAAAIAAAABbApUM0JntDAV8EAAAgAAAABHa3QzfqLEMJYAQAAAlhBAAAAAAAAAoBYgQAAGwAAAAAAAAAAAAAAAFjBAAAbAAAAAAAAAAAAAAAAAAAAAFkBAAAFAAAAAAAAAAAAAAAAAAAAAAAAACkAQAA/////wEBCgllBAAAAQAKAAePAwAAAAEAAAACAAAABBpBcGxvcmlzLkJhc2UuVUkuVmlzdWFsTGluZQMAAAAKCgeQAwAAAAEAAAAEAAAABBVTeXN0ZW0uRHJhd2luZy5Qb2ludEYEAAAAAWYEAAAgAAAADZuuQzYIVEMBZwQAACAAAAAWQKRDNghUQwFoBAAAIAAAAAT2uEM2CFRDAWkEAAAgAAAADZuuQzfqKUMHkQMAAAABAAAABAAAAAQXQXBsb3Jpcy5CYXNlLkFuY2hvck1vZGUDAAAAAWoEAACaAAAAAAAAAAFrBAAAmgAAAAIAAAABbAQAAJoAAAAEAAAAAW0EAACaAAAAAQAAAAGSAwAAJAAAAAnwAQAAAAAAAAAAAAABkwMAACUAAAAJbgQAAAIAAAACAAAAAZQDAAAWAQAAClgCAAABbwQAAKABAAAAAAAAAXAEAAChAQAAAQAAAAFxBAAAFAAAAF6Ww0MW20ZD4F7rQXgsRUIBcgQAAKMBAAAAAAAAAACgQAABcwQAACAAAABV8cpDFttAQwF0BAAAmgAAAAEAAAAAAAAAAAAAAAAJdQQAAAAAAAAJdgQAAAAAAXcEAACjAAAAAAAAAAF4BAAAbAAAAAAAuEEAAEBBAXkEAAAUAAAAdNHEQ3TRNUM0Fr9Bo4suQRKDvj8GegQAAAMxOSUKCXsEAAAJrAEAADQDAAD/////AQEKCXwEAAABAAoAAZUDAAAbAAAAAX0EAAAgAAAAXhbCQzQme0MBfgQAACAAAABMzNNDFttDQwl/BAAACYAEAAAAAAAACgGBBAAAbAAAAAAAAAAAAAAAAYIEAABsAAAAAAAAAAAAAAAAAAAAAYMEAAAUAAAAAAAAAAAAAAAAAAAAAAAAAKQBAAD/////AQEKCYQEAAABAAoAB5YDAAAAAQAAAAIAAAAEGkFwbG9yaXMuQmFzZS5VSS5WaXN1YWxMaW5lAwAAAAoKB5cDAAAAAQAAAAQAAAAEFVN5c3RlbS5EcmF3aW5nLlBvaW50RgQAAAABhQQAACAAAABV8cpDpYBfQwGGBAAAIAAAAF6WwEOlgF9DAYcEAAAgAAAATEzVQ6WAX0MBiAQAACAAAABV8cpDFttAQweYAwAAAAEAAAAEAAAABBdBcGxvcmlzLkJhc2UuQW5jaG9yTW9kZQMAAAABiQQAAJoAAAAAAAAAAYoEAACaAAAAAgAAAAGLBAAAmgAAAAQAAAABjAQAAJoAAAABAAAAAZkDAAAkAAAACdcAAAAAAAAAAAAAAAGaAwAAJQAAAAmNBAAAAgAAAAYAAAABmwMAABYBAAAKWAIAAAGOBAAAoAEAAAAAAAABjwQAAKEBAAABAAAAAZAEAAAUAAAAp+zfQ/3aZEPgXutBuFmaQQGRBAAAowEAAAAAAAAAAKBAAAGSBAAAIAAAAJ5H50P92l5DAZMEAACaAAAAAQAAAAAAAAAAAAAAAAmUBAAAAAAAAAmVBAAAAAABlgQAAKMAAAAAAAAAAZcEAABsAAAAAACAQQAAQEEBmAQAABQAAAB00eJDdNFTQ3otjEGjiy5BEoO+PwaZBAAAAjklCgmaBAAACawBAAA0AwAA/////wEBCgmbBAAAAQAKAAGcAwAAGwAAAAGcBAAAIAAAAKds3kM0JntDAZ0EAAAgAAAAlSLwQ/3aYUMJngQAAAmfBAAAAAAAAAoBoAQAAGwAAAAAAAAAAAAAAAGhBAAAbAAAAAAAAAAAAAAAAAAAAAGiBAAAFAAAAAAAAAAAAAAAAAAAAAAAAACkAQAA/////wEBCgmjBAAAAQAKAAedAwAAAAEAAAACAAAABBpBcGxvcmlzLkJhc2UuVUkuVmlzdWFsTGluZQMAAAAKCgeeAwAAAAEAAAAEAAAABBVTeXN0ZW0uRHJhd2luZy5Qb2ludEYEAAAAAaQEAAAgAAAAnkfnQ5iAbkMBpQQAACAAAACn7NxDmIBuQwGmBAAAIAAAAJWi8UOYgG5DAacEAAAgAAAAnkfnQ/3aXkMHnwMAAAABAAAABAAAAAQXQXBsb3Jpcy5CYXNlLkFuY2hvck1vZGUDAAAAAagEAACaAAAAAAAAAAGpBAAAmgAAAAIAAAABqgQAAJoAAAAEAAAAAasEAACaAAAAAQAAAAGgAwAAJAAAAAm9AQAAAAAAAAAAAAABoQMAACUAAAAJrAQAAAIAAAACAAAAAaIDAAAWAQAAClgCAAABrQQAAKABAAAAAAAAAa4EAAChAQAAAQAAAAGvBAAAFAAAAO9C/EN+Ym1D0F7rQWA7LEEBsAQAAKMBAAAAAAAAAACgQAABsQQAACAAAADzzgFEfmJnQwGyBAAAmgAAAAEAAAAAAAAAAAAAAAAJswQAAAAAAAAJtAQAAAAAAbUEAACjAAAAAAAAAAG2BAAAbAAAAAAAgEEAAEBBAbcEAAAUAAAAXXT/Q7roXEN6LYxBo4suQRKDvj8GuAQAAAI2JQoJuQQAAAmsAQAANAMAAP////8BAQoJugQAAAEACgABowMAABsAAAABuwQAACAAAADvwvpDNCZ7QwG8BAAAIAAAAG48BkR+YmpDCb0EAAAJvgQAAAAAAAAKAb8EAABsAAAAAAAAAAAAAAABwAQAAGwAAAAAAAAAAAAAAAAAAAABwQQAABQAAAAAAAAAAAAAAAAAAAAAAAAApAEAAP////8BAQoJwgQAAAEACgAHpAMAAAABAAAAAgAAAAQaQXBsb3Jpcy5CYXNlLlVJLlZpc3VhbExpbmUDAAAACgoHpQMAAAABAAAABAAAAAQVU3lzdGVtLkRyYXdpbmcuUG9pbnRGBAAAAAHDBAAAIAAAAPPOAURZxHJDAcQEAAAgAAAA70L5Q1nEckMBxQQAACAAAABu/AZEWcRyQwHGBAAAIAAAAPPOAUR+YmdDB6YDAAAAAQAAAAQAAAAEF0FwbG9yaXMuQmFzZS5BbmNob3JNb2RlAwAAAAHHBAAAmgAAAAAAAAAByAQAAJoAAAACAAAAAckEAACaAAAABAAAAAHKBAAAmgAAAAEAAAABpwMAACQAAAAJvQEAAAAAAAAAAAAAAagDAAAlAAAACcsEAAACAAAAAgAAAAGpAwAAFgEAAApYAgAAAcwEAACgAQAAAAAAAAHNBAAAoQEAAAEAAAABzgQAABQAAACcTAxEdmJ3Q8Be60EAvkM/Ac8EAACjAQAAAAAAAAAAoEAAAdAEAAAgAAAAF/oPRHZicUMB0QQAAJoAAAABAAAAAAAAAAAAAAAACdIEAAAAAAAACdMEAAAAAAHUBAAAowAAAAAAAAAB1QQAAGwAAAAAAIBBAABAQQHWBAAAFAAAAHTRDUS66GZDei2MQaOLLkESg74/BtcEAAACMiUKCdgEAAAJrAEAADQDAAD/////AQEKCdkEAAABAAoAAaoDAAAbAAAAAdoEAAAgAAAAnIwLRDQme0MB2wQAACAAAACSZxREdmJ0QwncBAAACd0EAAAAAAAACgHeBAAAbAAAAAAAAAAAAAAAAd8EAABsAAAAAAAAAAAAAAAAAAAAAeAEAAAUAAAAAAAAAAAAAAAAAAAAAAAAAKQBAAD/////AQEKCeEEAAABAAoAB6sDAAAAAQAAAAIAAAAEGkFwbG9yaXMuQmFzZS5VSS5WaXN1YWxMaW5lAwAAAAoKB6wDAAAAAQAAAAQAAAAEFVN5c3RlbS5EcmF3aW5nLlBvaW50RgQAAAAB4gQAACAAAAAX+g9EVcR3QwHjBAAAIAAAAJzMCkRVxHdDAeQEAAAgAAAAkicVRFXEd0MB5QQAACAAAAAX+g9EdmJxQwetAwAAAAEAAAAEAAAABBdBcGxvcmlzLkJhc2UuQW5jaG9yTW9kZQMAAAAB5gQAAJoAAAAAAAAAAecEAACaAAAAAgAAAAHoBAAAmgAAAAQAAAAB6QQAAJoAAAABAAAAAa4DAAAkAAAACb0BAAAAAAAAAAAAAAGvAwAAJQAAAAnqBAAAAgAAAAIAAAAHsAMAAAABAAAAAgAAAAQaQXBsb3Jpcy5CYXNlLlVJLlZpc3VhbExpbmUDAAAACgoHsQMAAAABAAAABAAAAAQVU3lzdGVtLkRyYXdpbmcuUG9pbnRGBAAAAAHrBAAAIAAAAGb1GESBXZdDAewEAAAgAAAA9i4URIFdl0MB7QQAACAAAADWux1EgV2XQwHuBAAAIAAAAGb1GESxTJRDB7IDAAAAAQAAAAQAAAAEF0FwbG9yaXMuQmFzZS5BbmNob3JNb2RlAwAAAAHvBAAAmgAAAAAAAAAB8AQAAJoAAAACAAAAAfEEAACaAAAABAAAAAHyBAAAmgAAAAEAAAABswMAACQAAAAJ1wAAAAAAAAAAAAAAAbQDAAAlAAAACfMEAAAAAAAACAAAAAG7AwAAIgAAAAoKAAAAAAAoQQlwAAAACXEAAAAJ9AQAAAAACfUEAAABvAMAAHIAAAAKCgAAAAD///8ADgAAAAABAcEDAACnAAAACfYEAAABAAAAAwAAAAHCAwAAbwAAAAn3BAAACgHFAwAAagAAAAoKAAAAQD8J+AQAAAn5BAAAAQAAAP7///8AAAAAAQAAAAAAAAAAAAAAAQAAAAAAAAAAAAABxgMAAGsAAAAKCgn6BAAACfsEAAABAAAA/v///wAAAAD/////AQABygMAAG8AAAAJ/AQAAAoH0wMAAAABAAAABAAAAAQcQXBsb3Jpcy5CYXNlLlVJLlZpc3VhbE9iamVjdAMAAAAJawMAAAlqAwAACgoF2g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eQXBsb3Jpcy5DaGFydC5DaGFydERhdGFFbGVtZW50AgAAAAEBAQsaQXBsb3Jpcy5CYXNlLk9iamVjdHMuQ29sb3IDAAAAAQEaQXBsb3Jpcy5CYXNlLk9iamVjdHMuQ29sb3IDAAAAAwAAAAkQAwAACgAAAAAAKEEJcAAAAAlxAAAACf0EAAAAAAn+BAAAAdsDAAByAAAACgoAAAAA////AA4AAAAAAQHgAwAApwAAAAn/BAAAAQAAAAMAAAAB4QMAAG8AAAAJAAUAAAoB5AMAAGoAAAAKCgAAAEA/CQEFAAAJAgUAAAEAAAD+////AAAAAAEAAAAAAAAAAAAAAAEAAAAAAAAAAAAAAeUDAABrAAAACgoJAwUAAAkEBQAAAQAAAP7///8AAAAA/////wEAAekDAABvAAAACQUFAAAKB/IDAAAAAQAAAAQAAAAEHEFwbG9yaXMuQmFzZS5VSS5WaXN1YWxPYmplY3QDAAAACXIDAAAJcQMAAAoKAfkDAAAiAAAACgoAAAAAAChBCXAAAAAJcQAAAAkGBQAAAAAJBwUAAAH6AwAAcgAAAAoKAAAAAP///wAOAAAAAAEB/wMAAKcAAAAJCAUAAAEAAAADAAAAAQAEAABvAAAACQkFAAAKAQMEAABqAAAACgoAAABAPwkKBQAACQsFAAABAAAA/v///wAAAAABAAAAAAAAAAAAAAABAAAAAAAAAAAAAAEEBAAAawAAAAoKCQwFAAAJDQUAAAEAAAD+////AAAAAP////8BAAEIBAAAbwAAAAkOBQAACgcRBAAAAAEAAAAEAAAABBxBcGxvcmlzLkJhc2UuVUkuVmlzdWFsT2JqZWN0AwAAAAl5AwAACXgDAAAKCgUYB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RIDAAAKAAAAAAAoQQlwAAAACXEAAAAJDwUAAAAACRAFAAABGQQAAHIAAAAKCgAAAAD///8ADgAAAAABAR4EAACnAAAACREFAAABAAAAAwAAAAEfBAAAbwAAAAkSBQAACgEiBAAAagAAAAoKAAAAQD8JEwUAAAkUBQAAAQAAAP7///8AAAAAAQAAAAAAAAAAAAAAAQAAAAAAAAAAAAABIwQAAGsAAAAKCgkVBQAACRYFAAABAAAA/v///wAAAAD/////AQABJwQAAG8AAAAJFwUAAAoHMAQAAAABAAAABAAAAAQcQXBsb3Jpcy5CYXNlLlVJLlZpc3VhbE9iamVjdAMAAAAJgAMAAAl/AwAACgoBNwQAACIAAAAKCgAAAAAAKEEJcAAAAAlxAAAACRgFAAAAAAkZBQAAATgEAAByAAAACgoAAAAA////AA4AAAAAAQE9BAAApwAAAAkaBQAAAQAAAAMAAAABPgQAAG8AAAAJGwUAAAoBQQQAAGoAAAAKCgAAAEA/CRwFAAAJHQUAAAEAAAD+////AAAAAAEAAAAAAAAAAAAAAAEAAAAAAAAAAAAAAUIEAABrAAAACgoJHgUAAAkfBQAAAQAAAP7///8AAAAA/////wEAAUYEAABvAAAACSAFAAAKB08EAAAAAQAAAAQAAAAEHEFwbG9yaXMuQmFzZS5VSS5WaXN1YWxPYmplY3QDAAAACYcDAAAJhgMAAAoKBVY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kFwbG9yaXMuQ2hhcnQuQ2hhcnREYXRhRWxlbWVudAIAAAABAQELGkFwbG9yaXMuQmFzZS5PYmplY3RzLkNvbG9yAwAAAAEBGkFwbG9yaXMuQmFzZS5PYmplY3RzLkNvbG9yAwAAAAMAAAAJFAMAAAoAAAAAAChBCXAAAAAJcQAAAAkhBQAAAAAJIgUAAAFXBAAAcgAAAAoKAAAAAP///wAOAAAAAAEBXAQAAKcAAAAJIwUAAAEAAAABAAAAAV0EAABvAAAACSQFAAAKAWAEAABqAAAACgoAAABAPwklBQAACSYFAAABAAAA/v///wAAAAABAAAAAAAAAAAAAAABAAAAAAAAAAAAAAFhBAAAawAAAAoKCScFAAAJKAUAAAEAAAD+////AAAAAP////8BAAFlBAAAbwAAAAkpBQAACgduBAAAAAEAAAAEAAAABBxBcGxvcmlzLkJhc2UuVUkuVmlzdWFsT2JqZWN0AwAAAAmOAwAACY0DAAAKCgV1B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RUDAAAKAAAAAAAoQQlwAAAACXEAAAAJKgUAAAAACSsFAAABdgQAAHIAAAAKCgAAAAD///8ADgAAAAABAXsEAACnAAAACSwFAAABAAAAAwAAAAF8BAAAbwAAAAktBQAACgF/BAAAagAAAAoKAAAAQD8JLgUAAAkvBQAAAQAAAP7///8AAAAAAQAAAAAAAAAAAAAAAQAAAAAAAAAAAAABgAQAAGsAAAAKCgkwBQAACTEFAAABAAAA/v///wAAAAD/////AQABhAQAAG8AAAAJMgUAAAoHjQQAAAABAAAABAAAAAQcQXBsb3Jpcy5CYXNlLlVJLlZpc3VhbE9iamVjdAMAAAAJlQMAAAmUAwAACgoBlAQAACIAAAAKCgAAAAAAKEEJcAAAAAlxAAAACTMFAAAAAAk0BQAAAZUEAAByAAAACgoAAAAA////AA4AAAAAAQGaBAAApwAAAAk1BQAAAQAAAAMAAAABmwQAAG8AAAAJNgUAAAoBngQAAGoAAAAKCgAAAEA/CTcFAAAJOAUAAAEAAAD+////AAAAAAEAAAAAAAAAAAAAAAEAAAAAAAAAAAAAAZ8EAABrAAAACgoJOQUAAAk6BQAAAQAAAP7///8AAAAA/////wEAAaMEAABvAAAACTsFAAAKB6wEAAAAAQAAAAQAAAAEHEFwbG9yaXMuQmFzZS5VSS5WaXN1YWxPYmplY3QDAAAACZwDAAAJmwMAAAoKAbMEAAAiAAAACgoAAAAAAChBCXAAAAAJcQAAAAk8BQAAAAAJPQUAAAG0BAAAcgAAAAoKAAAAAP///wAOAAAAAAEBuQQAAKcAAAAJPgUAAAEAAAADAAAAAboEAABvAAAACT8FAAAKAb0EAABqAAAACgoAAABAPwlABQAACUEFAAABAAAA/v///wAAAAABAAAAAAAAAAAAAAABAAAAAAAAAAAAAAG+BAAAawAAAAoKCUIFAAAJQwUAAAEAAAD+////AAAAAP////8BAAHCBAAAbwAAAAlEBQAACgfLBAAAAAEAAAAEAAAABBxBcGxvcmlzLkJhc2UuVUkuVmlzdWFsT2JqZWN0AwAAAAmjAwAACaIDAAAKCgHSBAAAIgAAAAoKAAAAAAAoQQlwAAAACXEAAAAJRQUAAAAACUYFAAAB0wQAAHIAAAAKCgAAAAD///8ADgAAAAABAdgEAACnAAAACUcFAAABAAAAAwAAAAHZBAAAbwAAAAlIBQAACgHcBAAAagAAAAoKAAAAQD8JSQUAAAlKBQAAAQAAAP7///8AAAAAAQAAAAAAAAAAAAAAAQAAAAAAAAAAAAAB3QQAAGsAAAAKCglLBQAACUwFAAABAAAA/v///wAAAAD/////AQAB4QQAAG8AAAAJTQUAAAoH6gQAAAABAAAABAAAAAQcQXBsb3Jpcy5CYXNlLlVJLlZpc3VhbE9iamVjdAMAAAAJqgMAAAmpAwAACgoH8wQAAAABAAAABAAAAAQcQXBsb3Jpcy5CYXNlLlVJLlZpc3VhbE9iamVjdAMAAAANBAH0BAAAcgAAAAoKAAAAAAAAAAANAAAAAAAB9QQAAHIAAAAKCgAAAAAAAAAADQAAAAABB/YEAAAAAQAAAAQAAAAEHUFwbG9yaXMuQmFzZS5PYmplY3RzLlZhcmlhYmxlAwAAAAFOBQAAGgMAAAEAAAAAAAAAAU8FAAAaAwAAAAAAAAAAAAABUAUAABoDAAAAAAAAAAAAAAFRBQAAGgMAAAAAAAAAAAAAD/cEAAABAAAACOAAAAAF+AQAABpBcGxvcmlzLkJhc2UuT2JqZWN0cy5Db2xvcgcAAAASRGF0YU9iamVjdCttUGFyZW50FURhdGFPYmplY3QrbUNvbnRhaW5lcgVtVHlwZQRtUkdCEG1UaGVtZUNvbG9ySW5kZXgMbUF1dG9VcGRhdGVkCW1Nb2RpZmllZAQCAAAAAAAfQXBsb3Jpcy5CYXNlLk9iamVjdHMuTGluZUZvcm1hdAMAAAAICAgBAQMAAAAJxQMAAAoAAAAA////AA4AAAAAAAX5BAAAGkFwbG9yaXMuQmFzZS5PYmplY3RzLkNvbG9yBwAAABJEYXRhT2JqZWN0K21QYXJlbnQVRGF0YU9iamVjdCttQ29udGFpbmVyBW1UeXBlBG1SR0IQbVRoZW1lQ29sb3JJbmRleAxtQXV0b1VwZGF0ZWQJbU1vZGlmaWVkBAIAAAAAAB9BcGxvcmlzLkJhc2UuT2JqZWN0cy5MaW5lRm9ybWF0AwAAAAgICAEBAwAAAAnFAwAACgEAAAAAAAAA/////wABAfoEAAByAAAACgoAAAAAP2l+AAUAAAAAAAH7BAAAcgAAAAoKAQAAAP///wD/////AAAP/AQAAAEAAAAIvgAAAAH9BAAAcgAAAAoKAAAAAAAAAAANAAAAAAAB/gQAAHIAAAAKCgAAAAAAAAAADQAAAAABB/8EAAAAAQAAAAQAAAAEHUFwbG9yaXMuQmFzZS5PYmplY3RzLlZhcmlhYmxlAwAAAAFSBQAAGgMAAAEAAAAAAAAAAVMFAAAaAwAAAAAAAAAAAAABVAUAABoDAAAAAAAAAAAAAAFVBQAAGgMAAAAAAAAAAAAADwAFAAABAAAACNcAAAAFAQUAABpBcGxvcmlzLkJhc2UuT2JqZWN0cy5Db2xvcgcAAAASRGF0YU9iamVjdCttUGFyZW50FURhdGFPYmplY3QrbUNvbnRhaW5lcgVtVHlwZQRtUkdCEG1UaGVtZUNvbG9ySW5kZXgMbUF1dG9VcGRhdGVkCW1Nb2RpZmllZAQCAAAAAAAfQXBsb3Jpcy5CYXNlLk9iamVjdHMuTGluZUZvcm1hdAMAAAAICAgBAQMAAAAJ5AMAAAoAAAAA////AA4AAAAAAAUCBQAAGkFwbG9yaXMuQmFzZS5PYmplY3RzLkNvbG9yBwAAABJEYXRhT2JqZWN0K21QYXJlbnQVRGF0YU9iamVjdCttQ29udGFpbmVyBW1UeXBlBG1SR0IQbVRoZW1lQ29sb3JJbmRleAxtQXV0b1VwZGF0ZWQJbU1vZGlmaWVkBAIAAAAAAB9BcGxvcmlzLkJhc2UuT2JqZWN0cy5MaW5lRm9ybWF0AwAAAAgICAEBAwAAAAnkAwAACgEAAAAAAAAA/////wABAQMFAAByAAAACgoAAAAAP2l+AAUAAAAAAAEEBQAAcgAAAAoKAQAAAP///wD/////AAAPBQUAAAEAAAAIkQAAAAEGBQAAcgAAAAoKAAAAAAAAAAANAAAAAAABBwUAAHIAAAAKCgAAAAAAAAAADQAAAAABBwgFAAAAAQAAAAQAAAAEHUFwbG9yaXMuQmFzZS5PYmplY3RzLlZhcmlhYmxlAwAAAAFWBQAAGgMAAAEAAAAAAAAAAVcFAAAaAwAAAAAAAAAAAAABWAUAABoDAAAAAAAAAAAAAAFZBQAAGgMAAAAAAAAAAAAADwkFAAABAAAACN8AAAAFCgUAABpBcGxvcmlzLkJhc2UuT2JqZWN0cy5Db2xvcgcAAAASRGF0YU9iamVjdCttUGFyZW50FURhdGFPYmplY3QrbUNvbnRhaW5lcgVtVHlwZQRtUkdCEG1UaGVtZUNvbG9ySW5kZXgMbUF1dG9VcGRhdGVkCW1Nb2RpZmllZAQCAAAAAAAfQXBsb3Jpcy5CYXNlLk9iamVjdHMuTGluZUZvcm1hdAMAAAAICAgBAQMAAAAJAwQAAAoAAAAA////AA4AAAAAAAULBQAAGkFwbG9yaXMuQmFzZS5PYmplY3RzLkNvbG9yBwAAABJEYXRhT2JqZWN0K21QYXJlbnQVRGF0YU9iamVjdCttQ29udGFpbmVyBW1UeXBlBG1SR0IQbVRoZW1lQ29sb3JJbmRleAxtQXV0b1VwZGF0ZWQJbU1vZGlmaWVkBAIAAAAAAB9BcGxvcmlzLkJhc2UuT2JqZWN0cy5MaW5lRm9ybWF0AwAAAAgICAEBAwAAAAkDBAAACgEAAAAAAAAA/////wABAQwFAAByAAAACgoAAAAAP2l+AAUAAAAAAAENBQAAcgAAAAoKAQAAAP///wD/////AAAPDgUAAAEAAAAIvAAAAAEPBQAAcgAAAAoKAAAAAAAAAAANAAAAAAABEAUAAHIAAAAKCgAAAAAAAAAADQAAAAABBxEFAAAAAQAAAAQAAAAEHUFwbG9yaXMuQmFzZS5PYmplY3RzLlZhcmlhYmxlAwAAAAFaBQAAGgMAAAEAAAAAAAAAAVsFAAAaAwAAAAAAAAAAAAABXAUAABoDAAAAAAAAAAAAAAFdBQAAGgMAAAAAAAAAAAAADxIFAAABAAAACNoAAAAFEwUAABpBcGxvcmlzLkJhc2UuT2JqZWN0cy5Db2xvcgcAAAASRGF0YU9iamVjdCttUGFyZW50FURhdGFPYmplY3QrbUNvbnRhaW5lcgVtVHlwZQRtUkdCEG1UaGVtZUNvbG9ySW5kZXgMbUF1dG9VcGRhdGVkCW1Nb2RpZmllZAQCAAAAAAAfQXBsb3Jpcy5CYXNlLk9iamVjdHMuTGluZUZvcm1hdAMAAAAICAgBAQMAAAAJIgQAAAoAAAAA////AA4AAAAAAAUUBQAAGkFwbG9yaXMuQmFzZS5PYmplY3RzLkNvbG9yBwAAABJEYXRhT2JqZWN0K21QYXJlbnQVRGF0YU9iamVjdCttQ29udGFpbmVyBW1UeXBlBG1SR0IQbVRoZW1lQ29sb3JJbmRleAxtQXV0b1VwZGF0ZWQJbU1vZGlmaWVkBAIAAAAAAB9BcGxvcmlzLkJhc2UuT2JqZWN0cy5MaW5lRm9ybWF0AwAAAAgICAEBAwAAAAkiBAAACgEAAAAAAAAA/////wABARUFAAByAAAACgoAAAAAP2l+AAUAAAAAAAEWBQAAcgAAAAoKAQAAAP///wD/////AAAPFwUAAAEAAAAIkAAAAAEYBQAAcgAAAAoKAAAAAAAAAAANAAAAAAABGQUAAHIAAAAKCgAAAAAAAAAADQAAAAABBxoFAAAAAQAAAAQAAAAEHUFwbG9yaXMuQmFzZS5PYmplY3RzLlZhcmlhYmxlAwAAAAFeBQAAGgMAAAEAAAAAAAAAAV8FAAAaAwAAAAAAAAAAAAABYAUAABoDAAAAAAAAAAAAAAFhBQAAGgMAAAAAAAAAAAAADxsFAAABAAAACNwAAAAFHAUAABpBcGxvcmlzLkJhc2UuT2JqZWN0cy5Db2xvcgcAAAASRGF0YU9iamVjdCttUGFyZW50FURhdGFPYmplY3QrbUNvbnRhaW5lcgVtVHlwZQRtUkdCEG1UaGVtZUNvbG9ySW5kZXgMbUF1dG9VcGRhdGVkCW1Nb2RpZmllZAQCAAAAAAAfQXBsb3Jpcy5CYXNlLk9iamVjdHMuTGluZUZvcm1hdAMAAAAICAgBAQMAAAAJQQQAAAoAAAAA////AA4AAAAAAAUdBQAAGkFwbG9yaXMuQmFzZS5PYmplY3RzLkNvbG9yBwAAABJEYXRhT2JqZWN0K21QYXJlbnQVRGF0YU9iamVjdCttQ29udGFpbmVyBW1UeXBlBG1SR0IQbVRoZW1lQ29sb3JJbmRleAxtQXV0b1VwZGF0ZWQJbU1vZGlmaWVkBAIAAAAAAB9BcGxvcmlzLkJhc2UuT2JqZWN0cy5MaW5lRm9ybWF0AwAAAAgICAEBAwAAAAlBBAAACgEAAAAAAAAA/////wABAR4FAAByAAAACgoAAAAAP2l+AAUAAAAAAAEfBQAAcgAAAAoKAQAAAP///wD/////AAAPIAUAAAEAAAAIwAAAAAEhBQAAcgAAAAoKAAAAAAAAAAANAAAAAAABIgUAAHIAAAAKCgAAAAAAAAAADQAAAAABByMFAAAAAQAAAAQAAAAEHUFwbG9yaXMuQmFzZS5PYmplY3RzLlZhcmlhYmxlAwAAAAFiBQAAGgMAAAEAAAAAAAAAAWMFAAAaAwAAAAAAAAAAAAABZAUAABoDAAAAAAAAAAAAAAFlBQAAGgMAAAAAAAAAAAAADyQFAAABAAAACNgAAAAFJQUAABpBcGxvcmlzLkJhc2UuT2JqZWN0cy5Db2xvcgcAAAASRGF0YU9iamVjdCttUGFyZW50FURhdGFPYmplY3QrbUNvbnRhaW5lcgVtVHlwZQRtUkdCEG1UaGVtZUNvbG9ySW5kZXgMbUF1dG9VcGRhdGVkCW1Nb2RpZmllZAQCAAAAAAAfQXBsb3Jpcy5CYXNlLk9iamVjdHMuTGluZUZvcm1hdAMAAAAICAgBAQMAAAAJYAQAAAoAAAAA////AA4AAAAAAAUmBQAAGkFwbG9yaXMuQmFzZS5PYmplY3RzLkNvbG9yBwAAABJEYXRhT2JqZWN0K21QYXJlbnQVRGF0YU9iamVjdCttQ29udGFpbmVyBW1UeXBlBG1SR0IQbVRoZW1lQ29sb3JJbmRleAxtQXV0b1VwZGF0ZWQJbU1vZGlmaWVkBAIAAAAAAB9BcGxvcmlzLkJhc2UuT2JqZWN0cy5MaW5lRm9ybWF0AwAAAAgICAEBAwAAAAlgBAAACgEAAAAAAAAA/////wABAScFAAByAAAACgoAAAAAP2l+AAUAAAAAAAEoBQAAcgAAAAoKAQAAAP///wD/////AAAPKQUAAAEAAAAIkgAAAAEqBQAAcgAAAAoKAAAAAAAAAAANAAAAAAABKwUAAHIAAAAKCgAAAAAAAAAADQAAAAABBywFAAAAAQAAAAQAAAAEHUFwbG9yaXMuQmFzZS5PYmplY3RzLlZhcmlhYmxlAwAAAAFmBQAAGgMAAAEAAAAAAAAAAWcFAAAaAwAAAAAAAAAAAAABaAUAABoDAAAAAAAAAAAAAAFpBQAAGgMAAAAAAAAAAAAADy0FAAABAAAACNkAAAAFLgUAABpBcGxvcmlzLkJhc2UuT2JqZWN0cy5Db2xvcgcAAAASRGF0YU9iamVjdCttUGFyZW50FURhdGFPYmplY3QrbUNvbnRhaW5lcgVtVHlwZQRtUkdCEG1UaGVtZUNvbG9ySW5kZXgMbUF1dG9VcGRhdGVkCW1Nb2RpZmllZAQCAAAAAAAfQXBsb3Jpcy5CYXNlLk9iamVjdHMuTGluZUZvcm1hdAMAAAAICAgBAQMAAAAJfwQAAAoAAAAA////AA4AAAAAAAUvBQAAGkFwbG9yaXMuQmFzZS5PYmplY3RzLkNvbG9yBwAAABJEYXRhT2JqZWN0K21QYXJlbnQVRGF0YU9iamVjdCttQ29udGFpbmVyBW1UeXBlBG1SR0IQbVRoZW1lQ29sb3JJbmRleAxtQXV0b1VwZGF0ZWQJbU1vZGlmaWVkBAIAAAAAAB9BcGxvcmlzLkJhc2UuT2JqZWN0cy5MaW5lRm9ybWF0AwAAAAgICAEBAwAAAAl/BAAACgEAAAAAAAAA/////wABATAFAAByAAAACgoAAAAAP2l+AAUAAAAAAAExBQAAcgAAAAoKAQAAAP///wD/////AAAPMgUAAAEAAAAIjwAAAAEzBQAAcgAAAAoKAAAAAAAAAAANAAAAAAABNAUAAHIAAAAKCgAAAAAAAAAADQAAAAABBzUFAAAAAQAAAAQAAAAEHUFwbG9yaXMuQmFzZS5PYmplY3RzLlZhcmlhYmxlAwAAAAFqBQAAGgMAAAEAAAAAAAAAAWsFAAAaAwAAAAAAAAAAAAABbAUAABoDAAAAAAAAAAAAAAFtBQAAGgMAAAAAAAAAAAAADzYFAAABAAAACNsAAAAFNwUAABpBcGxvcmlzLkJhc2UuT2JqZWN0cy5Db2xvcgcAAAASRGF0YU9iamVjdCttUGFyZW50FURhdGFPYmplY3QrbUNvbnRhaW5lcgVtVHlwZQRtUkdCEG1UaGVtZUNvbG9ySW5kZXgMbUF1dG9VcGRhdGVkCW1Nb2RpZmllZAQCAAAAAAAfQXBsb3Jpcy5CYXNlLk9iamVjdHMuTGluZUZvcm1hdAMAAAAICAgBAQMAAAAJngQAAAoAAAAA////AA4AAAAAAAU4BQAAGkFwbG9yaXMuQmFzZS5PYmplY3RzLkNvbG9yBwAAABJEYXRhT2JqZWN0K21QYXJlbnQVRGF0YU9iamVjdCttQ29udGFpbmVyBW1UeXBlBG1SR0IQbVRoZW1lQ29sb3JJbmRleAxtQXV0b1VwZGF0ZWQJbU1vZGlmaWVkBAIAAAAAAB9BcGxvcmlzLkJhc2UuT2JqZWN0cy5MaW5lRm9ybWF0AwAAAAgICAEBAwAAAAmeBAAACgEAAAAAAAAA/////wABATkFAAByAAAACgoAAAAAP2l+AAUAAAAAAAE6BQAAcgAAAAoKAQAAAP///wD/////AAAPOwUAAAEAAAAIvQAAAAE8BQAAcgAAAAoKAAAAAAAAAAANAAAAAAABPQUAAHIAAAAKCgAAAAAAAAAADQAAAAABBz4FAAAAAQAAAAQAAAAEHUFwbG9yaXMuQmFzZS5PYmplY3RzLlZhcmlhYmxlAwAAAAFuBQAAGgMAAAEAAAAAAAAAAW8FAAAaAwAAAAAAAAAAAAABcAUAABoDAAAAAAAAAAAAAAFxBQAAGgMAAAAAAAAAAAAADz8FAAABAAAACN4AAAAFQAUAABpBcGxvcmlzLkJhc2UuT2JqZWN0cy5Db2xvcgcAAAASRGF0YU9iamVjdCttUGFyZW50FURhdGFPYmplY3QrbUNvbnRhaW5lcgVtVHlwZQRtUkdCEG1UaGVtZUNvbG9ySW5kZXgMbUF1dG9VcGRhdGVkCW1Nb2RpZmllZAQCAAAAAAAfQXBsb3Jpcy5CYXNlLk9iamVjdHMuTGluZUZvcm1hdAMAAAAICAgBAQMAAAAJvQQAAAoAAAAA////AA4AAAAAAAVBBQAAGkFwbG9yaXMuQmFzZS5PYmplY3RzLkNvbG9yBwAAABJEYXRhT2JqZWN0K21QYXJlbnQVRGF0YU9iamVjdCttQ29udGFpbmVyBW1UeXBlBG1SR0IQbVRoZW1lQ29sb3JJbmRleAxtQXV0b1VwZGF0ZWQJbU1vZGlmaWVkBAIAAAAAAB9BcGxvcmlzLkJhc2UuT2JqZWN0cy5MaW5lRm9ybWF0AwAAAAgICAEBAwAAAAm9BAAACgEAAAAAAAAA/////wABAUIFAAByAAAACgoAAAAAP2l+AAUAAAAAAAFDBQAAcgAAAAoKAQAAAP///wD/////AAAPRAUAAAEAAAAIwQAAAAFFBQAAcgAAAAoKAAAAAAAAAAANAAAAAAABRgUAAHIAAAAKCgAAAAAAAAAADQAAAAABB0cFAAAAAQAAAAQAAAAEHUFwbG9yaXMuQmFzZS5PYmplY3RzLlZhcmlhYmxlAwAAAAFyBQAAGgMAAAEAAAAAAAAAAXMFAAAaAwAAAAAAAAAAAAABdAUAABoDAAAAAAAAAAAAAAF1BQAAGgMAAAAAAAAAAAAAD0gFAAABAAAACN0AAAAFSQUAABpBcGxvcmlzLkJhc2UuT2JqZWN0cy5Db2xvcgcAAAASRGF0YU9iamVjdCttUGFyZW50FURhdGFPYmplY3QrbUNvbnRhaW5lcgVtVHlwZQRtUkdCEG1UaGVtZUNvbG9ySW5kZXgMbUF1dG9VcGRhdGVkCW1Nb2RpZmllZAQCAAAAAAAfQXBsb3Jpcy5CYXNlLk9iamVjdHMuTGluZUZvcm1hdAMAAAAICAgBAQMAAAAJ3AQAAAoAAAAA////AA4AAAAAAAVKBQAAGkFwbG9yaXMuQmFzZS5PYmplY3RzLkNvbG9yBwAAABJEYXRhT2JqZWN0K21QYXJlbnQVRGF0YU9iamVjdCttQ29udGFpbmVyBW1UeXBlBG1SR0IQbVRoZW1lQ29sb3JJbmRleAxtQXV0b1VwZGF0ZWQJbU1vZGlmaWVkBAIAAAAAAB9BcGxvcmlzLkJhc2UuT2JqZWN0cy5MaW5lRm9ybWF0AwAAAAgICAEBAwAAAAncBAAACgEAAAAAAAAA/////wABAUsFAAByAAAACgoAAAAAP2l+AAUAAAAAAAFMBQAAcgAAAAoKAQAAAP///wD/////AAAPTQUAAAEAAAAIvwAAAAs="/>
</p:tagLst>
</file>

<file path=ppt/tags/tag162.xml><?xml version="1.0" encoding="utf-8"?>
<p:tagLst xmlns:a="http://schemas.openxmlformats.org/drawingml/2006/main" xmlns:r="http://schemas.openxmlformats.org/officeDocument/2006/relationships" xmlns:p="http://schemas.openxmlformats.org/presentationml/2006/main">
  <p:tag name="APLORISTAG" val="M8ejm1SFH7rYyU1s2.189"/>
</p:tagLst>
</file>

<file path=ppt/tags/tag163.xml><?xml version="1.0" encoding="utf-8"?>
<p:tagLst xmlns:a="http://schemas.openxmlformats.org/drawingml/2006/main" xmlns:r="http://schemas.openxmlformats.org/officeDocument/2006/relationships" xmlns:p="http://schemas.openxmlformats.org/presentationml/2006/main">
  <p:tag name="APLORISTAG" val="M8ejm1SFH7rYyU1s2.146"/>
</p:tagLst>
</file>

<file path=ppt/tags/tag164.xml><?xml version="1.0" encoding="utf-8"?>
<p:tagLst xmlns:a="http://schemas.openxmlformats.org/drawingml/2006/main" xmlns:r="http://schemas.openxmlformats.org/officeDocument/2006/relationships" xmlns:p="http://schemas.openxmlformats.org/presentationml/2006/main">
  <p:tag name="APLORISTAG" val="M8ejm1SFH7rYyU1s2.190"/>
</p:tagLst>
</file>

<file path=ppt/tags/tag165.xml><?xml version="1.0" encoding="utf-8"?>
<p:tagLst xmlns:a="http://schemas.openxmlformats.org/drawingml/2006/main" xmlns:r="http://schemas.openxmlformats.org/officeDocument/2006/relationships" xmlns:p="http://schemas.openxmlformats.org/presentationml/2006/main">
  <p:tag name="APLORISTAG" val="M8ejm1SFH7rYyU1s2.191"/>
</p:tagLst>
</file>

<file path=ppt/tags/tag166.xml><?xml version="1.0" encoding="utf-8"?>
<p:tagLst xmlns:a="http://schemas.openxmlformats.org/drawingml/2006/main" xmlns:r="http://schemas.openxmlformats.org/officeDocument/2006/relationships" xmlns:p="http://schemas.openxmlformats.org/presentationml/2006/main">
  <p:tag name="APLORISTAG" val="M8ejm1SFH7rYyU1s2.192"/>
</p:tagLst>
</file>

<file path=ppt/tags/tag167.xml><?xml version="1.0" encoding="utf-8"?>
<p:tagLst xmlns:a="http://schemas.openxmlformats.org/drawingml/2006/main" xmlns:r="http://schemas.openxmlformats.org/officeDocument/2006/relationships" xmlns:p="http://schemas.openxmlformats.org/presentationml/2006/main">
  <p:tag name="APLORISTAG" val="M8ejm1SFH7rYyU1s2.193"/>
</p:tagLst>
</file>

<file path=ppt/tags/tag168.xml><?xml version="1.0" encoding="utf-8"?>
<p:tagLst xmlns:a="http://schemas.openxmlformats.org/drawingml/2006/main" xmlns:r="http://schemas.openxmlformats.org/officeDocument/2006/relationships" xmlns:p="http://schemas.openxmlformats.org/presentationml/2006/main">
  <p:tag name="APLORISTAG" val="M8ejm1SFH7rYyU1s2.145"/>
</p:tagLst>
</file>

<file path=ppt/tags/tag169.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3////9/////f////3//ARUAAAAUAAAA//9/////f////3////9//wAAAAAABRYAAAAsQXBsb3Jpcy5DaGFydC5BeGlzQnJlYWsrQXhpc0JyZWFrRGlzcGxheU1vZGUBAAAAB3ZhbHVlX18ACAIAAAABAAAAAQEBCgoJFwAAAAoKAAAAAAAJGAAAAAoJGQAAAAAAAAAKBRoAAAAZQXBsb3Jpcy5DaGFydC5PcmllbnRhdGlvbgEAAAAHdmFsdWVfXwAIAgAAAAEAAAAJGwAAAAEcAAAAFAAAAOqRF0Kk13dBvymcQ8rykEMABB0AAAALU3lzdGVtLkd1aWQLAAAAAl9hAl9iAl9jAl9kAl9lAl9mAl9nAl9oAl9pAl9qAl9rAAAAAAAAAAAAAAAIBwcCAgICAgICAgAAAAAAAAAAAAAAAAAAAAAACgoJHgAAAAAKCgoBAAAAAAAAAP////8AAAEfAAAAFAAAALroUkIuumhBqQiNQ3TRSUOoIL9ATrclQ/yLtEPRRbFDBSAAAAAVU3lzdGVtLkRyYXdpbmcuUG9pbnRGAgAAAAF4AXkAAAsLBAAAAB24mENcW8BDBiEAAAAQSjl5SEltbnNicm9rVWtkcg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wLjAuMTQ4NiwgQ3VsdHVyZT1uZXV0cmFsLCBQdWJsaWNLZXlUb2tlbj0xNmZjMTNhMjI2YzBlOTUxXV0DAAAAmwFBcGxvcmlzLkJhc2UuT2JqZWN0cy5EYXRhT2JqZWN0Q29sbGVjdGlvbmAxW1tBcGxvcmlzLkNoYXJ0LkF4aXNCcmVhaywgQXBsb3Jpcy5DaGFydCwgVmVyc2lvbj00LjAuMC4xNDg2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AuMC4xNDg2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SYAAAAWQXBsb3Jpcy5DaGFydC5BeGlzVHlwZQEAAAAHdmFsdWVfXwAIAgAAAAEAAACamRk/AAAACgkBAAAACScAAAAJKAAAAAEAAAAAAAAAAAEAAAAAAADwPwGamZmZmZm5PwAAACBBAAEJKQAAAAoJKgAAAAkrAAAACSwAAAABLQAAACAAAADqkRdCh7GYQwEuAAAAIAAAAPwbr0OHsZhDCS8AAAAJMAAAAAkxAAAACTIAAAAAAAAAAAAAAAAAAAAJMwAAAAAAAAAAAAk0AAAACQEAAAAJAQAAAAk1AAAAAQcAAAAGAAAACQEAAAABNgAAACYAAAAAAAAAzcxMPwAAAAgBAAkBAAAACTcAAAAJOAAAAAEAAAAAAAAAAAEAAAAAAADgPwCamZmZmZm5PwAAACBBAAEJOQAAAAoJOgAAAAk7AAAACTwAAAABPQAAACAAAADqkRdCh7GYQwE+AAAAIAAAAOqRF0Kk13dBCT8AAAAJQAAAAAlBAAAACUIAAAAAAAAAAAAAAAAAAAAJQwAAAAAAAAAAAAlEAAAACQEAAAAJAQAAAAlFAAAABAgAAACoAVN5c3RlbS5Db2xsZWN0aW9ucy5HZW5lcmljLkxpc3RgMVtbQXBsb3Jpcy5DaGFydC5Db2x1bW5PcmllbnRlZENoYXJ0K1VudXNlZFNlcmllcywgQXBsb3Jpcy5DaGFydCwgVmVyc2lvbj00LjAuMC4xNDg2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AuMC4xNDg2LCBDdWx0dXJlPW5ldXRyYWwsIFB1YmxpY0tleVRva2VuPTE2ZmMxM2EyMjZjMGU5NTFdXQMAAACXAVN5c3RlbS5Db2xsZWN0aW9ucy5HZW5lcmljLkxpc3RgMVtbQXBsb3Jpcy5DaGFydC5DaGFydERhdGFTZXJpZXM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RwAAAAlIAAAACQEAAAAJAQAAAAlJAAAABQoAAACmAUFwbG9yaXMuQmFzZS5PYmplY3RzLkRhdGFPYmplY3RDb2xsZWN0aW9uYDFbW0FwbG9yaXMuQ2hhcnQuQW5ub3RhdGlvbk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C4wLjE0ODYsIEN1bHR1cmU9bmV1dHJhbCwgUHVibGljS2V5VG9rZW49MTZmYzEzYTIyNmMwZTk1MV1dAwAAAJwBU3lzdGVtLkNvbGxlY3Rpb25zLkdlbmVyaWMuTGlzdGAxW1tBcGxvcmlzLkNoYXJ0LkFubm90YXRpb25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oAAAAJSwAAAAkBAAAACQEAAAAJTAAAAAULAAAAoQFBcGxvcmlzLkJhc2UuT2JqZWN0cy5EYXRhT2JqZWN0Q29sbGVjdGlvbmAxW1tBcGxvcmlzLkNoYXJ0LkFubm90YXRpb25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C4wLjE0ODYsIEN1bHR1cmU9bmV1dHJhbCwgUHVibGljS2V5VG9rZW49MTZmYzEzYTIyNmMwZTk1MV1dAwAAAJcBU3lzdGVtLkNvbGxlY3Rpb25zLkdlbmVyaWMuTGlzdGAxW1tBcGxvcmlzLkNoYXJ0LkFubm90YXRpb25Hcm91c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NAAAACU4AAAAJAQAAAAkBAAAACU8AAAAFDAAAAKABQXBsb3Jpcy5CYXNlLk9iamVjdHMuRGF0YU9iamVjdENvbGxlY3Rpb25gMVtbQXBsb3Jpcy5DaGFydC5DaGFydERhdGF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wLjAuMTQ4NiwgQ3VsdHVyZT1uZXV0cmFsLCBQdWJsaWNLZXlUb2tlbj0xNmZjMTNhMjI2YzBlOTUxXV0DAAAAlgFTeXN0ZW0uQ29sbGVjdGlvbnMuR2VuZXJpYy5MaXN0YDFbW0FwbG9yaXMuQ2hhcnQuQ2hhcnREYXRh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UAAAAAlRAAAACQEAAAAJAQAAAAlSAAAABQ0AAACaAUFwbG9yaXMuQmFzZS5PYmplY3RzLkRhdGFPYmplY3RDb2xsZWN0aW9uYDFbW0FwbG9yaXMuQ2hhcnQuRGVsdGFCYXI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C4wLjE0ODYsIEN1bHR1cmU9bmV1dHJhbCwgUHVibGljS2V5VG9rZW49MTZmYzEzYTIyNmMwZTk1MV1dAwAAAJABU3lzdGVtLkNvbGxlY3Rpb25zLkdlbmVyaWMuTGlzdGAxW1tBcGxvcmlzLkNoYXJ0LkRlbHRhQmF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MAAAAJVAAAAAkBAAAACQEAAAAJVQAAAAUOAAAAnQFBcGxvcmlzLkJhc2UuT2JqZWN0cy5EYXRhT2JqZWN0Q29sbGVjdGlvbmAxW1tBcGxvcmlzLkNoYXJ0LkRlbHRhQnJpZGdlLCBBcGxvcmlzLkNoYXJ0LCBWZXJzaW9uPTQuMC4wLjE0ODY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AuMC4xNDg2LCBDdWx0dXJlPW5ldXRyYWwsIFB1YmxpY0tleVRva2VuPTE2ZmMxM2EyMjZjMGU5NTFdXQMAAACTAVN5c3RlbS5Db2xsZWN0aW9ucy5HZW5lcmljLkxpc3RgMVtbQXBsb3Jpcy5DaGFydC5EZWx0YUJyaWRn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WAAAACVcAAAAJAQAAAAkBAAAACVgAAAAFDwAAAJ0BQXBsb3Jpcy5CYXNlLk9iamVjdHMuRGF0YU9iamVjdENvbGxlY3Rpb25gMVtbQXBsb3Jpcy5DaGFydC5Hcm93dGhBcnJvdy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wLjAuMTQ4NiwgQ3VsdHVyZT1uZXV0cmFsLCBQdWJsaWNLZXlUb2tlbj0xNmZjMTNhMjI2YzBlOTUxXV0DAAAAkwFTeXN0ZW0uQ29sbGVjdGlvbnMuR2VuZXJpYy5MaXN0YDFbW0FwbG9yaXMuQ2hhcnQuR3Jvd3RoQXJyb3c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WQAAAAlaAAAACQEAAAAJAQAAAAlbAAAABRAAAACkAUFwbG9yaXMuQmFzZS5PYmplY3RzLkRhdGFPYmplY3RDb2xsZWN0aW9uYDFbW0FwbG9yaXMuQ2hhcnQuV2F0ZXJmYWxs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wLjAuMTQ4NiwgQ3VsdHVyZT1uZXV0cmFsLCBQdWJsaWNLZXlUb2tlbj0xNmZjMTNhMjI2YzBlOTUxXV0DAAAAmgFTeXN0ZW0uQ29sbGVjdGlvbnMuR2VuZXJpYy5MaXN0YDFbW0FwbG9yaXMuQ2hhcnQuV2F0ZXJmYWxsQ29ubmVjdG9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wAAAAJXQAAAAkBAAAACQEAAAAJXgAAAAURAAAAogFBcGxvcmlzLkJhc2UuT2JqZWN0cy5EYXRhT2JqZWN0Q29sbGVjdGlvbmAxW1tBcGxvcmlzLkNoYXJ0LkVsZW1lbnRDb25uZWN0b3I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wLjAuMTQ4NiwgQ3VsdHVyZT1uZXV0cmFsLCBQdWJsaWNLZXlUb2tlbj0xNmZjMTNhMjI2YzBlOTUxXV0DAAAAmAFTeXN0ZW0uQ29sbGVjdGlvbnMuR2VuZXJpYy5MaXN0YDFbW0FwbG9yaXMuQ2hhcnQuRWxlbWVud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gAAAAgBAAAAAgAAAAMAAAAEAAAABQAAAAYAAAAFGwAAABpBcGxvcmlzLkJhc2UuVUkuVmlzdWFsUmVjdBQAAAALbVN0YXJ0UG9pbnQJbUVuZFBvaW50C21MaW5lRm9ybWF0C21GaWxsRm9ybWF0CW1Sb3RhdGlvbhJtUmVjdGFuZ2xlUHJvdmlkZXIMbVBhaW50T2Zmc2V0Em1QYWludFNpemVPdmVycmlkZQ5tRXh0cmFSb3RhdGlvbg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QEBAAEAAAAAAcCAAADABVTeXN0ZW0uRHJhd2luZy5Qb2ludEYEAAAAFVN5c3RlbS5EcmF3aW5nLlBvaW50RgQAAAAfQXBsb3Jpcy5CYXNlLk9iamVjdHMuTGluZUZvcm1hdAMAAAAfQXBsb3Jpcy5CYXNlLk9iamVjdHMuRmlsbEZvcm1hdAMAAAALKkFwbG9yaXMuQmFzZS5VSS5JUmVjdGFuZ2xlUG9zaXRpb25Qcm92aWRlcgMAAAAUU3lzdGVtLkRyYXdpbmcuU2l6ZUYEAAAAFFN5c3RlbS5EcmF3aW5nLlNpemVGBAAAAAsZU3lzdGVtLkRyYXdpbmcuUmVjdGFuZ2xlRgQAAAAICAEBCAEBD1N5c3RlbS5JbnRQdHJbXQEDAAAAAWgAAAAgAAAA6pEXQqTXd0EBaQAAACAAAAD8G69Dh7GYQwlqAAAACWsAAAAAAAAACgVsAAAAFFN5c3RlbS5EcmF3aW5nLlNpemVGAgAAAAV3aWR0aAZoZWlnaHQAAAsLBAAAAAAAAAAAAAAAAW0AAABsAAAAAAAAAAAAAAAAAAAAAW4AAAAUAAAAAAAAAAAAAAAAAAAAAAAAABQAAAD/////AQEKCW8AAAABAAoADx4AAAAoKgAAAlBLAwQUAAYACAAAACEAkleNNXkBAABwBQ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RLTsMwEN0jcYfIW5S4ZYEQatoFhSVUohzA2JMmqmNbHvd3eyZuQVCFhKrdxErs95t4ZjTZ1jpZg8fKmpwNswFLwEirKrPI2fv8Ob1nCQZhlNDWQM52gGwyvr4azXcOMCG0wZyVIbgHzlGWUAvMrANDO4X1tQj06hfcCbkUC+C3g8Edl9YEMCENDQcbj6ZQiJUOydOWPu+dEJwlj/tzjVTOhHO6kiKQUd7s8lbcuhO3NurIXGqLopKgrFzVZCkj/NSLDcX/Q8CDxg5nLQqH6Bkho3ssK4c3hwivVHtfKUhmwocXUVNQvtV8Y/3yw9pl1l2HFrWjPOg8CIUlQKh1FtesFpX5h348jDwuwwsbafJF4h4fgS4U8Pg830Kk6RHEsNOAF067J+1TLoUH9RY83b2LG/jJ3eND2rrpBDy/3r/v3hdvlzy14cxbhzQhPJz+E746rUGnjojAhwo6e+1bkcbL6YJHzQbN/FKgWrR5nJfjTwA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IyWxW7zAAAAugI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Sz2rDMAzG74O9g9F9cdKNMUadXsag1y17AGMrcWhiG0v7k7efyaBNoXSXXAyfhL/vJ6Ht7mccxBcm6oNXUBUlCPQm2N53Cj6a17snEMTaWz0EjwomJNjVtzfbNxw050/k+kgiu3hS4Jjjs5RkHI6aihDR504b0qg5y9TJqM1Bdyg3Zfko09ID6jNPsbcK0t7eg2immJP/9w5t2xt8CeZzRM8XIiTxNOQBRKNTh6zgTxeZEeTl+IdV451OaN855e0uKZblazDVmjDfIR3IIfJpHccSyblTXYPZrAnD+WDwBDJLOb9HBnl2cfUvAAAA//8DAFBLAwQUAAYACAAAACEAszF/cr4BAADPAgAADwAAAHhsL3dvcmtib29rLnhtbIxSS4/TMBC+I/EfLN9Tu05SqirJqvQhKiG0B9g9G8dprPUjsh2aFeK/M0k2wGovnMbz8DfzfTPF3WA0+iF9UM6WeL2iGEkrXK3stcTfvp6TLUYhcltz7aws8bMM+K56/664Of/03bknBAA2lLiNsdsREkQrDQ8r10kLmcZ5wyO4/kpC5yWvQytlNJowSjfEcGXxjLDz/4PhmkYJeXSiN9LGGcRLzSOMH1rVBVwVjdLyYWaEeNd94QbmHjRGmod4qlWUdYlzcN1Nvgr4vvvYKw1ZtqE0w6T6w/LeI95Hd3AGSIRwr0Ts4VFiOlaNOjwoeQt/P4wuGh6Vrd2txBvAw+h5cRll4N6m5KOqYwvKb0GQJfZJqmsbIcjSbGpA/ukwCQidJovsxG7faedVOPLIYV2jwhdgscbI7xQ8/KVej3OS5a/gWgCl0UyFGaUUqoWzovcelD1A5oWcHOLnEKsCLOq9KvHPDzlLT/kxTVh+TpN9fqLJepOyZJOdWZ4dGMty9mtZqxne7NUo4V1wTVwJZ8i8UjgFQeQg5HQZ2/kyqsIMu70X7eWIzppfQW828YBZgM0yGVlusfoNAAD//wMAUEsDBBQABgAIAAAAIQCaHuLi9QAAAIkBAAAUAAAAeGwvc2hhcmVkU3RyaW5ncy54bWx0kNFKAzEQRd8L+w8h4KPN6oOKZFOkIBREhdYPCJtpN7CZWTNJ0L832yLIgo8z99yZO6M3X2EUBSJ7wk7erFspAHtyHk+d/Dg8Xz9IwcmisyMhdPIbWG5Ms9LMSVQvcieHlKZHpbgfIFhe0wRYlSPFYFMt40nxFME6HgBSGNVt296pYD1K0VPG1Ml7KTL6zwzb39po9kYn8wIFRkFHscNCY4EAmLRKRqtZvzBXy8aWkHOAOPua1Q4vUeqFS/CVzvq/k9/mzwBwszqADUv3kyueZ3Gfsqu5eAm8RyrenYk8TRRT3baHWHwPf1hVX2l+AA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2KlbZQGAACnGwAAEwAAAHhsL3RoZW1lL3RoZW1lMS54bWzsWU9v2zYUvw/YdyB0b20nthsHdYrYsZutTRvEboceaZmWWFOiQNJJfRva44ABw7phlwG77TBsK9ACu3SfJluHrQP6FfZISrIYy0vSBhvW1YdEIn98/9/jI3X12oOIoUMiJOVx26tdrnqIxD4f0zhoe3eG/UsbHpIKx2PMeEza3pxI79rW++9dxZsqJBFBsD6Wm7jthUolm5WK9GEYy8s8ITHMTbiIsIJXEVTGAh8B3YhV1qrVZiXCNPZQjCMge3syoT5BQ03S28qI9xi8xkrqAZ+JgSZNnBUGO57WNELOZZcJdIhZ2wM+Y340JA+UhxiWCibaXtX8vMrW1QreTBcxtWJtYV3f/NJ16YLxdM3wFMEoZ1rr11tXdnL6BsDUMq7X63V7tZyeAWDfB02tLEWa9f5GrZPRLIDs4zLtbrVRrbv4Av31JZlbnU6n0UplsUQNyD7Wl/Ab1WZ9e83BG5DFN5bw9c52t9t08AZk8c0lfP9Kq1l38QYUMhpPl9Daof1+Sj2HTDjbLYVvAHyjmsIXKIiGPLo0iwmP1apYi/B9LvoA0ECGFY2Rmidkgn2I4i6ORoJizQBvElyYsUO+XBrSvJD0BU1U2/swwZARC3qvnn//6vlT9Or5k+OHz44f/nT86NHxwx8tLWfhLo6D4sKX337259cfoz+efvPy8RfleFnE//rDJ7/8/Hk5EDJoIdGLL5/89uzJi68+/f27xyXwbYFHRfiQRkSiW+QIHfAIdDOGcSUnI3G+FcMQU2cFDoF2CemeCh3grTlmZbgOcY13V0DxKANen913ZB2EYqZoCecbYeQA9zhnHS5KDXBD8ypYeDiLg3LmYlbEHWB8WMa7i2PHtb1ZAlUzC0rH9t2QOGLuMxwrHJCYKKTn+JSQEu3uUerYdY/6gks+UegeRR1MS00ypCMnkBaLdmkEfpmX6Qyudmyzdxd1OCvTeoccukhICMxKhB8S5pjxOp4pHJWRHOKIFQ1+E6uwTMjBXPhFXE8q8HRAGEe9MZGybM1tAfoWnH4DQ70qdfsem0cuUig6LaN5E3NeRO7waTfEUVKGHdA4LGI/kFMIUYz2uSqD73E3Q/Q7+AHHK919lxLH3acXgjs0cERaBIiemYkSX14n3InfwZxNMDFVBkq6U6kjGv9d2WYU6rbl8K5st71t2MTKkmf3RLFehfsPlugdPIv3CWTF8hb1rkK/q9DeW1+hV+XyxdflRSmGKq0bEttrm847Wtl4TyhjAzVn5KY0vbeEDWjch0G9zhw6SX4QS0J41JkMDBxcILBZgwRXH1EVDkKcQN9e8zSRQKakA4kSLuG8aIZLaWs89P7KnjYb+hxiK4fEao+P7fC6Hs6OGzkZI1VgzrQZo3VN4KzM1q+kREG312FW00KdmVvNiGaKosMtV1mb2JzLweS5ajCYWxM6GwT9EFi5Ccd+zRrOO5iRsba79VHmFuOFi3SRDPGYpD7Sei/7qGaclMXKkiJaDxsM+ux4itUK3Fqa7BtwO4uTiuzqK9hl3nsTL2URvPASUDuZjiwuJieL0VHbazXWGh7ycdL2JnBUhscoAa9L3UxiFsB9k6+EDftTk9lk+cKbrUwxNwlqcPth7b6ksFMHEiHVDpahDQ0zlYYAizUnK/9aA8x6UQqUVKOzSbG+AcHwr0kBdnRdSyYT4quiswsj2nb2NS2lfKaIGITjIzRiM3GAwf06VEGfMZVw42Eqgn6B6zltbTPlFuc06YqXYgZnxzFLQpyWW52iWSZbuClIuQzmrSAe6FYqu1Hu/KqYlL8gVYph/D9TRe8ncAWxPtYe8OF2WGCkM6XtcaFCDlUoCanfF9A4mNoB0QJXvDANQQV31Oa/IIf6v805S8OkNZwk1QENkKCwH6lQELIPZclE3ynEauneZUmylJCJqIK4MrFij8ghYUNdA5t6b/dQCKFuqklaBgzuZPy572kGjQLd5BTzzalk+d5rc+Cf7nxsMoNSbh02DU1m/1zEvD1Y7Kp2vVme7b1FRfTEos2qZ1kBzApbQStN+9cU4Zxbra1YSxqvNTLhwIvLGsNg3hAlcJGE9B/Y/6jwmf3goTfUIT+A2org+4UmBmEDUX3JNh5IF0g7OILGyQ7aYNKkrGnT1klbLdusL7jTzfmeMLaW7Cz+Pqex8+bMZefk4kUaO7WwY2s7ttLU4NmTKQpDk+wgYxxjvpQVP2bx0X1w9A58NpgxJU0wwacqgaGHHpg8gOS3HM3Srb8AAAD//wMAUEsDBBQABgAIAAAAIQBX7HV/dQUAAC1CAAANAAAAeGwvc3R5bGVzLnhtbOycS2/jNhCA7wX6HwQBPTqynn7A9qJJ1ugC20WApECvtETZRCjRkOTE3kX/e4ekZMmOkzgh0+2Bl0SkyOHw4wxF0UNNPm0zaj3goiQsn9ruRd+2cB6zhOTLqf3X3bw3tK2yQnmCKMvx1N7h0v40+/WXSVntKL5dYVxZICIvp/aqqtZjxynjFc5QecHWOIc7KSsyVEGyWDrlusAoKXmljDpevx85GSK5LSWMs/gcIRkq7jfrXsyyNarIglBS7YQs28ri8Zdlzgq0oKDq1g1Q3MgWiSfiMxIXrGRpdQHiHJamJMZPtRw5IwckzSb5JptnVWnFbJNXQGufZck7XxLIjALbkp2+Ygmo0b/o/2Y7s4lT155NUpa3QkLQkCs6vs/ZYz7nt6RkXmo2Kb9bD4hCjstlxIyywqoAMAgWOTnKsCxxhShZFIQXS1FG6E5mezxDjEldLiNASCgkW5B/F7xU3daI35VNkTzBWwzdGh61dodWLEO84JPGnK7cRuZH67/p6H+qrT5XVRes1xo7YvXekREgSyBMKN0bnQdGxzNmEzD/Chf5HBJWfX23W4Nh5OCpvLuOLPdK6WWBdq4XdiqIetDughUJzAxdc5dZswnFaQUtFGS54v8rtoa/C1ZV4EazSULQkuWIwqXT1KgvQGyMKb3ls8ff6V72wIdubdOOH8FExO2IuxS/hE7Wl1KgTEADB5VGbSXv2UoWWq/pbg7ChWiZAvlt6lJ0vE3/Tskyz3C3wk3BKhxXYtYUtnWgR0f55/U4Vt5Ugsm1Ge966N9Fz39l6L9tsgUu5uLB1A4y96M2pdME+APhtP1KU/yv9TF8YEp5wfsMH8NHZco39mPsx9jPxz1PjX8Z/zL+ZfwLXpjEy5tZP5v3i5fW8+b96+XnheFj+Kg8T439GPsx9vNx6zHjX8a/jH8Z//pZ7ztm/jHzj5l/zPxj5h8Zj2D2n1+eDw0fw0fleWHsx9jPOfbjdCPJZFxZJ6QseldEmbVNT4eWdaKz+OUz8TxN7TrGTIQUiWjA58LD3ixLSu7g4VGoqAlQs1asIN8heIrHjMYQsYZlqOc2PYqUq8NUXwuwq3G4J39paXJlKN0+VXf6pyh6eonyv1CtUeLw16omVxdD67FA6zu8hdhGYXcOH3nhKOAandjLw8jLvSNZPER2as8ZpewRJ9YfEFBaUJLfQ5SycAwXCC82hFYk534CAZcrkiSYx47zn2DeIAhC+/QIgtdTPYIiXYIgZl6LRp4u2J4u2J4u2J4u2J4u2L4u2L4u2L4u2L4u2L4u2IEu2IEu2IEu2IEu2IEu2KEu2KEu2KEu2KEu2KEu2JEu2JEu2PxAkpbHUaQLdqQL9kAX7MHbYD9ZFsE6qIMYuvfiquhJdTixpFYfXpmV2odTaEr1B4r1Ffl5ivw8RX5wfEqJn6fIz1Pk5yvy8xX5+Yr8fEV+viK/QJFfoMgvUOQXKPILFPmFivxCRX6hIr9QkV+oyC9S5Bcp8osU+UWK/CJFfoO38fvGjw7SZkvkcA0iTpYdb4Pc4IJvxjU1DlsTR2+Pa4jj9W4QDIa+63luwF8q5Q7MWcXhPG1dXJz/fk36CJaIUnpwahfnSJnIhYWgLB6dU5y/fsriw3OKD/bF/TOKD1wYeyl9wIu3m8Kw3ZVs2yPGYmAq/mkAcfh4vwEGw5fgFG1odbe/ObXb6z9xQjYZ4K9L3ZAHVgkRU7u9/spPQgMX0AA2376WcHQf/lubgkztH58vB6Prz3OvN+xfDnuBj8PeKLy87oXB1eX19XzU9/pX/0Av+HcUxvA1AIXvFIjvKcBerxuMSwpfMyjqztbK37Z5U7uTkOoLfqA2UGw64YixF995mP0LAAD//wMAUEsDBBQABgAIAAAAIQDkuBPUrgMAAG0JAAAYAAAAeGwvd29ya3NoZWV0cy9zaGVldDEueG1snFZdb+I4FH0faf9DlHfyTUIQMGqhaDvbaqrpTOfZOAasJnHWNgV2tf99ru0kTUg1QssDduzj43Nvjq8z+3wqcuuNcEFZObd9x7MtUmKW0XI3t398X48mtiUkKjOUs5LM7TMR9ufFH59mR8ZfxZ4QaQFDKeb2Xspq6roC70mBhMMqUsLMlvECSXjkO1dUnKBMLypyN/C82C0QLW3DMOXXcLDtlmKyYvhQkFIaEk5yJEG/2NNKNGyn7Cq+jKMjxNro6UhcmZmWz48G+gqKORNsKx3MCtdIG0aZumkvzgIPiD5IVoH466EaAXEFwW1oTuVZh2tbBZ7e70rG0SaHN3LyI4Q7KtGQ/nqdwLSYZRRyqwxhcbKd2zf+9DGw3cVMv7kXSo6i07ck2jyTnGBJMjCQbSljbBh7VcB7GPKAUWiAYkRY0jeyJHk+t+8S8Nbfeg/owgZuu0O33+y21lZ64tYGCbJk+U+ayT1sCZbNyBYdcvk+OHEmYeCFfjBuJ7+x45+E7vYSlkSQL5W2aXZeEYHBSUonKMAsh+3g3yqoOg+QbHQyYdW7xR1mIc/qDQBqQ4RcU0VtW/ggJCsadTWr4QtqPmiPNV/ohK3Smi+8mg+QWh+0DV861Hc9H+RF80Fb83UT2coziTIhQYL1EmjrJcHY8ePIi1Xu2yXXZiiu6aBtFfx/NjCYFpd22N6N0YrrxqPspNf470n9IAn6QLz7pEmcH4eT3ybP1z43NtNuXyGJFjPOjhbUK3CPqJCqpv5U7a/MGgVwgLCavVHTGgTDAkbfFt7MfYOzgmvErUFA4ltE1Ecsh4i4j1gNEeM+4m6ICPqI9RARtggXgm0jhpPQjbiJVA33I/Xb9ToXtwYRmiw4UZKk3d+kj1720WEcdcFp2kev+uhgMu6hL7jv+mh/fMG2vpiPJj22C/QXg4502VAv/a/LgYfLASjOKll6icmtqaPGWRXakUfEd7QUVk624AvPgWPBTSXUfckqPQq22TAJtat52sN1TUCD54AXt4zJ5gEOjOJ9JvJQWYxTKKD6Bp7bFeOSIyrBuzD+D4OJfFVRZeM0SuMkSEEtfG9IiocTQJuTHcLn+u61+JRmc5vfZ/rYkJN8EHIxg9Y6cOD8F8qMFyShP7qJb73RWP0FceKNkiTwb5Oll8ae919zNxZQyC8+Uj68GAuEXXLCRH+iTMzVvZgVp+nTw4v1yDKo+FAjvpbkCVKg+z+fIRjdhQhgLWhU/1qs234oLX4BAAD//wMAUEsDBBQABgAIAAAAIQD5TgthmgIAABAHAAAbAAAAeGwvZHJhd2luZ3Mvdm1sRHJhd2luZzEudm1s7JXLbtswEEX3+QqCWXhjQ4+2RsBIAoIU2bUF+lwGskRbTEiOII5lOV/fISU7doMWAbropgJkkZzhcO7lAZwNRjN6rRN9zredFa5qpCndwqiqAwdrXFRgRG80v5gS4U+JsF6rSorxc9wyvGKLHCr5fIihdhrEVkSRKavvRn8JfX3rFC8uWAbCNWUrdbmHLbJeyAFzLmuFPurDqjZlexZgdYllzhMe+QLRWYUi68eCuG8lU3XO74eYnntM45SzCqCrnXqSOU+TZRzPwy9nVKOlc30OndqW2OTcxPNYTxlj3tlvPMixRToQO3iU7AGUdbjXVNwolF3oj1FDvh7bdGWtpMUgFx5zjv7YCqyVFfpuc97RaBJ1ouIo6VSOS+L0HWfjvsszjWMLsxacQgVWlCsHeovympSZstsou9ByjWJ51eL1tIDQiiSm+U7V2IgkfUvjRqpNgyLxeU8LZWs5iMRX6ZVTK6UV7kWj6lraa+NgsevKdhEOF+g3zthaaV2Bhi7nl2t6ZOIlk0kSDdQkuNwiHEz0yXQ/lJ0+p/sb9g6SaTXsGNjRtpWrtp2kyx3tOnr8i58WrDxeAhJZKxjYZI/vuFbecfJoUWoUvpmZP49lteoPeX4bhdXGCu/arMgiioa2ol5MRcN0ELfaX/B7opN9Wj1Q6a/hWj8CjqiwbBAfoJc/FDa3UmsX5PnVL4Tky9UbWzXQhZZYPGfLq7n/JPSm9EnCLL3KokGcZFK1G1JyR3YWd6V2MsQPK0HeID7Drkh8wA+mtVuixNgi9svT2JvvZ0ddlJuR7MDwb7lc/h2XSZqcg5mecOlZnLgMaQcu0/9c/hsuicKUgByZJCwnSNM3AbtngF+NZeDvJZaB1tdhGdHfYPETAAD//wMAUEsDBBQABgAIAAAAIQDVmIAHNQEAABI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V9LwzAUxd8Fv0PJe5tmcyqh7UBliDgQnCi+heRuCzZ/SK52+/Zm3ayT+Xg55/44595qujFt9gUhamdrwoqSZGClU9quavKymOXXJIsorBKts1CTLUQybc7PKum5dAGegvMQUEPMEslGLn1N1oieUxrlGoyIRXLYJC5dMALTGFbUC/khVkBHZXlJDaBQAgXdAXM/EMkBqeSA9J+h7QFKUmjBgMVIWcHorxchmPjvQq8cOY3GrU+dDnGP2UruxcG9iXowdl1XdOM+RsrP6Nv88bmvmmu7u5UE0lRKchlAoAtNRY+HdLhWRJynGy81qJtt8+CswLWw2b0LCQDaVvTUlYh9AW4Om1nKxPcNfqTX8e3dYkaaUckmORvlJVuwK16O+eTifZfiLyAFO/li8w0AAP//AwBQSwMEFAAGAAgAAAAhAHT+6QQPAQAAIgIAABAAAAB4bC9jb21tZW50czEueG1svFDLTsMwELwj8Q/W3qmTHFBBsSs4FCFxQKJ8gIk3jSU/Iq9bpXw9W9Jw4MQJybI849mZ0babKXhxxEwuRQX1qgKBsUvWxb2C9932Zg2CionW+BRRwQkJNvr6qu1SCBgLCTaIpGAoZbyXkroBg6FVGjHyT59yMIVh3ksaMxpLA2IJXjZVdSuDcRF0aw5lSJmWh9St/KEuOS+Oil5CRcZewWMNYpY9WwUV+xScWJT5vPL1wT70KY7GK7gDBl3yKQsXLU7IE+v6TOZtimUW7cyQgjmTvQnOn2a2ORPy27Hop5wOo7BIXXZj4Z1RKzlScpyc0+Wl8K+yD83/l33D7JD+2HbpPS96QaS/AAAA//8DAFBLAwQUAAYACAAAACEA9KEv8YoBAAAN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P4zAQhu8r7X+IfKdOWYRWlWOEYFccFm2lFjgbZ9JYuLblGaKWX7+TRKXpwonbfLx+5/HY6mq39UUHGV0MlZjPSlFAsLF2YVOJh/Xvs5+iQDKhNj4GqMQeUFzp79/UMscEmRxgwRYBK9ESpYWUaFvYGpxxO3CniXlriNO8kbFpnIXbaF+3EEiel+WlhB1BqKE+S++GYnRcdPRV0zrang8f1/vEwFpdp+SdNcS31PfO5oixoeLeWBcoYlv82lnwSk5lijlXYF+zo70ulZymamWNhxseoRvjEZQ8FtQdmH59S+MyatXRogNLMRfo3niB56J4Ngg9WCU6k50JxIC9bEyG2CekrJ9ifsEWgFBJFozFIZxqp7G70PNBwMGpsDcYQbhxirh25AH/NkuT6RPi+ZR4YBh5R5zr5GN2eGvIfIAc7s3j/hvwx4UXfEjryIfgsMDTolq1JkPNOz/0jwV1x7vLvje5aU3YQH3QfGz0D/84/m49v5iVP0p+yUlNyeM/1v8AAAD//wMAUEsBAi0AFAAGAAgAAAAhAJJXjTV5AQAAcAUAABMAAAAAAAAAAAAAAAAAAAAAAFtDb250ZW50X1R5cGVzXS54bWxQSwECLQAUAAYACAAAACEAUHxOwfYAAABMAgAACwAAAAAAAAAAAAAAAACyAwAAX3JlbHMvLnJlbHNQSwECLQAUAAYACAAAACEAjJbFbvMAAAC6AgAAGgAAAAAAAAAAAAAAAADZBgAAeGwvX3JlbHMvd29ya2Jvb2sueG1sLnJlbHNQSwECLQAUAAYACAAAACEAszF/cr4BAADPAgAADwAAAAAAAAAAAAAAAAAMCQAAeGwvd29ya2Jvb2sueG1sUEsBAi0AFAAGAAgAAAAhAJoe4uL1AAAAiQEAABQAAAAAAAAAAAAAAAAA9woAAHhsL3NoYXJlZFN0cmluZ3MueG1sUEsBAi0AFAAGAAgAAAAhAOdldbjWAAAAuAEAACMAAAAAAAAAAAAAAAAAHgwAAHhsL3dvcmtzaGVldHMvX3JlbHMvc2hlZXQxLnhtbC5yZWxzUEsBAi0AFAAGAAgAAAAhAPtipW2UBgAApxsAABMAAAAAAAAAAAAAAAAANQ0AAHhsL3RoZW1lL3RoZW1lMS54bWxQSwECLQAUAAYACAAAACEAV+x1f3UFAAAtQgAADQAAAAAAAAAAAAAAAAD6EwAAeGwvc3R5bGVzLnhtbFBLAQItABQABgAIAAAAIQDkuBPUrgMAAG0JAAAYAAAAAAAAAAAAAAAAAJoZAAB4bC93b3Jrc2hlZXRzL3NoZWV0MS54bWxQSwECLQAUAAYACAAAACEA+U4LYZoCAAAQBwAAGwAAAAAAAAAAAAAAAAB+HQAAeGwvZHJhd2luZ3Mvdm1sRHJhd2luZzEudm1sUEsBAi0AFAAGAAgAAAAhANWYgAc1AQAAEgIAABEAAAAAAAAAAAAAAAAAUSAAAGRvY1Byb3BzL2NvcmUueG1sUEsBAi0AFAAGAAgAAAAhAHT+6QQPAQAAIgIAABAAAAAAAAAAAAAAAAAAvSIAAHhsL2NvbW1lbnRzMS54bWxQSwECLQAUAAYACAAAACEA9KEv8YoBAAANAwAAEAAAAAAAAAAAAAAAAAD6IwAAZG9jUHJvcHMvYXBwLnhtbFBLBQYAAAAADQANAFgDAAC6JgAAAAAFIgAAAB9BcGxvcmlzLkJhc2UuT2JqZWN0cy5UZXh0Rm9ybWF0DAAAABJEYXRhT2JqZWN0K21QYXJlbnQVRGF0YU9iamVjdCttQ29udGFpbmVyCW1Gb250Qm9sZAttRm9udEl0YWxpYw5tRm9udFVuZGVybGluZQltRm9udFNpemUJbUZvbnROYW1lEG1Gb250RmFyRWFzdE5hbWUKbUZvbnRDb2xvcgltTW9kaWZpZWQSbUF1dG9Db2xvckRpc2FibGVkCm1BdXRvQ29sb3ICAgAAAAABAQQAAAQBAQELGkFwbG9yaXMuQmFzZS5PYmplY3RzLkNvbG9yAwAAAAEBGkFwbG9yaXMuQmFzZS5PYmplY3RzLkNvbG9yAwAAAAMAAAAKCgAAAAAAQEEGcAAAAAVBcmlhbAZxAAAABittbi1lYQlyAAAAAQAJcwAAAAcjAAAAAAEAAAARAAAABBRTeXN0ZW0uRHJhd2luZy5Db2xvcgQAAAAFdAAAABRTeXN0ZW0uRHJhd2luZy5Db2xvcgQAAAAFdmFsdWUFc3RhdGUKa25vd25Db2xvcgRuYW1lAAAAAQkHBwQAAAAAAAAAAAAAAAAAAAAKAXUAAAB0AAAAAAAA//////8CAAAACgF2AAAAdAAAAP//////////AgAAAAoBdwAAAHQAAABOQSL//////wIAAAAKAXgAAAB0AAAA3tzb//////8CAAAACgF5AAAAdAAAAH5pP///////AgAAAAoBegAAAHQAAACMhHL//////wIAAAAKAXsAAAB0AAAAJSHt//////8CAAAACgF8AAAAdAAAADQ7Rv//////AgAAAAoBfQAAAHQAAAB0mMP//////wIAAAAKAX4AAAB0AAAAHpT3//////8CAAAACgF/AAAAdAAAAB6U9///////AgAAAAoBgAAAAHQAAAAlIe3//////wIAAAAKAYEAAAB0AAAAAAAA//////8CAAAACgGCAAAAdAAAAP//////////AgAAAAoBgwAAAHQAAABOQSL//////wIAAAAKAYQAAAB0AAAA3tzb//////8CAAAACgQkAAAAmAFTeXN0ZW0uQ29sbGVjdGlvbnMuR2VuZXJpYy5MaXN0YDFbW0FwbG9yaXMuQmFzZS5PYmplY3RzLkRhdGFPYmplY3QsIEFwbG9yaXMuQmFzZSwgVmVyc2lvbj00LjAuMC4xNDg2LCBDdWx0dXJlPW5ldXRyYWwsIFB1YmxpY0tleVRva2VuPTE2ZmMxM2EyMjZjMGU5NTFdXQMAAAAGX2l0ZW1zBV9zaXplCF92ZXJzaW9uBAAAIUFwbG9yaXMuQmFzZS5PYmplY3RzLkRhdGFPYmplY3RbXQMAAAAICAmFAAAADAAAAAwAAAAEJQAAAJUBU3lzdGVtLkNvbGxlY3Rpb25zLkdlbmVyaWMuTGlzdGAxW1tBcGxvcmlzLkJhc2UuVUkuVmlzdWFsT2JqZWN0LCBBcGxvcmlzLkJhc2UsIFZlcnNpb249NC4wLjAuMTQ4NiwgQ3VsdHVyZT1uZXV0cmFsLCBQdWJsaWNLZXlUb2tlbj0xNmZjMTNhMjI2YzBlOTUxXV0DAAAABl9pdGVtcwVfc2l6ZQhfdmVyc2lvbgQAAB5BcGxvcmlzLkJhc2UuVUkuVmlzdWFsT2JqZWN0W10DAAAACAgJhgAAAAEAAAABAAAABScAAACbAUFwbG9yaXMuQmFzZS5PYmplY3RzLkRhdGFPYmplY3RDb2xsZWN0aW9uYDFbW0FwbG9yaXMuQ2hhcnQuVmFsdWVMaW5l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WYWx1ZUxpbmUsIEFwbG9yaXMuQ2hhcnQsIFZlcnNpb249NC4wLjAuMTQ4NiwgQ3VsdHVyZT1uZXV0cmFsLCBQdWJsaWNLZXlUb2tlbj0xNmZjMTNhMjI2YzBlOTUxXV0DAAAAkQFTeXN0ZW0uQ29sbGVjdGlvbnMuR2VuZXJpYy5MaXN0YDFbW0FwbG9yaXMuQ2hhcnQuVmFsdWVMaW5l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YcAAAAJiAAAAAkGAAAACQEAAAAJiQAAAAUoAAAAmwFBcGxvcmlzLkJhc2UuT2JqZWN0cy5EYXRhT2JqZWN0Q29sbGVjdGlvbmAxW1tBcGxvcmlzLkNoYXJ0LkF4aXNCcmVhay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QXhpc0JyZWFrLCBBcGxvcmlzLkNoYXJ0LCBWZXJzaW9uPTQuMC4wLjE0ODYsIEN1bHR1cmU9bmV1dHJhbCwgUHVibGljS2V5VG9rZW49MTZmYzEzYTIyNmMwZTk1MV1dAwAAAJEBU3lzdGVtLkNvbGxlY3Rpb25zLkdlbmVyaWMuTGlzdGAxW1tBcGxvcmlzLkNoYXJ0LkF4aXNCcmVh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KAAAACYsAAAAJBgAAAAkBAAAACYwAAAAFK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IAAAADAAAACWMAAAAJZAAAAAllAAAAAQAAAAAKCglmAAAAAAAAAAoAAAAAAA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GAAAACQEAAAAAAAAAAAliAAAAAwAAAAljAAAACWQAAAAJZQAAAAEAAAAACgaNAAAAASUJZgAAAAEAAAAKAAAAAAAAAAAFLAAAAJoBQXBsb3Jpcy5CYXNlLk9iamVjdHMuRGF0YU9iamVjdENvbGxlY3Rpb25gMVtbQXBsb3Jpcy5DaGFydC5UaWNrTWFyaywgQXBsb3Jpcy5DaGFydCwgVmVyc2lvbj00LjAuMC4xNDg2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VGlja01hcmssIEFwbG9yaXMuQ2hhcnQsIFZlcnNpb249NC4wLjAuMTQ4NiwgQ3VsdHVyZT1uZXV0cmFsLCBQdWJsaWNLZXlUb2tlbj0xNmZjMTNhMjI2YzBlOTUxXV0DAAAAkAFTeXN0ZW0uQ29sbGVjdGlvbnMuR2VuZXJpYy5MaXN0YDFbW0FwbG9yaXMuQ2hhcnQuVGlja01hcm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jgAAAAmPAAAACQYAAAAJAQAAAAmQAAAABS8AAAAaQXBsb3Jpcy5CYXNlLlVJLlZpc3VhbExpbmUNAAAAC21TdGFydFBvaW50CW1FbmRQb2ludAttTGluZUZvcm1h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AAAAABwIAAAMAFVN5c3RlbS5EcmF3aW5nLlBvaW50RgQAAAAVU3lzdGVtLkRyYXdpbmcuUG9pbnRGBAAAAB9BcGxvcmlzLkJhc2UuT2JqZWN0cy5MaW5lRm9ybWF0AwAAAAgIAQEIAQEPU3lzdGVtLkludFB0cltdAQMAAAABkQAAACAAAADqkRdCh7GYQwGSAAAAIAAAAPwbr0OHsZhDCZMAAAC4AQAA/////wEBCgmUAAAAAQAKAAcwAAAAAAEAAAAFAAAABBVTeXN0ZW0uRHJhd2luZy5Qb2ludEYEAAAAAZUAAAAgAAAA/JuwQ4exmEMBlgAAACAAAADqkRdCWXesQwGXAAAAIAAAADkOQkNZd6xDAZgAAAAgAAAA/BuvQ1l3rEMBmQAAACAAAAD8m7BDhzGbQwcxAAAAAAEAAAAFAAAABBdBcGxvcmlzLkJhc2UuQW5jaG9yTW9kZQMAAAAFmgAAABdBcGxvcmlzLkJhc2UuQW5jaG9yTW9kZQEAAAAHdmFsdWVfXwAIAwAAAAQAAAABmwAAAJoAAAAFAAAAAZwAAACaAAAAAwAAAAGdAAAAmgAAAAYAAAABngAAAJoAAAAFAAAADzIAAAAFAAAAAQAAAAABBTMAAAAVQXBsb3Jpcy5CYXNlLlVJLkxhYmVsHAAAAA9tQW5jaG9yUG9zaXRpb24LbUFuY2hvck1vZGUPbUFkZElubmVyTWFyZ2luFm1PZmZzZXREaXJlY3Rpb25BbmNob3IXbU9mZnNldE9ydGhvZ29uYWxBbmNob3ILbVRleHRGb3JtYXQJbVJvdGF0aW9uCm1CYWNrQ29sb3INbVVzZUJhY2tDb2xvcg5tVXNlQmFja2dyb3VuZA5tTGluZUFsaWdubWVudAltVGV4dFNpemUPbUxhYmVsUmVjdGFuZ2xlFW1Jbm5lck1hcmdpbkxlZnRSaWdodAVtVGV4dAptVmFyaWFibGVzDW1WYXJpYWJsZUxpc3QO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AAAAEAAQAAAQEBAABAwMBAAAAAAcCAAADAB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DAAAAAZ8AAAAgAAAA/JuwQ4exmEMBoAAAAJoAAAAEAAAAAAAAAAAAAAAACaEAAAAAAAAACaIAAAAAAAWjAAAAKkFwbG9yaXMuQmFzZS5VSS5MYWJlbCtMaW5lQWxpZ25tZW50T3B0aW9ucwEAAAAHdmFsdWVfXwAIAwAAAAAAAAABpAAAAGwAAAAAAAAAAAAAAAGlAAAAFAAAAAAAAAAAAAAAAAAAAAAAAAAAAAAABqYAAAANQ2F0ZWdvcnkgYXhpcwoJpwAAAAmmAAAA5AIAAP////8AAQoJqAAAAAEACgABNAAAACQAAAAJqQAAAAYAAAAGAAAAATUAAAAlAAAACaoAAAACAAAAAgAAAAE3AAAAJwAAAAoJqwAAAAmsAAAACQcAAAAJAQAAAAmtAAAAATgAAAAoAAAACgmuAAAACa8AAAAJBwAAAAkBAAAACbAAAAAFO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YgAAAAMAAAAJYwAAAAlkAAAACWUAAAABAAAAAAoGsQAAAAElCWYAAAAAAAAACgAAAAAA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EAAAABCWIAAAADAAAACWMAAAAJZAAAAAllAAAAAQAAAAAKCbEAAAAJZgAAAAAAAAAKAAAAAAA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QAAAAEJYgAAAAMAAAAJYwAAAAlkAAAACWUAAAABAAAAAAoJjQAAAAlmAAAAAQAAAAoAAAAAAAAAAAE8AAAALAAAAAoJsgAAAAmzAAAACQcAAAAJAQAAAAm0AAAAAT8AAAAvAAAAAbUAAAAgAAAA6pEXQoexmEMBtgAAACAAAADqkRdCpNd3QQm3AAAAuAEAAP////8BAQoJuAAAAAEACgAHQAAAAAABAAAABQAAAAQVU3lzdGVtLkRyYXdpbmcuUG9pbnRGBAAAAAG5AAAAIAAAAOqRF0LSkSBBAboAAAAgAAAAousfQYexmEMBuwAAACAAAACi6x9BRHAgQwG8AAAAIAAAAKLrH0Gk13dBAb0AAAAgAAAAousfQdKRIEEHQQAAAAABAAAABQAAAAQXQXBsb3Jpcy5CYXNlLkFuY2hvck1vZGUDAAAAAb4AAACaAAAAAQAAAAG/AAAAmgAAAAgAAAABwAAAAJoAAAACAAAAAcEAAACaAAAABgAAAAHCAAAAmgAAAAcAAAAPQgAAAAUAAAABAAAAAAEBQwAAADMAAAABwwAAACAAAADqkRdC0pEgQQHEAAAAmgAAAAEAAAAAAAAAAAAAAAAJxQAAAAAAAAAJxgAAAAAAAccAAACjAAAAAAAAAAHIAAAAbAAAAAAAAAAAAAAAAckAAAAUAAAAAAAAAAAAAAAAAAAAAAAAAAAAAAAGygAAAApWYWx1ZSBheGlzCgnLAAAACcoAAADkAgAA/////wABCgnMAAAAAQAKAAFEAAAAJAAAAAnNAAAACAAAAAgAAAABRQAAACUAAAAJzgAAAAIAAAACAAAAB0YAAAAAAQAAAAAAAAAELkFwbG9yaXMuQ2hhcnQuQ29sdW1uT3JpZW50ZWRDaGFydCtVbnVzZWRTZXJpZXMCAAAABEcAAACXAVN5c3RlbS5Db2xsZWN0aW9ucy5HZW5lcmljLkxpc3RgMVtbQXBsb3Jpcy5DaGFydC5DaGFydERhdGFTZXJpZXMsIEFwbG9yaXMuQ2hhcnQsIFZlcnNpb249NC4wLjAuMTQ4NiwgQ3VsdHVyZT1uZXV0cmFsLCBQdWJsaWNLZXlUb2tlbj0xNmZjMTNhMjI2YzBlOTUxXV0DAAAABl9pdGVtcwVfc2l6ZQhfdmVyc2lvbgQAAB9BcGxvcmlzLkNoYXJ0LkNoYXJ0RGF0YVNlcmllc1tdAgAAAAgICc8AAAABAAAArwAAAAFIAAAAJAAAAAnQAAAAAQAAAEUAAAABSQAAACUAAAAJ0QAAAAAAAAAAAAAABEoAAACcAVN5c3RlbS5Db2xsZWN0aW9ucy5HZW5lcmljLkxpc3RgMVtbQXBsb3Jpcy5DaGFydC5Bbm5vdGF0aW9uRGF0YVNlcmllcywgQXBsb3Jpcy5DaGFydCwgVmVyc2lvbj00LjAuMC4xNDg2LCBDdWx0dXJlPW5ldXRyYWwsIFB1YmxpY0tleVRva2VuPTE2ZmMxM2EyMjZjMGU5NTFdXQMAAAAGX2l0ZW1zBV9zaXplCF92ZXJzaW9uBAAAJEFwbG9yaXMuQ2hhcnQuQW5ub3RhdGlvbkRhdGFTZXJpZXNbXQIAAAAICAnSAAAAAAAAAAAAAAABSwAAACQAAAAJ0wAAAAAAAAAAAAAAAUwAAAAlAAAACdEAAAAAAAAAAAAAAARNAAAAlwFTeXN0ZW0uQ29sbGVjdGlvbnMuR2VuZXJpYy5MaXN0YDFbW0FwbG9yaXMuQ2hhcnQuQW5ub3RhdGlvbkdyb3VwLCBBcGxvcmlzLkNoYXJ0LCBWZXJzaW9uPTQuMC4wLjE0ODYsIEN1bHR1cmU9bmV1dHJhbCwgUHVibGljS2V5VG9rZW49MTZmYzEzYTIyNmMwZTk1MV1dAwAAAAZfaXRlbXMFX3NpemUIX3ZlcnNpb24EAAAfQXBsb3Jpcy5DaGFydC5Bbm5vdGF0aW9uR3JvdXBbXQIAAAAICAnUAAAAAAAAAAAAAAABTgAAACQAAAAJ0wAAAAAAAAAAAAAAAU8AAAAlAAAACdEAAAAAAAAAAAAAAARQAAAAlgFTeXN0ZW0uQ29sbGVjdGlvbnMuR2VuZXJpYy5MaXN0YDFbW0FwbG9yaXMuQ2hhcnQuQ2hhcnREYXRhR3JvdXAsIEFwbG9yaXMuQ2hhcnQsIFZlcnNpb249NC4wLjAuMTQ4NiwgQ3VsdHVyZT1uZXV0cmFsLCBQdWJsaWNLZXlUb2tlbj0xNmZjMTNhMjI2YzBlOTUxXV0DAAAABl9pdGVtcwVfc2l6ZQhfdmVyc2lvbgQAAB5BcGxvcmlzLkNoYXJ0LkNoYXJ0RGF0YUdyb3VwW10CAAAACAgJ1QAAAAUAAAALAAAAAVEAAAAkAAAACdYAAAAFAAAABwAAAAFSAAAAJQAAAAnRAAAAAAAAAAAAAAAEUwAAAJABU3lzdGVtLkNvbGxlY3Rpb25zLkdlbmVyaWMuTGlzdGAxW1tBcGxvcmlzLkNoYXJ0LkRlbHRhQmFyLCBBcGxvcmlzLkNoYXJ0LCBWZXJzaW9uPTQuMC4wLjE0ODYsIEN1bHR1cmU9bmV1dHJhbCwgUHVibGljS2V5VG9rZW49MTZmYzEzYTIyNmMwZTk1MV1dAwAAAAZfaXRlbXMFX3NpemUIX3ZlcnNpb24EAAAYQXBsb3Jpcy5DaGFydC5EZWx0YUJhcltdAgAAAAgICdcAAAAAAAAAAAAAAAFUAAAAJAAAAAnTAAAAAAAAAAAAAAABVQAAACUAAAAJ0QAAAAAAAAAAAAAABFYAAACTAVN5c3RlbS5Db2xsZWN0aW9ucy5HZW5lcmljLkxpc3RgMVtbQXBsb3Jpcy5DaGFydC5EZWx0YUJyaWRnZSwgQXBsb3Jpcy5DaGFydCwgVmVyc2lvbj00LjAuMC4xNDg2LCBDdWx0dXJlPW5ldXRyYWwsIFB1YmxpY0tleVRva2VuPTE2ZmMxM2EyMjZjMGU5NTFdXQMAAAAGX2l0ZW1zBV9zaXplCF92ZXJzaW9uBAAAG0FwbG9yaXMuQ2hhcnQuRGVsdGFCcmlkZ2VbXQIAAAAICAnYAAAAAAAAAAAAAAABVwAAACQAAAAJ0wAAAAAAAAAAAAAAAVgAAAAlAAAACdEAAAAAAAAAAAAAAARZAAAAkwFTeXN0ZW0uQ29sbGVjdGlvbnMuR2VuZXJpYy5MaXN0YDFbW0FwbG9yaXMuQ2hhcnQuR3Jvd3RoQXJyb3csIEFwbG9yaXMuQ2hhcnQsIFZlcnNpb249NC4wLjAuMTQ4NiwgQ3VsdHVyZT1uZXV0cmFsLCBQdWJsaWNLZXlUb2tlbj0xNmZjMTNhMjI2YzBlOTUxXV0DAAAABl9pdGVtcwVfc2l6ZQhfdmVyc2lvbgQAABtBcGxvcmlzLkNoYXJ0Lkdyb3d0aEFycm93W10CAAAACAgJ2QAAAAAAAAAAAAAAAVoAAAAkAAAACdMAAAAAAAAAAAAAAAFbAAAAJQAAAAnRAAAAAAAAAAAAAAAEXAAAAJoBU3lzdGVtLkNvbGxlY3Rpb25zLkdlbmVyaWMuTGlzdGAxW1tBcGxvcmlzLkNoYXJ0LldhdGVyZmFsbENvbm5lY3RvciwgQXBsb3Jpcy5DaGFydCwgVmVyc2lvbj00LjAuMC4xNDg2LCBDdWx0dXJlPW5ldXRyYWwsIFB1YmxpY0tleVRva2VuPTE2ZmMxM2EyMjZjMGU5NTFdXQMAAAAGX2l0ZW1zBV9zaXplCF92ZXJzaW9uBAAAIkFwbG9yaXMuQ2hhcnQuV2F0ZXJmYWxsQ29ubmVjdG9yW10CAAAACAgJ2gAAAAAAAAAAAAAAAV0AAAAkAAAACdMAAAAAAAAAAAAAAAFeAAAAJQAAAAnRAAAAAAAAAAAAAAAEXwAAAJgBU3lzdGVtLkNvbGxlY3Rpb25zLkdlbmVyaWMuTGlzdGAxW1tBcGxvcmlzLkNoYXJ0LkVsZW1lbnRDb25uZWN0b3IsIEFwbG9yaXMuQ2hhcnQsIFZlcnNpb249NC4wLjAuMTQ4NiwgQ3VsdHVyZT1uZXV0cmFsLCBQdWJsaWNLZXlUb2tlbj0xNmZjMTNhMjI2YzBlOTUxXV0DAAAABl9pdGVtcwVfc2l6ZQhfdmVyc2lvbgQAACBBcGxvcmlzLkNoYXJ0LkVsZW1lbnRDb25uZWN0b3JbXQIAAAAICAnbAAAAAAAAAAAAAAABYAAAACQAAAAJ0wAAAAAAAAAAAAAAAWEAAAAlAAAACdEAAAAAAAAAAAAAAAVq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AAACdwAAAAJ3QAAAAEAAAD+////AQAAAAEAAAABAAAAAQAAAAEAAAABAAAAAAABBWs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3gAAAAnfAAAAAQAAAAAAAAAAAAAAAAAAAAABBW8AAAAfQXBsb3Jpcy5CYXNlLk9iamVjdHMuUGVyc0lkRGF0YQIAAAADbUlkC21DdXN0b21EYXRhBwIIAwAAAAngAAAACgVyAAAAGkFwbG9yaXMuQmFzZS5PYmplY3RzLkNvbG9yBwAAABJEYXRhT2JqZWN0K21QYXJlbnQVRGF0YU9iamVjdCttQ29udGFpbmVyBW1UeXBlBG1SR0IQbVRoZW1lQ29sb3JJbmRleAxtQXV0b1VwZGF0ZWQJbU1vZGlmaWVkAgIAAAAAAAgICAEBAwAAAAoKAAAAAAAAAAANAAAAAAEBcwAAAHIAAAAKCgEAAAAAAAAA/////wABB4UAAAAAAQAAABAAAAAEH0FwbG9yaXMuQmFzZS5PYmplY3RzLkRhdGFPYmplY3QDAAAACQkAAAAJCgAAAAkLAAAACQwAAAAJEAAAAAkRAAAACQ0AAAAJDgAAAAkPAAAACQcAAAAJBgAAAAkXAAAADQQHhgAAAAABAAAABAAAAAQcQXBsb3Jpcy5CYXNlLlVJLlZpc3VhbE9iamVjdAMAAAAJGwAAAA0DBIcAAACRAVN5c3RlbS5Db2xsZWN0aW9ucy5HZW5lcmljLkxpc3RgMVtbQXBsb3Jpcy5DaGFydC5WYWx1ZUxpbmUsIEFwbG9yaXMuQ2hhcnQsIFZlcnNpb249NC4wLjAuMTQ4NiwgQ3VsdHVyZT1uZXV0cmFsLCBQdWJsaWNLZXlUb2tlbj0xNmZjMTNhMjI2YzBlOTUxXV0DAAAABl9pdGVtcwVfc2l6ZQhfdmVyc2lvbgQAABlBcGxvcmlzLkNoYXJ0LlZhbHVlTGluZVtdAgAAAAgICeEAAAAAAAAAAAAAAAGIAAAAJAAAAAnTAAAAAAAAAAAAAAABiQAAACUAAAAJ0QAAAAAAAAAAAAAABIoAAACRAVN5c3RlbS5Db2xsZWN0aW9ucy5HZW5lcmljLkxpc3RgMVtbQXBsb3Jpcy5DaGFydC5BeGlzQnJlYWssIEFwbG9yaXMuQ2hhcnQsIFZlcnNpb249NC4wLjAuMTQ4NiwgQ3VsdHVyZT1uZXV0cmFsLCBQdWJsaWNLZXlUb2tlbj0xNmZjMTNhMjI2YzBlOTUxXV0DAAAABl9pdGVtcwVfc2l6ZQhfdmVyc2lvbgQAABlBcGxvcmlzLkNoYXJ0LkF4aXNCcmVha1tdAgAAAAgICeIAAAAAAAAAAAAAAAGLAAAAJAAAAAnTAAAAAAAAAAAAAAABjAAAACUAAAAJ0QAAAAAAAAAAAAAABI4AAACQAVN5c3RlbS5Db2xsZWN0aW9ucy5HZW5lcmljLkxpc3RgMVtbQXBsb3Jpcy5DaGFydC5UaWNrTWFyaywgQXBsb3Jpcy5DaGFydCwgVmVyc2lvbj00LjAuMC4xNDg2LCBDdWx0dXJlPW5ldXRyYWwsIFB1YmxpY0tleVRva2VuPTE2ZmMxM2EyMjZjMGU5NTFdXQMAAAAGX2l0ZW1zBV9zaXplCF92ZXJzaW9uBAAAGEFwbG9yaXMuQ2hhcnQuVGlja01hcmtbXQIAAAAICAnjAAAAAAAAAAAAAAABjwAAACQAAAAJ0wAAAAAAAAAAAAAAAZAAAAAlAAAACdEAAAAAAAAAAAAAAAGTAAAAagAAAAoKAAAAQD8J5AAAAAnlAAAAAQAAAP7///8AAAAAAQAAAAAAAAAAAAAAAQAAAAAAAAAAAAABlAAAAG8AAAAJ5gAAAAoFoQ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gAAAAoAAAAAAEBBCXAAAAAJcQAAAAnnAAAAAQAJ6AAAAAGiAAAAcgAAAAoKAQAAAAAAAAD/////AAEEpwAAAJYBU3lzdGVtLkNvbGxlY3Rpb25zLkdlbmVyaWMuTGlzdGAxW1tBcGxvcmlzLkJhc2UuT2JqZWN0cy5WYXJpYWJsZSwgQXBsb3Jpcy5CYXNlLCBWZXJzaW9uPTQuMC4wLjE0ODYsIEN1bHR1cmU9bmV1dHJhbCwgUHVibGljS2V5VG9rZW49MTZmYzEzYTIyNmMwZTk1MV1dAwAAAAZfaXRlbXMFX3NpemUIX3ZlcnNpb24EAAAfQXBsb3Jpcy5CYXNlLk9iamVjdHMuVmFyaWFibGVbXQMAAAAICAnpAAAAAAAAAAAAAAABqAAAAG8AAAAJ6gAAAAoHqQAAAAABAAAACAAAAAQfQXBsb3Jpcy5CYXNlLk9iamVjdHMuRGF0YU9iamVjdAMAAAAJKQAAAAkqAAAACSsAAAAJLAAAAAknAAAACSgAAAAKCgeqAAAAAAEAAAAEAAAABBxBcGxvcmlzLkJhc2UuVUkuVmlzdWFsT2JqZWN0AwAAAAkvAAAACTMAAAAKCgGrAAAAhwAAAAnhAAAAAAAAAAAAAAABrAAAACQAAAAJ0wAAAAAAAAAAAAAAAa0AAAAlAAAACdEAAAAAAAAAAAAAAAGuAAAAigAAAAniAAAAAAAAAAAAAAABrwAAACQAAAAJ0wAAAAAAAAAAAAAAAbAAAAAlAAAACdEAAAAAAAAAAAAAAAGyAAAAjgAAAAnrAAAABgAAAC4AAAABswAAACQAAAAJ7AAAAAYAAAAuAAAAAbQAAAAlAAAACdEAAAAAAAAAAAAAAAG3AAAAagAAAAoKAAAAQD8J7QAAAAnuAAAAAQAAAP7///8AAAAAAQAAAAAAAAAAAAAAAQAAAAAAAAAAAAABuAAAAG8AAAAJ7wAAAAoFxQ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wAAAAoAAAAAAEBBCXAAAAAJcQAAAAnwAAAAAQAJ8QAAAAHGAAAAcgAAAAoKAQAAAAAAAAD/////AAEBywAAAKcAAAAJ6QAAAAAAAAAAAAAAAcwAAABvAAAACfIAAAAKB80AAAAAAQAAAAgAAAAEH0FwbG9yaXMuQmFzZS5PYmplY3RzLkRhdGFPYmplY3QDAAAACTkAAAAJOgAAAAk7AAAACTwAAAAJNwAAAAk4AAAACfMAAAAJ9AAAAAfOAAAAAAEAAAAEAAAABBxBcGxvcmlzLkJhc2UuVUkuVmlzdWFsT2JqZWN0AwAAAAk/AAAACUMAAAAKCgfPAAAAAAEAAAAgAAAABB1BcGxvcmlzLkNoYXJ0LkNoYXJ0RGF0YVNlcmllcwIAAAAJ9QAAAA0fB9AAAAAAAQAAACAAAAAEH0FwbG9yaXMuQmFzZS5PYmplY3RzLkRhdGFPYmplY3QDAAAACfUAAAANHwfRAAAAAAEAAAAAAAAABBxBcGxvcmlzLkJhc2UuVUkuVmlzdWFsT2JqZWN0AwAAAAfSAAAAAAEAAAAAAAAABCJBcGxvcmlzLkNoYXJ0LkFubm90YXRpb25EYXRhU2VyaWVzAgAAAAfTAAAAAAEAAAAAAAAABB9BcGxvcmlzLkJhc2UuT2JqZWN0cy5EYXRhT2JqZWN0AwAAAAfUAAAAAAEAAAAAAAAABB1BcGxvcmlzLkNoYXJ0LkFubm90YXRpb25Hcm91cAIAAAAH1QAAAAABAAAACAAAAAQcQXBsb3Jpcy5DaGFydC5DaGFydERhdGFHcm91cAIAAAAJ9gAAAAn3AAAACfgAAAAJ+QAAAAn6AAAADQMH1gAAAAABAAAACAAAAAQfQXBsb3Jpcy5CYXNlLk9iamVjdHMuRGF0YU9iamVjdAMAAAAJ9gAAAAn3AAAACfoAAAAJ+QAAAAn4AAAADQMH1wAAAAABAAAAAAAAAAQWQXBsb3Jpcy5DaGFydC5EZWx0YUJhcgIAAAAH2AAAAAABAAAAAAAAAAQZQXBsb3Jpcy5DaGFydC5EZWx0YUJyaWRnZQIAAAAH2QAAAAABAAAAAAAAAAQZQXBsb3Jpcy5DaGFydC5Hcm93dGhBcnJvdwIAAAAH2gAAAAABAAAAAAAAAAQgQXBsb3Jpcy5DaGFydC5XYXRlcmZhbGxDb25uZWN0b3ICAAAAB9sAAAAAAQAAAAAAAAAEHkFwbG9yaXMuQ2hhcnQuRWxlbWVudENvbm5lY3RvcgIAAAAB3AAAAHIAAAAKCgAAAAAAAAAADQAAAAABAd0AAAByAAAACgoBAAAAAAAAAP////8AAQHeAAAAcgAAAAoKAQAAAP///wD/////AAEB3wAAAHIAAAAKCgEAAAAAAAAA/////wABD+AAAAABAAAACAAAAAAH4QAAAAABAAAAAAAAAAQXQXBsb3Jpcy5DaGFydC5WYWx1ZUxpbmUCAAAAB+IAAAAAAQAAAAAAAAAEF0FwbG9yaXMuQ2hhcnQuQXhpc0JyZWFrAgAAAAfjAAAAAAEAAAAAAAAABBZBcGxvcmlzLkNoYXJ0LlRpY2tNYXJrAgAAAAXkAAAAGkFwbG9yaXMuQmFzZS5PYmplY3RzLkNvbG9yBwAAABJEYXRhT2JqZWN0K21QYXJlbnQVRGF0YU9iamVjdCttQ29udGFpbmVyBW1UeXBlBG1SR0IQbVRoZW1lQ29sb3JJbmRleAxtQXV0b1VwZGF0ZWQJbU1vZGlmaWVkBAIAAAAAAB9BcGxvcmlzLkJhc2UuT2JqZWN0cy5MaW5lRm9ybWF0AwAAAAgICAEBAwAAAAmTAAAACgAAAAAAAAAADQAAAAAABeUAAAAaQXBsb3Jpcy5CYXNlLk9iamVjdHMuQ29sb3IHAAAAEkRhdGFPYmplY3QrbVBhcmVudBVEYXRhT2JqZWN0K21Db250YWluZXIFbVR5cGUEbVJHQhBtVGhlbWVDb2xvckluZGV4DG1BdXRvVXBkYXRlZAltTW9kaWZpZWQEAgAAAAAAH0FwbG9yaXMuQmFzZS5PYmplY3RzLkxpbmVGb3JtYXQDAAAACAgIAQEDAAAACZMAAAAKAQAAAAAAAAD/////AAEP5gAAAAEAAAAItQAAAAHnAAAAcgAAAAoKAAAAAAAAAAANAAAAAAEB6AAAAHIAAAAKCgEAAAAAAAAA/////wABB+kAAAAAAQAAAAAAAAAEHUFwbG9yaXMuQmFzZS5PYmplY3RzLlZhcmlhYmxlAwAAAA/qAAAAAQAAAAgAAAAAB+sAAAAAAQAAABAAAAAEFkFwbG9yaXMuQ2hhcnQuVGlja01hcmsCAAAACfsAAAAJ/AAAAAn9AAAACf4AAAAJ/wAAAAkAAQAADQoH7AAAAAABAAAAEAAAAAQfQXBsb3Jpcy5CYXNlLk9iamVjdHMuRGF0YU9iamVjdAMAAAAJ+wAAAAn8AAAACf0AAAAJ/gAAAAn/AAAACQABAAANCgXtAAAAGkFwbG9yaXMuQmFzZS5PYmplY3RzLkNvbG9yBwAAABJEYXRhT2JqZWN0K21QYXJlbnQVRGF0YU9iamVjdCttQ29udGFpbmVyBW1UeXBlBG1SR0IQbVRoZW1lQ29sb3JJbmRleAxtQXV0b1VwZGF0ZWQJbU1vZGlmaWVkBAIAAAAAAB9BcGxvcmlzLkJhc2UuT2JqZWN0cy5MaW5lRm9ybWF0AwAAAAgICAEBAwAAAAm3AAAACgAAAAAAAAAADQAAAAAABe4AAAAaQXBsb3Jpcy5CYXNlLk9iamVjdHMuQ29sb3IHAAAAEkRhdGFPYmplY3QrbVBhcmVudBVEYXRhT2JqZWN0K21Db250YWluZXIFbVR5cGUEbVJHQhBtVGhlbWVDb2xvckluZGV4DG1BdXRvVXBkYXRlZAltTW9kaWZpZWQEAgAAAAAAH0FwbG9yaXMuQmFzZS5PYmplY3RzLkxpbmVGb3JtYXQDAAAACAgIAQEDAAAACbcAAAAKAQAAAAAAAAD/////AAEP7wAAAAEAAAAItAAAAAHwAAAAcgAAAAoKAAAAAAAAAAANAAAAAAEB8QAAAHIAAAAKCgEAAAAAAAAA/////wABD/IAAAABAAAACAAAAAAF8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YgAAAAMAAAAJYwAAAAlkAAAACWUAAAABAAAAAAoJjQAAAAlmAAAAAQAAAAoAAAAAAAAAAAX0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HAAAACQEAAAAAAAAAAAYBAQAAAS4DAAAABgIBAAABLAYDAQAAAS0GBAEAAAErAQAAAAAKCgYFAQAACE0vZC95eXl5AAAAAAoAAAAAAAAAAAX1AA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C4wLjE0ODY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BBgEAABMAAAAAAAAAAgAAAP////8JBwAAAAkHAQAABggBAAABJQoKAAAAAAAAAAAAAAAACgoACQkBAAAJCgEAAAkLAQAAAAAAAAAAAAAAAAAAAAAAAAAACQwBAAAJAQAAAAkBAAAACQ0BAAAF9gA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YOAQAADk92ZXJzZWVzDQpUZWFtAAUPAQAAHkFwbG9yaXMuQ2hhcnQuQ2hhcnRHcm91cEFuY2hvcgEAAAAHdmFsdWVfXwAIAgAAAAAAAAAKAAAAAAEAAAABAAAACRABAAAJEQEAAAkSAQAACgkHAAAACRMBAAAJAQAAAAkBAAAACRQBAAAB9wAAAPYAAAAJAQAAAAYVAQAAHFByb3ZpZGVzDQpTdXBwb3J0IA0KU2VydmljZXMAARYBAAAPAQAAAAAAAAoAAAAAAQAAAAEAAAAJFwEAAAkYAQAACRkBAAAKCQcAAAAJGgEAAAkBAAAACQEAAAAJGwEAAAH4AAAA9gAAAAkBAAAABhwBAAARQWR2aXNlcw0KU3R1ZGVudHMAAR0BAAAPAQAAAAAAAAoAAAAAAQAAAAEAAAAJHgEAAAkfAQAACSABAAAKCQcAAAAJIQEAAAkBAAAACQEAAAAJIgEAAAH5AAAA9gAAAAkBAAAABiMBAAAZQ29uc3VtZXIgb2YgDQpJbmZvcm1hdGlvbgABJAEAAA8BAAAAAAAACgAAAAABAAAAAQAAAAklAQAACSYBAAAJJwEAAAoJBwAAAAkoAQAACQEAAAAJAQAAAAkpAQAAAfoAAAD2AAAACQEAAAAGKgEAABBObyANCkludm9sdmVtZW50AAErAQAADwEAAAAAAAAKAAAAAAEAAAABAAAACSwBAAAJLQEAAAkuAQAACgkHAAAACS8BAAAJAQAAAAkBAAAACTABAAAF+wA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TEBAAAKCTIBAAAJBwAAAAEAAAAAAAAAAAEzAQAAIAAAAOqRF0KHsZhDATQBAAAgAAAA6pEHQoexmEMACTUBAAAJBwAAAAkBAAAACTYBAAAB/AAAAPsAAAAJNwEAAAoJOAEAAAkHAAAAAZqZmZmZmbk/ATkBAAAgAAAA6pEXQldod0MBOgEAACAAAADqkQdCV2h3QwAJOwEAAAkHAAAACQEAAAAJPAEAAAH9AAAA+wAAAAk9AQAACgk+AQAACQcAAAABmpmZmZmZyT8BPwEAACAAAADqkRdCoG09QwFAAQAAIAAAAOqRB0KgbT1DAAlBAQAACQcAAAAJAQAAAAlCAQAAAf4AAAD7AAAACUMBAAAKCUQBAAAJBwAAAAEzMzMzMzPTPwFFAQAAIAAAAOqRF0LpcgNDAUYBAAAgAAAA6pEHQulyA0MACUcBAAAJBwAAAAkBAAAACUgBAAAB/wAAAPsAAAAJSQEAAAoJSgEAAAkHAAAAAZqZmZmZmdk/AUsBAAAgAAAA6pEXQmPwkkIBTAEAACAAAADqkQdCY/CSQgAJTQEAAAkHAAAACQEAAAAJTgEAAAEAAQAA+wAAAAlPAQAACglQAQAACQcAAAABAAAAAAAA4D8BUQEAACAAAADqkRdCpNd3QQFSAQAAIAAAAOqRB0Kk13dBAAlTAQAACQcAAAAJAQAAAAlUAQAABQcBAACiAUFwbG9yaXMuQmFzZS5PYmplY3RzLkRhdGFPYmplY3RDb2xsZWN0aW9uYDFbW0FwbG9yaXMuQ2hhcnQuQ2hhcnREYXRhRWxlbWVudCwgQXBsb3Jpcy5DaGFydCwgVmVyc2lvbj00LjAuMC4xNDg2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Q2hhcnREYXRhRWxlbWVudCwgQXBsb3Jpcy5DaGFydCwgVmVyc2lvbj00LjAuMC4xNDg2LCBDdWx0dXJlPW5ldXRyYWwsIFB1YmxpY0tleVRva2VuPTE2ZmMxM2EyMjZjMGU5NTFdXQMAAACYAVN5c3RlbS5Db2xsZWN0aW9ucy5HZW5lcmljLkxpc3RgMVtbQXBsb3Jpcy5DaGFydC5DaGFydERhdGF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UBAAAJVgEAAAn1AAAACQEAAAAJVwEAAAUJAQAAHEFwbG9yaXMuQ2hhcnQuQ29ubmVjdGVkTGFiZWwkAAAADm1Db25uZWN0b3JMaW5lEG1aT3JkZXJDb25uZWN0b3IObUNvbm5lY3Rvck1vZGUZbUFuZ2xlZENvbm5lY3RvckRpcmVjdGlvbhBtQ29ubmVjdG9yVGFyZ2V0GW1Db25uZWN0b3JUYXJnZXRBcmVhU2hhcGUabUNvbm5lY3RvckRpc3BsYXlUaHJlc2hvbGQTbUNvbm5lY3RBbmNob3JQb2ludB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RMYWJlbCttTGluZUFsaWdubWVudA9MYWJlbCttVGV4dFNpemUVTGFiZWwrbUxhYmVsUmVjdGFuZ2xlG0xhYmVsK21Jbm5lck1hcmdpbkxlZnRSaWdodAtMYWJlbCttVGV4dBBMYWJlbCttVmFyaWFibGVzE0xhYmVsK21WYXJpYWJsZUxpc3QUTGFiZWwr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EBAQEAAAEBAAAAAQABAAABAQEAAEDAwEAAAAABwIAAAMAHkFwbG9yaXMuQmFzZS5VSS5WaXN1YWxQb2x5bGluZQMAAAAIK0FwbG9yaXMuQ2hhcnQuQ29ubmVjdGVkTGFiZWwrZUNvbm5lY3Rvck1vZGUCAAAANkFwbG9yaXMuQ2hhcnQuQ29ubmVjdGVkTGFiZWwrZUFuZ2xlZENvbm5lY3RvckRpcmVjdGlvbgIAAAAZU3lzdGVtLkRyYXdpbmcuUmVjdGFuZ2xlRgQAAAAtQXBsb3Jpcy5DaGFydC5Db25uZWN0ZWRMYWJlbCtlVGFyZ2V0QXJlYVNoYXBlAgAAAAsB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IAAAAKWAIAAAVYAQAAK0FwbG9yaXMuQ2hhcnQuQ29ubmVjdGVkTGFiZWwrZUNvbm5lY3Rvck1vZGUBAAAAB3ZhbHVlX18ACAIAAAABAAAABVkBAAA2QXBsb3Jpcy5DaGFydC5Db25uZWN0ZWRMYWJlbCtlQW5nbGVkQ29ubmVjdG9yRGlyZWN0aW9uAQAAAAd2YWx1ZV9fAAgCAAAAAAAAAAFaAQAAFAAAAJo7l0Np/11DwCkEQkrHoEIFWwEAAC1BcGxvcmlzLkNoYXJ0LkNvbm5lY3RlZExhYmVsK2VUYXJnZXRBcmVhU2hhcGUBAAAAB3ZhbHVlX18ACAIAAAAAAAAAAAAQQQEBXAEAACAAAADSwKtDnhiDQwFdAQAAmgAAAAQAAAAAAAAAAAAAAAAJXgEAAAAAAAAJXwEAAAAAAWABAACjAAAAAAAAAAFhAQAAbAAAAAAA4EEAAGBBAWIBAAAUAAAAAAAAAAAAAAAAAAAAAAAAAF662T8JCAEAAAoJYwEAAAZkAQAAACADAAD/////AAEKCWUBAAABAAoABwoBAAAAAQAAAAIAAAAEFVN5c3RlbS5EcmF3aW5nLlBvaW50RgQAAAABZgEAACAAAADSwKtDnhiDQwFnAQAAIAAAAOqRA0L30CZDBwsBAAAAAQAAAAIAAAAEF0FwbG9yaXMuQmFzZS5BbmNob3JNb2RlAwAAAAFoAQAAmgAAAAQAAAABaQEAAJoAAAACAAAAAQwBAAAkAAAACWoBAAABAAAAAQAAAAENAQAAJQAAAAlrAQAAAQAAAAMAAAAPEAEAAAEAAAAIAAAAAAcRAQAAAAEAAAABAAAABBVBcGxvcmlzLkJhc2UuVUkuTGFiZWwDAAAACWwBAAABEgEAADMAAAABbQEAACAAAAAOQIpChzGbQwFuAQAAmgAAAAMAAAAAAAAAAAAAAAAJbwEAAAAAAAAJcAEAAAAAAXEBAACjAAAAAAAAAAFyAQAAbAAAAAAAREIAAMhBAXMBAAAUAAAAdNE1QgAAm0O9Fj5CdNG1QRKDvj8JDgEAAAoJdAEAAAlkAQAAIAMAAP////8BAQoJdQEAAAEACgABEwEAACQAAAAJ0wAAAAAAAAAAAAAAARQBAAAlAAAACXYBAAACAAAABgAAAA8XAQAAAQAAAAgAAAAABxgBAAAAAQAAAAEAAAAEFUFwbG9yaXMuQmFzZS5VSS5MYWJlbAMAAAAJdwEAAAEZAQAAMwAAAAF4AQAAIAAAACCXA0OHMZtDAXkBAACaAAAAAwAAAAAAAAAAAAAAAAl6AQAAAAAAAAl7AQAAAAABfAEAAKMAAAAAAAAAAX0BAABsAAAAAAAwQgAAGEIBfgEAABQAAAAAANxCAACbQzHoK0KLLgpCEoO+PwkVAQAACgl/AQAACWQBAAAgAwAA/////wEBCgmAAQAAAQAKAAEaAQAAJAAAAAnTAAAAAAAAAAAAAAABGwEAACUAAAAJgQEAAAIAAAAGAAAADx4BAAABAAAACAAAAAAHHwEAAAABAAAAAQAAAAQVQXBsb3Jpcy5CYXNlLlVJLkxhYmVsAwAAAAmCAQAAASABAAAzAAAAAYMBAAAgAAAAOg5CQ4cxm0MBhAEAAJoAAAADAAAAAAAAAAAAAAAACYUBAAAAAAAACYYBAAAAAAGHAQAAowAAAAAAAAABiAEAAGwAAAAAADRCAADIQQGJAQAAFAAAAHTRK0MAAJtDGosvQnTRtUESg74/CRwBAAAKCYoBAAAJZAEAACADAAD/////AQEKCYsBAAABAAoAASEBAAAkAAAACYwBAAAAAAAAAAAAAAEiAQAAJQAAAAmNAQAAAgAAAAYAAAAPJQEAAAEAAAAIAAAAAAcmAQAAAAEAAAABAAAABBVBcGxvcmlzLkJhc2UuVUkuTGFiZWwDAAAACY4BAAABJwEAADMAAAABjwEAACAAAACpQoBDhzGbQwGQAQAAmgAAAAMAAAAAAAAAAAAAAAAJkQEAAAAAAAAJkgEAAAAAAZMBAACjAAAAAAAAAAGUAQAAbAAAAAAAikIAAMhBAZUBAAAUAAAA6KJfQwAAm0N1aINCdNG1QRKDvj8JIwEAAAoJlgEAAAlkAQAAIAMAAP////8BAQoJlwEAAAEACgABKAEAACQAAAAJ0wAAAAAAAAAAAAAAASkBAAAlAAAACZgBAAACAAAABgAAAA8sAQAAAQAAAAgAAAAABy0BAAAAAQAAAAEAAAAEFUFwbG9yaXMuQmFzZS5VSS5MYWJlbAMAAAAJmQEAAAEuAQAAMwAAAAGaAQAAIAAAADZ+n0OHMZtDAZsBAACaAAAAAwAAAAAAAAAAAAAAAAmcAQAAAAAAAAmdAQAAAAABngEAAKMAAAAAAAAAAZ8BAABsAAAAAAB4QgAAyEEBoAEAABQAAACji5BDAACbQ41cbUJ00bVBEoO+PwkqAQAACgmhAQAACWQBAAAgAwAA/////wEBCgmiAQAAAQAKAAEvAQAAJAAAAAnTAAAAAAAAAAAAAAABMAEAACUAAAAJowEAAAIAAAACAAAAATEBAAAvAAAAAaQBAAAgAAAA6pEXQoexmEMBpQEAACAAAADqkQdCh7GYQwmmAQAAzAEAAP////8BAQoJpwEAAAEACgABMgEAADMAAAABqAEAACAAAADqkQFCh7GYQwGpAQAAmgAAAAIAAAAAAAAAAAAAAAAJqgEAAAAAAAAJqwEAAAAAAawBAACjAAAAAAAAAAGtAQAAbAAAAAAAgEEAAEBBAa4BAAAUAAAAuuiCQQAAlkN6LYxBo4suQRKDvj8GrwEAAAIwJQoJsAEAAAlkAQAA0AIAAP////8BAQoJsQEAAAEACgABNQEAACQAAAAJ0wAAAAAAAAAAAAAAATYBAAAlAAAACbIBAAACAAAAAgAAAAE3AQAALwAAAAGzAQAAIAAAAOqRF0JXaHdDAbQBAAAgAAAA6pEHQldod0MJtQEAAMwBAAD/////AQEKCbYBAAABAAoAATgBAAAzAAAAAbcBAAAgAAAA6pEBQldod0MBuAEAAJoAAAACAAAAAAAAAAAAAAAACbkBAAAAAAAACboBAAAAAAG7AQAAowAAAAAAAAABvAEAAGwAAAAAALhBAABAQQG9AQAAFAAAAAAAIEF00XFDNBa/QaOLLkESg74/Br4BAAADMTAlCgm/AQAACWQBAADQAgAA/////wEBCgnAAQAAAQAKAAE7AQAAJAAAAAnTAAAAAAAAAAAAAAABPAEAACUAAAAJwQEAAAIAAAACAAAAAT0BAAAvAAAAAcIBAAAgAAAA6pEXQqBtPUMBwwEAACAAAADqkQdCoG09QwnEAQAAzAEAAP////8BAQoJxQEAAAEACgABPgEAADMAAAABxgEAACAAAADqkQFCoG09QwHHAQAAmgAAAAIAAAAAAAAAAAAAAAAJyAEAAAAAAAAJyQEAAAAAAcoBAACjAAAAAAAAAAHLAQAAbAAAAAAAuEEAAEBBAcwBAAAUAAAAAAAgQeiiN0M0Fr9Bo4suQRKDvj8GzQEAAAMyMCUKCc4BAAAJZAEAANACAAD/////AQEKCc8BAAABAAoAAUEBAAAkAAAACdMAAAAAAAAAAAAAAAFCAQAAJQAAAAnQAQAAAgAAAAIAAAABQwEAAC8AAAAB0QEAACAAAADqkRdC6XIDQwHSAQAAIAAAAOqRB0LpcgNDCdMBAADMAQAA/////wEBCgnUAQAAAQAKAAFEAQAAMwAAAAHVAQAAIAAAAOqRAULpcgNDAdYBAACaAAAAAgAAAAAAAAAAAAAAAAnXAQAAAAAAAAnYAQAAAAAB2QEAAKMAAAAAAAAAAdoBAABsAAAAAAC4QQAAQEEB2wEAABQAAAAAACBBLrr8QjQWv0Gjiy5BEoO+PwbcAQAAAzMwJQoJ3QEAAAlkAQAA0AIAAP////8BAQoJ3gEAAAEACgABRwEAACQAAAAJ0wAAAAAAAAAAAAAAAUgBAAAlAAAACd8BAAACAAAAAgAAAAFJAQAALwAAAAHgAQAAIAAAAOqRF0Jj8JJCAeEBAAAgAAAA6pEHQmPwkkIJ4gEAAMwBAAD/////AQEKCeMBAAABAAoAAUoBAAAzAAAAAeQBAAAgAAAA6pEBQmPwkkIB5QEAAJoAAAACAAAAAAAAAAAAAAAACeYBAAAAAAAACecBAAAAAAHoAQAAowAAAAAAAAAB6QEAAGwAAAAAALhBAABAQQHqAQAAFAAAAAAAIEEXXYhCNBa/QaOLLkESg74/BusBAAADNDAlCgnsAQAACWQBAADQAgAA/////wEBCgntAQAAAQAKAAFNAQAAJAAAAAnTAAAAAAAAAAAAAAABTgEAACUAAAAJ7gEAAAIAAAACAAAAAU8BAAAvAAAAAe8BAAAgAAAA6pEXQqTXd0EB8AEAACAAAADqkQdCpNd3QQnxAQAAzAEAAP////8BAQoJ8gEAAAEACgABUAEAADMAAAAB8wEAACAAAADqkQFCpNd3QQH0AQAAmgAAAAIAAAAAAAAAAAAAAAAJ9QEAAAAAAAAJ9gEAAAAAAfcBAACjAAAAAAAAAAH4AQAAbAAAAAAAuEEAAEBBAfkBAAAUAAAAAAAgQQAAIEE0Fr9Bo4suQRKDvj8G+gEAAAM1MCUKCfsBAAAJZAEAANACAAD/////AQEKCfwBAAABAAoAAVMBAAAkAAAACdMAAAAAAAAAAAAAAAFUAQAAJQAAAAn9AQAAAgAAAAIAAAAEVQEAAJgBU3lzdGVtLkNvbGxlY3Rpb25zLkdlbmVyaWMuTGlzdGAxW1tBcGxvcmlzLkNoYXJ0LkNoYXJ0RGF0YUVsZW1lbnQsIEFwbG9yaXMuQ2hhcnQsIFZlcnNpb249NC4wLjAuMTQ4NiwgQ3VsdHVyZT1uZXV0cmFsLCBQdWJsaWNLZXlUb2tlbj0xNmZjMTNhMjI2YzBlOTUxXV0DAAAABl9pdGVtcwVfc2l6ZQhfdmVyc2lvbgQAACBBcGxvcmlzLkNoYXJ0LkNoYXJ0RGF0YUVsZW1lbnRbXQIAAAAICAn+AQAABQAAAAsAAAABVgEAACQAAAAJ/wEAAAUAAAAHAAAAAVcBAAAlAAAACdEAAAAAAAAAAAAAAAVe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QAAAAoAAAAAAEBBCXAAAAAJcQAAAAkAAgAAAQAJAQIAAAFfAQAAcgAAAAoKAAAAAP///wAOAAAAAAEBYwEAAKcAAAAJAgIAAAEAAAABAAAAAWUBAABvAAAACQMCAAAKB2oBAAAAAQAAAAQAAAAEH0FwbG9yaXMuQmFzZS5PYmplY3RzLkRhdGFPYmplY3QDAAAACQcBAAANAwdrAQAAAAEAAAAEAAAABBxBcGxvcmlzLkJhc2UuVUkuVmlzdWFsT2JqZWN0AwAAAAkJAQAADQMBbAEAADMAAAABBAIAACAAAAAOQIpCAPfJQQEFAgAAmgAAAAEAAAAAAAAAAAAAAAAJBgIAAAAAAAAJBwIAAAAAAQgCAACjAAAAAAAAAAEJAgAAbAAAAAAAAEIAAEBBAQoCAAAUAAAAuuhSQi66aEFIRQBCo4suQRKDvj8GCwIAAAU0Ny44JQoJDAIAAAlkAQAANAMAAP////8BAQoJDQIAAAEACgABbwEAACIAAAAKCgAAAAAAKEEJcAAAAAlxAAAACQ4CAAAAAAkPAgAAAXABAAByAAAACgoAAAAA////AA4AAAAAAQF0AQAApwAAAAkQAgAAAQAAAAEAAAABdQEAAG8AAAAJEQIAAAoHdgEAAAABAAAABAAAAAQcQXBsb3Jpcy5CYXNlLlVJLlZpc3VhbE9iamVjdAMAAAAJEgEAAAlsAQAACgoBdwEAADMAAAABEgIAACAAAAAglwNDSYa1QgETAgAAmgAAAAEAAAAAAAAAAAAAAAAJFAIAAAAAAAAJFQIAAAAAARYCAACjAAAAAAAAAAEXAgAAbAAAAAAAAEIAAEBBARgCAAAUAAAAuujmQgAAoEJIRQBCo4suQRKDvj8GGQIAAAUzNi41JQoJGgIAAAlkAQAANAMAAP////8BAQoJGwIAAAEACgABegEAACIAAAAKCgAAAAAAKEEJcAAAAAlxAAAACRwCAAAAAAkdAgAAAXsBAAByAAAACgoAAAAA////AA4AAAAAAQF/AQAApwAAAAkeAgAAAQAAAAEAAAABgAEAAG8AAAAJHwIAAAoHgQEAAAABAAAABAAAAAQcQXBsb3Jpcy5CYXNlLlVJLlZpc3VhbE9iamVjdAMAAAAJGQEAAAl3AQAACgoBggEAADMAAAABIAIAACAAAAA6DkJD45AIQwEhAgAAmgAAAAEAAAAAAAAAAAAAAAAJIgIAAAAAAAAJIwIAAAAAASQCAACjAAAAAAAAAAElAgAAbAAAAAAAAEIAAEBBASYCAAAUAAAAiy4yQ7ro+kJIRQBCo4suQRKDvj8GJwIAAAUyOC42JQoJKAIAAAlkAQAANAMAAP////8BAQoJKQIAAAEACgABhQEAACIAAAAKCgAAAAAAKEEJcAAAAAlxAAAACSoCAAAAAAkrAgAAAYYBAAByAAAACgoAAAAA////AA4AAAAAAQGKAQAApwAAAAksAgAAAQAAAAEAAAABiwEAAG8AAAAJLQIAAAoHjAEAAAABAAAAAAAAAAQfQXBsb3Jpcy5CYXNlLk9iamVjdHMuRGF0YU9iamVjdAMAAAAHjQEAAAABAAAABAAAAAQcQXBsb3Jpcy5CYXNlLlVJLlZpc3VhbE9iamVjdAMAAAAJIAEAAAmCAQAACgoBjgEAADMAAAABLgIAACAAAACpQoBDIzNSQwEvAgAAmgAAAAEAAAAAAAAAAAAAAAAJMAIAAAAAAAAJMQIAAAAAATICAACjAAAAAAAAAAEzAgAAbAAAAAAAAEIAAEBBATQCAAAUAAAAuuhwQ0YXR0NIRQBCo4suQRKDvj8GNQIAAAUxNS45JQoJNgIAAAlkAQAANAMAAP////8BAQoJNwIAAAEACgABkQEAACIAAAAKCgAAAAAAKEEJcAAAAAlxAAAACTgCAAAAAAk5AgAAAZIBAAByAAAACgoAAAAA////AA4AAAAAAQGWAQAApwAAAAk6AgAAAQAAAAEAAAABlwEAAG8AAAAJOwIAAAoHmAEAAAABAAAABAAAAAQcQXBsb3Jpcy5CYXNlLlVJLlZpc3VhbE9iamVjdAMAAAAJJwEAAAmOAQAACgoBmQEAADMAAAABPAIAACAAAAA2fp9Daf9XQwE9AgAAmgAAAAEAAAAAAAAAAAAAAAAJPgIAAAAAAAAJPwIAAAAAAUACAACjAAAAAAAAAAFBAgAAbAAAAAAAAEIAAEBBAUICAAAUAAAAF12XQ110TUNIRQBCo4suQRKDvj8GQwIAAAUxNC45JQoJRAIAAAlkAQAANAMAAP////8BAQoJRQIAAAEACgABnAEAACIAAAAKCgAAAAAAKEEJcAAAAAlxAAAACUYCAAAAAAlHAgAAAZ0BAAByAAAACgoAAAAA////AA4AAAAAAQGhAQAApwAAAAlIAgAAAQAAAAEAAAABogEAAG8AAAAJSQIAAAoHowEAAAABAAAABAAAAAQcQXBsb3Jpcy5CYXNlLlVJLlZpc3VhbE9iamVjdAMAAAAJLgEAAAmZAQAACgoBpgEAAGoAAAAKCgAAAEA/CUoCAAAJSwIAAAEAAAD+////AAAAAAEAAAAAAAAAAAAAAAEAAAAAAAAAAAAAAacBAABvAAAACUwCAAAKAaoBAAAiAAAACgoAAAAAAChBCXAAAAAJcQAAAAlNAgAAAAAJTgIAAAGrAQAAcgAAAAoKAAAAAP///wAOAAAAAAEBsAEAAKcAAAAJTwIAAAEAAAABAAAAAbEBAABvAAAACVACAAAKB7IBAAAAAQAAAAQAAAAEHEFwbG9yaXMuQmFzZS5VSS5WaXN1YWxPYmplY3QDAAAACTEBAAAJMgEAAAoKAbUBAABqAAAACgoAAABAPwlRAgAACVICAAABAAAA/v///wAAAAABAAAAAAAAAAAAAAABAAAAAAAAAAAAAAG2AQAAbwAAAAlTAgAACgG5AQAAIgAAAAoKAAAAAAAoQQlwAAAACXEAAAAJVAIAAAAACVUCAAABugEAAHIAAAAKCgAAAAD///8ADgAAAAABAb8BAACnAAAACVYCAAABAAAAAwAAAAHAAQAAbwAAAAlXAgAACgfBAQAAAAEAAAAEAAAABBxBcGxvcmlzLkJhc2UuVUkuVmlzdWFsT2JqZWN0AwAAAAk3AQAACTgBAAAKCgHEAQAAagAAAAoKAAAAQD8JWAIAAAlZAgAAAQAAAP7///8AAAAAAQAAAAAAAAAAAAAAAQAAAAAAAAAAAAABxQEAAG8AAAAJWgIAAAoByAEAACIAAAAKCgAAAAAAKEEJcAAAAAlxAAAACVsCAAAAAAlcAgAAAckBAAByAAAACgoAAAAA////AA4AAAAAAQHOAQAApwAAAAldAgAAAQAAAAMAAAABzwEAAG8AAAAJXgIAAAoH0AEAAAABAAAABAAAAAQcQXBsb3Jpcy5CYXNlLlVJLlZpc3VhbE9iamVjdAMAAAAJPQEAAAk+AQAACgoB0wEAAGoAAAAKCgAAAEA/CV8CAAAJYAIAAAEAAAD+////AAAAAAEAAAAAAAAAAAAAAAEAAAAAAAAAAAAAAdQBAABvAAAACWECAAAKAdcBAAAiAAAACgoAAAAAAChBCXAAAAAJcQAAAAliAgAAAAAJYwIAAAHYAQAAcgAAAAoKAAAAAP///wAOAAAAAAEB3QEAAKcAAAAJZAIAAAEAAAADAAAAAd4BAABvAAAACWUCAAAKB98BAAAAAQAAAAQAAAAEHEFwbG9yaXMuQmFzZS5VSS5WaXN1YWxPYmplY3QDAAAACUMBAAAJRAEAAAoKAeIBAABqAAAACgoAAABAPwlmAgAACWcCAAABAAAA/v///wAAAAABAAAAAAAAAAAAAAABAAAAAAAAAAAAAAHjAQAAbwAAAAloAgAACgHmAQAAIgAAAAoKAAAAAAAoQQlwAAAACXEAAAAJaQIAAAAACWoCAAAB5wEAAHIAAAAKCgAAAAD///8ADgAAAAABAewBAACnAAAACWsCAAABAAAAAwAAAAHtAQAAbwAAAAlsAgAACgfuAQAAAAEAAAAEAAAABBxBcGxvcmlzLkJhc2UuVUkuVmlzdWFsT2JqZWN0AwAAAAlJAQAACUoBAAAKCgHxAQAAagAAAAoKAAAAQD8JbQIAAAluAgAAAQAAAP7///8AAAAAAQAAAAAAAAAAAAAAAQAAAAAAAAAAAAAB8gEAAG8AAAAJbwIAAAoB9QEAACIAAAAKCgAAAAAAKEEJcAAAAAlxAAAACXACAAAAAAlxAgAAAfYBAAByAAAACgoAAAAA////AA4AAAAAAQH7AQAApwAAAAlyAgAAAQAAAAMAAAAB/AEAAG8AAAAJcwIAAAoH/QEAAAABAAAABAAAAAQcQXBsb3Jpcy5CYXNlLlVJLlZpc3VhbE9iamVjdAMAAAAJTwEAAAlQAQAACgoH/gEAAAABAAAACAAAAAQeQXBsb3Jpcy5DaGFydC5DaGFydERhdGFFbGVtZW50AgAAAAl0AgAACXUCAAAJdgIAAAl3AgAACXgCAAANAwf/AQAAAAEAAAAIAAAABB9BcGxvcmlzLkJhc2UuT2JqZWN0cy5EYXRhT2JqZWN0AwAAAAl0AgAACXUCAAAJeAIAAAl3AgAACXYCAAANAwEAAgAAcgAAAAoKAAAAAAAAAAANAAAAAAEBAQIAAHIAAAAKCgEAAAAAAAAA/////wABBwICAAAAAQAAAAQAAAAEHUFwbG9yaXMuQmFzZS5PYmplY3RzLlZhcmlhYmxlAwAAAAV5AgAAHUFwbG9yaXMuQmFzZS5PYmplY3RzLlZhcmlhYmxlAgAAAAZOdW1iZXIIUG9zaXRpb24AAAgIAwAAAAEAAAAAAAAAAXoCAAB5AgAAAAAAAAAAAAABewIAAHkCAAAAAAAAAAAAAAF8AgAAeQIAAAAAAAAAAAAADwMCAAABAAAACAAAAAABBgIAACIAAAAKCgAAAAAAKEEJcAAAAAlxAAAACX0CAAAAAAl+AgAAAQcCAAByAAAACgoAAAAA////AA4AAAAAAQEMAgAApwAAAAl/AgAAAQAAAAMAAAABDQIAAG8AAAAJgAIAAAoBDgIAAHIAAAAKCgAAAAAAAAAADQAAAAAAAQ8CAAByAAAACgoAAAAAAAAAAA0AAAAAAQcQAgAAAAEAAAAEAAAABB1BcGxvcmlzLkJhc2UuT2JqZWN0cy5WYXJpYWJsZQMAAAABgQIAAHkCAAABAAAAAAAAAAGCAgAAeQIAAAAAAAAAAAAAAYMCAAB5AgAAAAAAAAAAAAABhAIAAHkCAAAAAAAAAAAAAA8RAgAAAQAAAAimAAAAARQCAAAiAAAACgoAAAAAAChBCXAAAAAJcQAAAAmFAgAAAAAJhgIAAAEVAgAAcgAAAAoKAAAAAP///wAOAAAAAAEBGgIAAKcAAAAJhwIAAAEAAAADAAAAARsCAABvAAAACYgCAAAKARwCAAByAAAACgoAAAAAAAAAAA0AAAAAAAEdAgAAcgAAAAoKAAAAAAAAAAANAAAAAAEHHgIAAAABAAAABAAAAAQdQXBsb3Jpcy5CYXNlLk9iamVjdHMuVmFyaWFibGUDAAAAAYkCAAB5AgAAAQAAAAAAAAABigIAAHkCAAAAAAAAAAAAAAGLAgAAeQIAAAAAAAAAAAAAAYwCAAB5AgAAAAAAAAAAAAAPHwIAAAEAAAAIpQAAAAUi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4AAAACgAAAAAAKEEJcAAAAAlxAAAACY0CAAAAAAmOAgAAASMCAAByAAAACgoAAAAA////AA4AAAAAAQEoAgAApwAAAAmPAgAAAQAAAAMAAAABKQIAAG8AAAAJkAIAAAoBKgIAAHIAAAAKCgAAAAAAAAAADQAAAAAAASsCAAByAAAACgoAAAAAAAAAAA0AAAAAAQcsAgAAAAEAAAAEAAAABB1BcGxvcmlzLkJhc2UuT2JqZWN0cy5WYXJpYWJsZQMAAAABkQIAAHkCAAABAAAAAAAAAAGSAgAAeQIAAAAAAAAAAAAAAZMCAAB5AgAAAAAAAAAAAAABlAIAAHkCAAAAAAAAAAAAAA8tAgAAAQAAAAhwAAAABTA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kAAAAKAAAAAAAoQQlwAAAACXEAAAAJlQIAAAAACZYCAAABMQIAAHIAAAAKCgAAAAD///8ADgAAAAABATYCAACnAAAACZcCAAABAAAAAwAAAAE3AgAAbwAAAAmYAgAACgE4AgAAcgAAAAoKAAAAAAAAAAANAAAAAAABOQIAAHIAAAAKCgAAAAAAAAAADQAAAAABBzoCAAAAAQAAAAQAAAAEHUFwbG9yaXMuQmFzZS5PYmplY3RzLlZhcmlhYmxlAwAAAAGZAgAAeQIAAAEAAAAAAAAAAZoCAAB5AgAAAAAAAAAAAAABmwIAAHkCAAAAAAAAAAAAAAGcAgAAeQIAAAAAAAAAAAAADzsCAAABAAAACHEAAAAFPg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gAAAAoAAAAAAChBCXAAAAAJcQAAAAmdAgAAAAAJngIAAAE/AgAAcgAAAAoKAAAAAP///wAOAAAAAAEBRAIAAKcAAAAJnwIAAAEAAAADAAAAAUUCAABvAAAACaACAAAKAUYCAAByAAAACgoAAAAAAAAAAA0AAAAAAAFHAgAAcgAAAAoKAAAAAAAAAAANAAAAAAEHSAIAAAABAAAABAAAAAQdQXBsb3Jpcy5CYXNlLk9iamVjdHMuVmFyaWFibGUDAAAAAaECAAB5AgAAAQAAAAAAAAABogIAAHkCAAAAAAAAAAAAAAGjAgAAeQIAAAAAAAAAAAAAAaQCAAB5AgAAAAAAAAAAAAAPSQIAAAEAAAAILgAAAAFKAgAAcgAAAAoKAAAAAAAAAAANAAAAAAAFSwIAABpBcGxvcmlzLkJhc2UuT2JqZWN0cy5Db2xvcgcAAAASRGF0YU9iamVjdCttUGFyZW50FURhdGFPYmplY3QrbUNvbnRhaW5lcgVtVHlwZQRtUkdCEG1UaGVtZUNvbG9ySW5kZXgMbUF1dG9VcGRhdGVkCW1Nb2RpZmllZAQCAAAAAAAfQXBsb3Jpcy5CYXNlLk9iamVjdHMuTGluZUZvcm1hdAMAAAAICAgBAQMAAAAJpgEAAAoBAAAAAAAAAP////8AAQ9MAgAAAQAAAAi4AAAAAU0CAAByAAAACgoAAAAAAAAAAA0AAAAAAAFOAgAAcgAAAAoKAAAAAAAAAAANAAAAAAEHTwIAAAABAAAABAAAAAQdQXBsb3Jpcy5CYXNlLk9iamVjdHMuVmFyaWFibGUDAAAAAaUCAAB5AgAAAQAAAAAAAAABpgIAAHkCAAAAAAAAAAAAAAGnAgAAeQIAAAAAAAAAAAAAAagCAAB5AgAAAAAAAAAAAAAPUAIAAAEAAAAIJgAAAAFRAgAAcgAAAAoKAAAAAAAAAAANAAAAAAAFUgIAABpBcGxvcmlzLkJhc2UuT2JqZWN0cy5Db2xvcgcAAAASRGF0YU9iamVjdCttUGFyZW50FURhdGFPYmplY3QrbUNvbnRhaW5lcgVtVHlwZQRtUkdCEG1UaGVtZUNvbG9ySW5kZXgMbUF1dG9VcGRhdGVkCW1Nb2RpZmllZAQCAAAAAAAfQXBsb3Jpcy5CYXNlLk9iamVjdHMuTGluZUZvcm1hdAMAAAAICAgBAQMAAAAJtQEAAAoBAAAAAAAAAP////8AAQ9TAgAAAQAAAAi5AAAAAVQCAAByAAAACgoAAAAAAAAAAA0AAAAAAAFVAgAAcgAAAAoKAAAAAAAAAAANAAAAAAEHVgIAAAABAAAABAAAAAQdQXBsb3Jpcy5CYXNlLk9iamVjdHMuVmFyaWFibGUDAAAAAakCAAB5AgAAAQAAAAAAAAABqgIAAHkCAAAAAAAAAAAAAAGrAgAAeQIAAAAAAAAAAAAAAawCAAB5AgAAAAAAAAAAAAAPVwIAAAEAAAAIIwAAAAFYAgAAcgAAAAoKAAAAAAAAAAANAAAAAAAFWQIAABpBcGxvcmlzLkJhc2UuT2JqZWN0cy5Db2xvcgcAAAASRGF0YU9iamVjdCttUGFyZW50FURhdGFPYmplY3QrbUNvbnRhaW5lcgVtVHlwZQRtUkdCEG1UaGVtZUNvbG9ySW5kZXgMbUF1dG9VcGRhdGVkCW1Nb2RpZmllZAQCAAAAAAAfQXBsb3Jpcy5CYXNlLk9iamVjdHMuTGluZUZvcm1hdAMAAAAICAgBAQMAAAAJxAEAAAoBAAAAAAAAAP////8AAQ9aAgAAAQAAAAi2AAAAAVsCAAByAAAACgoAAAAAAAAAAA0AAAAAAAFcAgAAcgAAAAoKAAAAAAAAAAANAAAAAAEHXQIAAAABAAAABAAAAAQdQXBsb3Jpcy5CYXNlLk9iamVjdHMuVmFyaWFibGUDAAAAAa0CAAB5AgAAAQAAAAAAAAABrgIAAHkCAAAAAAAAAAAAAAGvAgAAeQIAAAAAAAAAAAAAAbACAAB5AgAAAAAAAAAAAAAPXgIAAAEAAAAIKwAAAAFfAgAAcgAAAAoKAAAAAAAAAAANAAAAAAAFYAIAABpBcGxvcmlzLkJhc2UuT2JqZWN0cy5Db2xvcgcAAAASRGF0YU9iamVjdCttUGFyZW50FURhdGFPYmplY3QrbUNvbnRhaW5lcgVtVHlwZQRtUkdCEG1UaGVtZUNvbG9ySW5kZXgMbUF1dG9VcGRhdGVkCW1Nb2RpZmllZAQCAAAAAAAfQXBsb3Jpcy5CYXNlLk9iamVjdHMuTGluZUZvcm1hdAMAAAAICAgBAQMAAAAJ0wEAAAoBAAAAAAAAAP////8AAQ9hAgAAAQAAAAi3AAAAAWICAAByAAAACgoAAAAAAAAAAA0AAAAAAAFjAgAAcgAAAAoKAAAAAAAAAAANAAAAAAEHZAIAAAABAAAABAAAAAQdQXBsb3Jpcy5CYXNlLk9iamVjdHMuVmFyaWFibGUDAAAAAbECAAB5AgAAAQAAAAAAAAABsgIAAHkCAAAAAAAAAAAAAAGzAgAAeQIAAAAAAAAAAAAAAbQCAAB5AgAAAAAAAAAAAAAPZQIAAAEAAAAIKgAAAAFmAgAAcgAAAAoKAAAAAAAAAAANAAAAAAAFZwIAABpBcGxvcmlzLkJhc2UuT2JqZWN0cy5Db2xvcgcAAAASRGF0YU9iamVjdCttUGFyZW50FURhdGFPYmplY3QrbUNvbnRhaW5lcgVtVHlwZQRtUkdCEG1UaGVtZUNvbG9ySW5kZXgMbUF1dG9VcGRhdGVkCW1Nb2RpZmllZAQCAAAAAAAfQXBsb3Jpcy5CYXNlLk9iamVjdHMuTGluZUZvcm1hdAMAAAAICAgBAQMAAAAJ4gEAAAoBAAAAAAAAAP////8AAQ9oAgAAAQAAAAi7AAAAAWkCAAByAAAACgoAAAAAAAAAAA0AAAAAAAFqAgAAcgAAAAoKAAAAAAAAAAANAAAAAAEHawIAAAABAAAABAAAAAQdQXBsb3Jpcy5CYXNlLk9iamVjdHMuVmFyaWFibGUDAAAAAbUCAAB5AgAAAQAAAAAAAAABtgIAAHkCAAAAAAAAAAAAAAG3AgAAeQIAAAAAAAAAAAAAAbgCAAB5AgAAAAAAAAAAAAAPbAIAAAEAAAAIJwAAAAFtAgAAcgAAAAoKAAAAAAAAAAANAAAAAAAFbgIAABpBcGxvcmlzLkJhc2UuT2JqZWN0cy5Db2xvcgcAAAASRGF0YU9iamVjdCttUGFyZW50FURhdGFPYmplY3QrbUNvbnRhaW5lcgVtVHlwZQRtUkdCEG1UaGVtZUNvbG9ySW5kZXgMbUF1dG9VcGRhdGVkCW1Nb2RpZmllZAQCAAAAAAAfQXBsb3Jpcy5CYXNlLk9iamVjdHMuTGluZUZvcm1hdAMAAAAICAgBAQMAAAAJ8QEAAAoBAAAAAAAAAP////8AAQ9vAgAAAQAAAAi6AAAAAXACAAByAAAACgoAAAAAAAAAAA0AAAAAAAFxAgAAcgAAAAoKAAAAAAAAAAANAAAAAAEHcgIAAAABAAAABAAAAAQdQXBsb3Jpcy5CYXNlLk9iamVjdHMuVmFyaWFibGUDAAAAAbkCAAB5AgAAAQAAAAAAAAABugIAAHkCAAAAAAAAAAAAAAG7AgAAeQIAAAAAAAAAAAAAAbwCAAB5AgAAAAAAAAAAAAAPcwIAAAEAAAAIKQAAAAV0Ag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b0CAAAJvgIAAAoJvwIAAAoJ9QAAAAgGZDvfT42X3j8KAAAAAAnAAgAACcECAAAAAAAAAAnCAgAACfUAAAAJAQAAAAnDAgAAAXUCAAB0AgAACcQCAAAJxQIAAAoJxgIAAAoJ9QAAAAgGXI/C9Shc1z8KAQAAAAnHAgAACcgCAAAAAAAAAAnJAgAACfUAAAAJAQAAAAnKAgAAAXYCAAB0AgAACcsCAAAJzAIAAAoJzQIAAAoJ9QAAAAgG5/up8dJN0j8KAgAAAAnOAgAACc8CAAAAAAAAAAnQAgAACfUAAAAJAQAAAAnRAgAAAXcCAAB0AgAACdICAAAJ0wIAAAoJ1AIAAAoJ9QAAAAgGJzEIrBxaxD8KAwAAAAnVAgAACdYCAAAAAAAAAAnXAgAACfUAAAAJAQAAAAnYAgAAAXgCAAB0AgAACdkCAAAJ2gIAAAoJ2wIAAAoJ9QAAAAgG30+Nl24Swz8KBAAAAAncAgAACd0CAAAAAAAAAAneAgAACfUAAAAJAQAAAAnfAgAAAX0CAAByAAAACgoAAAAAAAAAAA0AAAAAAAF+AgAAcgAAAAoKAAAAAAAAAAANAAAAAAEHfwIAAAABAAAABAAAAAQdQXBsb3Jpcy5CYXNlLk9iamVjdHMuVmFyaWFibGUDAAAAAeACAAB5AgAAAQAAAAAAAAAB4QIAAHkCAAAAAAAAAAAAAAHiAgAAeQIAAAAAAAAAAAAAAeMCAAB5AgAAAAAAAAAAAAAPgAIAAAEAAAAIqgAAAAGFAgAAcgAAAAoKAAAAAAAAAAANAAAAAAABhgIAAHIAAAAKCgAAAAAAAAAADQAAAAABB4cCAAAAAQAAAAQAAAAEHUFwbG9yaXMuQmFzZS5PYmplY3RzLlZhcmlhYmxlAwAAAAHkAgAAeQIAAAEAAAAAAAAAAeUCAAB5AgAAAAAAAAAAAAAB5gIAAHkCAAAAAAAAAAAAAAHnAgAAeQIAAAAAAAAAAAAAD4gCAAABAAAACKkAAAABjQIAAHIAAAAKCgAAAAAAAAAADQAAAAAAAY4CAAByAAAACgoAAAAAAAAAAA0AAAAAAQePAgAAAAEAAAAEAAAABB1BcGxvcmlzLkJhc2UuT2JqZWN0cy5WYXJpYWJsZQMAAAAB6AIAAHkCAAABAAAAAAAAAAHpAgAAeQIAAAAAAAAAAAAAAeoCAAB5AgAAAAAAAAAAAAAB6wIAAHkCAAAAAAAAAAAAAA+QAgAAAQAAAAinAAAAAZUCAAByAAAACgoAAAAAAAAAAA0AAAAAAAGWAgAAcgAAAAoKAAAAAAAAAAANAAAAAAEHlwIAAAABAAAABAAAAAQdQXBsb3Jpcy5CYXNlLk9iamVjdHMuVmFyaWFibGUDAAAAAewCAAB5AgAAAQAAAAAAAAAB7QIAAHkCAAAAAAAAAAAAAAHuAgAAeQIAAAAAAAAAAAAAAe8CAAB5AgAAAAAAAAAAAAAPmAIAAAEAAAAIqAAAAAGdAgAAcgAAAAoKAAAAAAAAAAANAAAAAAABngIAAHIAAAAKCgAAAAAAAAAADQAAAAABB58CAAAAAQAAAAQAAAAEHUFwbG9yaXMuQmFzZS5PYmplY3RzLlZhcmlhYmxlAwAAAAHwAgAAeQIAAAEAAAAAAAAAAfECAAB5AgAAAAAAAAAAAAAB8gIAAHkCAAAAAAAAAAAAAAHzAgAAeQIAAAAAAAAAAAAAD6ACAAABAAAACKsAAAABvQIAAAkBAAAKWAIAAAH0AgAAWAEAAAIAAAAB9QIAAFkBAAABAAAAAfYCAAAUAAAAPGtSQgD3+UHAKQRCF5KHQwH3AgAAWwEAAAAAAAAAAKBAAAH4AgAAIAAAAA5AikL30CZDAfkCAACaAAAAAAAAAAAAAAAAAAAAAAn6AgAAAAAAAAn7AgAAAAAB/AIAAKMAAAAAAAAAAf0CAABsAAAAAADIQQAAYEEB/gIAABQAAAAAAAAAAAAAAAAAAAAAAAAAXrrZPwb/AgAABTQ3LjglCgkAAwAACWQBAAA0AwAA/////wABCgkBAwAAAQAKAAG+AgAAGwAAAAECAwAAIAAAADxrRkKHsZhDAQMDAAAgAAAAfkqxQgD34UEJBAMAAAkFAwAAAAAAAAoBBgMAAGwAAAAAAAAAAAAAAAEHAwAAbAAAAAAAAAAAAAAAAAAAAAEIAwAAFAAAAAAAAAAAAAAAAAAAAAAAAACkAQAA/////wEBCgkJAwAAAQAKAAe/AgAAAAEAAAACAAAABBpBcGxvcmlzLkJhc2UuVUkuVmlzdWFsTGluZQMAAAAKCgfAAgAAAAEAAAADAAAABBVTeXN0ZW0uRHJhd2luZy5Qb2ludEYEAAAAAQoDAAAgAAAADkCKQvfQJkMBCwMAACAAAAA8azpC99AmQwEMAwAAIAAAAH5Kt0L30CZDB8ECAAAAAQAAAAMAAAAEF0FwbG9yaXMuQmFzZS5BbmNob3JNb2RlAwAAAAENAwAAmgAAAAAAAAABDgMAAJoAAAACAAAAAQ8DAACaAAAABAAAAAHCAgAAJAAAAAnTAAAAAAAAAAAAAAABwwIAACUAAAAJEAMAAAIAAAAGAAAAAcQCAAAJAQAAClgCAAABEQMAAFgBAAACAAAAARIDAABZAQAAAQAAAAETAwAAFAAAANAj5kJJhsFCwCkEQuqfTUMBFAMAAFsBAAAAAAAAAACgQAABFQMAACAAAAAglwNDGZNHQwEWAwAAmgAAAAAAAAAAAAAAAAAAAAAJFwMAAAAAAAAJGAMAAAAAARkDAACjAAAAAAAAAAEaAwAAbAAAAAAAyEEAAGBBARsDAAAUAAAAAAAAAAAAAAAAAAAAAAAAAF662T8GHAMAAAUzNi41JQoJHQMAAAlkAQAANAMAAP////8AAQoJHgMAAAEACgABxQIAABsAAAABHwMAACAAAADQI+BCh7GYQwEgAwAAIAAAAFgcF0NJhrtCCSEDAAAJIgMAAAAAAAAKASMDAABsAAAAAAAAAAAAAAABJAMAAGwAAAAAAAAAAAAAAAAAAAABJQMAABQAAAAAAAAAAAAAAAAAAAAAAAAApAEAAP////8BAQoJJgMAAAEACgAHxgIAAAABAAAAAgAAAAQaQXBsb3Jpcy5CYXNlLlVJLlZpc3VhbExpbmUDAAAACgoHxwIAAAABAAAAAwAAAAQVU3lzdGVtLkRyYXdpbmcuUG9pbnRGBAAAAAEnAwAAIAAAACCXA0MZk0dDASgDAAAgAAAA0CPaQhmTR0MBKQMAACAAAABYHBpDGZNHQwfIAgAAAAEAAAADAAAABBdBcGxvcmlzLkJhc2UuQW5jaG9yTW9kZQMAAAABKgMAAJoAAAAAAAAAASsDAACaAAAAAgAAAAEsAwAAmgAAAAQAAAAByQIAACQAAAAJ0wAAAAAAAAAAAAAAAcoCAAAlAAAACS0DAAACAAAABgAAAAHLAgAACQEAAApYAgAAAS4DAABYAQAAAgAAAAEvAwAAWQEAAAEAAAABMAMAABQAAAACiTFD45AOQ8ApBEIr0h9DATEDAABbAQAAAAAAAAAAoEAAATIDAAAgAAAAOg5CQ/h5XkMBMwMAAJoAAAAAAAAAAAAAAAAAAAAACTQDAAAAAAAACTUDAAAAAAE2AwAAowAAAAAAAAABNwMAAGwAAAAAAMhBAABgQQE4AwAAFAAAAAAAAAAAAAAAAAAAAAAAAABeutk/BjkDAAAFMjguNiUKCToDAAAJZAEAADQDAAD/////AAEKCTsDAAABAAoAAcwCAAAbAAAAATwDAAAgAAAAAokuQ4exmEMBPQMAACAAAAByk1VD45ALQwk+AwAACT8DAAAAAAAACgFAAwAAbAAAAAAAAAAAAAAAAUEDAABsAAAAAAAAAAAAAAAAAAAAAUIDAAAUAAAAAAAAAAAAAAAAAAAAAAAAAKQBAAD/////AQEKCUMDAAABAAoAB80CAAAAAQAAAAIAAAAEGkFwbG9yaXMuQmFzZS5VSS5WaXN1YWxMaW5lAwAAAAoKB84CAAAAAQAAAAMAAAAEFVN5c3RlbS5EcmF3aW5nLlBvaW50RgQAAAABRAMAACAAAAA6DkJD+HleQwFFAwAAIAAAAAKJK0P4eV5DAUYDAAAgAAAAcpNYQ/h5XkMHzwIAAAABAAAAAwAAAAQXQXBsb3Jpcy5CYXNlLkFuY2hvck1vZGUDAAAAAUcDAACaAAAAAAAAAAFIAwAAmgAAAAIAAAABSQMAAJoAAAAEAAAAAdACAAAkAAAACYwBAAAAAAAAAAAAAAHRAgAAJQAAAAlKAwAAAgAAAAIAAAAB0gIAAAkBAAAKWAIAAAFLAwAAWAEAAAIAAAABTAMAAFkBAAABAAAAAU0DAAAUAAAAGgBwQyMzWEPAKQRC1l+sQgFOAwAAWwEAAAAAAAAAAKBAAAFPAwAAIAAAAKlCgEOMpYFDAVADAACaAAAAAAAAAAAAAAAAAAAAAAlRAwAAAAAAAAlSAwAAAAABUwMAAKMAAAAAAAAAAVQDAABsAAAAAADIQQAAYEEBVQMAABQAAAAAAAAAAAAAAAAAAAAAAAAAXrrZPwZWAwAABTE1LjklCglXAwAACWQBAAA0AwAA/////wABCglYAwAAAQAKAAHTAgAAGwAAAAFZAwAAIAAAABoAbUOHsZhDAVoDAAAgAAAARQWKQyMzVUMJWwMAAAlcAwAAAAAAAAoBXQMAAGwAAAAAAAAAAAAAAAFeAwAAbAAAAAAAAAAAAAAAAAAAAAFfAwAAFAAAAAAAAAAAAAAAAAAAAAAAAACkAQAA/////wEBCglgAwAAAQAKAAfUAgAAAAEAAAACAAAABBpBcGxvcmlzLkJhc2UuVUkuVmlzdWFsTGluZQMAAAAKCgfVAgAAAAEAAAADAAAABBVTeXN0ZW0uRHJhd2luZy5Qb2ludEYEAAAAAWEDAAAgAAAAqUKAQ4ylgUMBYgMAACAAAAAaAGpDjKWBQwFjAwAAIAAAAEWFi0OMpYFDB9YCAAAAAQAAAAMAAAAEF0FwbG9yaXMuQmFzZS5BbmNob3JNb2RlAwAAAAFkAwAAmgAAAAAAAAABZQMAAJoAAAACAAAAAWYDAACaAAAABAAAAAHXAgAAJAAAAAnTAAAAAAAAAAAAAAAB2AIAACUAAAAJZwMAAAIAAAACAAAAAdkCAAAJAQAAClgCAAABaAMAAFgBAAACAAAAAWkDAABZAQAAAQAAAAFqAwAAFAAAAJo7l0Np/11DwCkEQkrHoEIBawMAAFsBAAAAAAAAAACgQAABbAMAACAAAAA2fp9DnhiDQwFtAwAAmgAAAAAAAAAAAAAAAAAAAAAJbgMAAAAAAAAJbwMAAAAAAXADAACjAAAAAAAAAAFxAwAAbAAAAAAAyEEAAGBBAXIDAAAUAAAAAAAAAAAAAAAAAAAAAAAAAF662T8GcwMAAAUxNC45JQoJdAMAAAlkAQAANAMAAP////8AAQoJdQMAAAEACgAB2gIAABsAAAABdgMAACAAAACau5VDh7GYQwF3AwAAIAAAANJAqUNp/1pDCXgDAAAJeQMAAAAAAAAKAXoDAABsAAAAAAAAAAAAAAABewMAAGwAAAAAAAAAAAAAAAAAAAABfAMAABQAAAAAAAAAAAAAAAAAAAAAAAAApAEAAP////8BAQoJfQMAAAEACgAH2wIAAAABAAAAAgAAAAQaQXBsb3Jpcy5CYXNlLlVJLlZpc3VhbExpbmUDAAAACgoH3AIAAAABAAAAAwAAAAQVU3lzdGVtLkRyYXdpbmcuUG9pbnRGBAAAAAF+AwAAIAAAADZ+n0OeGINDAX8DAAAgAAAAmjuUQ54Yg0MBgAMAACAAAADSwKpDnhiDQwfdAgAAAAEAAAADAAAABBdBcGxvcmlzLkJhc2UuQW5jaG9yTW9kZQMAAAABgQMAAJoAAAAAAAAAAYIDAACaAAAAAgAAAAGDAwAAmgAAAAQAAAAB3gIAACQAAAAJ0wAAAAAAAAAAAAAAAd8CAAAlAAAACYQDAAACAAAABgAAAAX6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XQCAAAKAAAAAABAQQlwAAAACXEAAAAJhQMAAAEACYYDAAAB+wIAAHIAAAAKCgAAAAA/aX4ABQAAAAABAQADAACnAAAACYcDAAABAAAAAwAAAAEBAwAAbwAAAAmIAwAACgEEAwAAagAAAAoKAAAAQD8JiQMAAAmKAwAAAQAAAP7///8AAAAAAQAAAAAAAAAAAAAAAQAAAAAAAAAAAAABBQMAAGsAAAAKCgmLAwAACYwDAAABAAAA/v///wAAAAD/////AQABCQMAAG8AAAAJjQMAAAoHEAMAAAABAAAABAAAAAQcQXBsb3Jpcy5CYXNlLlVJLlZpc3VhbE9iamVjdAMAAAAJvgIAAAm9AgAACgoFFw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eQXBsb3Jpcy5DaGFydC5DaGFydERhdGFFbGVtZW50AgAAAAEBAQsaQXBsb3Jpcy5CYXNlLk9iamVjdHMuQ29sb3IDAAAAAQEaQXBsb3Jpcy5CYXNlLk9iamVjdHMuQ29sb3IDAAAAAwAAAAl1AgAACgAAAAAAQEEJcAAAAAlxAAAACY4DAAABAAmPAwAAARgDAAByAAAACgoAAAAAP2l+AAUAAAAAAQEdAwAApwAAAAmQAwAAAQAAAAMAAAABHgMAAG8AAAAJkQMAAAoBIQMAAGoAAAAKCgAAAEA/CZIDAAAJkwMAAAEAAAD+////AAAAAAEAAAAAAAAAAAAAAAEAAAAAAAAAAAAAASIDAABrAAAACgoJlAMAAAmVAwAAAQAAAP7///8AAAAA/////wEAASYDAABvAAAACZYDAAAKBy0DAAAAAQAAAAQAAAAEHEFwbG9yaXMuQmFzZS5VSS5WaXN1YWxPYmplY3QDAAAACcUCAAAJxAIAAAoKBTQ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kFwbG9yaXMuQ2hhcnQuQ2hhcnREYXRhRWxlbWVudAIAAAABAQELGkFwbG9yaXMuQmFzZS5PYmplY3RzLkNvbG9yAwAAAAEBGkFwbG9yaXMuQmFzZS5PYmplY3RzLkNvbG9yAwAAAAMAAAAJdgIAAAoAAAAAAEBBCXAAAAAJcQAAAAmXAwAAAQAJmAMAAAE1AwAAcgAAAAoKAAAAAD9pfgAFAAAAAAEBOgMAAKcAAAAJmQMAAAEAAAABAAAAATsDAABvAAAACZoDAAAKAT4DAABqAAAACgoAAABAPwmbAwAACZwDAAABAAAA/v///wAAAAABAAAAAAAAAAAAAAABAAAAAAAAAAAAAAE/AwAAawAAAAoKCZ0DAAAJngMAAAEAAAD+////AAAAAP////8BAAFDAwAAbwAAAAmfAwAACgdKAwAAAAEAAAAEAAAABBxBcGxvcmlzLkJhc2UuVUkuVmlzdWFsT2JqZWN0AwAAAAnMAgAACcsCAAAKCgVR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XcCAAAKAAAAAABAQQlwAAAACXEAAAAJoAMAAAEACaEDAAABUgMAAHIAAAAKCgAAAAA/aX4ABQAAAAABAVcDAACnAAAACaIDAAABAAAAAwAAAAFYAwAAbwAAAAmjAwAACgFbAwAAagAAAAoKAAAAQD8JpAMAAAmlAwAAAQAAAP7///8AAAAAAQAAAAAAAAAAAAAAAQAAAAAAAAAAAAABXAMAAGsAAAAKCgmmAwAACacDAAABAAAA/v///wAAAAD/////AQABYAMAAG8AAAAJqAMAAAoHZwMAAAABAAAABAAAAAQcQXBsb3Jpcy5CYXNlLlVJLlZpc3VhbE9iamVjdAMAAAAJ0wIAAAnSAgAACgoFbg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eQXBsb3Jpcy5DaGFydC5DaGFydERhdGFFbGVtZW50AgAAAAEBAQsaQXBsb3Jpcy5CYXNlLk9iamVjdHMuQ29sb3IDAAAAAQEaQXBsb3Jpcy5CYXNlLk9iamVjdHMuQ29sb3IDAAAAAwAAAAl4AgAACgAAAAAAQEEJcAAAAAlxAAAACakDAAABAAmqAwAAAW8DAAByAAAACgoAAAAAP2l+AAUAAAAAAQF0AwAApwAAAAmrAwAAAQAAAAMAAAABdQMAAG8AAAAJrAMAAAoBeAMAAGoAAAAKCgAAAEA/Ca0DAAAJrgMAAAEAAAD+////AAAAAAEAAAAAAAAAAAAAAAEAAAAAAAAAAAAAAXkDAABrAAAACgoJrwMAAAmwAwAAAQAAAP7///8AAAAA/////wEAAX0DAABvAAAACbEDAAAKB4QDAAAAAQAAAAQAAAAEHEFwbG9yaXMuQmFzZS5VSS5WaXN1YWxPYmplY3QDAAAACdoCAAAJ2QIAAAoKAYUDAAByAAAACgoAAAAAAAAAAA0AAAAAAQGGAwAAcgAAAAoKAQAAAAAAAAD/////AAEHhwMAAAABAAAABAAAAAQdQXBsb3Jpcy5CYXNlLk9iamVjdHMuVmFyaWFibGUDAAAAAbIDAAB5AgAAAQAAAAAAAAABswMAAHkCAAAAAAAAAAAAAAG0AwAAeQIAAAAAAAAAAAAAAbUDAAB5AgAAAAAAAAAAAAAPiAMAAAEAAAAIAAAAAAWJAwAAGkFwbG9yaXMuQmFzZS5PYmplY3RzLkNvbG9yBwAAABJEYXRhT2JqZWN0K21QYXJlbnQVRGF0YU9iamVjdCttQ29udGFpbmVyBW1UeXBlBG1SR0IQbVRoZW1lQ29sb3JJbmRleAxtQXV0b1VwZGF0ZWQJbU1vZGlmaWVkBAIAAAAAAB9BcGxvcmlzLkJhc2UuT2JqZWN0cy5MaW5lRm9ybWF0AwAAAAgICAEBAwAAAAkEAwAACgAAAAD///8ADgAAAAAABYoDAAAaQXBsb3Jpcy5CYXNlLk9iamVjdHMuQ29sb3IHAAAAEkRhdGFPYmplY3QrbVBhcmVudBVEYXRhT2JqZWN0K21Db250YWluZXIFbVR5cGUEbVJHQhBtVGhlbWVDb2xvckluZGV4DG1BdXRvVXBkYXRlZAltTW9kaWZpZWQEAgAAAAAAH0FwbG9yaXMuQmFzZS5PYmplY3RzLkxpbmVGb3JtYXQDAAAACAgIAQEDAAAACQQDAAAKAQAAAAAAAAD/////AAEBiwMAAHIAAAAKCgAAAAA/aX4ABQAAAAAAAYwDAAByAAAACgoBAAAA////AP////8AAA+NAwAAAQAAAAiTAAAAAY4DAAByAAAACgoAAAAAAAAAAA0AAAAAAQGPAwAAcgAAAAoKAQAAAAAAAAD/////AAEHkAMAAAABAAAABAAAAAQdQXBsb3Jpcy5CYXNlLk9iamVjdHMuVmFyaWFibGUDAAAAAbYDAAB5AgAAAQAAAAAAAAABtwMAAHkCAAAAAAAAAAAAAAG4AwAAeQIAAAAAAAAAAAAAAbkDAAB5AgAAAAAAAAAAAAAPkQMAAAEAAAAIAAAAAAWSAwAAGkFwbG9yaXMuQmFzZS5PYmplY3RzLkNvbG9yBwAAABJEYXRhT2JqZWN0K21QYXJlbnQVRGF0YU9iamVjdCttQ29udGFpbmVyBW1UeXBlBG1SR0IQbVRoZW1lQ29sb3JJbmRleAxtQXV0b1VwZGF0ZWQJbU1vZGlmaWVkBAIAAAAAAB9BcGxvcmlzLkJhc2UuT2JqZWN0cy5MaW5lRm9ybWF0AwAAAAgICAEBAwAAAAkhAwAACgAAAAD///8ADgAAAAAABZMDAAAaQXBsb3Jpcy5CYXNlLk9iamVjdHMuQ29sb3IHAAAAEkRhdGFPYmplY3QrbVBhcmVudBVEYXRhT2JqZWN0K21Db250YWluZXIFbVR5cGUEbVJHQhBtVGhlbWVDb2xvckluZGV4DG1BdXRvVXBkYXRlZAltTW9kaWZpZWQEAgAAAAAAH0FwbG9yaXMuQmFzZS5PYmplY3RzLkxpbmVGb3JtYXQDAAAACAgIAQEDAAAACSEDAAAKAQAAAAAAAAD/////AAEBlAMAAHIAAAAKCgAAAAA/aX4ABQAAAAAAAZUDAAByAAAACgoBAAAA////AP////8AAA+WAwAAAQAAAAiPAAAAAZcDAAByAAAACgoAAAAAAAAAAA0AAAAAAQGYAwAAcgAAAAoKAQAAAAAAAAD/////AAEHmQMAAAABAAAABAAAAAQdQXBsb3Jpcy5CYXNlLk9iamVjdHMuVmFyaWFibGUDAAAAAboDAAB5AgAAAQAAAAAAAAABuwMAAHkCAAAAAAAAAAAAAAG8AwAAeQIAAAAAAAAAAAAAAb0DAAB5AgAAAAAAAAAAAAAPmgMAAAEAAAAIAAAAAAWbAwAAGkFwbG9yaXMuQmFzZS5PYmplY3RzLkNvbG9yBwAAABJEYXRhT2JqZWN0K21QYXJlbnQVRGF0YU9iamVjdCttQ29udGFpbmVyBW1UeXBlBG1SR0IQbVRoZW1lQ29sb3JJbmRleAxtQXV0b1VwZGF0ZWQJbU1vZGlmaWVkBAIAAAAAAB9BcGxvcmlzLkJhc2UuT2JqZWN0cy5MaW5lRm9ybWF0AwAAAAgICAEBAwAAAAk+AwAACgAAAAD///8ADgAAAAAABZwDAAAaQXBsb3Jpcy5CYXNlLk9iamVjdHMuQ29sb3IHAAAAEkRhdGFPYmplY3QrbVBhcmVudBVEYXRhT2JqZWN0K21Db250YWluZXIFbVR5cGUEbVJHQhBtVGhlbWVDb2xvckluZGV4DG1BdXRvVXBkYXRlZAltTW9kaWZpZWQEAgAAAAAAH0FwbG9yaXMuQmFzZS5PYmplY3RzLkxpbmVGb3JtYXQDAAAACAgIAQEDAAAACT4DAAAKAQAAAAAAAAD/////AAEBnQMAAHIAAAAKCgAAAAA/aX4ABQAAAAAAAZ4DAAByAAAACgoBAAAA////AP////8AAA+fAwAAAQAAAAiSAAAAAaADAAByAAAACgoAAAAAAAAAAA0AAAAAAQGhAwAAcgAAAAoKAQAAAAAAAAD/////AAEHogMAAAABAAAABAAAAAQdQXBsb3Jpcy5CYXNlLk9iamVjdHMuVmFyaWFibGUDAAAAAb4DAAB5AgAAAQAAAAAAAAABvwMAAHkCAAAAAAAAAAAAAAHAAwAAeQIAAAAAAAAAAAAAAcEDAAB5AgAAAAAAAAAAAAAPowMAAAEAAAAIAAAAAAWkAwAAGkFwbG9yaXMuQmFzZS5PYmplY3RzLkNvbG9yBwAAABJEYXRhT2JqZWN0K21QYXJlbnQVRGF0YU9iamVjdCttQ29udGFpbmVyBW1UeXBlBG1SR0IQbVRoZW1lQ29sb3JJbmRleAxtQXV0b1VwZGF0ZWQJbU1vZGlmaWVkBAIAAAAAAB9BcGxvcmlzLkJhc2UuT2JqZWN0cy5MaW5lRm9ybWF0AwAAAAgICAEBAwAAAAlbAwAACgAAAAD///8ADgAAAAAABaUDAAAaQXBsb3Jpcy5CYXNlLk9iamVjdHMuQ29sb3IHAAAAEkRhdGFPYmplY3QrbVBhcmVudBVEYXRhT2JqZWN0K21Db250YWluZXIFbVR5cGUEbVJHQhBtVGhlbWVDb2xvckluZGV4DG1BdXRvVXBkYXRlZAltTW9kaWZpZWQEAgAAAAAAH0FwbG9yaXMuQmFzZS5PYmplY3RzLkxpbmVGb3JtYXQDAAAACAgIAQEDAAAACVsDAAAKAQAAAAAAAAD/////AAEBpgMAAHIAAAAKCgAAAAA/aX4ABQAAAAAAAacDAAByAAAACgoBAAAA////AP////8AAA+oAwAAAQAAAAiRAAAAAakDAAByAAAACgoAAAAAAAAAAA0AAAAAAQGqAwAAcgAAAAoKAQAAAAAAAAD/////AAEHqwMAAAABAAAABAAAAAQdQXBsb3Jpcy5CYXNlLk9iamVjdHMuVmFyaWFibGUDAAAAAcIDAAB5AgAAAQAAAAAAAAABwwMAAHkCAAAAAAAAAAAAAAHEAwAAeQIAAAAAAAAAAAAAAcUDAAB5AgAAAAAAAAAAAAAPrAMAAAEAAAAIAAAAAAWtAwAAGkFwbG9yaXMuQmFzZS5PYmplY3RzLkNvbG9yBwAAABJEYXRhT2JqZWN0K21QYXJlbnQVRGF0YU9iamVjdCttQ29udGFpbmVyBW1UeXBlBG1SR0IQbVRoZW1lQ29sb3JJbmRleAxtQXV0b1VwZGF0ZWQJbU1vZGlmaWVkBAIAAAAAAB9BcGxvcmlzLkJhc2UuT2JqZWN0cy5MaW5lRm9ybWF0AwAAAAgICAEBAwAAAAl4AwAACgAAAAD///8ADgAAAAAABa4DAAAaQXBsb3Jpcy5CYXNlLk9iamVjdHMuQ29sb3IHAAAAEkRhdGFPYmplY3QrbVBhcmVudBVEYXRhT2JqZWN0K21Db250YWluZXIFbVR5cGUEbVJHQhBtVGhlbWVDb2xvckluZGV4DG1BdXRvVXBkYXRlZAltTW9kaWZpZWQEAgAAAAAAH0FwbG9yaXMuQmFzZS5PYmplY3RzLkxpbmVGb3JtYXQDAAAACAgIAQEDAAAACXgDAAAKAQAAAAAAAAD/////AAEBrwMAAHIAAAAKCgAAAAA/aX4ABQAAAAAAAbADAAByAAAACgoBAAAA////AP////8AAA+xAwAAAQAAAAiQAAAACw=="/>
  <p:tag name="APLORISTAG" val="M8ejm1SFH7rYyU1s2.144"/>
</p:tagLst>
</file>

<file path=ppt/tags/tag17.xml><?xml version="1.0" encoding="utf-8"?>
<p:tagLst xmlns:a="http://schemas.openxmlformats.org/drawingml/2006/main" xmlns:r="http://schemas.openxmlformats.org/officeDocument/2006/relationships" xmlns:p="http://schemas.openxmlformats.org/presentationml/2006/main">
  <p:tag name="APLORISTAG" val="MX/IjfW661gLV+xOY.356"/>
</p:tagLst>
</file>

<file path=ppt/tags/tag170.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3////9/////f////3//ARUAAAAUAAAA//9/////f////3////9//wAAAAAABRYAAAAsQXBsb3Jpcy5DaGFydC5BeGlzQnJlYWsrQXhpc0JyZWFrRGlzcGxheU1vZGUBAAAAB3ZhbHVlX18ACAIAAAABAAAAAQEBCgoJFwAAAAoKAAAAAAAJGAAAAAoJGQAAAAAAAAAKBRoAAAAZQXBsb3Jpcy5DaGFydC5PcmllbnRhdGlvbgEAAAAHdmFsdWVfXwAIAgAAAAEAAAAJGwAAAAEcAAAAFAAAAOmRF0JEf3NBvimcQyk8mEMABB0AAAALU3lzdGVtLkd1aWQLAAAAAl9hAl9iAl9jAl9kAl9lAl9mAl9nAl9oAl9pAl9qAl9rAAAAAAAAAAAAAAAIBwcCAgICAgICAgAAAAAAAAAAAAAAAAAAAAAACgoJHgAAAAAKCgoBAAAAAAAAAP////8AAQEfAAAAFAAAAAAAIEEAACBB7x+vQ+iiqEPyIL9AyUomQ+8fuUPoorJDBSAAAAAVU3lzdGVtLkRyYXdpbmcuUG9pbnRGAgAAAAF4AXkAAAsLBAAAAN0V7ELa24NDBiEAAAAQRnVQYUtFemFpZEtscUpOaw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wLjAuMTQ4NiwgQ3VsdHVyZT1uZXV0cmFsLCBQdWJsaWNLZXlUb2tlbj0xNmZjMTNhMjI2YzBlOTUxXV0DAAAAmwFBcGxvcmlzLkJhc2UuT2JqZWN0cy5EYXRhT2JqZWN0Q29sbGVjdGlvbmAxW1tBcGxvcmlzLkNoYXJ0LkF4aXNCcmVhaywgQXBsb3Jpcy5DaGFydCwgVmVyc2lvbj00LjAuMC4xNDg2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AuMC4xNDg2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SYAAAAWQXBsb3Jpcy5DaGFydC5BeGlzVHlwZQEAAAAHdmFsdWVfXwAIAgAAAAEAAACamRk/AAAACgkBAAAACScAAAAJKAAAAAEAAAAAAAAAAAEAAAAAAADwPwGamZmZmZm5PwAAACBBAAEJKQAAAAoJKgAAAAkrAAAACSwAAAABLQAAACAAAADpkRdCI9ifQwEuAAAAIAAAAPsbr0Mj2J9DCS8AAAAJMAAAAAkxAAAACTIAAAAAAAAAAAAAAAAAAAAJMwAAAAAAAAAAAAk0AAAACQEAAAAJAQAAAAk1AAAAAQcAAAAGAAAACQEAAAABNgAAACYAAAAAAAAAzcxMPwAAAAgBAAkBAAAACTcAAAAJOAAAAAEAAAAAAAAAAAEAAAAAAADgPwGamZmZmZmpPwAAACBBAAEJOQAAAAoJOgAAAAk7AAAACTwAAAABPQAAACAAAADpkRdCI9ifQwE+AAAAIAAAAOmRF0JEf3NBCT8AAAAJQAAAAAlBAAAACUIAAAAAAAAAAAAAAAAAAAAJQwAAAAAAAAAAAAlEAAAACQEAAAAJAQAAAAlFAAAABAgAAACoAVN5c3RlbS5Db2xsZWN0aW9ucy5HZW5lcmljLkxpc3RgMVtbQXBsb3Jpcy5DaGFydC5Db2x1bW5PcmllbnRlZENoYXJ0K1VudXNlZFNlcmllcywgQXBsb3Jpcy5DaGFydCwgVmVyc2lvbj00LjAuMC4xNDg2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AuMC4xNDg2LCBDdWx0dXJlPW5ldXRyYWwsIFB1YmxpY0tleVRva2VuPTE2ZmMxM2EyMjZjMGU5NTFdXQMAAACXAVN5c3RlbS5Db2xsZWN0aW9ucy5HZW5lcmljLkxpc3RgMVtbQXBsb3Jpcy5DaGFydC5DaGFydERhdGFTZXJpZXM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RwAAAAlIAAAACQEAAAAJAQAAAAlJAAAABQoAAACmAUFwbG9yaXMuQmFzZS5PYmplY3RzLkRhdGFPYmplY3RDb2xsZWN0aW9uYDFbW0FwbG9yaXMuQ2hhcnQuQW5ub3RhdGlvbk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C4wLjE0ODYsIEN1bHR1cmU9bmV1dHJhbCwgUHVibGljS2V5VG9rZW49MTZmYzEzYTIyNmMwZTk1MV1dAwAAAJwBU3lzdGVtLkNvbGxlY3Rpb25zLkdlbmVyaWMuTGlzdGAxW1tBcGxvcmlzLkNoYXJ0LkFubm90YXRpb25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oAAAAJSwAAAAkBAAAACQEAAAAJTAAAAAULAAAAoQFBcGxvcmlzLkJhc2UuT2JqZWN0cy5EYXRhT2JqZWN0Q29sbGVjdGlvbmAxW1tBcGxvcmlzLkNoYXJ0LkFubm90YXRpb25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C4wLjE0ODYsIEN1bHR1cmU9bmV1dHJhbCwgUHVibGljS2V5VG9rZW49MTZmYzEzYTIyNmMwZTk1MV1dAwAAAJcBU3lzdGVtLkNvbGxlY3Rpb25zLkdlbmVyaWMuTGlzdGAxW1tBcGxvcmlzLkNoYXJ0LkFubm90YXRpb25Hcm91c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NAAAACU4AAAAJAQAAAAkBAAAACU8AAAAFDAAAAKABQXBsb3Jpcy5CYXNlLk9iamVjdHMuRGF0YU9iamVjdENvbGxlY3Rpb25gMVtbQXBsb3Jpcy5DaGFydC5DaGFydERhdGF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wLjAuMTQ4NiwgQ3VsdHVyZT1uZXV0cmFsLCBQdWJsaWNLZXlUb2tlbj0xNmZjMTNhMjI2YzBlOTUxXV0DAAAAlgFTeXN0ZW0uQ29sbGVjdGlvbnMuR2VuZXJpYy5MaXN0YDFbW0FwbG9yaXMuQ2hhcnQuQ2hhcnREYXRh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UAAAAAlRAAAACQEAAAAJAQAAAAlSAAAABQ0AAACaAUFwbG9yaXMuQmFzZS5PYmplY3RzLkRhdGFPYmplY3RDb2xsZWN0aW9uYDFbW0FwbG9yaXMuQ2hhcnQuRGVsdGFCYXI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C4wLjE0ODYsIEN1bHR1cmU9bmV1dHJhbCwgUHVibGljS2V5VG9rZW49MTZmYzEzYTIyNmMwZTk1MV1dAwAAAJABU3lzdGVtLkNvbGxlY3Rpb25zLkdlbmVyaWMuTGlzdGAxW1tBcGxvcmlzLkNoYXJ0LkRlbHRhQmF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MAAAAJVAAAAAkBAAAACQEAAAAJVQAAAAUOAAAAnQFBcGxvcmlzLkJhc2UuT2JqZWN0cy5EYXRhT2JqZWN0Q29sbGVjdGlvbmAxW1tBcGxvcmlzLkNoYXJ0LkRlbHRhQnJpZGdlLCBBcGxvcmlzLkNoYXJ0LCBWZXJzaW9uPTQuMC4wLjE0ODY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AuMC4xNDg2LCBDdWx0dXJlPW5ldXRyYWwsIFB1YmxpY0tleVRva2VuPTE2ZmMxM2EyMjZjMGU5NTFdXQMAAACTAVN5c3RlbS5Db2xsZWN0aW9ucy5HZW5lcmljLkxpc3RgMVtbQXBsb3Jpcy5DaGFydC5EZWx0YUJyaWRn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WAAAACVcAAAAJAQAAAAkBAAAACVgAAAAFDwAAAJ0BQXBsb3Jpcy5CYXNlLk9iamVjdHMuRGF0YU9iamVjdENvbGxlY3Rpb25gMVtbQXBsb3Jpcy5DaGFydC5Hcm93dGhBcnJvdy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wLjAuMTQ4NiwgQ3VsdHVyZT1uZXV0cmFsLCBQdWJsaWNLZXlUb2tlbj0xNmZjMTNhMjI2YzBlOTUxXV0DAAAAkwFTeXN0ZW0uQ29sbGVjdGlvbnMuR2VuZXJpYy5MaXN0YDFbW0FwbG9yaXMuQ2hhcnQuR3Jvd3RoQXJyb3c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WQAAAAlaAAAACQEAAAAJAQAAAAlbAAAABRAAAACkAUFwbG9yaXMuQmFzZS5PYmplY3RzLkRhdGFPYmplY3RDb2xsZWN0aW9uYDFbW0FwbG9yaXMuQ2hhcnQuV2F0ZXJmYWxs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wLjAuMTQ4NiwgQ3VsdHVyZT1uZXV0cmFsLCBQdWJsaWNLZXlUb2tlbj0xNmZjMTNhMjI2YzBlOTUxXV0DAAAAmgFTeXN0ZW0uQ29sbGVjdGlvbnMuR2VuZXJpYy5MaXN0YDFbW0FwbG9yaXMuQ2hhcnQuV2F0ZXJmYWxsQ29ubmVjdG9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wAAAAJXQAAAAkBAAAACQEAAAAJXgAAAAURAAAAogFBcGxvcmlzLkJhc2UuT2JqZWN0cy5EYXRhT2JqZWN0Q29sbGVjdGlvbmAxW1tBcGxvcmlzLkNoYXJ0LkVsZW1lbnRDb25uZWN0b3I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wLjAuMTQ4NiwgQ3VsdHVyZT1uZXV0cmFsLCBQdWJsaWNLZXlUb2tlbj0xNmZjMTNhMjI2YzBlOTUxXV0DAAAAmAFTeXN0ZW0uQ29sbGVjdGlvbnMuR2VuZXJpYy5MaXN0YDFbW0FwbG9yaXMuQ2hhcnQuRWxlbWVud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gAAAAgBAAAAAgAAAAMAAAAEAAAABQAAAAYAAAAFGwAAABpBcGxvcmlzLkJhc2UuVUkuVmlzdWFsUmVjdBQAAAALbVN0YXJ0UG9pbnQJbUVuZFBvaW50C21MaW5lRm9ybWF0C21GaWxsRm9ybWF0CW1Sb3RhdGlvbhJtUmVjdGFuZ2xlUHJvdmlkZXIMbVBhaW50T2Zmc2V0Em1QYWludFNpemVPdmVycmlkZQ5tRXh0cmFSb3RhdGlvbg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QEBAAEAAAAAAcCAAADABVTeXN0ZW0uRHJhd2luZy5Qb2ludEYEAAAAFVN5c3RlbS5EcmF3aW5nLlBvaW50RgQAAAAfQXBsb3Jpcy5CYXNlLk9iamVjdHMuTGluZUZvcm1hdAMAAAAfQXBsb3Jpcy5CYXNlLk9iamVjdHMuRmlsbEZvcm1hdAMAAAALKkFwbG9yaXMuQmFzZS5VSS5JUmVjdGFuZ2xlUG9zaXRpb25Qcm92aWRlcgMAAAAUU3lzdGVtLkRyYXdpbmcuU2l6ZUYEAAAAFFN5c3RlbS5EcmF3aW5nLlNpemVGBAAAAAsZU3lzdGVtLkRyYXdpbmcuUmVjdGFuZ2xlRgQAAAAICAEBCAEBD1N5c3RlbS5JbnRQdHJbXQEDAAAAAWgAAAAgAAAA6ZEXQkR/c0EBaQAAACAAAAD7G69DI9ifQwlqAAAACWsAAAAAAAAACgVsAAAAFFN5c3RlbS5EcmF3aW5nLlNpemVGAgAAAAV3aWR0aAZoZWlnaHQAAAsLBAAAAAAAAAAAAAAAAW0AAABsAAAAAAAAAAAAAAAAAAAAAW4AAAAUAAAAAAAAAAAAAAAAAAAAAAAAABQAAAD/////AQEKCW8AAAABAAoADx4AAAA+KgAAAlBLAwQUAAYACAAAACEAkleNNXkBAABwBQ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RLTsMwEN0jcYfIW5S4ZYEQatoFhSVUohzA2JMmqmNbHvd3eyZuQVCFhKrdxErs95t4ZjTZ1jpZg8fKmpwNswFLwEirKrPI2fv8Ob1nCQZhlNDWQM52gGwyvr4azXcOMCG0wZyVIbgHzlGWUAvMrANDO4X1tQj06hfcCbkUC+C3g8Edl9YEMCENDQcbj6ZQiJUOydOWPu+dEJwlj/tzjVTOhHO6kiKQUd7s8lbcuhO3NurIXGqLopKgrFzVZCkj/NSLDcX/Q8CDxg5nLQqH6Bkho3ssK4c3hwivVHtfKUhmwocXUVNQvtV8Y/3yw9pl1l2HFrWjPOg8CIUlQKh1FtesFpX5h348jDwuwwsbafJF4h4fgS4U8Pg830Kk6RHEsNOAF067J+1TLoUH9RY83b2LG/jJ3eND2rrpBDy/3r/v3hdvlzy14cxbhzQhPJz+E746rUGnjojAhwo6e+1bkcbL6YJHzQbN/FKgWrR5nJfjTwA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IyWxW7zAAAAugI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ySz2rDMAzG74O9g9F9cdKNMUadXsag1y17AGMrcWhiG0v7k7efyaBNoXSXXAyfhL/vJ6Ht7mccxBcm6oNXUBUlCPQm2N53Cj6a17snEMTaWz0EjwomJNjVtzfbNxw050/k+kgiu3hS4Jjjs5RkHI6aihDR504b0qg5y9TJqM1Bdyg3Zfko09ID6jNPsbcK0t7eg2immJP/9w5t2xt8CeZzRM8XIiTxNOQBRKNTh6zgTxeZEeTl+IdV451OaN855e0uKZblazDVmjDfIR3IIfJpHccSyblTXYPZrAnD+WDwBDJLOb9HBnl2cfUvAAAA//8DAFBLAwQUAAYACAAAACEAszF/cr4BAADPAgAADwAAAHhsL3dvcmtib29rLnhtbIxSS4/TMBC+I/EfLN9Tu05SqirJqvQhKiG0B9g9G8dprPUjsh2aFeK/M0k2wGovnMbz8DfzfTPF3WA0+iF9UM6WeL2iGEkrXK3stcTfvp6TLUYhcltz7aws8bMM+K56/664Of/03bknBAA2lLiNsdsREkQrDQ8r10kLmcZ5wyO4/kpC5yWvQytlNJowSjfEcGXxjLDz/4PhmkYJeXSiN9LGGcRLzSOMH1rVBVwVjdLyYWaEeNd94QbmHjRGmod4qlWUdYlzcN1Nvgr4vvvYKw1ZtqE0w6T6w/LeI95Hd3AGSIRwr0Ts4VFiOlaNOjwoeQt/P4wuGh6Vrd2txBvAw+h5cRll4N6m5KOqYwvKb0GQJfZJqmsbIcjSbGpA/ukwCQidJovsxG7faedVOPLIYV2jwhdgscbI7xQ8/KVej3OS5a/gWgCl0UyFGaUUqoWzovcelD1A5oWcHOLnEKsCLOq9KvHPDzlLT/kxTVh+TpN9fqLJepOyZJOdWZ4dGMty9mtZqxne7NUo4V1wTVwJZ8i8UjgFQeQg5HQZ2/kyqsIMu70X7eWIzppfQW828YBZgM0yGVlusfoNAAD//wMAUEsDBBQABgAIAAAAIQAXiJryCQEAAKEBAAAUAAAAeGwvc2hhcmVkU3RyaW5ncy54bWxckMFqwzAQRO8G/8MiKLSHRm4PbQm2QggUAiUtTfIBqr2JBdLK1cqi/fvKhELwcXbeLjtTr36chYSBjadGPCwqAUit7wydG3E8vN6/COCoqdPWEzbiF1msVFnUzBHyLnEj+hiHpZTc9ug0L/yAlJ2TD07HLMNZ8hBQd9wjRmflY1U9SacNCWj9SLERzwJGMt8jbv61qtmoOqo3TGjBn2BLyduEDinWMqpaTv6F2cn1sixud/4auptTN/PB+xQbETSUxQG1m/sfwSfTIezHYfAhZmqPIZkWeU5uPPHoMEx/lsWWLtFzo3PwE3nIrPmyCBnK8LpLhnPZsI9jl7Nd3Za5YvUHAAD//wMAUEsDBBQABgAIAAAAIQDnZXW41gAAALgBAAAjAAAAeGwvd29ya3NoZWV0cy9fcmVscy9zaGVldDEueG1sLnJlbHOskMlqAzEMQO+F/oPRPdZMDqGUeHIJhVxD+gHC1ix0vGC5afL3dSiFDAR66VHb05O2u4uf1ZmzTDEYaHUDioONbgqDgffT2+oFlBQKjuYY2MCVBXbd89P2yDOVOiTjlERVShADYynpFVHsyJ5Ex8ShVvqYPZUa5gET2Q8aGNdNs8F8z4BuwVQHZyAfXAvqdE1189/s2PeT5X20n55DebACz37eZ/qqx1Uq5YGLAa3R/eTkrt7q2gv42Gn9n042+puuLIx+k62u/7tp4OLf3TcA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FfsdX91BQAALUIAAA0AAAB4bC9zdHlsZXMueG1s7JxLb+M2EIDvBfofBAE9OrKefsD2oknW6ALbRYCkQK+0RNlEKNGQ5MTeRf97h6RkyY6TOCHT7YGXRKTI4fDjDEXRQ00+bTNqPeCiJCyf2u5F37ZwHrOE5Mup/dfdvDe0rbJCeYIoy/HU3uHS/jT79ZdJWe0ovl1hXFkgIi+n9qqq1mPHKeMVzlB5wdY4hzspKzJUQbJYOuW6wCgpeaWMOl6/HzkZIrktJYyz+BwhGSruN+tezLI1qsiCUFLthCzbyuLxl2XOCrSgoOrWDVDcyBaJJ+IzEhesZGl1AeIclqYkxk+1HDkjByTNJvkmm2dVacVsk1dAa59lyTtfEsiMAtuSnb5iCajRv+j/ZjuziVPXnk1SlrdCQtCQKzq+z9ljPue3pGReajYpv1sPiEKOy2XEjLLCqgAwCBY5OcqwLHGFKFkUhBdLUUboTmZ7PEOMSV0uI0BIKCRbkH8XvFTd1ojflU2RPMFbDN0aHrV2h1YsQ7zgk8acrtxG5kfrv+nof6qtPldVF6zXGjti9d6RESBLIEwo3RudB0bHM2YTMP8KF/kcElZ9fbdbg2Hk4Km8u44s90rpZYF2rhd2Koh60O6CFQnMDF1zl1mzCcVpBS0UZLni/yu2hr8LVlXgRrNJQtCS5YjCpdPUqC9AbIwpveWzx9/pXvbAh25t044fwUTE7Yi7FL+ETtaXUqBMQAMHlUZtJe/ZShZar+luDsKFaJkC+W3qUnS8Tf9OyTLPcLfCTcEqHFdi1hS2daBHR/nn9ThW3lSCybUZ73ro30XPf2Xov22yBS7m4sHUDjL3ozal0wT4A+G0/UpT/K/1MXxgSnnB+wwfw0dlyjf2Y+zH2M/HPU+Nfxn/Mv5l/AtemMTLm1k/m/eLl9bz5v3r5eeF4WP4qDxPjf0Y+zH283HrMeNfxr+Mfxn/+lnvO2b+MfOPmX/M/GPmHxmPYPafX54PDR/DR+V5YezH2M859uN0I8lkXFknpCx6V0SZtU1Ph5Z1orP45TPxPE3tOsZMhBSJaMDnwsPeLEtK7uDhUaioCVCzVqwg3yF4iseMxhCxhmWo5zY9ipSrw1RfC7Crcbgnf2lpcmUo3T5Vd/qnKHp6ifK/UK1R4vDXqiZXF0PrsUDrO7yF2EZhdw4feeEo4Bqd2MvDyMu9I1k8RHZqzxml7BEn1h8QUFpQkt9DlLJwDBcILzaEViTnfgIBlyuSJJjHjvOfYN4gCEL79AiC11M9giJdgiBmXotGni7Yni7Yni7Yni7Yni7Yvi7Yvi7Yvi7Yvi7Yvi7YgS7YgS7YgS7YgS7YgS7YoS7YoS7YoS7YoS7YoS7YkS7YkS7Y/ECSlsdRpAt2pAv2QBfswdtgP1kWwTqogxi69+Kq6El1OLGkVh9emZXah1NoSvUHivUV+XmK/DxFfnB8Somfp8jPU+TnK/LzFfn5ivx8RX6+Ir9AkV+gyC9Q5Bco8gsU+YWK/EJFfqEiv1CRX6jIL1LkFynyixT5RYr8IkV+g7fx+8aPDtJmS+RwDSJOlh1vg9zggm/GNTUOWxNHb49riOP1bhAMhr7reW7AXyrlDsxZxeE8bV1cnP9+TfoIlohSenBqF+dImciFhaAsHp1TnL9+yuLDc4oP9sX9M4oPXBh7KX3Ai7ebwrDdlWzbI8ZiYCr+aQBx+Hi/AQbDl+AUbWh1t785tdvrP3FCNhngr0vdkAdWCRFTu73+yk9CAxfQADbfvpZwdB/+W5uCTO0fny8Ho+vPc6837F8Oe4GPw94ovLzuhcHV5fX1fNT3+lf/QC/4dxTG8DUAhe8UiO8pwF6vG4xLCl8zKOrO1srftnlTu5OQ6gt+oDZQbDrhiLEX33mY/QsAAP//AwBQSwMEFAAGAAgAAAAhAEobsO2vAwAAbQkAABgAAAB4bC93b3Jrc2hlZXRzL3NoZWV0MS54bWycVl1v4jgUfR9p/0OUd/JNQhAwaqFoO9tqqulM59k4BqwmcdY2BXa1/32u7SRNSDVCywN27OPjc0+urzP7fCpy641wQVk5t33Hsy1SYpbRcje3f3xfjya2JSQqM5SzksztMxH258Ufn2ZHxl/FnhBpAUMp5vZeymrqugLvSYGEwypSwsyW8QJJeOQ7V1ScoEwvKnI38LzYLRAtbcMw5ddwsO2WYrJi+FCQUhoSTnIkQb/Y00o0bKfsKr6MoyPE2ujpSFyZmZbPjwb6Coo5E2wrHcwK10gbRpm6aS/OAg+IPjCrQPz1UI2AuILgNjSn8qzDta0CT+93JeNok8MbOfkRwh2VaEh/vU5gWswyCt6qhLA42c7tG3/6GNjuYqbf3AslR9HpWxJtnklOsCQZJJBtqcTYMPaqgPcw5AGj0ADFiLCkb2RJ8nxu36WQW3/rPaALG7jtDt1+s9tap9ITtzZIkCXLf9JM7mFLSNmMbNEhl++DE2cSBl7oB+N28hs7/knobi9hSQR+Kdum2XlFBIZMUjpBAWY5bAf/VkHVeQCz0cmEVe8Wd5iFPKs3AKgNEXJNFbVt4YOQrGjU1ayGL6j5oD3WfKETtkprvvBqPkBqfdA2fOlQ3/V84Ivmg7bm6xrZyjNGmZDAYL0E2npJMHb8OPJi5X275FqH4poO2lbB/2dLajZItJbtPTFacd14VDqZd/5u6gcm6APxnieNcX4cTn5rnq/z3KSZzvYVkmgx4+xoQb2C7BEVUtXUn/qwv0rWcQwHCKvZGzWtQTAsYPRt4c3cNzgruEbcGgQY3yLCPmI5RER9xGqIiPuIuyFi3Eeshwi/RbgQbBsxnIRuxE2kargfadCu117cGkRoXHCiJEm7v0kfveyjwzjqgtO0j1710cFk3ENfcN/10f74gm19MR9NemwX6C8GHemyoV76X5cDD5cDUJyVWXqJ8dbUUZNZFdqRR8R3tBRWTraQF54Dx4KbSqj7klV6FNJmwyTUruZpD9c1AQ2eA7m4ZUw2D3BgFO8zkYfKYpxCAdU38NyuGJccUQm5C+P/MJjIVxUFeUEapXESpKAWvjckxcMJoM3JDuFzffdafEqzuc3vM31syEk+CLmYQWsdOHD+C2XGC5LQH93Et95orP6COPFGSRL4t8nSS2PP+6+5Gwso5BcfKR9ejAXCLjlhoj9RJubqXsyK0/Tp4cV6ZBlUfKgRX0vyBBbo/s9nCEZ3IQJYCxrVvxbrth9Ki18AAAD//wMAUEsDBBQABgAIAAAAIQD5TgthmgIAABAHAAAbAAAAeGwvZHJhd2luZ3Mvdm1sRHJhd2luZzEudm1s7JXLbtswEEX3+QqCWXhjQ4+2RsBIAoIU2bUF+lwGskRbTEiOII5lOV/fISU7doMWAbropgJkkZzhcO7lAZwNRjN6rRN9zredFa5qpCndwqiqAwdrXFRgRG80v5gS4U+JsF6rSorxc9wyvGKLHCr5fIihdhrEVkSRKavvRn8JfX3rFC8uWAbCNWUrdbmHLbJeyAFzLmuFPurDqjZlexZgdYllzhMe+QLRWYUi68eCuG8lU3XO74eYnntM45SzCqCrnXqSOU+TZRzPwy9nVKOlc30OndqW2OTcxPNYTxlj3tlvPMixRToQO3iU7AGUdbjXVNwolF3oj1FDvh7bdGWtpMUgFx5zjv7YCqyVFfpuc97RaBJ1ouIo6VSOS+L0HWfjvsszjWMLsxacQgVWlCsHeovympSZstsou9ByjWJ51eL1tIDQiiSm+U7V2IgkfUvjRqpNgyLxeU8LZWs5iMRX6ZVTK6UV7kWj6lraa+NgsevKdhEOF+g3zthaaV2Bhi7nl2t6ZOIlk0kSDdQkuNwiHEz0yXQ/lJ0+p/sb9g6SaTXsGNjRtpWrtp2kyx3tOnr8i58WrDxeAhJZKxjYZI/vuFbecfJoUWoUvpmZP49lteoPeX4bhdXGCu/arMgiioa2ol5MRcN0ELfaX/B7opN9Wj1Q6a/hWj8CjqiwbBAfoJc/FDa3UmsX5PnVL4Tky9UbWzXQhZZYPGfLq7n/JPSm9EnCLL3KokGcZFK1G1JyR3YWd6V2MsQPK0HeID7Drkh8wA+mtVuixNgi9svT2JvvZ0ddlJuR7MDwb7lc/h2XSZqcg5mecOlZnLgMaQcu0/9c/hsuicKUgByZJCwnSNM3AbtngF+NZeDvJZaB1tdhGdHfYPETAAD//wMAUEsDBBQABgAIAAAAIQDeBPpjNgEAABI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V9LwzAUxd8Fv0PJe5tmY1ND24HKEHEgOFF8C8ndFmz+kFzt9u3N6qyT+Xg55/44595qtjVt9gkhamdrwoqSZGClU9qua/K8nOeXJIsorBKts1CTHUQya87PKum5dAEeg/MQUEPMEslGLn1NNoieUxrlBoyIRXLYJK5cMALTGNbUC/ku1kBHZTmlBlAogYLugbkfiOSAVHJA+o/Q9gAlKbRgwGKkrGD014sQTPx3oVeOnEbjzqdOh7jHbCW/xcG9jXowdl1XdOM+RsrP6Ovi4amvmmu7v5UE0lRKchlAoAtNRY+HdLhWRFykG680qOtdc++swI2w2Z0LCQDaVvTUlYh9AW4Om1nKxL8b/Egv45vb5Zw0o5JNcjbKS7ZkUz654uOLt32Kv4AU7OSLzRcAAAD//wMAUEsDBBQABgAIAAAAIQB0/ukEDwEAACICAAAQAAAAeGwvY29tbWVudHMxLnhtbLxQy07DMBC8I/EP1t6pkxxQQbErOBQhcUCifICJN40lPyKvW6V8PVvScODECcmyPOPZmdG2myl4ccRMLkUF9aoCgbFL1sW9gvfd9mYNgoqJ1vgUUcEJCTb6+qrtUggYCwk2iKRgKGW8l5K6AYOhVRox8k+fcjCFYd5LGjMaSwNiCV42VXUrg3ERdGsOZUiZlofUrfyhLjkvjopeQkXGXsFjDWKWPVsFFfsUnFiU+bzy9cE+9CmOxiu4AwZd8ikLFy1OyBPr+kzmbYplFu3MkII5k70Jzp9mtjkT8tux6KecDqOwSF12Y+GdUSs5UnKcnNPlpfCvsg/N/5d9w+yQ/th26T0vekGkvwAAAP//AwBQSwMEFAAGAAgAAAAhAPShL/GKAQAADQ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JNT+MwEIbvK+1/iHynTlmEVpVjhGBXHBZtpRY4G2fSWLi25Rmill+/k0Sl6cKJ23y8fufx2Opqt/VFBxldDJWYz0pRQLCxdmFTiYf177OfokAyoTY+BqjEHlBc6e/f1DLHBJkcYMEWASvREqWFlGhb2BqccTtwp4l5a4jTvJGxaZyF22hftxBInpflpYQdQaihPkvvhmJ0XHT0VdM62p4PH9f7xMBaXafknTXEt9T3zuaIsaHi3lgXKGJb/NpZ8EpOZYo5V2Bfs6O9LpWcpmpljYcbHqEb4xGUPBbUHZh+fUvjMmrV0aIDSzEX6N54geeieDYIPVglOpOdCcSAvWxMhtgnpKyfYn7BFoBQSRaMxSGcaqexu9DzQcDBqbA3GEG4cYq4duQB/zZLk+kT4vmUeGAYeUec6+RjdnhryHyAHO7N4/4b8MeFF3xI68iH4LDA06JatSZDzTs/9I8Fdce7y743uWlN2EB90Hxs9A//OP5uPb+YlT9KfslJTcnjP9b/AAAA//8DAFBLAQItABQABgAIAAAAIQCSV401eQEAAHAFAAATAAAAAAAAAAAAAAAAAAAAAABbQ29udGVudF9UeXBlc10ueG1sUEsBAi0AFAAGAAgAAAAhAFB8TsH2AAAATAIAAAsAAAAAAAAAAAAAAAAAsgMAAF9yZWxzLy5yZWxzUEsBAi0AFAAGAAgAAAAhAIyWxW7zAAAAugIAABoAAAAAAAAAAAAAAAAA2QYAAHhsL19yZWxzL3dvcmtib29rLnhtbC5yZWxzUEsBAi0AFAAGAAgAAAAhALMxf3K+AQAAzwIAAA8AAAAAAAAAAAAAAAAADAkAAHhsL3dvcmtib29rLnhtbFBLAQItABQABgAIAAAAIQAXiJryCQEAAKEBAAAUAAAAAAAAAAAAAAAAAPcKAAB4bC9zaGFyZWRTdHJpbmdzLnhtbFBLAQItABQABgAIAAAAIQDnZXW41gAAALgBAAAjAAAAAAAAAAAAAAAAADIMAAB4bC93b3Jrc2hlZXRzL19yZWxzL3NoZWV0MS54bWwucmVsc1BLAQItABQABgAIAAAAIQD7YqVtlAYAAKcbAAATAAAAAAAAAAAAAAAAAEkNAAB4bC90aGVtZS90aGVtZTEueG1sUEsBAi0AFAAGAAgAAAAhAFfsdX91BQAALUIAAA0AAAAAAAAAAAAAAAAADhQAAHhsL3N0eWxlcy54bWxQSwECLQAUAAYACAAAACEAShuw7a8DAABtCQAAGAAAAAAAAAAAAAAAAACuGQAAeGwvd29ya3NoZWV0cy9zaGVldDEueG1sUEsBAi0AFAAGAAgAAAAhAPlOC2GaAgAAEAcAABsAAAAAAAAAAAAAAAAAkx0AAHhsL2RyYXdpbmdzL3ZtbERyYXdpbmcxLnZtbFBLAQItABQABgAIAAAAIQDeBPpjNgEAABICAAARAAAAAAAAAAAAAAAAAGYgAABkb2NQcm9wcy9jb3JlLnhtbFBLAQItABQABgAIAAAAIQB0/ukEDwEAACICAAAQAAAAAAAAAAAAAAAAANMiAAB4bC9jb21tZW50czEueG1sUEsBAi0AFAAGAAgAAAAhAPShL/GKAQAADQMAABAAAAAAAAAAAAAAAAAAECQAAGRvY1Byb3BzL2FwcC54bWxQSwUGAAAAAA0ADQBYAwAA0CYAAAAABSI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AAAAAFQXJpYWwGcQAAAAYrbW4tZWEJcgAAAAEACXMAAAAHIwAAAAABAAAAEQAAAAQUU3lzdGVtLkRyYXdpbmcuQ29sb3IEAAAABXQAAAAUU3lzdGVtLkRyYXdpbmcuQ29sb3IEAAAABXZhbHVlBXN0YXRlCmtub3duQ29sb3IEbmFtZQAAAAEJBwcEAAAAAAAAAAAAAAAAAAAACgF1AAAAdAAAAAAAAP//////AgAAAAoBdgAAAHQAAAD//////////wIAAAAKAXcAAAB0AAAATkEi//////8CAAAACgF4AAAAdAAAAN7c2///////AgAAAAoBeQAAAHQAAAB+aT///////wIAAAAKAXoAAAB0AAAAjIRy//////8CAAAACgF7AAAAdAAAACUh7f//////AgAAAAoBfAAAAHQAAAA0O0b//////wIAAAAKAX0AAAB0AAAAdJjD//////8CAAAACgF+AAAAdAAAAB6U9///////AgAAAAoBfwAAAHQAAAAelPf//////wIAAAAKAYAAAAB0AAAAJSHt//////8CAAAACgGBAAAAdAAAAAAAAP//////AgAAAAoBggAAAHQAAAD//////////wIAAAAKAYMAAAB0AAAATkEi//////8CAAAACgGEAAAAdAAAAN7c2///////AgAAAAoEJAAAAJgBU3lzdGVtLkNvbGxlY3Rpb25zLkdlbmVyaWMuTGlzdGAxW1tBcGxvcmlzLkJhc2UuT2JqZWN0cy5EYXRhT2JqZWN0LCBBcGxvcmlzLkJhc2UsIFZlcnNpb249NC4wLjAuMTQ4NiwgQ3VsdHVyZT1uZXV0cmFsLCBQdWJsaWNLZXlUb2tlbj0xNmZjMTNhMjI2YzBlOTUxXV0DAAAABl9pdGVtcwVfc2l6ZQhfdmVyc2lvbgQAACFBcGxvcmlzLkJhc2UuT2JqZWN0cy5EYXRhT2JqZWN0W10DAAAACAgJhQAAAAwAAAAMAAAABCUAAACVAVN5c3RlbS5Db2xsZWN0aW9ucy5HZW5lcmljLkxpc3RgMVtbQXBsb3Jpcy5CYXNlLlVJLlZpc3VhbE9iamVjdCwgQXBsb3Jpcy5CYXNlLCBWZXJzaW9uPTQuMC4wLjE0ODYsIEN1bHR1cmU9bmV1dHJhbCwgUHVibGljS2V5VG9rZW49MTZmYzEzYTIyNmMwZTk1MV1dAwAAAAZfaXRlbXMFX3NpemUIX3ZlcnNpb24EAAAeQXBsb3Jpcy5CYXNlLlVJLlZpc3VhbE9iamVjdFtdAwAAAAgICYYAAAABAAAAAQAAAAUnAAAAmwFBcGxvcmlzLkJhc2UuT2JqZWN0cy5EYXRhT2JqZWN0Q29sbGVjdGlvbmAxW1tBcGxvcmlzLkNoYXJ0LlZhbHVl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C4wLjE0ODYsIEN1bHR1cmU9bmV1dHJhbCwgUHVibGljS2V5VG9rZW49MTZmYzEzYTIyNmMwZTk1MV1dAwAAAJEBU3lzdGVtLkNvbGxlY3Rpb25zLkdlbmVyaWMuTGlzdGAxW1tBcGxvcmlzLkNoYXJ0LlZhbHVl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HAAAACYgAAAAJBgAAAAkBAAAACYkAAAAFKAAAAJsBQXBsb3Jpcy5CYXNlLk9iamVjdHMuRGF0YU9iamVjdENvbGxlY3Rpb25gMVtbQXBsb3Jpcy5DaGFydC5BeGlzQnJlYWs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AuMC4xNDg2LCBDdWx0dXJlPW5ldXRyYWwsIFB1YmxpY0tleVRva2VuPTE2ZmMxM2EyMjZjMGU5NTFdXQMAAACRAVN5c3RlbS5Db2xsZWN0aW9ucy5HZW5lcmljLkxpc3RgMVtbQXBsb3Jpcy5DaGFydC5BeGlzQnJlYW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igAAAAmLAAAACQYAAAAJAQAAAAmMAAAABS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IAAAADAAAACWMAAAAJZAAAAAllAAAAAQAAAAAKCglmAAAAAAAAAAoAAAAAAA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YgAAAAMAAAAJYwAAAAlkAAAACWUAAAABAAAAAAoGjQAAAAElCWYAAAABAAAACgAAAAAAAAAABSwAAACaAUFwbG9yaXMuQmFzZS5PYmplY3RzLkRhdGFPYmplY3RDb2xsZWN0aW9uYDFbW0FwbG9yaXMuQ2hhcnQuVGlja01hcms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C4wLjE0ODYsIEN1bHR1cmU9bmV1dHJhbCwgUHVibGljS2V5VG9rZW49MTZmYzEzYTIyNmMwZTk1MV1dAwAAAJABU3lzdGVtLkNvbGxlY3Rpb25zLkdlbmVyaWMuTGlzdGAxW1tBcGxvcmlzLkNoYXJ0LlRpY2tNYXJ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Y4AAAAJjwAAAAkGAAAACQEAAAAJkAAAAAUv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EAAAAgAAAA6ZEXQiPYn0MBkgAAACAAAAD7G69DI9ifQwmTAAAAuAEAAP////8BAQoJlAAAAAEACgAHMAAAAAABAAAABQAAAAQVU3lzdGVtLkRyYXdpbmcuUG9pbnRGBAAAAAGVAAAAIAAAAPubsEMj2J9DAZYAAAAgAAAA6ZEXQju1rUMBlwAAACAAAAA4DkJDO7WtQwGYAAAAIAAAAPsbr0M7ta1DAZkAAAAgAAAA+5uwQyNYokMHMQAAAAABAAAABQAAAAQXQXBsb3Jpcy5CYXNlLkFuY2hvck1vZGUDAAAABZoAAAAXQXBsb3Jpcy5CYXNlLkFuY2hvck1vZGUBAAAAB3ZhbHVlX18ACAMAAAAEAAAAAZsAAACaAAAABQAAAAGcAAAAmgAAAAMAAAABnQAAAJoAAAAGAAAAAZ4AAACaAAAABQAAAA8yAAAABQAAAAEAAAAAAQUzAAAAFUFwbG9yaXMuQmFzZS5VSS5MYWJlbBwAAAAPbUFuY2hvclBvc2l0aW9uC21BbmNob3JNb2RlD21BZGRJbm5lck1hcmdpbhZtT2Zmc2V0RGlyZWN0aW9uQW5jaG9yF21PZmZzZXRPcnRob2dvbmFsQW5jaG9yC21UZXh0Rm9ybWF0CW1Sb3RhdGlvbgptQmFja0NvbG9yDW1Vc2VCYWNrQ29sb3IObVVzZ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EBAQAAQMDAQAAAAAHAgAAAwA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wAAAAGfAAAAIAAAAPubsEMj2J9DAaAAAACaAAAABAAAAAAAAAAAAAAAAAmhAAAAAAAAAAmiAAAAAAAFowAAACpBcGxvcmlzLkJhc2UuVUkuTGFiZWwrTGluZUFsaWdubWVudE9wdGlvbnMBAAAAB3ZhbHVlX18ACAMAAAAAAAAAAaQAAABsAAAAAAAAAAAAAAABpQAAABQAAAAAAAAAAAAAAAAAAAAAAAAAAAAAAAamAAAADUNhdGVnb3J5IGF4aXMKCacAAAAJpgAAAOQCAAD/////AAEKCagAAAABAAoBATQAAAAkAAAACakAAAAGAAAABgAAAAE1AAAAJQAAAAmqAAAAAgAAAAIAAAABNwAAACcAAAAKCasAAAAJrAAAAAkHAAAACQEAAAAJrQAAAAE4AAAAKAAAAAoJrgAAAAmvAAAACQcAAAAJAQAAAAmwAAAABT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IAAAADAAAACWMAAAAJZAAAAAllAAAAAQAAAAAKBrEAAAABJQlmAAAAAAAAAAoAAAAAAA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BAAAAAQliAAAAAwAAAAljAAAACWQAAAAJZQAAAAEAAAAACgmxAAAACWYAAAAAAAAACgAAAAAAAAAABT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EAAAABCWIAAAADAAAACWMAAAAJZAAAAAllAAAAAQAAAAAKCY0AAAAJZgAAAAEAAAAKAAAAAAAAAAABPAAAACwAAAAKCbIAAAAJswAAAAkHAAAACQEAAAAJtAAAAAE/AAAALwAAAAG1AAAAIAAAAOmRF0Ij2J9DAbYAAAAgAAAA6ZEXQkR/c0EJtwAAALgBAAD/////AQEKCbgAAAABAAoAB0AAAAAAAQAAAAUAAAAEFVN5c3RlbS5EcmF3aW5nLlBvaW50RgQAAAABuQAAACAAAADpkRdCcjkcQQG6AAAAIAAAAJ7rH0Ej2J9DAbsAAAAgAAAAnusfQR10J0MBvAAAACAAAACe6x9BRH9zQQG9AAAAIAAAAJ7rH0FyORxBB0EAAAAAAQAAAAUAAAAEF0FwbG9yaXMuQmFzZS5BbmNob3JNb2RlAwAAAAG+AAAAmgAAAAEAAAABvwAAAJoAAAAIAAAAAcAAAACaAAAAAgAAAAHBAAAAmgAAAAYAAAABwgAAAJoAAAAHAAAAD0IAAAAFAAAAAQAAAAABAUMAAAAzAAAAAcMAAAAgAAAA6ZEXQnI5HEEBxAAAAJoAAAABAAAAAAAAAAAAAAAACcUAAAAAAAAACcYAAAAAAAHHAAAAowAAAAAAAAAByAAAAGwAAAAAAAAAAAAAAAHJAAAAFAAAAAAAAAAAAAAAAAAAAAAAAAAAAAAABsoAAAAKVmFsdWUgYXhpcwoJywAAAAnKAAAA5AIAAP////8AAQoJzAAAAAEACgEBRAAAACQAAAAJzQAAAAgAAAAIAAAAAUUAAAAlAAAACc4AAAACAAAAAgAAAAdGAAAAAAEAAAAAAAAABC5BcGxvcmlzLkNoYXJ0LkNvbHVtbk9yaWVudGVkQ2hhcnQrVW51c2VkU2VyaWVzAgAAAARHAAAAlwFTeXN0ZW0uQ29sbGVjdGlvbnMuR2VuZXJpYy5MaXN0YDFbW0FwbG9yaXMuQ2hhcnQuQ2hhcnREYXRhU2VyaWVzLCBBcGxvcmlzLkNoYXJ0LCBWZXJzaW9uPTQuMC4wLjE0ODYsIEN1bHR1cmU9bmV1dHJhbCwgUHVibGljS2V5VG9rZW49MTZmYzEzYTIyNmMwZTk1MV1dAwAAAAZfaXRlbXMFX3NpemUIX3ZlcnNpb24EAAAfQXBsb3Jpcy5DaGFydC5DaGFydERhdGFTZXJpZXNbXQIAAAAICAnPAAAAAQAAAKcAAAABSAAAACQAAAAJ0AAAAAEAAABFAAAAAUkAAAAlAAAACdEAAAAAAAAAAAAAAARKAAAAnAFTeXN0ZW0uQ29sbGVjdGlvbnMuR2VuZXJpYy5MaXN0YDFbW0FwbG9yaXMuQ2hhcnQuQW5ub3RhdGlvbkRhdGFTZXJpZXMsIEFwbG9yaXMuQ2hhcnQsIFZlcnNpb249NC4wLjAuMTQ4NiwgQ3VsdHVyZT1uZXV0cmFsLCBQdWJsaWNLZXlUb2tlbj0xNmZjMTNhMjI2YzBlOTUxXV0DAAAABl9pdGVtcwVfc2l6ZQhfdmVyc2lvbgQAACRBcGxvcmlzLkNoYXJ0LkFubm90YXRpb25EYXRhU2VyaWVzW10CAAAACAgJ0gAAAAAAAAAAAAAAAUsAAAAkAAAACdMAAAAAAAAAAAAAAAFMAAAAJQAAAAnRAAAAAAAAAAAAAAAETQAAAJcBU3lzdGVtLkNvbGxlY3Rpb25zLkdlbmVyaWMuTGlzdGAxW1tBcGxvcmlzLkNoYXJ0LkFubm90YXRpb25Hcm91cCwgQXBsb3Jpcy5DaGFydCwgVmVyc2lvbj00LjAuMC4xNDg2LCBDdWx0dXJlPW5ldXRyYWwsIFB1YmxpY0tleVRva2VuPTE2ZmMxM2EyMjZjMGU5NTFdXQMAAAAGX2l0ZW1zBV9zaXplCF92ZXJzaW9uBAAAH0FwbG9yaXMuQ2hhcnQuQW5ub3RhdGlvbkdyb3VwW10CAAAACAgJ1AAAAAAAAAAAAAAAAU4AAAAkAAAACdMAAAAAAAAAAAAAAAFPAAAAJQAAAAnRAAAAAAAAAAAAAAAEUAAAAJYBU3lzdGVtLkNvbGxlY3Rpb25zLkdlbmVyaWMuTGlzdGAxW1tBcGxvcmlzLkNoYXJ0LkNoYXJ0RGF0YUdyb3VwLCBBcGxvcmlzLkNoYXJ0LCBWZXJzaW9uPTQuMC4wLjE0ODYsIEN1bHR1cmU9bmV1dHJhbCwgUHVibGljS2V5VG9rZW49MTZmYzEzYTIyNmMwZTk1MV1dAwAAAAZfaXRlbXMFX3NpemUIX3ZlcnNpb24EAAAeQXBsb3Jpcy5DaGFydC5DaGFydERhdGFHcm91cFtdAgAAAAgICdUAAAAFAAAACwAAAAFRAAAAJAAAAAnWAAAABQAAAAcAAAABUgAAACUAAAAJ0QAAAAAAAAAAAAAABFMAAACQAVN5c3RlbS5Db2xsZWN0aW9ucy5HZW5lcmljLkxpc3RgMVtbQXBsb3Jpcy5DaGFydC5EZWx0YUJhciwgQXBsb3Jpcy5DaGFydCwgVmVyc2lvbj00LjAuMC4xNDg2LCBDdWx0dXJlPW5ldXRyYWwsIFB1YmxpY0tleVRva2VuPTE2ZmMxM2EyMjZjMGU5NTFdXQMAAAAGX2l0ZW1zBV9zaXplCF92ZXJzaW9uBAAAGEFwbG9yaXMuQ2hhcnQuRGVsdGFCYXJbXQIAAAAICAnXAAAAAAAAAAAAAAABVAAAACQAAAAJ0wAAAAAAAAAAAAAAAVUAAAAlAAAACdEAAAAAAAAAAAAAAARWAAAAkwFTeXN0ZW0uQ29sbGVjdGlvbnMuR2VuZXJpYy5MaXN0YDFbW0FwbG9yaXMuQ2hhcnQuRGVsdGFCcmlkZ2UsIEFwbG9yaXMuQ2hhcnQsIFZlcnNpb249NC4wLjAuMTQ4NiwgQ3VsdHVyZT1uZXV0cmFsLCBQdWJsaWNLZXlUb2tlbj0xNmZjMTNhMjI2YzBlOTUxXV0DAAAABl9pdGVtcwVfc2l6ZQhfdmVyc2lvbgQAABtBcGxvcmlzLkNoYXJ0LkRlbHRhQnJpZGdlW10CAAAACAgJ2AAAAAAAAAAAAAAAAVcAAAAkAAAACdMAAAAAAAAAAAAAAAFYAAAAJQAAAAnRAAAAAAAAAAAAAAAEWQAAAJMBU3lzdGVtLkNvbGxlY3Rpb25zLkdlbmVyaWMuTGlzdGAxW1tBcGxvcmlzLkNoYXJ0Lkdyb3d0aEFycm93LCBBcGxvcmlzLkNoYXJ0LCBWZXJzaW9uPTQuMC4wLjE0ODYsIEN1bHR1cmU9bmV1dHJhbCwgUHVibGljS2V5VG9rZW49MTZmYzEzYTIyNmMwZTk1MV1dAwAAAAZfaXRlbXMFX3NpemUIX3ZlcnNpb24EAAAbQXBsb3Jpcy5DaGFydC5Hcm93dGhBcnJvd1tdAgAAAAgICdkAAAAAAAAAAAAAAAFaAAAAJAAAAAnTAAAAAAAAAAAAAAABWwAAACUAAAAJ0QAAAAAAAAAAAAAABFwAAACaAVN5c3RlbS5Db2xsZWN0aW9ucy5HZW5lcmljLkxpc3RgMVtbQXBsb3Jpcy5DaGFydC5XYXRlcmZhbGxDb25uZWN0b3IsIEFwbG9yaXMuQ2hhcnQsIFZlcnNpb249NC4wLjAuMTQ4NiwgQ3VsdHVyZT1uZXV0cmFsLCBQdWJsaWNLZXlUb2tlbj0xNmZjMTNhMjI2YzBlOTUxXV0DAAAABl9pdGVtcwVfc2l6ZQhfdmVyc2lvbgQAACJBcGxvcmlzLkNoYXJ0LldhdGVyZmFsbENvbm5lY3RvcltdAgAAAAgICdoAAAAAAAAAAAAAAAFdAAAAJAAAAAnTAAAAAAAAAAAAAAABXgAAACUAAAAJ0QAAAAAAAAAAAAAABF8AAACYAVN5c3RlbS5Db2xsZWN0aW9ucy5HZW5lcmljLkxpc3RgMVtbQXBsb3Jpcy5DaGFydC5FbGVtZW50Q29ubmVjdG9yLCBBcGxvcmlzLkNoYXJ0LCBWZXJzaW9uPTQuMC4wLjE0ODYsIEN1bHR1cmU9bmV1dHJhbCwgUHVibGljS2V5VG9rZW49MTZmYzEzYTIyNmMwZTk1MV1dAwAAAAZfaXRlbXMFX3NpemUIX3ZlcnNpb24EAAAgQXBsb3Jpcy5DaGFydC5FbGVtZW50Q29ubmVjdG9yW10CAAAACAgJ2wAAAAAAAAAAAAAAAWAAAAAkAAAACdMAAAAAAAAAAAAAAAFhAAAAJQAAAAnRAAAAAAAAAAAAAAAFag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ncAAAACd0AAAABAAAA/v///wEAAAABAAAAAQAAAAEAAAABAAAAAQAAAAAAAQVr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d4AAAAJ3wAAAAEAAAAAAAAAAAAAAAAAAAAAAQVvAAAAH0FwbG9yaXMuQmFzZS5PYmplY3RzLlBlcnNJZERhdGECAAAAA21JZAttQ3VzdG9tRGF0YQcCCAMAAAAJ4AAAAAoFcgAAABpBcGxvcmlzLkJhc2UuT2JqZWN0cy5Db2xvcgcAAAASRGF0YU9iamVjdCttUGFyZW50FURhdGFPYmplY3QrbUNvbnRhaW5lcgVtVHlwZQRtUkdCEG1UaGVtZUNvbG9ySW5kZXgMbUF1dG9VcGRhdGVkCW1Nb2RpZmllZAICAAAAAAAICAgBAQMAAAAKCgAAAAAAAAAADQAAAAABAXMAAAByAAAACgoBAAAAAAAAAP////8AAQeFAAAAAAEAAAAQAAAABB9BcGxvcmlzLkJhc2UuT2JqZWN0cy5EYXRhT2JqZWN0AwAAAAkJAAAACQoAAAAJCwAAAAkMAAAACRAAAAAJEQAAAAkNAAAACQ4AAAAJDwAAAAkHAAAACQYAAAAJFwAAAA0EB4YAAAAAAQAAAAQAAAAEHEFwbG9yaXMuQmFzZS5VSS5WaXN1YWxPYmplY3QDAAAACRsAAAANAwSHAAAAkQFTeXN0ZW0uQ29sbGVjdGlvbnMuR2VuZXJpYy5MaXN0YDFbW0FwbG9yaXMuQ2hhcnQuVmFsdWVMaW5lLCBBcGxvcmlzLkNoYXJ0LCBWZXJzaW9uPTQuMC4wLjE0ODYsIEN1bHR1cmU9bmV1dHJhbCwgUHVibGljS2V5VG9rZW49MTZmYzEzYTIyNmMwZTk1MV1dAwAAAAZfaXRlbXMFX3NpemUIX3ZlcnNpb24EAAAZQXBsb3Jpcy5DaGFydC5WYWx1ZUxpbmVbXQIAAAAICAnhAAAAAAAAAAAAAAABiAAAACQAAAAJ0wAAAAAAAAAAAAAAAYkAAAAlAAAACdEAAAAAAAAAAAAAAASKAAAAkQFTeXN0ZW0uQ29sbGVjdGlvbnMuR2VuZXJpYy5MaXN0YDFbW0FwbG9yaXMuQ2hhcnQuQXhpc0JyZWFrLCBBcGxvcmlzLkNoYXJ0LCBWZXJzaW9uPTQuMC4wLjE0ODYsIEN1bHR1cmU9bmV1dHJhbCwgUHVibGljS2V5VG9rZW49MTZmYzEzYTIyNmMwZTk1MV1dAwAAAAZfaXRlbXMFX3NpemUIX3ZlcnNpb24EAAAZQXBsb3Jpcy5DaGFydC5BeGlzQnJlYWtbXQIAAAAICAniAAAAAAAAAAAAAAABiwAAACQAAAAJ0wAAAAAAAAAAAAAAAYwAAAAlAAAACdEAAAAAAAAAAAAAAASOAAAAkAFTeXN0ZW0uQ29sbGVjdGlvbnMuR2VuZXJpYy5MaXN0YDFbW0FwbG9yaXMuQ2hhcnQuVGlja01hcmssIEFwbG9yaXMuQ2hhcnQsIFZlcnNpb249NC4wLjAuMTQ4NiwgQ3VsdHVyZT1uZXV0cmFsLCBQdWJsaWNLZXlUb2tlbj0xNmZjMTNhMjI2YzBlOTUxXV0DAAAABl9pdGVtcwVfc2l6ZQhfdmVyc2lvbgQAABhBcGxvcmlzLkNoYXJ0LlRpY2tNYXJrW10CAAAACAgJ4wAAAAAAAAAAAAAAAY8AAAAkAAAACdMAAAAAAAAAAAAAAAGQAAAAJQAAAAnRAAAAAAAAAAAAAAABkwAAAGoAAAAKCgAAAEA/CeQAAAAJ5QAAAAEAAAD+////AAAAAAEAAAAAAAAAAAAAAAEAAAAAAAAAAAAAAZQAAABvAAAACeYAAAAKBaE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wAAAACXEAAAAJ5wAAAAEACegAAAABogAAAHIAAAAKCgEAAAAAAAAA/////wABBKcAAACWAVN5c3RlbS5Db2xsZWN0aW9ucy5HZW5lcmljLkxpc3RgMVtbQXBsb3Jpcy5CYXNlLk9iamVjdHMuVmFyaWFibGUsIEFwbG9yaXMuQmFzZSwgVmVyc2lvbj00LjAuMC4xNDg2LCBDdWx0dXJlPW5ldXRyYWwsIFB1YmxpY0tleVRva2VuPTE2ZmMxM2EyMjZjMGU5NTFdXQMAAAAGX2l0ZW1zBV9zaXplCF92ZXJzaW9uBAAAH0FwbG9yaXMuQmFzZS5PYmplY3RzLlZhcmlhYmxlW10DAAAACAgJ6QAAAAAAAAAAAAAAAagAAABvAAAACeoAAAAKB6kAAAAAAQAAAAgAAAAEH0FwbG9yaXMuQmFzZS5PYmplY3RzLkRhdGFPYmplY3QDAAAACSkAAAAJKgAAAAkrAAAACSwAAAAJJwAAAAkoAAAACgoHqgAAAAABAAAABAAAAAQcQXBsb3Jpcy5CYXNlLlVJLlZpc3VhbE9iamVjdAMAAAAJLwAAAAkzAAAACgoBqwAAAIcAAAAJ4QAAAAAAAAAAAAAAAawAAAAkAAAACdMAAAAAAAAAAAAAAAGtAAAAJQAAAAnRAAAAAAAAAAAAAAABrgAAAIoAAAAJ4gAAAAAAAAAAAAAAAa8AAAAkAAAACdMAAAAAAAAAAAAAAAGwAAAAJQAAAAnRAAAAAAAAAAAAAAABsgAAAI4AAAAJ6wAAAAsAAAApAAAAAbMAAAAkAAAACewAAAALAAAAKQAAAAG0AAAAJQAAAAnRAAAAAAAAAAAAAAABtwAAAGoAAAAKCgAAAEA/Ce0AAAAJ7gAAAAEAAAD+////AAAAAAEAAAAAAAAAAAAAAAEAAAAAAAAAAAAAAbgAAABvAAAACe8AAAAKBcU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wAAAACXEAAAAJ8AAAAAEACfEAAAABxgAAAHIAAAAKCgEAAAAAAAAA/////wABAcsAAACnAAAACekAAAAAAAAAAAAAAAHMAAAAbwAAAAnyAAAACgfNAAAAAAEAAAAIAAAABB9BcGxvcmlzLkJhc2UuT2JqZWN0cy5EYXRhT2JqZWN0AwAAAAk5AAAACToAAAAJOwAAAAk8AAAACTcAAAAJOAAAAAnzAAAACfQAAAAHzgAAAAABAAAABAAAAAQcQXBsb3Jpcy5CYXNlLlVJLlZpc3VhbE9iamVjdAMAAAAJPwAAAAlDAAAACgoHzwAAAAABAAAAIAAAAAQdQXBsb3Jpcy5DaGFydC5DaGFydERhdGFTZXJpZXMCAAAACfUAAAANHwfQAAAAAAEAAAAgAAAABB9BcGxvcmlzLkJhc2UuT2JqZWN0cy5EYXRhT2JqZWN0AwAAAAn1AAAADR8H0QAAAAABAAAAAAAAAAQcQXBsb3Jpcy5CYXNlLlVJLlZpc3VhbE9iamVjdAMAAAAH0gAAAAABAAAAAAAAAAQiQXBsb3Jpcy5DaGFydC5Bbm5vdGF0aW9uRGF0YVNlcmllcwIAAAAH0wAAAAABAAAAAAAAAAQfQXBsb3Jpcy5CYXNlLk9iamVjdHMuRGF0YU9iamVjdAMAAAAH1AAAAAABAAAAAAAAAAQdQXBsb3Jpcy5DaGFydC5Bbm5vdGF0aW9uR3JvdXACAAAAB9UAAAAAAQAAAAgAAAAEHEFwbG9yaXMuQ2hhcnQuQ2hhcnREYXRhR3JvdXACAAAACfYAAAAJ9wAAAAn4AAAACfkAAAAJ+gAAAA0DB9YAAAAAAQAAAAgAAAAEH0FwbG9yaXMuQmFzZS5PYmplY3RzLkRhdGFPYmplY3QDAAAACfYAAAAJ9wAAAAn6AAAACfkAAAAJ+AAAAA0DB9cAAAAAAQAAAAAAAAAEFkFwbG9yaXMuQ2hhcnQuRGVsdGFCYXICAAAAB9gAAAAAAQAAAAAAAAAEGUFwbG9yaXMuQ2hhcnQuRGVsdGFCcmlkZ2UCAAAAB9kAAAAAAQAAAAAAAAAEGUFwbG9yaXMuQ2hhcnQuR3Jvd3RoQXJyb3cCAAAAB9oAAAAAAQAAAAAAAAAEIEFwbG9yaXMuQ2hhcnQuV2F0ZXJmYWxsQ29ubmVjdG9yAgAAAAfbAAAAAAEAAAAAAAAABB5BcGxvcmlzLkNoYXJ0LkVsZW1lbnRDb25uZWN0b3ICAAAAAdwAAAByAAAACgoAAAAAAAAAAA0AAAAAAQHdAAAAcgAAAAoKAQAAAAAAAAD/////AAEB3gAAAHIAAAAKCgEAAAD///8A/////wABAd8AAAByAAAACgoBAAAAAAAAAP////8AAQ/gAAAAAQAAAAgAAAAAB+EAAAAAAQAAAAAAAAAEF0FwbG9yaXMuQ2hhcnQuVmFsdWVMaW5lAgAAAAfiAAAAAAEAAAAAAAAABBdBcGxvcmlzLkNoYXJ0LkF4aXNCcmVhawIAAAAH4wAAAAABAAAAAAAAAAQWQXBsb3Jpcy5DaGFydC5UaWNrTWFyawIAAAAF5AAAABpBcGxvcmlzLkJhc2UuT2JqZWN0cy5Db2xvcgcAAAASRGF0YU9iamVjdCttUGFyZW50FURhdGFPYmplY3QrbUNvbnRhaW5lcgVtVHlwZQRtUkdCEG1UaGVtZUNvbG9ySW5kZXgMbUF1dG9VcGRhdGVkCW1Nb2RpZmllZAQCAAAAAAAfQXBsb3Jpcy5CYXNlLk9iamVjdHMuTGluZUZvcm1hdAMAAAAICAgBAQMAAAAJkwAAAAoAAAAAAAAAAA0AAAAAAAXlAAAAGkFwbG9yaXMuQmFzZS5PYmplY3RzLkNvbG9yBwAAABJEYXRhT2JqZWN0K21QYXJlbnQVRGF0YU9iamVjdCttQ29udGFpbmVyBW1UeXBlBG1SR0IQbVRoZW1lQ29sb3JJbmRleAxtQXV0b1VwZGF0ZWQJbU1vZGlmaWVkBAIAAAAAAB9BcGxvcmlzLkJhc2UuT2JqZWN0cy5MaW5lRm9ybWF0AwAAAAgICAEBAwAAAAmTAAAACgEAAAAAAAAA/////wABD+YAAAABAAAACJQAAAAB5wAAAHIAAAAKCgAAAAAAAAAADQAAAAABAegAAAByAAAACgoBAAAAAAAAAP////8AAQfpAAAAAAEAAAAAAAAABB1BcGxvcmlzLkJhc2UuT2JqZWN0cy5WYXJpYWJsZQMAAAAP6gAAAAEAAAAIAAAAAAfrAAAAAAEAAAAQAAAABBZBcGxvcmlzLkNoYXJ0LlRpY2tNYXJrAgAAAAn7AAAACfwAAAAJ/QAAAAn+AAAACf8AAAAJAAEAAAkBAQAACQIBAAAJAwEAAAkEAQAACQUBAAANBQfsAAAAAAEAAAAQAAAABB9BcGxvcmlzLkJhc2UuT2JqZWN0cy5EYXRhT2JqZWN0AwAAAAn7AAAACfwAAAAJ/QAAAAn+AAAACf8AAAAJAAEAAAkBAQAACQIBAAAJAwEAAAkEAQAACQUBAAANBQXtAAAAGkFwbG9yaXMuQmFzZS5PYmplY3RzLkNvbG9yBwAAABJEYXRhT2JqZWN0K21QYXJlbnQVRGF0YU9iamVjdCttQ29udGFpbmVyBW1UeXBlBG1SR0IQbVRoZW1lQ29sb3JJbmRleAxtQXV0b1VwZGF0ZWQJbU1vZGlmaWVkBAIAAAAAAB9BcGxvcmlzLkJhc2UuT2JqZWN0cy5MaW5lRm9ybWF0AwAAAAgICAEBAwAAAAm3AAAACgAAAAAAAAAADQAAAAAABe4AAAAaQXBsb3Jpcy5CYXNlLk9iamVjdHMuQ29sb3IHAAAAEkRhdGFPYmplY3QrbVBhcmVudBVEYXRhT2JqZWN0K21Db250YWluZXIFbVR5cGUEbVJHQhBtVGhlbWVDb2xvckluZGV4DG1BdXRvVXBkYXRlZAltTW9kaWZpZWQEAgAAAAAAH0FwbG9yaXMuQmFzZS5PYmplY3RzLkxpbmVGb3JtYXQDAAAACAgIAQEDAAAACbcAAAAKAQAAAAAAAAD/////AAEP7wAAAAEAAAAIlQAAAAHwAAAAcgAAAAoKAAAAAAAAAAANAAAAAAEB8QAAAHIAAAAKCgEAAAAAAAAA/////wABD/IAAAABAAAACAAAAAAF8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YgAAAAMAAAAJYwAAAAlkAAAACWUAAAABAAAAAAoJjQAAAAlmAAAAAQAAAAoAAAAAAAAAAAX0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HAAAACQEAAAAAAAAAAAYGAQAAAS4DAAAABgcBAAABLAYIAQAAAS0GCQEAAAErAQAAAAAKCgYKAQAACE0vZC95eXl5AAAAAAoAAAAAAAAAAAX1AA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C4wLjE0ODY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BCwEAABMAAAAAAAAAAgAAAP////8JBwAAAAkMAQAABg0BAAABJQoKAAAAAAAAAAAAAAAACgoACQ4BAAAJDwEAAAkQAQAAAAAAAAAAAAAAAAAAAAAAAAAACREBAAAJAQAAAAkBAAAACRIBAAAF9gA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YTAQAAEE92ZXJzZWUgYSANClRlYW0ABRQBAAAeQXBsb3Jpcy5DaGFydC5DaGFydEdyb3VwQW5jaG9yAQAAAAd2YWx1ZV9fAAgCAAAAAAAAAAoAAAAAAQAAAAEAAAAJFQEAAAkWAQAACRcBAAAKCQcAAAAJGAEAAAkBAAAACQEAAAAJGQEAAAH3AAAA9gAAAAkBAAAABhoBAAAaUHJvdmlkZSBTdXBwb3J0IA0KU2VydmljZXMAARsBAAAUAQAAAAAAAAoAAAAAAQAAAAEAAAAJHAEAAAkdAQAACR4BAAAKCQcAAAAJHwEAAAkBAAAACQEAAAAJIAEAAAH4AAAA9gAAAAkBAAAABiEBAAAjUmVzcG9uc2libGUgZm9yIA0KQWR2aXNpbmcgU3R1ZGVudHMAASIBAAAUAQAAAAAAAAoAAAAAAQAAAAEAAAAJIwEAAAkkAQAACSUBAAAKCQcAAAAJJgEAAAkBAAAACQEAAAAJJwEAAAH5AAAA9gAAAAkBAAAABigBAAAZQ29uc3VtZXIgb2YgDQpJbmZvcm1hdGlvbgABKQEAABQBAAAAAAAACgAAAAABAAAAAQAAAAkqAQAACSsBAAAJLAEAAAoJBwAAAAktAQAACQEAAAAJAQAAAAkuAQAAAfoAAAD2AAAACQEAAAAGLwEAABZOL0E6DQooTm8gSW52b2x2ZW1lbnQpAAEwAQAAFAEAAAAAAAAKAAAAAAEAAAABAAAACTEBAAAJMgEAAAkzAQAACgkHAAAACTQBAAAJAQAAAAkBAAAACTUBAAAF+wA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TYBAAAKCTcBAAAJBwAAAAEAAAAAAAAAAAE4AQAAIAAAAOmRF0Ij2J9DATkBAAAgAAAA6ZEHQiPYn0MACToBAAAJBwAAAAkBAAAACTsBAAAB/AAAAPsAAAAJPAEAAAoJPQEAAAkHAAAAAZqZmZmZmak/AT4BAAAgAAAA6ZEXQuyekEMBPwEAACAAAADpkQdC7J6QQwAJQAEAAAkHAAAACQEAAAAJQQEAAAH9AAAA+wAAAAlCAQAACglDAQAACQcAAAABmpmZmZmZuT8BRAEAACAAAADpkRdCtGWBQwFFAQAAIAAAAOmRB0K0ZYFDAAlGAQAACQcAAAAJAQAAAAlHAQAAAf4AAAD7AAAACUgBAAAKCUkBAAAJBwAAAAEzMzMzMzPDPwFKAQAAIAAAAOmRF0L6WGRDAUsBAAAgAAAA6ZEHQvpYZEMACUwBAAAJBwAAAAkBAAAACU0BAAAB/wAAAPsAAAAJTgEAAAoJTwEAAAkHAAAAAZqZmZmZmck/AVABAAAgAAAA6ZEXQozmRUMBUQEAACAAAADpkQdCjOZFQwAJUgEAAAkHAAAACQEAAAAJUwEAAAEAAQAA+wAAAAlUAQAACglVAQAACQcAAAABAAAAAAAA0D8BVgEAACAAAADpkRdCHXQnQwFXAQAAIAAAAOmRB0IddCdDAAlYAQAACQcAAAAJAQAAAAlZAQAAAQEBAAD7AAAACVoBAAAKCVsBAAAJBwAAAAEzMzMzMzPTPwFcAQAAIAAAAOmRF0KvAQlDAV0BAAAgAAAA6ZEHQq8BCUMACV4BAAAJBwAAAAkBAAAACV8BAAABAgEAAPsAAAAJYAEAAAoJYQEAAAkHAAAAAWZmZmZmZtY/AWIBAAAgAAAA6ZEXQoAe1UIBYwEAACAAAADpkQdCgB7VQgAJZAEAAAkHAAAACQEAAAAJZQEAAAEDAQAA+wAAAAlmAQAACglnAQAACQcAAAABmpmZmZmZ2T8BaAEAACAAAADpkRdCozmYQgFpAQAAIAAAAOmRB0KjOZhCAAlqAQAACQcAAAAJAQAAAAlrAQAAAQQBAAD7AAAACWwBAAAKCW0BAAAJBwAAAAHNzMzMzMzcPwFuAQAAIAAAAOmRF0KLqTZCAW8BAAAgAAAA6ZEHQoupNkIACXABAAAJBwAAAAkBAAAACXEBAAABBQEAAPsAAAAJcgEAAAoJcwEAAAkHAAAAAQAAAAAAAOA/AXQBAAAgAAAA6ZEXQkR/c0EBdQEAACAAAADpkQdCRH9zQQAJdgEAAAkHAAAACQEAAAAJdwEAAAUMAQAAogFBcGxvcmlzLkJhc2UuT2JqZWN0cy5EYXRhT2JqZWN0Q29sbGVjdGlvbmAxW1tBcGxvcmlzLkNoYXJ0LkNoYXJ0RGF0YU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wLjAuMTQ4NiwgQ3VsdHVyZT1uZXV0cmFsLCBQdWJsaWNLZXlUb2tlbj0xNmZjMTNhMjI2YzBlOTUxXV0DAAAAmAFTeXN0ZW0uQ29sbGVjdGlvbnMuR2VuZXJpYy5MaXN0YDFbW0FwbG9yaXMuQ2hhcnQuQ2hhcnREYXRh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4AQAACXkBAAAJ9QAAAAkBAAAACXoBAAAFDgEAABxBcGxvcmlzLkNoYXJ0LkNvbm5lY3RlZExhYmVsJA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CAAAAClgCAAAFewEAACtBcGxvcmlzLkNoYXJ0LkNvbm5lY3RlZExhYmVsK2VDb25uZWN0b3JNb2RlAQAAAAd2YWx1ZV9fAAgCAAAAAQAAAAV8AQAANkFwbG9yaXMuQ2hhcnQuQ29ubmVjdGVkTGFiZWwrZUFuZ2xlZENvbm5lY3RvckRpcmVjdGlvbgEAAAAHdmFsdWVfXwAIAgAAAAAAAAABfQEAABQAAACZO5dD3vRnQ8ApBELQdqlCBX4BAAAtQXBsb3Jpcy5DaGFydC5Db25uZWN0ZWRMYWJlbCtlVGFyZ2V0QXJlYVNoYXBlAQAAAAd2YWx1ZV9fAAgCAAAAAAAAAAAAEEEBAX8BAAAgAAAA0cCrQ0kpiUMBgAEAAJoAAAAEAAAAAAAAAAAAAAAACYEBAAAAAAAACYIBAAAAAAGDAQAAowAAAAAAAAABhAEAAGwAAAAAAOBBAABgQQGFAQAAFAAAAAAAAAAAAAAAAAAAAAAAAABeutk/CQ0BAAAKCYYBAAAGhwEAAAAgAwAA/////wABCgmIAQAAAQAKAQcPAQAAAAEAAAACAAAABBVTeXN0ZW0uRHJhd2luZy5Qb2ludEYEAAAAAYkBAAAgAAAA0cCrQ0kpiUMBigEAACAAAADpkQNC5CYuQwcQAQAAAAEAAAACAAAABBdBcGxvcmlzLkJhc2UuQW5jaG9yTW9kZQMAAAABiwEAAJoAAAAEAAAAAYwBAACaAAAAAgAAAAERAQAAJAAAAAmNAQAAAQAAAAEAAAABEgEAACUAAAAJjgEAAAEAAAADAAAADxUBAAABAAAACAAAAAAHFgEAAAABAAAAAQAAAAQVQXBsb3Jpcy5CYXNlLlVJLkxhYmVsAwAAAAmPAQAAARcBAAAzAAAAAZABAAAgAAAADUCKQiNYokMBkQEAAJoAAAADAAAAAAAAAAAAAAAACZIBAAAAAAAACZMBAAAAAAGUAQAAowAAAAAAAAABlQEAAGwAAAAAAGBCAADIQQGWAQAAFAAAANFFJ0LRRaJDGotXQnTRtUESg74/CRMBAAAKCZcBAAAJhwEAACADAAD/////AQEKCZgBAAABAAoBARgBAAAkAAAACdMAAAAAAAAAAAAAAAEZAQAAJQAAAAmZAQAAAgAAAAYAAAAPHAEAAAEAAAAIAAAAAAcdAQAAAAEAAAABAAAABBVBcGxvcmlzLkJhc2UuVUkuTGFiZWwDAAAACZoBAAABHgEAADMAAAABmwEAACAAAAAflwNDI1iiQwGcAQAAmgAAAAMAAAAAAAAAAAAAAAAJnQEAAAAAAAAJngEAAAAAAZ8BAACjAAAAAAAAAAGgAQAAbAAAAAAArEIAAMhBAaEBAAAUAAAAdNG1QtFFokMvUaJCdNG1QRKDvj8JGgEAAAoJogEAAAmHAQAAIAMAAP////8BAQoJowEAAAEACgEBHwEAACQAAAAJ0wAAAAAAAAAAAAAAASABAAAlAAAACaQBAAACAAAABgAAAA8jAQAAAQAAAAgAAAAAByQBAAAAAQAAAAEAAAAEFUFwbG9yaXMuQmFzZS5VSS5MYWJlbAMAAAAJpQEAAAElAQAAMwAAAAGmAQAAIAAAADgOQkMjWKJDAacBAACaAAAAAwAAAAAAAAAAAAAAAAmoAQAAAAAAAAmpAQAAAAABqgEAAKMAAAAAAAAAAasBAABsAAAAAAC4QgAAyEEBrAEAABQAAAC66BZD0UWiQ+k5rUJ00bVBEoO+PwkhAQAACgmtAQAACYcBAAAgAwAA/////wEBCgmuAQAAAQAKAQEmAQAAJAAAAAmvAQAAAAAAAAAAAAABJwEAACUAAAAJsAEAAAIAAAAGAAAADyoBAAABAAAACAAAAAAHKwEAAAABAAAAAQAAAAQVQXBsb3Jpcy5CYXNlLlVJLkxhYmVsAwAAAAmxAQAAASwBAAAzAAAAAbIBAAAgAAAAqEKAQyNYokMBswEAAJoAAAADAAAAAAAAAAAAAAAACbQBAAAAAAAACbUBAAAAAAG2AQAAowAAAAAAAAABtwEAAGwAAAAAAIpCAADIQQG4AQAAFAAAAOiiX0PRRaJDdWiDQnTRtUESg74/CSgBAAAKCbkBAAAJhwEAACADAAD/////AQEKCboBAAABAAoBAS0BAAAkAAAACdMAAAAAAAAAAAAAAAEuAQAAJQAAAAm7AQAAAgAAAAYAAAAPMQEAAAEAAAAIAAAAAAcyAQAAAAEAAAABAAAABBVBcGxvcmlzLkJhc2UuVUkuTGFiZWwDAAAACbwBAAABMwEAADMAAAABvQEAACAAAAA1fp9DI1iiQwG+AQAAmgAAAAMAAAAAAAAAAAAAAAAJvwEAAAAAAAAJwAEAAAAAAcEBAACjAAAAAAAAAAHCAQAAbAAAAAAArkIAAMhBAcMBAAAUAAAARheLQ9FFokOkIqRCdNG1QRKDvj8JLwEAAAoJxAEAAAmHAQAAIAMAAP////8BAQoJxQEAAAEACgEBNAEAACQAAAAJ0wAAAAAAAAAAAAAAATUBAAAlAAAACcYBAAACAAAAAgAAAAE2AQAALwAAAAHHAQAAIAAAAOmRF0Ij2J9DAcgBAAAgAAAA6ZEHQiPYn0MJyQEAAMwBAAD/////AQEKCcoBAAABAAoAATcBAAAzAAAAAcsBAAAgAAAA6ZEBQiPYn0MBzAEAAJoAAAACAAAAAAAAAAAAAAAACc0BAAAAAAAACc4BAAAAAAHPAQAAowAAAAAAAAAB0AEAAGwAAAAAAIBBAABAQQHRAQAAFAAAALrogkHRRZ1Dei2MQaOLLkESg74/BtIBAAACMCUKCdMBAAAJhwEAANACAAD/////AQEKCdQBAAABAAoAAToBAAAkAAAACdMAAAAAAAAAAAAAAAE7AQAAJQAAAAnVAQAAAgAAAAIAAAABPAEAAC8AAAAB1gEAACAAAADpkRdC7J6QQwHXAQAAIAAAAOmRB0LsnpBDCdgBAADMAQAA/////wEBCgnZAQAAAQAKAAE9AQAAMwAAAAHaAQAAIAAAAOmRAULsnpBDAdsBAACaAAAAAgAAAAAAAAAAAAAAAAncAQAAAAAAAAndAQAAAAAB3gEAAKMAAAAAAAAAAd8BAABsAAAAAACAQQAAQEEB4AEAABQAAAC66IJBdNGNQ3otjEGjiy5BEoO+PwbhAQAAAjUlCgniAQAACYcBAADQAgAA/////wEBCgnjAQAAAQAKAAFAAQAAJAAAAAnTAAAAAAAAAAAAAAABQQEAACUAAAAJ5AEAAAIAAAACAAAAAUIBAAAvAAAAAeUBAAAgAAAA6ZEXQrRlgUMB5gEAACAAAADpkQdCtGWBQwnnAQAAzAEAAP////8BAQoJ6AEAAAEACgABQwEAADMAAAAB6QEAACAAAADpkQFCtGWBQwHqAQAAmgAAAAIAAAAAAAAAAAAAAAAJ6wEAAAAAAAAJ7AEAAAAAAe0BAACjAAAAAAAAAAHuAQAAbAAAAAAAuEEAAEBBAe8BAAAUAAAAAAAgQeiifUM0Fr9Bo4suQRKDvj8G8AEAAAMxMCUKCfEBAAAJhwEAANACAAD/////AQEKCfIBAAABAAoAAUYBAAAkAAAACdMAAAAAAAAAAAAAAAFHAQAAJQAAAAnzAQAAAgAAAAIAAAABSAEAAC8AAAAB9AEAACAAAADpkRdC+lhkQwH1AQAAIAAAAOmRB0L6WGRDCfYBAADMAQAA/////wEBCgn3AQAAAQAKAAFJAQAAMwAAAAH4AQAAIAAAAOmRAUL6WGRDAfkBAACaAAAAAgAAAAAAAAAAAAAAAAn6AQAAAAAAAAn7AQAAAAAB/AEAAKMAAAAAAAAAAf0BAABsAAAAAAC4QQAAQEEB/gEAABQAAAAAACBBLrpeQzQWv0Gjiy5BEoO+Pwb/AQAAAzE1JQoJAAIAAAmHAQAA0AIAAP////8BAQoJAQIAAAEACgABTAEAACQAAAAJ0wAAAAAAAAAAAAAAAU0BAAAlAAAACQICAAACAAAAAgAAAAFOAQAALwAAAAEDAgAAIAAAAOmRF0KM5kVDAQQCAAAgAAAA6ZEHQozmRUMJBQIAAMwBAAD/////AQEKCQYCAAABAAoAAU8BAAAzAAAAAQcCAAAgAAAA6ZEBQozmRUMBCAIAAJoAAAACAAAAAAAAAAAAAAAACQkCAAAAAAAACQoCAAAAAAELAgAAowAAAAAAAAABDAIAAGwAAAAAALhBAABAQQENAgAAFAAAAAAAIEEuukBDNBa/QaOLLkESg74/Bg4CAAADMjAlCgkPAgAACYcBAADQAgAA/////wEBCgkQAgAAAQAKAAFSAQAAJAAAAAnTAAAAAAAAAAAAAAABUwEAACUAAAAJEQIAAAIAAAACAAAAAVQBAAAvAAAAARICAAAgAAAA6ZEXQh10J0MBEwIAACAAAADpkQdCHXQnQwkUAgAAzAEAAP////8BAQoJFQIAAAEACgABVQEAADMAAAABFgIAACAAAADpkQFCHXQnQwEXAgAAmgAAAAIAAAAAAAAAAAAAAAAJGAIAAAAAAAAJGQIAAAAAARoCAACjAAAAAAAAAAEbAgAAbAAAAAAAuEEAAEBBARwCAAAUAAAAAAAgQXTRIUM0Fr9Bo4suQRKDvj8GHQIAAAMyNSUKCR4CAAAJhwEAANACAAD/////AQEKCR8CAAABAAoAAVgBAAAkAAAACdMAAAAAAAAAAAAAAAFZAQAAJQAAAAkgAgAAAgAAAAIAAAABWgEAAC8AAAABIQIAACAAAADpkRdCrwEJQwEiAgAAIAAAAOmRB0KvAQlDCSMCAADMAQAA/////wEBCgkkAgAAAQAKAAFbAQAAMwAAAAElAgAAIAAAAOmRAUKvAQlDASYCAACaAAAAAgAAAAAAAAAAAAAAAAknAgAAAAAAAAkoAgAAAAABKQIAAKMAAAAAAAAAASoCAABsAAAAAAC4QQAAQEEBKwIAABQAAAAAACBBdNEDQzQWv0Gjiy5BEoO+PwYsAgAAAzMwJQoJLQIAAAmHAQAA0AIAAP////8BAQoJLgIAAAEACgABXgEAACQAAAAJ0wAAAAAAAAAAAAAAAV8BAAAlAAAACS8CAAACAAAAAgAAAAFgAQAALwAAAAEwAgAAIAAAAOmRF0KAHtVCATECAAAgAAAA6ZEHQoAe1UIJMgIAAMwBAAD/////AQEKCTMCAAABAAoAAWEBAAAzAAAAATQCAAAgAAAA6ZEBQoAe1UIBNQIAAJoAAAACAAAAAAAAAAAAAAAACTYCAAAAAAAACTcCAAAAAAE4AgAAowAAAAAAAAABOQIAAGwAAAAAALhBAABAQQE6AgAAFAAAAAAAIEF00clCNBa/QaOLLkESg74/BjsCAAADMzUlCgk8AgAACYcBAADQAgAA/////wEBCgk9AgAAAQAKAAFkAQAAJAAAAAk+AgAAAAAAAAAAAAABZQEAACUAAAAJPwIAAAIAAAACAAAAAWYBAAAvAAAAAUACAAAgAAAA6ZEXQqM5mEIBQQIAACAAAADpkQdCozmYQglCAgAAzAEAAP////8BAQoJQwIAAAEACgABZwEAADMAAAABRAIAACAAAADpkQFCozmYQgFFAgAAmgAAAAIAAAAAAAAAAAAAAAAJRgIAAAAAAAAJRwIAAAAAAUgCAACjAAAAAAAAAAFJAgAAbAAAAAAAuEEAAEBBAUoCAAAUAAAAAAAgQXTRjUI0Fr9Bo4suQRKDvj8GSwIAAAM0MCUKCUwCAAAJhwEAANACAAD/////AQEKCU0CAAABAAoAAWoBAAAkAAAACT4CAAAAAAAAAAAAAAFrAQAAJQAAAAlOAgAAAgAAAAIAAAABbAEAAC8AAAABTwIAACAAAADpkRdCi6k2QgFQAgAAIAAAAOmRB0KLqTZCCVECAADMAQAA/////wEBCglSAgAAAQAKAAFtAQAAMwAAAAFTAgAAIAAAAOmRAUKLqTZCAVQCAACaAAAAAgAAAAAAAAAAAAAAAAlVAgAAAAAAAAlWAgAAAAABVwIAAKMAAAAAAAAAAVgCAABsAAAAAAC4QQAAQEEBWQIAABQAAAAAACBBAAAgQjQWv0Gjiy5BEoO+PwZaAgAAAzQ1JQoJWwIAAAmHAQAA0AIAAP////8BAQoJXAIAAAEACgABcAEAACQAAAAJPgIAAAAAAAAAAAAAAXEBAAAlAAAACV0CAAACAAAAAgAAAAFyAQAALwAAAAFeAgAAIAAAAOmRF0JEf3NBAV8CAAAgAAAA6ZEHQkR/c0EJYAIAAMwBAAD/////AQEKCWECAAABAAoAAXMBAAAzAAAAAWICAAAgAAAA6ZEBQkR/c0EBYwIAAJoAAAACAAAAAAAAAAAAAAAACWQCAAAAAAAACWUCAAAAAAFmAgAAowAAAAAAAAABZwIAAGwAAAAAALhBAABAQQFoAgAAFAAAAAAAIEEAACBBNBa/QaOLLkESg74/BmkCAAADNTAlCglqAgAACYcBAADQAgAA/////wEBCglrAgAAAQAKAAF2AQAAJAAAAAk+AgAAAAAAAAAAAAABdwEAACUAAAAJbAIAAAIAAAACAAAABHgBAACYAVN5c3RlbS5Db2xsZWN0aW9ucy5HZW5lcmljLkxpc3RgMVtbQXBsb3Jpcy5DaGFydC5DaGFydERhdGFFbGVtZW50LCBBcGxvcmlzLkNoYXJ0LCBWZXJzaW9uPTQuMC4wLjE0ODYsIEN1bHR1cmU9bmV1dHJhbCwgUHVibGljS2V5VG9rZW49MTZmYzEzYTIyNmMwZTk1MV1dAwAAAAZfaXRlbXMFX3NpemUIX3ZlcnNpb24EAAAgQXBsb3Jpcy5DaGFydC5DaGFydERhdGFFbGVtZW50W10CAAAACAgJbQIAAAUAAAALAAAAAXkBAAAkAAAACW4CAAAFAAAABwAAAAF6AQAAJQAAAAnRAAAAAAAAAAAAAAAFgQ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UAAAAKAAAAAABAQQlwAAAACXEAAAAJbwIAAAEACXACAAABggEAAHIAAAAKCgAAAAD///8ADgAAAAABAYYBAACnAAAACXECAAABAAAAAQAAAAGIAQAAbwAAAAlyAgAACgeNAQAAAAEAAAAEAAAABB9BcGxvcmlzLkJhc2UuT2JqZWN0cy5EYXRhT2JqZWN0AwAAAAkMAQAADQMHjgEAAAABAAAABAAAAAQcQXBsb3Jpcy5CYXNlLlVJLlZpc3VhbE9iamVjdAMAAAAJDgEAAA0DAY8BAAAzAAAAAXMCAAAgAAAADUCKQgnszEEBdAIAAJoAAAABAAAAAAAAAAAAAAAACXUCAAAAAAAACXYCAAAAAAF3AgAAowAAAAAAAAABeAIAAGwAAAAAABRCAABgQQF5AgAAFAAAAOiiS0LooktBSCcUQuiiS0Feutk/BnoCAAAFNDcuOCUKCXsCAAAJhwEAADQDAAD/////AQEKCXwCAAABAAoAAZIBAAAiAAAACgoAAAAAAChBCXAAAAAJcQAAAAl9AgAAAAAJfgIAAAGTAQAAcgAAAAoKAAAAAP///wAOAAAAAAEBlwEAAKcAAAAJfwIAAAEAAAABAAAAAZgBAABvAAAACYACAAAKB5kBAAAAAQAAAAQAAAAEHEFwbG9yaXMuQmFzZS5VSS5WaXN1YWxPYmplY3QDAAAACRcBAAAJjwEAAAoKAZoBAAAzAAAAAYECAAAgAAAAH5cDQ9fZvEIBggIAAJoAAAABAAAAAAAAAAAAAAAACYMCAAAAAAAACYQCAAAAAAGFAgAAowAAAAAAAAABhgIAAGwAAAAAABRCAABgQQGHAgAAFAAAAF104ULooqNCSCcUQuiiS0Feutk/BogCAAAFMzYuNSUKCYkCAAAJhwEAADQDAAD/////AQEKCYoCAAABAAoAAZ0BAAAiAAAACgoAAAAAAChBCXAAAAAJcQAAAAmLAgAAAAAJjAIAAAGeAQAAcgAAAAoKAAAAAP///wAOAAAAAAEBogEAAKcAAAAJjQIAAAEAAAABAAAAAaMBAABvAAAACY4CAAAKB6QBAAAAAQAAAAQAAAAEHEFwbG9yaXMuQmFzZS5VSS5WaXN1YWxPYmplY3QDAAAACR4BAAAJmgEAAAoKAaUBAAAzAAAAAY8CAAAgAAAAOA5CQx+IDkMBkAIAAJoAAAABAAAAAAAAAAAAAAAACZECAAAAAAAACZICAAAAAAGTAgAAowAAAAAAAAABlAIAAGwAAAAAABRCAABgQQGVAgAAFAAAAF10L0MAAAJDSCcUQuiiS0Feutk/BpYCAAAFMjguNiUKCZcCAAAJhwEAADQDAAD/////AQEKCZgCAAABAAoAAagBAAAiAAAACgoAAAAAAChBCXAAAAAJcQAAAAmZAgAAAAAJmgIAAAGpAQAAcgAAAAoKAAAAAP///wAOAAAAAAEBrQEAAKcAAAAJmwIAAAEAAAABAAAAAa4BAABvAAAACZwCAAAKB68BAAAAAQAAAAAAAAAEH0FwbG9yaXMuQmFzZS5PYmplY3RzLkRhdGFPYmplY3QDAAAAB7ABAAAAAQAAAAQAAAAEHEFwbG9yaXMuQmFzZS5VSS5WaXN1YWxPYmplY3QDAAAACSUBAAAJpQEAAAoKAbEBAAAzAAAAAZ0CAAAgAAAAqEKAQ/vdW0MBngIAAJoAAAABAAAAAAAAAAAAAAAACZ8CAAAAAAAACaACAAAAAAGhAgAAowAAAAAAAAABogIAAGwAAAAAABRCAABgQQGjAgAAFAAAAIsubkPRRU9DSCcUQuiiS0Feutk/BqQCAAAFMTUuOSUKCaUCAAAJhwEAADQDAAD/////AQEKCaYCAAABAAoAAbQBAAAiAAAACgoAAAAAAChBCXAAAAAJcQAAAAmnAgAAAAAJqAIAAAG1AQAAcgAAAAoKAAAAAP///wAOAAAAAAEBuQEAAKcAAAAJqQIAAAEAAAABAAAAAboBAABvAAAACaoCAAAKB7sBAAAAAQAAAAQAAAAEHEFwbG9yaXMuQmFzZS5VSS5WaXN1YWxPYmplY3QDAAAACSwBAAAJsQEAAAoKAbwBAAAzAAAAAasCAAAgAAAANX6fQ970YUMBrAIAAJoAAAABAAAAAAAAAAAAAAAACa0CAAAAAAAACa4CAAAAAAGvAgAAowAAAAAAAAABsAIAAGwAAAAAABRCAABgQQGxAgAAFAAAAF10lkPoolVDSCcUQuiiS0Feutk/BrICAAAFMTQuOSUKCbMCAAAJhwEAADQDAAD/////AQEKCbQCAAABAAoAAb8BAAAiAAAACgoAAAAAAChBCXAAAAAJcQAAAAm1AgAAAAAJtgIAAAHAAQAAcgAAAAoKAAAAAP///wAOAAAAAAEBxAEAAKcAAAAJtwIAAAEAAAABAAAAAcUBAABvAAAACbgCAAAKB8YBAAAAAQAAAAQAAAAEHEFwbG9yaXMuQmFzZS5VSS5WaXN1YWxPYmplY3QDAAAACTMBAAAJvAEAAAoKAckBAABqAAAACgoAAABAPwm5AgAACboCAAABAAAA/v///wAAAAABAAAAAAAAAAAAAAABAAAAAAAAAAAAAAHKAQAAbwAAAAm7AgAACgHNAQAAIgAAAAoKAAAAAAAoQQlwAAAACXEAAAAJvAIAAAAACb0CAAABzgEAAHIAAAAKCgAAAAD///8ADgAAAAABAdMBAACnAAAACb4CAAABAAAAAQAAAAHUAQAAbwAAAAm/AgAACgfVAQAAAAEAAAAEAAAABBxBcGxvcmlzLkJhc2UuVUkuVmlzdWFsT2JqZWN0AwAAAAk2AQAACTcBAAAKCgHYAQAAagAAAAoKAAAAQD8JwAIAAAnBAgAAAQAAAP7///8AAAAAAQAAAAAAAAAAAAAAAQAAAAAAAAAAAAAB2QEAAG8AAAAJwgIAAAoB3AEAACIAAAAKCgAAAAAAKEEJcAAAAAlxAAAACcMCAAAAAAnEAgAAAd0BAAByAAAACgoAAAAA////AA4AAAAAAQHiAQAApwAAAAnFAgAAAQAAAAMAAAAB4wEAAG8AAAAJxgIAAAoH5AEAAAABAAAABAAAAAQcQXBsb3Jpcy5CYXNlLlVJLlZpc3VhbE9iamVjdAMAAAAJPAEAAAk9AQAACgoB5wEAAGoAAAAKCgAAAEA/CccCAAAJyAIAAAEAAAD+////AAAAAAEAAAAAAAAAAAAAAAEAAAAAAAAAAAAAAegBAABvAAAACckCAAAKAesBAAAiAAAACgoAAAAAAChBCXAAAAAJcQAAAAnKAgAAAAAJywIAAAHsAQAAcgAAAAoKAAAAAP///wAOAAAAAAEB8QEAAKcAAAAJzAIAAAEAAAADAAAAAfIBAABvAAAACc0CAAAKB/MBAAAAAQAAAAQAAAAEHEFwbG9yaXMuQmFzZS5VSS5WaXN1YWxPYmplY3QDAAAACUIBAAAJQwEAAAoKAfYBAABqAAAACgoAAABAPwnOAgAACc8CAAABAAAA/v///wAAAAABAAAAAAAAAAAAAAABAAAAAAAAAAAAAAH3AQAAbwAAAAnQAgAACgH6AQAAIgAAAAoKAAAAAAAoQQlwAAAACXEAAAAJ0QIAAAAACdICAAAB+wEAAHIAAAAKCgAAAAD///8ADgAAAAABAQACAACnAAAACdMCAAABAAAAAwAAAAEBAgAAbwAAAAnUAgAACgcCAgAAAAEAAAAEAAAABBxBcGxvcmlzLkJhc2UuVUkuVmlzdWFsT2JqZWN0AwAAAAlIAQAACUkBAAAKCgEFAgAAagAAAAoKAAAAQD8J1QIAAAnWAgAAAQAAAP7///8AAAAAAQAAAAAAAAAAAAAAAQAAAAAAAAAAAAABBgIAAG8AAAAJ1wIAAAoBCQIAACIAAAAKCgAAAAAAKEEJcAAAAAlxAAAACdgCAAAAAAnZAgAAAQoCAAByAAAACgoAAAAA////AA4AAAAAAQEPAgAApwAAAAnaAgAAAQAAAAMAAAABEAIAAG8AAAAJ2wIAAAoHEQIAAAABAAAABAAAAAQcQXBsb3Jpcy5CYXNlLlVJLlZpc3VhbE9iamVjdAMAAAAJTgEAAAlPAQAACgoBFAIAAGoAAAAKCgAAAEA/CdwCAAAJ3QIAAAEAAAD+////AAAAAAEAAAAAAAAAAAAAAAEAAAAAAAAAAAAAARUCAABvAAAACd4CAAAKARgCAAAiAAAACgoAAAAAAChBCXAAAAAJcQAAAAnfAgAAAAAJ4AIAAAEZAgAAcgAAAAoKAAAAAP///wAOAAAAAAEBHgIAAKcAAAAJ4QIAAAEAAAADAAAAAR8CAABvAAAACeICAAAKByACAAAAAQAAAAQAAAAEHEFwbG9yaXMuQmFzZS5VSS5WaXN1YWxPYmplY3QDAAAACVQBAAAJVQEAAAoKASMCAABqAAAACgoAAABAPwnjAgAACeQCAAABAAAA/v///wAAAAABAAAAAAAAAAAAAAABAAAAAAAAAAAAAAEkAgAAbwAAAAnlAgAACgEnAgAAIgAAAAoKAAAAAAAoQQlwAAAACXEAAAAJ5gIAAAAACecCAAABKAIAAHIAAAAKCgAAAAD///8ADgAAAAABAS0CAACnAAAACegCAAABAAAAAwAAAAEuAgAAbwAAAAnpAgAACgcvAgAAAAEAAAAEAAAABBxBcGxvcmlzLkJhc2UuVUkuVmlzdWFsT2JqZWN0AwAAAAlaAQAACVsBAAAKCgEyAgAAagAAAAoKAQAAQD8J6gIAAAnrAgAAAQAAAP7///8AAAAAAQAAAAAAAAAAAAAAAQAAAAAAAAAAAAABMwIAAG8AAAAJ7AIAAAoBNgIAACIAAAAKCgAAAAAAKEEJcAAAAAlxAAAACe0CAAAAAAnuAgAAATcCAAByAAAACgoAAAAA////AA4AAAAAAQE8AgAApwAAAAnvAgAAAQAAAAMAAAABPQIAAG8AAAAJ8AIAAAoHPgIAAAABAAAAAAAAAAQfQXBsb3Jpcy5CYXNlLk9iamVjdHMuRGF0YU9iamVjdAMAAAAHPwIAAAABAAAABAAAAAQcQXBsb3Jpcy5CYXNlLlVJLlZpc3VhbE9iamVjdAMAAAAJYAEAAAlhAQAACgoBQgIAAGoAAAAKCgEAAEA/CfECAAAJ8gIAAAEAAAD+////AAAAAAEAAAAAAAAAAAAAAAEAAAAAAAAAAAAAAUMCAABvAAAACfMCAAAKAUYCAAAiAAAACgoAAAAAAChBCXAAAAAJcQAAAAn0AgAAAAAJ9QIAAAFHAgAAcgAAAAoKAAAAAP///wAOAAAAAAEBTAIAAKcAAAAJ9gIAAAEAAAADAAAAAU0CAABvAAAACfcCAAAKB04CAAAAAQAAAAQAAAAEHEFwbG9yaXMuQmFzZS5VSS5WaXN1YWxPYmplY3QDAAAACWYBAAAJZwEAAAoKAVECAABqAAAACgoBAABAPwn4AgAACfkCAAABAAAA/v///wAAAAABAAAAAAAAAAAAAAABAAAAAAAAAAAAAAFSAgAAbwAAAAn6AgAACgFVAgAAIgAAAAoKAAAAAAAoQQlwAAAACXEAAAAJ+wIAAAAACfwCAAABVgIAAHIAAAAKCgAAAAD///8ADgAAAAABAVsCAACnAAAACf0CAAABAAAAAwAAAAFcAgAAbwAAAAn+AgAACgddAgAAAAEAAAAEAAAABBxBcGxvcmlzLkJhc2UuVUkuVmlzdWFsT2JqZWN0AwAAAAlsAQAACW0BAAAKCgFgAgAAagAAAAoKAQAAQD8J/wIAAAkAAwAAAQAAAP7///8AAAAAAQAAAAAAAAAAAAAAAQAAAAAAAAAAAAABYQIAAG8AAAAJAQMAAAoBZAIAACIAAAAKCgAAAAAAKEEJcAAAAAlxAAAACQIDAAAAAAkDAwAAAWUCAAByAAAACgoAAAAA////AA4AAAAAAQFqAgAApwAAAAkEAwAAAQAAAAMAAAABawIAAG8AAAAJBQMAAAoHbAIAAAABAAAABAAAAAQcQXBsb3Jpcy5CYXNlLlVJLlZpc3VhbE9iamVjdAMAAAAJcgEAAAlzAQAACgoHbQIAAAABAAAACAAAAAQeQXBsb3Jpcy5DaGFydC5DaGFydERhdGFFbGVtZW50AgAAAAkGAwAACQcDAAAJCAMAAAkJAwAACQoDAAANAwduAgAAAAEAAAAIAAAABB9BcGxvcmlzLkJhc2UuT2JqZWN0cy5EYXRhT2JqZWN0AwAAAAkGAwAACQcDAAAJCgMAAAkJAwAACQgDAAANAwFvAgAAcgAAAAoKAAAAAAAAAAANAAAAAAEBcAIAAHIAAAAKCgEAAAAAAAAA/////wABB3ECAAAAAQAAAAQAAAAEHUFwbG9yaXMuQmFzZS5PYmplY3RzLlZhcmlhYmxlAwAAAAULAwAAHUFwbG9yaXMuQmFzZS5PYmplY3RzLlZhcmlhYmxlAgAAAAZOdW1iZXIIUG9zaXRpb24AAAgIAwAAAAEAAAAAAAAAAQwDAAALAwAAAAAAAAAAAAABDQMAAAsDAAAAAAAAAAAAAAEOAwAACwMAAAAAAAAAAAAAD3ICAAABAAAACAAAAAABdQIAACIAAAAKCgAAAAAAQEEJcAAAAAlxAAAACQ8DAAAAAAkQAwAAAXYCAAByAAAACgoAAAAA////AA4AAAAAAQF7AgAApwAAAAkRAwAAAQAAAAMAAAABfAIAAG8AAAAJEgMAAAoBfQIAAHIAAAAKCgAAAAAAAAAADQAAAAAAAX4CAAByAAAACgoAAAAAAAAAAA0AAAAAAQd/AgAAAAEAAAAEAAAABB1BcGxvcmlzLkJhc2UuT2JqZWN0cy5WYXJpYWJsZQMAAAABEwMAAAsDAAABAAAAAAAAAAEUAwAACwMAAAAAAAAAAAAAARUDAAALAwAAAAAAAAAAAAABFgMAAAsDAAAAAAAAAAAAAA+AAgAAAQAAAAimAAAAAYMCAAAiAAAACgoAAAAAAEBBCXAAAAAJcQAAAAkXAwAAAAAJGAMAAAGEAgAAcgAAAAoKAAAAAP///wAOAAAAAAEBiQIAAKcAAAAJGQMAAAEAAAADAAAAAYoCAABvAAAACRoDAAAKAYsCAAByAAAACgoAAAAAAAAAAA0AAAAAAAGMAgAAcgAAAAoKAAAAAAAAAAANAAAAAAEHjQIAAAABAAAABAAAAAQdQXBsb3Jpcy5CYXNlLk9iamVjdHMuVmFyaWFibGUDAAAAARsDAAALAwAAAQAAAAAAAAABHAMAAAsDAAAAAAAAAAAAAAEdAwAACwMAAAAAAAAAAAAAAR4DAAALAwAAAAAAAAAAAAAPjgIAAAEAAAAIpQAAAAWR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4AAAACgAAAAAAQEEJcAAAAAlxAAAACR8DAAAAAAkgAwAAAZICAAByAAAACgoAAAAA////AA4AAAAAAQGXAgAApwAAAAkhAwAAAQAAAAMAAAABmAIAAG8AAAAJIgMAAAoBmQIAAHIAAAAKCgAAAAAAAAAADQAAAAAAAZoCAAByAAAACgoAAAAAAAAAAA0AAAAAAQebAgAAAAEAAAAEAAAABB1BcGxvcmlzLkJhc2UuT2JqZWN0cy5WYXJpYWJsZQMAAAABIwMAAAsDAAABAAAAAAAAAAEkAwAACwMAAAAAAAAAAAAAASUDAAALAwAAAAAAAAAAAAABJgMAAAsDAAAAAAAAAAAAAA+cAgAAAQAAAAhwAAAABZ8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kAAAAKAAAAAABAQQlwAAAACXEAAAAJJwMAAAAACSgDAAABoAIAAHIAAAAKCgAAAAD///8ADgAAAAABAaUCAACnAAAACSkDAAABAAAAAwAAAAGmAgAAbwAAAAkqAwAACgGnAgAAcgAAAAoKAAAAAAAAAAANAAAAAAABqAIAAHIAAAAKCgAAAAAAAAAADQAAAAABB6kCAAAAAQAAAAQAAAAEHUFwbG9yaXMuQmFzZS5PYmplY3RzLlZhcmlhYmxlAwAAAAErAwAACwMAAAEAAAAAAAAAASwDAAALAwAAAAAAAAAAAAABLQMAAAsDAAAAAAAAAAAAAAEuAwAACwMAAAAAAAAAAAAAD6oCAAABAAAACHEAAAAFrQ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gAAAAoAAAAAAEBBCXAAAAAJcQAAAAkvAwAAAAAJMAMAAAGuAgAAcgAAAAoKAAAAAP///wAOAAAAAAEBswIAAKcAAAAJMQMAAAEAAAADAAAAAbQCAABvAAAACTIDAAAKAbUCAAByAAAACgoAAAAAAAAAAA0AAAAAAAG2AgAAcgAAAAoKAAAAAAAAAAANAAAAAAEHtwIAAAABAAAABAAAAAQdQXBsb3Jpcy5CYXNlLk9iamVjdHMuVmFyaWFibGUDAAAAATMDAAALAwAAAQAAAAAAAAABNAMAAAsDAAAAAAAAAAAAAAE1AwAACwMAAAAAAAAAAAAAATYDAAALAwAAAAAAAAAAAAAPuAIAAAEAAAAILgAAAAG5AgAAcgAAAAoKAAAAAAAAAAANAAAAAAAFugIAABpBcGxvcmlzLkJhc2UuT2JqZWN0cy5Db2xvcgcAAAASRGF0YU9iamVjdCttUGFyZW50FURhdGFPYmplY3QrbUNvbnRhaW5lcgVtVHlwZQRtUkdCEG1UaGVtZUNvbG9ySW5kZXgMbUF1dG9VcGRhdGVkCW1Nb2RpZmllZAQCAAAAAAAfQXBsb3Jpcy5CYXNlLk9iamVjdHMuTGluZUZvcm1hdAMAAAAICAgBAQMAAAAJyQEAAAoBAAAAAAAAAP////8AAQ+7AgAAAQAAAAibAAAAAbwCAAByAAAACgoAAAAAAAAAAA0AAAAAAAG9AgAAcgAAAAoKAAAAAAAAAAANAAAAAAEHvgIAAAABAAAABAAAAAQdQXBsb3Jpcy5CYXNlLk9iamVjdHMuVmFyaWFibGUDAAAAATcDAAALAwAAAQAAAAAAAAABOAMAAAsDAAAAAAAAAAAAAAE5AwAACwMAAAAAAAAAAAAAAToDAAALAwAAAAAAAAAAAAAPvwIAAAEAAAAIJgAAAAHAAgAAcgAAAAoKAAAAAAAAAAANAAAAAAAFwQIAABpBcGxvcmlzLkJhc2UuT2JqZWN0cy5Db2xvcgcAAAASRGF0YU9iamVjdCttUGFyZW50FURhdGFPYmplY3QrbUNvbnRhaW5lcgVtVHlwZQRtUkdCEG1UaGVtZUNvbG9ySW5kZXgMbUF1dG9VcGRhdGVkCW1Nb2RpZmllZAQCAAAAAAAfQXBsb3Jpcy5CYXNlLk9iamVjdHMuTGluZUZvcm1hdAMAAAAICAgBAQMAAAAJ2AEAAAoBAAAAAAAAAP////8AAQ/CAgAAAQAAAAicAAAAAcMCAAByAAAACgoAAAAAAAAAAA0AAAAAAAHEAgAAcgAAAAoKAAAAAAAAAAANAAAAAAEHxQIAAAABAAAABAAAAAQdQXBsb3Jpcy5CYXNlLk9iamVjdHMuVmFyaWFibGUDAAAAATsDAAALAwAAAQAAAAAAAAABPAMAAAsDAAAAAAAAAAAAAAE9AwAACwMAAAAAAAAAAAAAAT4DAAALAwAAAAAAAAAAAAAPxgIAAAEAAAAIIwAAAAHHAgAAcgAAAAoKAAAAAAAAAAANAAAAAAAFyAIAABpBcGxvcmlzLkJhc2UuT2JqZWN0cy5Db2xvcgcAAAASRGF0YU9iamVjdCttUGFyZW50FURhdGFPYmplY3QrbUNvbnRhaW5lcgVtVHlwZQRtUkdCEG1UaGVtZUNvbG9ySW5kZXgMbUF1dG9VcGRhdGVkCW1Nb2RpZmllZAQCAAAAAAAfQXBsb3Jpcy5CYXNlLk9iamVjdHMuTGluZUZvcm1hdAMAAAAICAgBAQMAAAAJ5wEAAAoBAAAAAAAAAP////8AAQ/JAgAAAQAAAAiZAAAAAcoCAAByAAAACgoAAAAAAAAAAA0AAAAAAAHLAgAAcgAAAAoKAAAAAAAAAAANAAAAAAEHzAIAAAABAAAABAAAAAQdQXBsb3Jpcy5CYXNlLk9iamVjdHMuVmFyaWFibGUDAAAAAT8DAAALAwAAAQAAAAAAAAABQAMAAAsDAAAAAAAAAAAAAAFBAwAACwMAAAAAAAAAAAAAAUIDAAALAwAAAAAAAAAAAAAPzQIAAAEAAAAIKwAAAAHOAgAAcgAAAAoKAAAAAAAAAAANAAAAAAAFzwIAABpBcGxvcmlzLkJhc2UuT2JqZWN0cy5Db2xvcgcAAAASRGF0YU9iamVjdCttUGFyZW50FURhdGFPYmplY3QrbUNvbnRhaW5lcgVtVHlwZQRtUkdCEG1UaGVtZUNvbG9ySW5kZXgMbUF1dG9VcGRhdGVkCW1Nb2RpZmllZAQCAAAAAAAfQXBsb3Jpcy5CYXNlLk9iamVjdHMuTGluZUZvcm1hdAMAAAAICAgBAQMAAAAJ9gEAAAoBAAAAAAAAAP////8AAQ/QAgAAAQAAAAiaAAAAAdECAAByAAAACgoAAAAAAAAAAA0AAAAAAAHSAgAAcgAAAAoKAAAAAAAAAAANAAAAAAEH0wIAAAABAAAABAAAAAQdQXBsb3Jpcy5CYXNlLk9iamVjdHMuVmFyaWFibGUDAAAAAUMDAAALAwAAAQAAAAAAAAABRAMAAAsDAAAAAAAAAAAAAAFFAwAACwMAAAAAAAAAAAAAAUYDAAALAwAAAAAAAAAAAAAP1AIAAAEAAAAIKgAAAAHVAgAAcgAAAAoKAAAAAAAAAAANAAAAAAAF1gIAABpBcGxvcmlzLkJhc2UuT2JqZWN0cy5Db2xvcgcAAAASRGF0YU9iamVjdCttUGFyZW50FURhdGFPYmplY3QrbUNvbnRhaW5lcgVtVHlwZQRtUkdCEG1UaGVtZUNvbG9ySW5kZXgMbUF1dG9VcGRhdGVkCW1Nb2RpZmllZAQCAAAAAAAfQXBsb3Jpcy5CYXNlLk9iamVjdHMuTGluZUZvcm1hdAMAAAAICAgBAQMAAAAJBQIAAAoBAAAAAAAAAP////8AAQ/XAgAAAQAAAAiYAAAAAdgCAAByAAAACgoAAAAAAAAAAA0AAAAAAAHZAgAAcgAAAAoKAAAAAAAAAAANAAAAAAEH2gIAAAABAAAABAAAAAQdQXBsb3Jpcy5CYXNlLk9iamVjdHMuVmFyaWFibGUDAAAAAUcDAAALAwAAAQAAAAAAAAABSAMAAAsDAAAAAAAAAAAAAAFJAwAACwMAAAAAAAAAAAAAAUoDAAALAwAAAAAAAAAAAAAP2wIAAAEAAAAIJwAAAAHcAgAAcgAAAAoKAAAAAAAAAAANAAAAAAAF3QIAABpBcGxvcmlzLkJhc2UuT2JqZWN0cy5Db2xvcgcAAAASRGF0YU9iamVjdCttUGFyZW50FURhdGFPYmplY3QrbUNvbnRhaW5lcgVtVHlwZQRtUkdCEG1UaGVtZUNvbG9ySW5kZXgMbUF1dG9VcGRhdGVkCW1Nb2RpZmllZAQCAAAAAAAfQXBsb3Jpcy5CYXNlLk9iamVjdHMuTGluZUZvcm1hdAMAAAAICAgBAQMAAAAJFAIAAAoBAAAAAAAAAP////8AAQ/eAgAAAQAAAAiXAAAAAd8CAAByAAAACgoAAAAAAAAAAA0AAAAAAAHgAgAAcgAAAAoKAAAAAAAAAAANAAAAAAEH4QIAAAABAAAABAAAAAQdQXBsb3Jpcy5CYXNlLk9iamVjdHMuVmFyaWFibGUDAAAAAUsDAAALAwAAAQAAAAAAAAABTAMAAAsDAAAAAAAAAAAAAAFNAwAACwMAAAAAAAAAAAAAAU4DAAALAwAAAAAAAAAAAAAP4gIAAAEAAAAIKQAAAAHjAgAAcgAAAAoKAAAAAAAAAAANAAAAAAAF5AIAABpBcGxvcmlzLkJhc2UuT2JqZWN0cy5Db2xvcgcAAAASRGF0YU9iamVjdCttUGFyZW50FURhdGFPYmplY3QrbUNvbnRhaW5lcgVtVHlwZQRtUkdCEG1UaGVtZUNvbG9ySW5kZXgMbUF1dG9VcGRhdGVkCW1Nb2RpZmllZAQCAAAAAAAfQXBsb3Jpcy5CYXNlLk9iamVjdHMuTGluZUZvcm1hdAMAAAAICAgBAQMAAAAJIwIAAAoBAAAAAAAAAP////8AAQ/lAgAAAQAAAAiWAAAAAeYCAAByAAAACgoAAAAAAAAAAA0AAAAAAAHnAgAAcgAAAAoKAAAAAAAAAAANAAAAAAEH6AIAAAABAAAABAAAAAQdQXBsb3Jpcy5CYXNlLk9iamVjdHMuVmFyaWFibGUDAAAAAU8DAAALAwAAAQAAAAAAAAABUAMAAAsDAAAAAAAAAAAAAAFRAwAACwMAAAAAAAAAAAAAAVIDAAALAwAAAAAAAAAAAAAP6QIAAAEAAAAIKAAAAAHqAgAAcgAAAAoKAAAAAAAAAAANAAAAAAAF6wIAABpBcGxvcmlzLkJhc2UuT2JqZWN0cy5Db2xvcgcAAAASRGF0YU9iamVjdCttUGFyZW50FURhdGFPYmplY3QrbUNvbnRhaW5lcgVtVHlwZQRtUkdCEG1UaGVtZUNvbG9ySW5kZXgMbUF1dG9VcGRhdGVkCW1Nb2RpZmllZAQCAAAAAAAfQXBsb3Jpcy5CYXNlLk9iamVjdHMuTGluZUZvcm1hdAMAAAAICAgBAQMAAAAJMgIAAAoBAAAAAAAAAP////8AAQ/sAgAAAQAAAAidAAAAAe0CAAByAAAACgoAAAAAAAAAAA0AAAAAAAHuAgAAcgAAAAoKAAAAAAAAAAANAAAAAAEH7wIAAAABAAAABAAAAAQdQXBsb3Jpcy5CYXNlLk9iamVjdHMuVmFyaWFibGUDAAAAAVMDAAALAwAAAQAAAAAAAAABVAMAAAsDAAAAAAAAAAAAAAFVAwAACwMAAAAAAAAAAAAAAVYDAAALAwAAAAAAAAAAAAAP8AIAAAEAAAAIowAAAAHxAgAAcgAAAAoKAAAAAAAAAAANAAAAAAAF8gIAABpBcGxvcmlzLkJhc2UuT2JqZWN0cy5Db2xvcgcAAAASRGF0YU9iamVjdCttUGFyZW50FURhdGFPYmplY3QrbUNvbnRhaW5lcgVtVHlwZQRtUkdCEG1UaGVtZUNvbG9ySW5kZXgMbUF1dG9VcGRhdGVkCW1Nb2RpZmllZAQCAAAAAAAfQXBsb3Jpcy5CYXNlLk9iamVjdHMuTGluZUZvcm1hdAMAAAAICAgBAQMAAAAJQgIAAAoBAAAAAAAAAP////8AAQ/zAgAAAQAAAAieAAAAAfQCAAByAAAACgoAAAAAAAAAAA0AAAAAAAH1AgAAcgAAAAoKAAAAAAAAAAANAAAAAAEH9gIAAAABAAAABAAAAAQdQXBsb3Jpcy5CYXNlLk9iamVjdHMuVmFyaWFibGUDAAAAAVcDAAALAwAAAQAAAAAAAAABWAMAAAsDAAAAAAAAAAAAAAFZAwAACwMAAAAAAAAAAAAAAVoDAAALAwAAAAAAAAAAAAAP9wIAAAEAAAAIpAAAAAH4AgAAcgAAAAoKAAAAAAAAAAANAAAAAAAF+QIAABpBcGxvcmlzLkJhc2UuT2JqZWN0cy5Db2xvcgcAAAASRGF0YU9iamVjdCttUGFyZW50FURhdGFPYmplY3QrbUNvbnRhaW5lcgVtVHlwZQRtUkdCEG1UaGVtZUNvbG9ySW5kZXgMbUF1dG9VcGRhdGVkCW1Nb2RpZmllZAQCAAAAAAAfQXBsb3Jpcy5CYXNlLk9iamVjdHMuTGluZUZvcm1hdAMAAAAICAgBAQMAAAAJUQIAAAoBAAAAAAAAAP////8AAQ/6AgAAAQAAAAigAAAAAfsCAAByAAAACgoAAAAAAAAAAA0AAAAAAAH8AgAAcgAAAAoKAAAAAAAAAAANAAAAAAEH/QIAAAABAAAABAAAAAQdQXBsb3Jpcy5CYXNlLk9iamVjdHMuVmFyaWFibGUDAAAAAVsDAAALAwAAAQAAAAAAAAABXAMAAAsDAAAAAAAAAAAAAAFdAwAACwMAAAAAAAAAAAAAAV4DAAALAwAAAAAAAAAAAAAP/gIAAAEAAAAIoQAAAAH/AgAAcgAAAAoKAAAAAAAAAAANAAAAAAAFAAMAABpBcGxvcmlzLkJhc2UuT2JqZWN0cy5Db2xvcgcAAAASRGF0YU9iamVjdCttUGFyZW50FURhdGFPYmplY3QrbUNvbnRhaW5lcgVtVHlwZQRtUkdCEG1UaGVtZUNvbG9ySW5kZXgMbUF1dG9VcGRhdGVkCW1Nb2RpZmllZAQCAAAAAAAfQXBsb3Jpcy5CYXNlLk9iamVjdHMuTGluZUZvcm1hdAMAAAAICAgBAQMAAAAJYAIAAAoBAAAAAAAAAP////8AAQ8BAwAAAQAAAAifAAAAAQIDAAByAAAACgoAAAAAAAAAAA0AAAAAAAEDAwAAcgAAAAoKAAAAAAAAAAANAAAAAAEHBAMAAAABAAAABAAAAAQdQXBsb3Jpcy5CYXNlLk9iamVjdHMuVmFyaWFibGUDAAAAAV8DAAALAwAAAQAAAAAAAAABYAMAAAsDAAAAAAAAAAAAAAFhAwAACwMAAAAAAAAAAAAAAWIDAAALAwAAAAAAAAAAAAAPBQMAAAEAAAAIogAAAAUGAw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WMDAAAJZAMAAAoJZQMAAAoJ9QAAAAgGZDvfT42X3j8KAAAAAAlmAwAACWcDAAAAAAAAAAloAwAACfUAAAAJAQAAAAlpAwAAAQcDAAAGAwAACWoDAAAJawMAAAoJbAMAAAoJ9QAAAAgGXI/C9Shc1z8KAQAAAAltAwAACW4DAAAAAAAAAAlvAwAACfUAAAAJAQAAAAlwAwAAAQgDAAAGAwAACXEDAAAJcgMAAAoJcwMAAAoJ9QAAAAgG5/up8dJN0j8KAgAAAAl0AwAACXUDAAAAAAAAAAl2AwAACfUAAAAJAQAAAAl3AwAAAQkDAAAGAwAACXgDAAAJeQMAAAoJegMAAAoJ9QAAAAgGJzEIrBxaxD8KAwAAAAl7AwAACXwDAAAAAAAAAAl9AwAACfUAAAAJAQAAAAl+AwAAAQoDAAAGAwAACX8DAAAJgAMAAAoJgQMAAAoJ9QAAAAgG30+Nl24Swz8KBAAAAAmCAwAACYMDAAAAAAAAAAmEAwAACfUAAAAJAQAAAAmFAwAAAQ8DAAByAAAACgoAAAAAAAAAAA0AAAAAAAEQAwAAcgAAAAoKAAAAAAAAAAANAAAAAAEHEQMAAAABAAAABAAAAAQdQXBsb3Jpcy5CYXNlLk9iamVjdHMuVmFyaWFibGUDAAAAAYYDAAALAwAAAQAAAAAAAAABhwMAAAsDAAAAAAAAAAAAAAGIAwAACwMAAAAAAAAAAAAAAYkDAAALAwAAAAAAAAAAAAAPEgMAAAEAAAAIqgAAAAEXAwAAcgAAAAoKAAAAAAAAAAANAAAAAAABGAMAAHIAAAAKCgAAAAAAAAAADQAAAAABBxkDAAAAAQAAAAQAAAAEHUFwbG9yaXMuQmFzZS5PYmplY3RzLlZhcmlhYmxlAwAAAAGKAwAACwMAAAEAAAAAAAAAAYsDAAALAwAAAAAAAAAAAAABjAMAAAsDAAAAAAAAAAAAAAGNAwAACwMAAAAAAAAAAAAADxoDAAABAAAACKkAAAABHwMAAHIAAAAKCgAAAAAAAAAADQAAAAAAASADAAByAAAACgoAAAAAAAAAAA0AAAAAAQchAwAAAAEAAAAEAAAABB1BcGxvcmlzLkJhc2UuT2JqZWN0cy5WYXJpYWJsZQMAAAABjgMAAAsDAAABAAAAAAAAAAGPAwAACwMAAAAAAAAAAAAAAZADAAALAwAAAAAAAAAAAAABkQMAAAsDAAAAAAAAAAAAAA8iAwAAAQAAAAinAAAAAScDAAByAAAACgoAAAAAAAAAAA0AAAAAAAEoAwAAcgAAAAoKAAAAAAAAAAANAAAAAAEHKQMAAAABAAAABAAAAAQdQXBsb3Jpcy5CYXNlLk9iamVjdHMuVmFyaWFibGUDAAAAAZIDAAALAwAAAQAAAAAAAAABkwMAAAsDAAAAAAAAAAAAAAGUAwAACwMAAAAAAAAAAAAAAZUDAAALAwAAAAAAAAAAAAAPKgMAAAEAAAAIqAAAAAEvAwAAcgAAAAoKAAAAAAAAAAANAAAAAAABMAMAAHIAAAAKCgAAAAAAAAAADQAAAAABBzEDAAAAAQAAAAQAAAAEHUFwbG9yaXMuQmFzZS5PYmplY3RzLlZhcmlhYmxlAwAAAAGWAwAACwMAAAEAAAAAAAAAAZcDAAALAwAAAAAAAAAAAAABmAMAAAsDAAAAAAAAAAAAAAGZAwAACwMAAAAAAAAAAAAADzIDAAABAAAACKsAAAABYwMAAA4BAAAKWAIAAAGaAwAAewEAAAIAAAABmwMAAHwBAAABAAAAAZwDAAAUAAAAO2tSQgns/EG9KQRCYomOQwGdAwAAfgEAAAAAAAAAAKBAAAGeAwAAIAAAAA1AikLkJi5DAZ8DAACaAAAAAAAAAAAAAAAAAAAAAAmgAwAAAAAAAAmhAwAAAAABogMAAKMAAAAAAAAAAaMDAABsAAAAAADIQQAAYEEBpAMAABQAAAAAAAAAAAAAAAAAAAAAAAAAXrrZPwalAwAABTQ3LjglCgmmAwAACYcBAAA0AwAA/////wABCgmnAwAAAQAKAAFkAwAAGwAAAAGoAwAAIAAAADtrRkIj2J9DAakDAAAgAAAAfEqxQgns5EEJqgMAAAmrAwAAAAAAAAoBrAMAAGwAAAAAAAAAAAAAAAGtAwAAbAAAAAAAAAAAAAAAAAAAAAGuAwAAFAAAAAAAAAAAAAAAAAAAAAAAAACkAQAA/////wEBCgmvAwAAAQAKAAdlAwAAAAEAAAACAAAABBpBcGxvcmlzLkJhc2UuVUkuVmlzdWFsTGluZQMAAAAKCgdmAwAAAAEAAAADAAAABBVTeXN0ZW0uRHJhd2luZy5Qb2ludEYEAAAAAbADAAAgAAAADUCKQuQmLkMBsQMAACAAAAA7azpC5CYuQwGyAwAAIAAAAHxKt0LkJi5DB2cDAAAAAQAAAAMAAAAEF0FwbG9yaXMuQmFzZS5BbmNob3JNb2RlAwAAAAGzAwAAmgAAAAAAAAABtAMAAJoAAAACAAAAAbUDAACaAAAABAAAAAFoAwAAJAAAAAnTAAAAAAAAAAAAAAABaQMAACUAAAAJtgMAAAIAAAAGAAAAAWoDAAAOAQAAClgCAAABtwMAAHsBAAACAAAAAbgDAAB8AQAAAQAAAAG5AwAAFAAAAM4j5kLX2chCwCkEQlpDWEMBugMAAH4BAAAAAAAAAACgQAABuwMAACAAAAAflwNDmY5QQwG8AwAAmgAAAAAAAAAAAAAAAAAAAAAJvQMAAAAAAAAJvgMAAAAAAb8DAACjAAAAAAAAAAHAAwAAbAAAAAAAyEEAAGBBAcEDAAAUAAAAAAAAAAAAAAAAAAAAAAAAAF662T8GwgMAAAUzNi41JQoJwwMAAAmHAQAANAMAAP////8AAQoJxAMAAAEACgABawMAABsAAAABxQMAACAAAADOI+BCI9ifQwHGAwAAIAAAAFccF0PX2cJCCccDAAAJyAMAAAAAAAAKAckDAABsAAAAAAAAAAAAAAABygMAAGwAAAAAAAAAAAAAAAAAAAABywMAABQAAAAAAAAAAAAAAAAAAAAAAAAApAEAAP////8BAQoJzAMAAAEACgAHbAMAAAABAAAAAgAAAAQaQXBsb3Jpcy5CYXNlLlVJLlZpc3VhbExpbmUDAAAACgoHbQMAAAABAAAAAwAAAAQVU3lzdGVtLkRyYXdpbmcuUG9pbnRGBAAAAAHNAwAAIAAAAB+XA0OZjlBDAc4DAAAgAAAAziPaQpmOUEMBzwMAACAAAABXHBpDmY5QQwduAwAAAAEAAAADAAAABBdBcGxvcmlzLkJhc2UuQW5jaG9yTW9kZQMAAAAB0AMAAJoAAAAAAAAAAdEDAACaAAAAAgAAAAHSAwAAmgAAAAQAAAABbwMAACQAAAAJ0wAAAAAAAAAAAAAAAXADAAAlAAAACdMDAAACAAAABgAAAAFxAwAADgEAAApYAgAAAdQDAAB7AQAAAgAAAAHVAwAAfAEAAAEAAAAB1gMAABQAAAAAiTFDH4gUQ8ApBEInKChDAdcDAAB+AQAAAAAAAAAAoEAAAdgDAAAgAAAAOA5CQzKcaEMB2QMAAJoAAAAAAAAAAAAAAAAAAAAACdoDAAAAAAAACdsDAAAAAAHcAwAAowAAAAAAAAAB3QMAAGwAAAAAAMhBAABgQQHeAwAAFAAAAAAAAAAAAAAAAAAAAAAAAABeutk/Bt8DAAAFMjguNiUKCeADAAAJhwEAADQDAAD/////AAEKCeEDAAABAAoAAXIDAAAbAAAAAeIDAAAgAAAAAIkuQyPYn0MB4wMAACAAAABwk1VDH4gRQwnkAwAACeUDAAAAAAAACgHmAwAAbAAAAAAAAAAAAAAAAecDAABsAAAAAAAAAAAAAAAAAAAAAegDAAAUAAAAAAAAAAAAAAAAAAAAAAAAAKQBAAD/////AQEKCekDAAABAAoAB3MDAAAAAQAAAAIAAAAEGkFwbG9yaXMuQmFzZS5VSS5WaXN1YWxMaW5lAwAAAAoKB3QDAAAAAQAAAAMAAAAEFVN5c3RlbS5EcmF3aW5nLlBvaW50RgQAAAAB6gMAACAAAAA4DkJDMpxoQwHrAwAAIAAAAACJK0MynGhDAewDAAAgAAAAcJNYQzKcaEMHdQMAAAABAAAAAwAAAAQXQXBsb3Jpcy5CYXNlLkFuY2hvck1vZGUDAAAAAe0DAACaAAAAAAAAAAHuAwAAmgAAAAIAAAAB7wMAAJoAAAAEAAAAAXYDAAAkAAAACa8BAAAAAAAAAAAAAAF3AwAAJQAAAAnwAwAAAgAAAAIAAAABeAMAAA4BAAAKWAIAAAHxAwAAewEAAAIAAAAB8gMAAHwBAAABAAAAAfMDAAAUAAAAGABwQ/vdYUPAKQRClqS1QgH0AwAAfgEAAAAAAAAAAKBAAAH1AwAAIAAAAKhCgEOQo4dDAfYDAACaAAAAAAAAAAAAAAAAAAAAAAn3AwAAAAAAAAn4AwAAAAAB+QMAAKMAAAAAAAAAAfoDAABsAAAAAADIQQAAYEEB+wMAABQAAAAAAAAAAAAAAAAAAAAAAAAAXrrZPwb8AwAABTE1LjklCgn9AwAACYcBAAA0AwAA/////wABCgn+AwAAAQAKAAF5AwAAGwAAAAH/AwAAIAAAABgAbUMj2J9DAQAEAAAgAAAARAWKQ/vdXkMJAQQAAAkCBAAAAAAAAAoBAwQAAGwAAAAAAAAAAAAAAAEEBAAAbAAAAAAAAAAAAAAAAAAAAAEFBAAAFAAAAAAAAAAAAAAAAAAAAAAAAACkAQAA/////wEBCgkGBAAAAQAKAAd6AwAAAAEAAAACAAAABBpBcGxvcmlzLkJhc2UuVUkuVmlzdWFsTGluZQMAAAAKCgd7AwAAAAEAAAADAAAABBVTeXN0ZW0uRHJhd2luZy5Qb2ludEYEAAAAAQcEAAAgAAAAqEKAQ5Cjh0MBCAQAACAAAAAYAGpDkKOHQwEJBAAAIAAAAESFi0OQo4dDB3wDAAAAAQAAAAMAAAAEF0FwbG9yaXMuQmFzZS5BbmNob3JNb2RlAwAAAAEKBAAAmgAAAAAAAAABCwQAAJoAAAACAAAAAQwEAACaAAAABAAAAAF9AwAAJAAAAAnTAAAAAAAAAAAAAAABfgMAACUAAAAJDQQAAAIAAAACAAAAAX8DAAAOAQAAClgCAAABDgQAAHsBAAACAAAAAQ8EAAB8AQAAAQAAAAEQBAAAFAAAAJk7l0Pe9GdDwCkEQtB2qUIBEQQAAH4BAAAAAAAAAACgQAABEgQAACAAAAA1fp9DSSmJQwETBAAAmgAAAAAAAAAAAAAAAAAAAAAJFAQAAAAAAAAJFQQAAAAAARYEAACjAAAAAAAAAAEXBAAAbAAAAAAAyEEAAGBBARgEAAAUAAAAAAAAAAAAAAAAAAAAAAAAAF662T8GGQQAAAUxNC45JQoJGgQAAAmHAQAANAMAAP////8AAQoJGwQAAAEACgABgAMAABsAAAABHAQAACAAAACZu5VDI9ifQwEdBAAAIAAAANFAqUPe9GRDCR4EAAAJHwQAAAAAAAAKASAEAABsAAAAAAAAAAAAAAABIQQAAGwAAAAAAAAAAAAAAAAAAAABIgQAABQAAAAAAAAAAAAAAAAAAAAAAAAApAEAAP////8BAQoJIwQAAAEACgAHgQMAAAABAAAAAgAAAAQaQXBsb3Jpcy5CYXNlLlVJLlZpc3VhbExpbmUDAAAACgoHggMAAAABAAAAAwAAAAQVU3lzdGVtLkRyYXdpbmcuUG9pbnRGBAAAAAEkBAAAIAAAADV+n0NJKYlDASUEAAAgAAAAmTuUQ0kpiUMBJgQAACAAAADRwKpDSSmJQweDAwAAAAEAAAADAAAABBdBcGxvcmlzLkJhc2UuQW5jaG9yTW9kZQMAAAABJwQAAJoAAAAAAAAAASgEAACaAAAAAgAAAAEpBAAAmgAAAAQAAAABhAMAACQAAAAJ0wAAAAAAAAAAAAAAAYUDAAAlAAAACSoEAAACAAAABgAAAAGgAwAAIgAAAAoKAAAAAABAQQlwAAAACXEAAAAJKwQAAAEACSwEAAABoQMAAHIAAAAKCgAAAAA/aX4ABQAAAAABAaYDAACnAAAACS0EAAABAAAAAwAAAAGnAwAAbwAAAAkuBAAACgGqAwAAagAAAAoKAQAAQD8JLwQAAAkwBAAAAQAAAP7///8AAAAAAQAAAAAAAAAAAAAAAQAAAAAAAAAAAAABqwMAAGsAAAAKCgkxBAAACTIEAAABAAAAAAAAAAAAAAD/////AQABrwMAAG8AAAAJMwQAAAoHtgMAAAABAAAABAAAAAQcQXBsb3Jpcy5CYXNlLlVJLlZpc3VhbE9iamVjdAMAAAAJZAMAAAljAwAACgoBvQMAACIAAAAKCgAAAAAAQEEJcAAAAAlxAAAACTQEAAABAAk1BAAAAb4DAAByAAAACgoAAAAAP2l+AAUAAAAAAQHDAwAApwAAAAk2BAAAAQAAAAMAAAABxAMAAG8AAAAJNwQAAAoBxwMAAGoAAAAKCgEAAEA/CTgEAAAJOQQAAAEAAAD+////AAAAAAEAAAAAAAAAAAAAAAEAAAAAAAAAAAAAAcgDAABrAAAACgoJOgQAAAk7BAAAAQAAAAAAAAAAAAAA/////wEAAcwDAABvAAAACTwEAAAKB9MDAAAAAQAAAAQAAAAEHEFwbG9yaXMuQmFzZS5VSS5WaXN1YWxPYmplY3QDAAAACWsDAAAJagMAAAoKAdoDAAAiAAAACgoAAAAAAEBBCXAAAAAJcQAAAAk9BAAAAQAJPgQAAAHbAwAAcgAAAAoKAAAAAD9pfgAFAAAAAAEB4AMAAKcAAAAJPwQAAAEAAAABAAAAAeEDAABvAAAACUAEAAAKAeQDAABqAAAACgoBAABAPwlBBAAACUIEAAABAAAA/v///wAAAAABAAAAAAAAAAAAAAABAAAAAAAAAAAAAAHlAwAAawAAAAoKCUMEAAAJRAQAAAEAAAAAAAAAAAAAAP////8BAAHpAwAAbwAAAAlFBAAACgfwAwAAAAEAAAAEAAAABBxBcGxvcmlzLkJhc2UuVUkuVmlzdWFsT2JqZWN0AwAAAAlyAwAACXEDAAAKCgH3AwAAIgAAAAoKAAAAAABAQQlwAAAACXEAAAAJRgQAAAEACUcEAAAB+AMAAHIAAAAKCgAAAAA/aX4ABQAAAAABAf0DAACnAAAACUgEAAABAAAAAwAAAAH+AwAAbwAAAAlJBAAACgEBBAAAagAAAAoKAQAAQD8JSgQAAAlLBAAAAQAAAP7///8AAAAAAQAAAAAAAAAAAAAAAQAAAAAAAAAAAAABAgQAAGsAAAAKCglMBAAACU0EAAABAAAAAAAAAAAAAAD/////AQABBgQAAG8AAAAJTgQAAAoHDQQAAAABAAAABAAAAAQcQXBsb3Jpcy5CYXNlLlVJLlZpc3VhbE9iamVjdAMAAAAJeQMAAAl4AwAACgoBFAQAACIAAAAKCgAAAAAAQEEJcAAAAAlxAAAACU8EAAABAAlQBAAAARUEAAByAAAACgoAAAAAP2l+AAUAAAAAAQEaBAAApwAAAAlRBAAAAQAAAAMAAAABGwQAAG8AAAAJUgQAAAoBHgQAAGoAAAAKCgEAAEA/CVMEAAAJVAQAAAEAAAD+////AAAAAAEAAAAAAAAAAAAAAAEAAAAAAAAAAAAAAR8EAABrAAAACgoJVQQAAAlWBAAAAQAAAAAAAAAAAAAA/////wEAASMEAABvAAAACVcEAAAKByoEAAAAAQAAAAQAAAAEHEFwbG9yaXMuQmFzZS5VSS5WaXN1YWxPYmplY3QDAAAACYADAAAJfwMAAAoKASsEAAByAAAACgoAAAAA////AA4AAAAAAQEsBAAAcgAAAAoKAAAAAP///wAOAAAAAAEHLQQAAAABAAAABAAAAAQdQXBsb3Jpcy5CYXNlLk9iamVjdHMuVmFyaWFibGUDAAAAAVgEAAALAwAAAQAAAAAAAAABWQQAAAsDAAAAAAAAAAAAAAFaBAAACwMAAAAAAAAAAAAAAVsEAAALAwAAAAAAAAAAAAAPLgQAAAEAAAAIAAAAAAUvBAAAGkFwbG9yaXMuQmFzZS5PYmplY3RzLkNvbG9yBwAAABJEYXRhT2JqZWN0K21QYXJlbnQVRGF0YU9iamVjdCttQ29udGFpbmVyBW1UeXBlBG1SR0IQbVRoZW1lQ29sb3JJbmRleAxtQXV0b1VwZGF0ZWQJbU1vZGlmaWVkBAIAAAAAAB9BcGxvcmlzLkJhc2UuT2JqZWN0cy5MaW5lRm9ybWF0AwAAAAgICAEBAwAAAAmqAwAACgAAAAD///8ADgAAAAAABTAEAAAaQXBsb3Jpcy5CYXNlLk9iamVjdHMuQ29sb3IHAAAAEkRhdGFPYmplY3QrbVBhcmVudBVEYXRhT2JqZWN0K21Db250YWluZXIFbVR5cGUEbVJHQhBtVGhlbWVDb2xvckluZGV4DG1BdXRvVXBkYXRlZAltTW9kaWZpZWQEAgAAAAAAH0FwbG9yaXMuQmFzZS5PYmplY3RzLkxpbmVGb3JtYXQDAAAACAgIAQEDAAAACaoDAAAKAQAAAAAAAAD/////AAEBMQQAAHIAAAAKCgAAAAA/aX4ABQAAAAAAATIEAAByAAAACgoBAAAAAAAAAP////8AAQ8zBAAAAQAAAAiTAAAAATQEAAByAAAACgoAAAAA////AA4AAAAAAQE1BAAAcgAAAAoKAAAAAP///wAOAAAAAAEHNgQAAAABAAAABAAAAAQdQXBsb3Jpcy5CYXNlLk9iamVjdHMuVmFyaWFibGUDAAAAAVwEAAALAwAAAQAAAAAAAAABXQQAAAsDAAAAAAAAAAAAAAFeBAAACwMAAAAAAAAAAAAAAV8EAAALAwAAAAAAAAAAAAAPNwQAAAEAAAAIAAAAAAU4BAAAGkFwbG9yaXMuQmFzZS5PYmplY3RzLkNvbG9yBwAAABJEYXRhT2JqZWN0K21QYXJlbnQVRGF0YU9iamVjdCttQ29udGFpbmVyBW1UeXBlBG1SR0IQbVRoZW1lQ29sb3JJbmRleAxtQXV0b1VwZGF0ZWQJbU1vZGlmaWVkBAIAAAAAAB9BcGxvcmlzLkJhc2UuT2JqZWN0cy5MaW5lRm9ybWF0AwAAAAgICAEBAwAAAAnHAwAACgAAAAD///8ADgAAAAAABTkEAAAaQXBsb3Jpcy5CYXNlLk9iamVjdHMuQ29sb3IHAAAAEkRhdGFPYmplY3QrbVBhcmVudBVEYXRhT2JqZWN0K21Db250YWluZXIFbVR5cGUEbVJHQhBtVGhlbWVDb2xvckluZGV4DG1BdXRvVXBkYXRlZAltTW9kaWZpZWQEAgAAAAAAH0FwbG9yaXMuQmFzZS5PYmplY3RzLkxpbmVGb3JtYXQDAAAACAgIAQEDAAAACccDAAAKAQAAAAAAAAD/////AAEBOgQAAHIAAAAKCgAAAAA/aX4ABQAAAAAAATsEAAByAAAACgoBAAAAAAAAAP////8AAQ88BAAAAQAAAAiPAAAAAT0EAAByAAAACgoAAAAA////AA4AAAAAAQE+BAAAcgAAAAoKAAAAAP///wAOAAAAAAEHPwQAAAABAAAABAAAAAQdQXBsb3Jpcy5CYXNlLk9iamVjdHMuVmFyaWFibGUDAAAAAWAEAAALAwAAAQAAAAAAAAABYQQAAAsDAAAAAAAAAAAAAAFiBAAACwMAAAAAAAAAAAAAAWMEAAALAwAAAAAAAAAAAAAPQAQAAAEAAAAIAAAAAAVBBAAAGkFwbG9yaXMuQmFzZS5PYmplY3RzLkNvbG9yBwAAABJEYXRhT2JqZWN0K21QYXJlbnQVRGF0YU9iamVjdCttQ29udGFpbmVyBW1UeXBlBG1SR0IQbVRoZW1lQ29sb3JJbmRleAxtQXV0b1VwZGF0ZWQJbU1vZGlmaWVkBAIAAAAAAB9BcGxvcmlzLkJhc2UuT2JqZWN0cy5MaW5lRm9ybWF0AwAAAAgICAEBAwAAAAnkAwAACgAAAAD///8ADgAAAAAABUIEAAAaQXBsb3Jpcy5CYXNlLk9iamVjdHMuQ29sb3IHAAAAEkRhdGFPYmplY3QrbVBhcmVudBVEYXRhT2JqZWN0K21Db250YWluZXIFbVR5cGUEbVJHQhBtVGhlbWVDb2xvckluZGV4DG1BdXRvVXBkYXRlZAltTW9kaWZpZWQEAgAAAAAAH0FwbG9yaXMuQmFzZS5PYmplY3RzLkxpbmVGb3JtYXQDAAAACAgIAQEDAAAACeQDAAAKAQAAAAAAAAD/////AAEBQwQAAHIAAAAKCgAAAAA/aX4ABQAAAAAAAUQEAAByAAAACgoBAAAAAAAAAP////8AAQ9FBAAAAQAAAAiSAAAAAUYEAAByAAAACgoAAAAA////AA4AAAAAAQFHBAAAcgAAAAoKAAAAAP///wAOAAAAAAEHSAQAAAABAAAABAAAAAQdQXBsb3Jpcy5CYXNlLk9iamVjdHMuVmFyaWFibGUDAAAAAWQEAAALAwAAAQAAAAAAAAABZQQAAAsDAAAAAAAAAAAAAAFmBAAACwMAAAAAAAAAAAAAAWcEAAALAwAAAAAAAAAAAAAPSQQAAAEAAAAIAAAAAAVKBAAAGkFwbG9yaXMuQmFzZS5PYmplY3RzLkNvbG9yBwAAABJEYXRhT2JqZWN0K21QYXJlbnQVRGF0YU9iamVjdCttQ29udGFpbmVyBW1UeXBlBG1SR0IQbVRoZW1lQ29sb3JJbmRleAxtQXV0b1VwZGF0ZWQJbU1vZGlmaWVkBAIAAAAAAB9BcGxvcmlzLkJhc2UuT2JqZWN0cy5MaW5lRm9ybWF0AwAAAAgICAEBAwAAAAkBBAAACgAAAAD///8ADgAAAAAABUsEAAAaQXBsb3Jpcy5CYXNlLk9iamVjdHMuQ29sb3IHAAAAEkRhdGFPYmplY3QrbVBhcmVudBVEYXRhT2JqZWN0K21Db250YWluZXIFbVR5cGUEbVJHQhBtVGhlbWVDb2xvckluZGV4DG1BdXRvVXBkYXRlZAltTW9kaWZpZWQEAgAAAAAAH0FwbG9yaXMuQmFzZS5PYmplY3RzLkxpbmVGb3JtYXQDAAAACAgIAQEDAAAACQEEAAAKAQAAAAAAAAD/////AAEBTAQAAHIAAAAKCgAAAAA/aX4ABQAAAAAAAU0EAAByAAAACgoBAAAAAAAAAP////8AAQ9OBAAAAQAAAAiRAAAAAU8EAAByAAAACgoAAAAA////AA4AAAAAAQFQBAAAcgAAAAoKAAAAAP///wAOAAAAAAEHUQQAAAABAAAABAAAAAQdQXBsb3Jpcy5CYXNlLk9iamVjdHMuVmFyaWFibGUDAAAAAWgEAAALAwAAAQAAAAAAAAABaQQAAAsDAAAAAAAAAAAAAAFqBAAACwMAAAAAAAAAAAAAAWsEAAALAwAAAAAAAAAAAAAPUgQAAAEAAAAIAAAAAAVTBAAAGkFwbG9yaXMuQmFzZS5PYmplY3RzLkNvbG9yBwAAABJEYXRhT2JqZWN0K21QYXJlbnQVRGF0YU9iamVjdCttQ29udGFpbmVyBW1UeXBlBG1SR0IQbVRoZW1lQ29sb3JJbmRleAxtQXV0b1VwZGF0ZWQJbU1vZGlmaWVkBAIAAAAAAB9BcGxvcmlzLkJhc2UuT2JqZWN0cy5MaW5lRm9ybWF0AwAAAAgICAEBAwAAAAkeBAAACgAAAAD///8ADgAAAAAABVQEAAAaQXBsb3Jpcy5CYXNlLk9iamVjdHMuQ29sb3IHAAAAEkRhdGFPYmplY3QrbVBhcmVudBVEYXRhT2JqZWN0K21Db250YWluZXIFbVR5cGUEbVJHQhBtVGhlbWVDb2xvckluZGV4DG1BdXRvVXBkYXRlZAltTW9kaWZpZWQEAgAAAAAAH0FwbG9yaXMuQmFzZS5PYmplY3RzLkxpbmVGb3JtYXQDAAAACAgIAQEDAAAACR4EAAAKAQAAAAAAAAD/////AAEBVQQAAHIAAAAKCgAAAAA/aX4ABQAAAAAAAVYEAAByAAAACgoBAAAAAAAAAP////8AAQ9XBAAAAQAAAAiQAAAACw=="/>
  <p:tag name="APLORISTAG" val="M8ejm1SFH7rYyU1s2.143"/>
</p:tagLst>
</file>

<file path=ppt/tags/tag171.xml><?xml version="1.0" encoding="utf-8"?>
<p:tagLst xmlns:a="http://schemas.openxmlformats.org/drawingml/2006/main" xmlns:r="http://schemas.openxmlformats.org/officeDocument/2006/relationships" xmlns:p="http://schemas.openxmlformats.org/presentationml/2006/main">
  <p:tag name="APLORISTAG" val="M8ejm1SFH7rYyU1s2.280"/>
</p:tagLst>
</file>

<file path=ppt/tags/tag172.xml><?xml version="1.0" encoding="utf-8"?>
<p:tagLst xmlns:a="http://schemas.openxmlformats.org/drawingml/2006/main" xmlns:r="http://schemas.openxmlformats.org/officeDocument/2006/relationships" xmlns:p="http://schemas.openxmlformats.org/presentationml/2006/main">
  <p:tag name="APLORISTAG" val="M8ejm1SFH7rYyU1s2.281"/>
</p:tagLst>
</file>

<file path=ppt/tags/tag173.xml><?xml version="1.0" encoding="utf-8"?>
<p:tagLst xmlns:a="http://schemas.openxmlformats.org/drawingml/2006/main" xmlns:r="http://schemas.openxmlformats.org/officeDocument/2006/relationships" xmlns:p="http://schemas.openxmlformats.org/presentationml/2006/main">
  <p:tag name="APLORISTAG" val="M8ejm1SFH7rYyU1s2.282"/>
</p:tagLst>
</file>

<file path=ppt/tags/tag174.xml><?xml version="1.0" encoding="utf-8"?>
<p:tagLst xmlns:a="http://schemas.openxmlformats.org/drawingml/2006/main" xmlns:r="http://schemas.openxmlformats.org/officeDocument/2006/relationships" xmlns:p="http://schemas.openxmlformats.org/presentationml/2006/main">
  <p:tag name="APLORISTAG" val="M8ejm1SFH7rYyU1s2.283"/>
</p:tagLst>
</file>

<file path=ppt/tags/tag175.xml><?xml version="1.0" encoding="utf-8"?>
<p:tagLst xmlns:a="http://schemas.openxmlformats.org/drawingml/2006/main" xmlns:r="http://schemas.openxmlformats.org/officeDocument/2006/relationships" xmlns:p="http://schemas.openxmlformats.org/presentationml/2006/main">
  <p:tag name="APLORISTAG" val="M8ejm1SFH7rYyU1s2.284"/>
</p:tagLst>
</file>

<file path=ppt/tags/tag176.xml><?xml version="1.0" encoding="utf-8"?>
<p:tagLst xmlns:a="http://schemas.openxmlformats.org/drawingml/2006/main" xmlns:r="http://schemas.openxmlformats.org/officeDocument/2006/relationships" xmlns:p="http://schemas.openxmlformats.org/presentationml/2006/main">
  <p:tag name="APLORISTAG" val="M8ejm1SFH7rYyU1s2.285"/>
</p:tagLst>
</file>

<file path=ppt/tags/tag177.xml><?xml version="1.0" encoding="utf-8"?>
<p:tagLst xmlns:a="http://schemas.openxmlformats.org/drawingml/2006/main" xmlns:r="http://schemas.openxmlformats.org/officeDocument/2006/relationships" xmlns:p="http://schemas.openxmlformats.org/presentationml/2006/main">
  <p:tag name="APLORISTAG" val="M8ejm1SFH7rYyU1s2.286"/>
</p:tagLst>
</file>

<file path=ppt/tags/tag178.xml><?xml version="1.0" encoding="utf-8"?>
<p:tagLst xmlns:a="http://schemas.openxmlformats.org/drawingml/2006/main" xmlns:r="http://schemas.openxmlformats.org/officeDocument/2006/relationships" xmlns:p="http://schemas.openxmlformats.org/presentationml/2006/main">
  <p:tag name="APLORISTAG" val="M8ejm1SFH7rYyU1s2.287"/>
</p:tagLst>
</file>

<file path=ppt/tags/tag179.xml><?xml version="1.0" encoding="utf-8"?>
<p:tagLst xmlns:a="http://schemas.openxmlformats.org/drawingml/2006/main" xmlns:r="http://schemas.openxmlformats.org/officeDocument/2006/relationships" xmlns:p="http://schemas.openxmlformats.org/presentationml/2006/main">
  <p:tag name="APLORISTAG" val="M8ejm1SFH7rYyU1s2.288"/>
</p:tagLst>
</file>

<file path=ppt/tags/tag18.xml><?xml version="1.0" encoding="utf-8"?>
<p:tagLst xmlns:a="http://schemas.openxmlformats.org/drawingml/2006/main" xmlns:r="http://schemas.openxmlformats.org/officeDocument/2006/relationships" xmlns:p="http://schemas.openxmlformats.org/presentationml/2006/main">
  <p:tag name="APLORISTAG" val="MX/IjfW661gLV+xOY.357"/>
</p:tagLst>
</file>

<file path=ppt/tags/tag180.xml><?xml version="1.0" encoding="utf-8"?>
<p:tagLst xmlns:a="http://schemas.openxmlformats.org/drawingml/2006/main" xmlns:r="http://schemas.openxmlformats.org/officeDocument/2006/relationships" xmlns:p="http://schemas.openxmlformats.org/presentationml/2006/main">
  <p:tag name="APLORISTAG" val="M8ejm1SFH7rYyU1s2.289"/>
</p:tagLst>
</file>

<file path=ppt/tags/tag181.xml><?xml version="1.0" encoding="utf-8"?>
<p:tagLst xmlns:a="http://schemas.openxmlformats.org/drawingml/2006/main" xmlns:r="http://schemas.openxmlformats.org/officeDocument/2006/relationships" xmlns:p="http://schemas.openxmlformats.org/presentationml/2006/main">
  <p:tag name="APLORISTAG" val="M8ejm1SFH7rYyU1s2.290"/>
</p:tagLst>
</file>

<file path=ppt/tags/tag182.xml><?xml version="1.0" encoding="utf-8"?>
<p:tagLst xmlns:a="http://schemas.openxmlformats.org/drawingml/2006/main" xmlns:r="http://schemas.openxmlformats.org/officeDocument/2006/relationships" xmlns:p="http://schemas.openxmlformats.org/presentationml/2006/main">
  <p:tag name="APLORISTAG" val="M8ejm1SFH7rYyU1s2.35"/>
</p:tagLst>
</file>

<file path=ppt/tags/tag183.xml><?xml version="1.0" encoding="utf-8"?>
<p:tagLst xmlns:a="http://schemas.openxmlformats.org/drawingml/2006/main" xmlns:r="http://schemas.openxmlformats.org/officeDocument/2006/relationships" xmlns:p="http://schemas.openxmlformats.org/presentationml/2006/main">
  <p:tag name="APLORISTAG" val="M8ejm1SFH7rYyU1s2.38"/>
</p:tagLst>
</file>

<file path=ppt/tags/tag184.xml><?xml version="1.0" encoding="utf-8"?>
<p:tagLst xmlns:a="http://schemas.openxmlformats.org/drawingml/2006/main" xmlns:r="http://schemas.openxmlformats.org/officeDocument/2006/relationships" xmlns:p="http://schemas.openxmlformats.org/presentationml/2006/main">
  <p:tag name="APLORISTAG" val="M8ejm1SFH7rYyU1s2.205"/>
</p:tagLst>
</file>

<file path=ppt/tags/tag185.xml><?xml version="1.0" encoding="utf-8"?>
<p:tagLst xmlns:a="http://schemas.openxmlformats.org/drawingml/2006/main" xmlns:r="http://schemas.openxmlformats.org/officeDocument/2006/relationships" xmlns:p="http://schemas.openxmlformats.org/presentationml/2006/main">
  <p:tag name="APLORISTAG" val="M8ejm1SFH7rYyU1s2.43"/>
</p:tagLst>
</file>

<file path=ppt/tags/tag186.xml><?xml version="1.0" encoding="utf-8"?>
<p:tagLst xmlns:a="http://schemas.openxmlformats.org/drawingml/2006/main" xmlns:r="http://schemas.openxmlformats.org/officeDocument/2006/relationships" xmlns:p="http://schemas.openxmlformats.org/presentationml/2006/main">
  <p:tag name="APLORISTAG" val="M8ejm1SFH7rYyU1s2.39"/>
</p:tagLst>
</file>

<file path=ppt/tags/tag187.xml><?xml version="1.0" encoding="utf-8"?>
<p:tagLst xmlns:a="http://schemas.openxmlformats.org/drawingml/2006/main" xmlns:r="http://schemas.openxmlformats.org/officeDocument/2006/relationships" xmlns:p="http://schemas.openxmlformats.org/presentationml/2006/main">
  <p:tag name="APLORISTAG" val="M8ejm1SFH7rYyU1s2.206"/>
</p:tagLst>
</file>

<file path=ppt/tags/tag188.xml><?xml version="1.0" encoding="utf-8"?>
<p:tagLst xmlns:a="http://schemas.openxmlformats.org/drawingml/2006/main" xmlns:r="http://schemas.openxmlformats.org/officeDocument/2006/relationships" xmlns:p="http://schemas.openxmlformats.org/presentationml/2006/main">
  <p:tag name="APLORISTAG" val="M8ejm1SFH7rYyU1s2.207"/>
</p:tagLst>
</file>

<file path=ppt/tags/tag189.xml><?xml version="1.0" encoding="utf-8"?>
<p:tagLst xmlns:a="http://schemas.openxmlformats.org/drawingml/2006/main" xmlns:r="http://schemas.openxmlformats.org/officeDocument/2006/relationships" xmlns:p="http://schemas.openxmlformats.org/presentationml/2006/main">
  <p:tag name="APLORISTAG" val="M8ejm1SFH7rYyU1s2.208"/>
</p:tagLst>
</file>

<file path=ppt/tags/tag19.xml><?xml version="1.0" encoding="utf-8"?>
<p:tagLst xmlns:a="http://schemas.openxmlformats.org/drawingml/2006/main" xmlns:r="http://schemas.openxmlformats.org/officeDocument/2006/relationships" xmlns:p="http://schemas.openxmlformats.org/presentationml/2006/main">
  <p:tag name="APLORISTAG" val="MX/IjfW661gLV+xOY.358"/>
</p:tagLst>
</file>

<file path=ppt/tags/tag190.xml><?xml version="1.0" encoding="utf-8"?>
<p:tagLst xmlns:a="http://schemas.openxmlformats.org/drawingml/2006/main" xmlns:r="http://schemas.openxmlformats.org/officeDocument/2006/relationships" xmlns:p="http://schemas.openxmlformats.org/presentationml/2006/main">
  <p:tag name="APLORISTAG" val="M8ejm1SFH7rYyU1s2.42"/>
</p:tagLst>
</file>

<file path=ppt/tags/tag191.xml><?xml version="1.0" encoding="utf-8"?>
<p:tagLst xmlns:a="http://schemas.openxmlformats.org/drawingml/2006/main" xmlns:r="http://schemas.openxmlformats.org/officeDocument/2006/relationships" xmlns:p="http://schemas.openxmlformats.org/presentationml/2006/main">
  <p:tag name="APLORISTAG" val="M8ejm1SFH7rYyU1s2.113"/>
</p:tagLst>
</file>

<file path=ppt/tags/tag192.xml><?xml version="1.0" encoding="utf-8"?>
<p:tagLst xmlns:a="http://schemas.openxmlformats.org/drawingml/2006/main" xmlns:r="http://schemas.openxmlformats.org/officeDocument/2006/relationships" xmlns:p="http://schemas.openxmlformats.org/presentationml/2006/main">
  <p:tag name="APLORISTAG" val="M8ejm1SFH7rYyU1s2.112"/>
</p:tagLst>
</file>

<file path=ppt/tags/tag193.xml><?xml version="1.0" encoding="utf-8"?>
<p:tagLst xmlns:a="http://schemas.openxmlformats.org/drawingml/2006/main" xmlns:r="http://schemas.openxmlformats.org/officeDocument/2006/relationships" xmlns:p="http://schemas.openxmlformats.org/presentationml/2006/main">
  <p:tag name="APLORISTAG" val="M8ejm1SFH7rYyU1s2.46"/>
</p:tagLst>
</file>

<file path=ppt/tags/tag194.xml><?xml version="1.0" encoding="utf-8"?>
<p:tagLst xmlns:a="http://schemas.openxmlformats.org/drawingml/2006/main" xmlns:r="http://schemas.openxmlformats.org/officeDocument/2006/relationships" xmlns:p="http://schemas.openxmlformats.org/presentationml/2006/main">
  <p:tag name="APLORISTAG" val="M8ejm1SFH7rYyU1s2.165"/>
</p:tagLst>
</file>

<file path=ppt/tags/tag195.xml><?xml version="1.0" encoding="utf-8"?>
<p:tagLst xmlns:a="http://schemas.openxmlformats.org/drawingml/2006/main" xmlns:r="http://schemas.openxmlformats.org/officeDocument/2006/relationships" xmlns:p="http://schemas.openxmlformats.org/presentationml/2006/main">
  <p:tag name="APLORISTAG" val="M8ejm1SFH7rYyU1s2.209"/>
</p:tagLst>
</file>

<file path=ppt/tags/tag196.xml><?xml version="1.0" encoding="utf-8"?>
<p:tagLst xmlns:a="http://schemas.openxmlformats.org/drawingml/2006/main" xmlns:r="http://schemas.openxmlformats.org/officeDocument/2006/relationships" xmlns:p="http://schemas.openxmlformats.org/presentationml/2006/main">
  <p:tag name="APLORISTAG" val="M8ejm1SFH7rYyU1s2.210"/>
</p:tagLst>
</file>

<file path=ppt/tags/tag197.xml><?xml version="1.0" encoding="utf-8"?>
<p:tagLst xmlns:a="http://schemas.openxmlformats.org/drawingml/2006/main" xmlns:r="http://schemas.openxmlformats.org/officeDocument/2006/relationships" xmlns:p="http://schemas.openxmlformats.org/presentationml/2006/main">
  <p:tag name="APLORISTAG" val="M8ejm1SFH7rYyU1s2.211"/>
</p:tagLst>
</file>

<file path=ppt/tags/tag198.xml><?xml version="1.0" encoding="utf-8"?>
<p:tagLst xmlns:a="http://schemas.openxmlformats.org/drawingml/2006/main" xmlns:r="http://schemas.openxmlformats.org/officeDocument/2006/relationships" xmlns:p="http://schemas.openxmlformats.org/presentationml/2006/main">
  <p:tag name="APLORISTAG" val="M8ejm1SFH7rYyU1s2.212"/>
</p:tagLst>
</file>

<file path=ppt/tags/tag199.xml><?xml version="1.0" encoding="utf-8"?>
<p:tagLst xmlns:a="http://schemas.openxmlformats.org/drawingml/2006/main" xmlns:r="http://schemas.openxmlformats.org/officeDocument/2006/relationships" xmlns:p="http://schemas.openxmlformats.org/presentationml/2006/main">
  <p:tag name="APLORISTAG" val="M8ejm1SFH7rYyU1s2.213"/>
</p:tagLst>
</file>

<file path=ppt/tags/tag2.xml><?xml version="1.0" encoding="utf-8"?>
<p:tagLst xmlns:a="http://schemas.openxmlformats.org/drawingml/2006/main" xmlns:r="http://schemas.openxmlformats.org/officeDocument/2006/relationships" xmlns:p="http://schemas.openxmlformats.org/presentationml/2006/main">
  <p:tag name="APLORISTAG" val="MX/IjfW661gLV+xOY.175"/>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3////9/////f////3//ARUAAAAUAAAA//9/////f////3////9//wAAAAAABRYAAAAsQXBsb3Jpcy5DaGFydC5BeGlzQnJlYWsrQXhpc0JyZWFrRGlzcGxheU1vZGUBAAAAB3ZhbHVlX18ACAIAAAABAAAAAQEBCgoJFwAAAAoKAAAAAAAJGAAAAAoJGQAAAAAAAAAKBRoAAAAZQXBsb3Jpcy5DaGFydC5PcmllbnRhdGlvbgEAAAAHdmFsdWVfXwAIAgAAAAEAAAAJGwAAAAEcAAAAFAAAAOmiK0LM5n1Bu2gZRJAlqUMABB0AAAALU3lzdGVtLkd1aWQLAAAAAl9hAl9iAl9jAl9kAl9lAl9mAl9nAl9oAl9pAl9qAl9rAAAAAAAAAAAAAAAIBwcCAgICAgICAgAAAAAAAAAAAAAAAAAAAAAACgoJHgAAAAAKCgoBAAAAAAAAAP////8AAAEfAAAAFAAAAAAAIEEAACBBDu0PRAAAtEPu/49BMUACQ+raJkQAAL5DBSAAAAAVU3lzdGVtLkRyYXdpbmcuUG9pbnRGAgAAAAF4AXkAAAsLBAAAAM6FxkL6ReZDBiEAAAAQWC9JamZXNjYxZ0xWK3hPWQ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wLjAuMTQ4NiwgQ3VsdHVyZT1uZXV0cmFsLCBQdWJsaWNLZXlUb2tlbj0xNmZjMTNhMjI2YzBlOTUxXV0DAAAAmwFBcGxvcmlzLkJhc2UuT2JqZWN0cy5EYXRhT2JqZWN0Q29sbGVjdGlvbmAxW1tBcGxvcmlzLkNoYXJ0LkF4aXNCcmVhaywgQXBsb3Jpcy5DaGFydCwgVmVyc2lvbj00LjAuMC4xNDg2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AuMC4xNDg2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SYAAAAWQXBsb3Jpcy5DaGFydC5BeGlzVHlwZQEAAAAHdmFsdWVfXwAIAgAAAAEAAACamRk/AAAACgkBAAAACScAAAAJKAAAAAEAAAAAAAAAAAEAAAAAAADwPwGamZmZmZm5PwAAACBBAAEJKQAAAAoJKgAAAAkrAAAACSwAAAABLQAAACAAAADpoitCxhSxQwEuAAAAIAAAAOoiJETGFLFDCS8AAAAJMAAAAAkxAAAACTIAAAAAAAAAAAAAAAAAAAAJMwAAAAAAAAAAAAk0AAAACQEAAAAJAQAAAAk1AAAAAQcAAAAGAAAACQEAAAABNgAAACYAAAAAAAAAzcxMPwAAAAgBAAkBAAAACTcAAAAJOAAAAAEAAAAAAAAAAAEAAAAAAADwPwGamZmZmZm5PwAAACBBAQEJOQAAAAoJOgAAAAk7AAAACTwAAAABPQAAACAAAADpoitCxhSxQwE+AAAAIAAAAOmiK0LM5n1BCT8AAAAJQAAAAAlBAAAACUIAAAAAAAAAAAAAAAAAAAAJQwAAAAAAAAAAAAlEAAAACQEAAAAJAQAAAAlFAAAABAgAAACoAVN5c3RlbS5Db2xsZWN0aW9ucy5HZW5lcmljLkxpc3RgMVtbQXBsb3Jpcy5DaGFydC5Db2x1bW5PcmllbnRlZENoYXJ0K1VudXNlZFNlcmllcywgQXBsb3Jpcy5DaGFydCwgVmVyc2lvbj00LjAuMC4xNDg2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AuMC4xNDg2LCBDdWx0dXJlPW5ldXRyYWwsIFB1YmxpY0tleVRva2VuPTE2ZmMxM2EyMjZjMGU5NTFdXQMAAACXAVN5c3RlbS5Db2xsZWN0aW9ucy5HZW5lcmljLkxpc3RgMVtbQXBsb3Jpcy5DaGFydC5DaGFydERhdGFTZXJpZXM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RwAAAAlIAAAACQEAAAAJAQAAAAlJAAAABQoAAACmAUFwbG9yaXMuQmFzZS5PYmplY3RzLkRhdGFPYmplY3RDb2xsZWN0aW9uYDFbW0FwbG9yaXMuQ2hhcnQuQW5ub3RhdGlvbk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C4wLjE0ODYsIEN1bHR1cmU9bmV1dHJhbCwgUHVibGljS2V5VG9rZW49MTZmYzEzYTIyNmMwZTk1MV1dAwAAAJwBU3lzdGVtLkNvbGxlY3Rpb25zLkdlbmVyaWMuTGlzdGAxW1tBcGxvcmlzLkNoYXJ0LkFubm90YXRpb25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oAAAAJSwAAAAkBAAAACQEAAAAJTAAAAAULAAAAoQFBcGxvcmlzLkJhc2UuT2JqZWN0cy5EYXRhT2JqZWN0Q29sbGVjdGlvbmAxW1tBcGxvcmlzLkNoYXJ0LkFubm90YXRpb25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C4wLjE0ODYsIEN1bHR1cmU9bmV1dHJhbCwgUHVibGljS2V5VG9rZW49MTZmYzEzYTIyNmMwZTk1MV1dAwAAAJcBU3lzdGVtLkNvbGxlY3Rpb25zLkdlbmVyaWMuTGlzdGAxW1tBcGxvcmlzLkNoYXJ0LkFubm90YXRpb25Hcm91c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NAAAACU4AAAAJAQAAAAkBAAAACU8AAAAFDAAAAKABQXBsb3Jpcy5CYXNlLk9iamVjdHMuRGF0YU9iamVjdENvbGxlY3Rpb25gMVtbQXBsb3Jpcy5DaGFydC5DaGFydERhdGF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wLjAuMTQ4NiwgQ3VsdHVyZT1uZXV0cmFsLCBQdWJsaWNLZXlUb2tlbj0xNmZjMTNhMjI2YzBlOTUxXV0DAAAAlgFTeXN0ZW0uQ29sbGVjdGlvbnMuR2VuZXJpYy5MaXN0YDFbW0FwbG9yaXMuQ2hhcnQuQ2hhcnREYXRh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UAAAAAlRAAAACQEAAAAJAQAAAAlSAAAABQ0AAACaAUFwbG9yaXMuQmFzZS5PYmplY3RzLkRhdGFPYmplY3RDb2xsZWN0aW9uYDFbW0FwbG9yaXMuQ2hhcnQuRGVsdGFCYXI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C4wLjE0ODYsIEN1bHR1cmU9bmV1dHJhbCwgUHVibGljS2V5VG9rZW49MTZmYzEzYTIyNmMwZTk1MV1dAwAAAJABU3lzdGVtLkNvbGxlY3Rpb25zLkdlbmVyaWMuTGlzdGAxW1tBcGxvcmlzLkNoYXJ0LkRlbHRhQmF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MAAAAJVAAAAAkBAAAACQEAAAAJVQAAAAUOAAAAnQFBcGxvcmlzLkJhc2UuT2JqZWN0cy5EYXRhT2JqZWN0Q29sbGVjdGlvbmAxW1tBcGxvcmlzLkNoYXJ0LkRlbHRhQnJpZGdlLCBBcGxvcmlzLkNoYXJ0LCBWZXJzaW9uPTQuMC4wLjE0ODY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AuMC4xNDg2LCBDdWx0dXJlPW5ldXRyYWwsIFB1YmxpY0tleVRva2VuPTE2ZmMxM2EyMjZjMGU5NTFdXQMAAACTAVN5c3RlbS5Db2xsZWN0aW9ucy5HZW5lcmljLkxpc3RgMVtbQXBsb3Jpcy5DaGFydC5EZWx0YUJyaWRn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WAAAACVcAAAAJAQAAAAkBAAAACVgAAAAFDwAAAJ0BQXBsb3Jpcy5CYXNlLk9iamVjdHMuRGF0YU9iamVjdENvbGxlY3Rpb25gMVtbQXBsb3Jpcy5DaGFydC5Hcm93dGhBcnJvdy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wLjAuMTQ4NiwgQ3VsdHVyZT1uZXV0cmFsLCBQdWJsaWNLZXlUb2tlbj0xNmZjMTNhMjI2YzBlOTUxXV0DAAAAkwFTeXN0ZW0uQ29sbGVjdGlvbnMuR2VuZXJpYy5MaXN0YDFbW0FwbG9yaXMuQ2hhcnQuR3Jvd3RoQXJyb3c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WQAAAAlaAAAACQEAAAAJAQAAAAlbAAAABRAAAACkAUFwbG9yaXMuQmFzZS5PYmplY3RzLkRhdGFPYmplY3RDb2xsZWN0aW9uYDFbW0FwbG9yaXMuQ2hhcnQuV2F0ZXJmYWxs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wLjAuMTQ4NiwgQ3VsdHVyZT1uZXV0cmFsLCBQdWJsaWNLZXlUb2tlbj0xNmZjMTNhMjI2YzBlOTUxXV0DAAAAmgFTeXN0ZW0uQ29sbGVjdGlvbnMuR2VuZXJpYy5MaXN0YDFbW0FwbG9yaXMuQ2hhcnQuV2F0ZXJmYWxsQ29ubmVjdG9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wAAAAJXQAAAAkBAAAACQEAAAAJXgAAAAURAAAAogFBcGxvcmlzLkJhc2UuT2JqZWN0cy5EYXRhT2JqZWN0Q29sbGVjdGlvbmAxW1tBcGxvcmlzLkNoYXJ0LkVsZW1lbnRDb25uZWN0b3I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wLjAuMTQ4NiwgQ3VsdHVyZT1uZXV0cmFsLCBQdWJsaWNLZXlUb2tlbj0xNmZjMTNhMjI2YzBlOTUxXV0DAAAAmAFTeXN0ZW0uQ29sbGVjdGlvbnMuR2VuZXJpYy5MaXN0YDFbW0FwbG9yaXMuQ2hhcnQuRWxlbWVud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AAAAAgBAAAAAgAAAAMAAAAEAAAABRsAAAAaQXBsb3Jpcy5CYXNlLlVJLlZpc3VhbFJlY3QUAAAAC21TdGFydFBvaW50CW1FbmRQb2ludAttTGluZUZvcm1hdAttRmlsbEZvcm1hdAltUm90YXRpb24SbVJlY3RhbmdsZVByb3ZpZGVyDG1QYWludE9mZnNldBJtUGFpbnRTaXplT3ZlcnJpZGUObUV4dHJhUm90YXRpb24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BAAEBAQABAAAAAAHAgAAAwAVU3lzdGVtLkRyYXdpbmcuUG9pbnRGBAAAABVTeXN0ZW0uRHJhd2luZy5Qb2ludEYEAAAAH0FwbG9yaXMuQmFzZS5PYmplY3RzLkxpbmVGb3JtYXQDAAAAH0FwbG9yaXMuQmFzZS5PYmplY3RzLkZpbGxGb3JtYXQDAAAACypBcGxvcmlzLkJhc2UuVUkuSVJlY3RhbmdsZVBvc2l0aW9uUHJvdmlkZXIDAAAAFFN5c3RlbS5EcmF3aW5nLlNpemVGBAAAABRTeXN0ZW0uRHJhd2luZy5TaXplRgQAAAALGVN5c3RlbS5EcmF3aW5nLlJlY3RhbmdsZUYEAAAACAgBAQgBAQ9TeXN0ZW0uSW50UHRyW10BAwAAAAFoAAAAIAAAAOmiK0LM5n1BAWkAAAAgAAAA6iIkRMYUsUMJagAAAAlrAAAAAAAAAAoFbAAAABRTeXN0ZW0uRHJhd2luZy5TaXplRgIAAAAFd2lkdGgGaGVpZ2h0AAALCwQAAAAAAAAAAAAAAAFtAAAAbAAAAAAAAAAAAAAAAAAAAAFuAAAAFAAAAAAAAAAAAAAAAAAAAAAAAAAUAAAA/////wEBCglvAAAAAQAKAA8eAAAAfjAAAAJQSwMEFAAGAAgAAAAhAB7+xUlgAQAAGAUAABMACAJbQ29udGVudF9UeXBlc10ueG1s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RUzU4CMRC+m/gOm17NboGDMYaFgz9HJREfoG5n2YZu23QGhLd3tqAxhiwSSbxss22/n5n0m/F009psDRGNd6UYFgORgau8Nm5Ritf5Y34jMiTltLLeQSm2gGI6ubwYz7cBMGO0w1I0ROFWSqwaaBUWPoDjk9rHVhH/xoUMqlqqBcjRYHAtK+8IHOXUcYjJ+B5qtbKUPWx4e+eE4SK7293rpEqhQrCmUsRGZXcqD+IiWOwBrp3+4S7fOysYmcixMQGv9grP3JpoNGQzFelJtexDbqx893H55v2y6Ld5QM3XtalA+2rVcgcKDBGUxgaAWluktWiVcb/QT5dRpmV4ZiNdfYn4RB+jf/JB/O5Apu/fW5FojhSOtLWAZ652R3pMuVER9AtFTujZDXzn7vPB73cWfUBOcoTTu/AZuQ6dByaCSAZ6Q/elyGPgdMEfqYNuzmjQB7RlmmuTDwA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BP47bD5AAAARw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SzWrDMBCE74W+g9h7Ldv9oYTIuZRCrm36AEJeWya2JLTbH799RUJTB4J7MT3OLJr52NV68zX04gMjdd4pKLIcBDrj6861Ct52zzePIIi1q3XvHSoYkWBTXV+tX7DXnB6R7QKJlOJIgWUOKynJWBw0ZT6gS5PGx0FzkrGVQZu9blGWef4g4zQDqrNMsa0VxG19C2I3htT8d7Zvms7gkzfvAzq+UCE5cWEK1LFFVnCQR7PIEijIywx3SzIQj31a4gniqOfq7xettzpi/coxXXhKMbXnYIolYT593JNF5N91nCySh8nsYcp/hil/NiPPvn/1DQAA//8DAFBLAwQUAAYACAAAACEArfehk9EBAAAEAwAADwAAAHhsL3dvcmtib29rLnhtbIxSTY/TMBC9I/EfLN9bO07SXVVNVqUfohJCK1h2z8ZxG2v9EdkOyQrx35kkZClw4WSPxzNv3pu3ueuNRt+kD8rZAidLipG0wlXKXgr85eG4uMUoRG4rrp2VBX6RAd+Vb99sOuefvzr3jKCBDQWuY2zWhARRS8PD0jXSQubsvOERQn8hofGSV6GWMhpNGKUrYriyeOqw9v/Tw53PSsi9E62RNk5NvNQ8wvihVk3A5eastHycGCHeNB+5gbl7jZHmIR4qFWVV4BxC18k/HnzbvGuVhixbUZphUr6yvPeIt9HtnAESIdwrEVu4FJgOvwYdHpXswu+CIUT9k7KV6wqc3lAQ9mUOGWUQdmPySVWxBsQkGb5Mb++lutQR1sHSbAQgVwijgIA0nsiO7LaNdl6FPY8c1jUofAIWCUZ+reDiT1UyzHld8tkZiT7xDv1VxK6K2FBEZkDBtQAdhmPsnlFKAUI4K1rvYR07yPxSRPbxQ4jlBk7UelXg7zc5Sw/5Pl2w/JgutvmBLpJVyhar7MjybMdYlrMfsxdM/48ZjBLeBXeOS+EMmXwA/hFE9kKOdrqd7FRuTL/eelGf9uio+QWWNPGAWYDNPBmZDVz+BAAA//8DAFBLAwQUAAYACAAAACEAjSITCNQHAACiYwAADQAAAHhsL3N0eWxlcy54bWzsXVlv20YQfi/Q/0Aw6KPN+zIkBbUdNQHSIIBdoK+URMlEeAgklVgp+t87e4mibPHwrlzb2Dw4JDU7nPl2ZnZ2OVyO3t+nifI9Kso4z8aqca6rSpTN80WcrcbqX7fTM19VyirMFmGSZ9FY3Ual+n7y6y+jstom0c1dFFUKsMjKsXpXVesLTSvnd1Ealuf5Osrgl2VepGEFp8VKK9dFFC5K1ChNNFPXXS0N40wlHC7SeR8maVh826zP5nm6Dqt4FidxtcW8VCWdX3xaZXkRzhIQ9d6wwznjjU8esE/jeZGX+bI6B3ZavlzG8+ihlIEWaMBpMso26TStSmWeb7JqrJq7Swr55dMCIHRtVSFKX+ULEEM/139TNda4Qek0Kd+9e8eINXqryWiZZ/UdA1AHaXXxLct/ZFP0E9wRxEBUk1H5U/keJnDFQDec50leKBX0BkiBr2RhGhGKqzCJZ0WMyJZhGidbctlEF3AHUro0BjjRRY3c4aXe5484SZSbMCt7yVqsZmN1OtXxP9SiBuY4oxmC5ikAd+O56WCtN2Xk67yumz2XpRwodRz4HejYOolVD+xBbL0l2DqYScN90YXJCAJJFRXZFBkRPb7drsFrMoh5xKIwXQf1qgi3hunsNdDwDSejWV4sIMaywIE8llyajJJoWUH3F/HqDv1f5Wv4O8urCgLSZLSIw1WehQkcaqwFPQB15lGS3KA4/PdyxzvwgPn9ci/OQEhHbouCEzoETeghYUhO4AaNRhBpWCPjaCMlXK+T7RSYY9bkDPjXZ5dY8fr89yReZWm03+BrkVfRvMLjD7aJhhx7wh+X41B42QiGKdbftOufhB4aoB63F9L1XzbpLCqmeIivO3l6MhNwX5g8Eh8IKS3eJ/GR+PCEfGk/0n6k/ZxuPJX+Jf1L+pf0L5gw4cnbc+fzMv7I+CPjj4w/Mv6Q9Tm5vtEeDyU+Eh+e8ULaj7QfaT+nyzekf0n/kv4l/ev/yudl/JHxR8YfGX9k/CHrCXJ9tT0eSnwkPjzjxZOKqmQjnpK0J6En/bzdz58Eqmz07Hb8miHX9quVSe3yXtmy9bSyZeV++Xj9MmSArH4ZHR4pYmWtaSEzrlvF9e/HapDN3rxwUTT0F36uzsqg2fnemINqwUNWFa3c5UX8E5qitzjmUCYdFaryowjXt9E91Fhj0bT75UGt9p6uVpd8oMBe0TaTh8wY2NnLkRbUeUXSwos/r0haGBNPIy16o6GH1RouGpVpCO20W1jZwdI2K1SYxZJXEHZn1I9JCy5rhjfjqni+543oRYwHDjhMFe/tqAIvB76SXuk9CBwaWEt1e2+ezfA6JPgfMTf8imHXKz10bGRecahYt/c/s6AAZ5sxNZz6mUV7HgwHjfSijU9olsG6shmXh3TaICw6Rw8OeU4ymjF5+vjkINROMV6dTNghJgeDZs8kXlji/WjsBTBYzgKDX7tI3mlTLH75WFLVdNPmaMWVPg3p4W44WeL0SsRlydGLEJd74tqSB3X3HLxNfMq5Rh314PVp/Pp1e4reKbA/JOYJ9JdaETr5f9THG9ONbl2enrxw+f5JdGHLF30Gzmfvl72xASXo/dacGsNVr7EeZyQCDCN4Q4YRvGjDGOawAVv1epFGPlAXtib2FnRh6dxb0IWlfi9FF/x0AJ4H7G1q0tzSZPf0QEGb9cD2PXmS5D+ihfIRdmopkjj7Bnsj4YcBBsTh2SZOqjhDzwYg97iLF4sIbW+FcoMBjCCoiGEEXiCGEXSbGEaQNghhZIoC2xQFtikKbFMU2KYosC1RYFuiwLZEgW2JAtsSBbYtCmxbFNi2KLBtUWDbosB2RIHtiALbEQW2IwpsRxTYriiwXVFgoz0ThQxHriiwXVFge6LA9kSB7YkC2x/G6EGiBpnZXqcD4K152oPmsMslX3uYZ3HdH+YDXO1hPZOrPSd+Jid+Jid+sFMil/4mJ34mJ34WJ34WJ34WJ35QcsWFv8WJn82Jn82Jn82Jn82Jn82Jn8OJn8OJn8OJn8OJn8OJn8uJn8uJH6p/4on/Lid+Lid+Hid+Hid+/rD2X9AupQlbJGpmZXgTy8OFoa9RgZ7CsBZNbfEuv4ct8J7ohm17vmWYpmGjaTZZk+pFjgAh5GSnY7a7L13xOuQeQPpFyO3H1rUOyF0DUmNC7vYhRxNyQu73Ifd25FYPcs8A2yPcvTZyP/CdwLd1lCpQ8lYkKb2JUhNK36oso0ehlNL3kcf0a3la0aH8bTRPpvyDHvqCATF6eBL5yJol61vK39Fr+kfXOA/p0dBP5PFbTQ34ewCmX+Pvd+mL6dHaCeXfpS+mR0MJoQ+69PUcw8HPICj/LnvA9Oh5LqXvsgdMH+zk8dvswTEt3bIN3dV39gYP1Y73147e2PUXPLjqQY9SRYpPm3s5pq8HVmDYaDmF0rfFhh09mqRS+jY8d/To0SGlx3jWtf2wgL+4r3cjx71Zoe8x3KB9yndL+nC/RbQMN0l1u/txrNbHf0aLeJNC+KRUX+PveYVZjNX6+DPaNB3iGiAI9fGfS/gEAvyvbIp4rP7z4dILrj9MzTNfv/TPbCtyzgLn8vrMsa8ur6+ngW7qV/+CGujjFRfwVQWOj0Pgj1hAUb5hX5QJfEKioMpS4W/qa2N174SIj6TXQGzyFyuhYX/FH9eY/AcAAP//AwBQSwMEFAAGAAgAAAAhAAa3RgJyBgAAvxQAABgAAAB4bC93b3Jrc2hlZXRzL3NoZWV0Mi54bWyUWNtu4zYQfS/QfxD0Hpl3Skacxfp+S7rotrvPiiwnwtqWKymXbdF/75CyZJEUFtsESOzDwyE5Mzwaze2H9+PBe02LMstPIx8HyPfSU5LvstPTyP/zj/lN6HtlFZ928SE/pSP/e1r6H+5+/eX2LS++lc9pWnlg4VSO/OeqOg8HgzJ5To9xGeTn9AQj+7w4xhV8LZ4G5blI452edDwMCEJicIyzk19bGBY/YyPf77MknebJyzE9VbWRIj3EFey/fM7OZWPtmPyMuWNcfHs53yT58QwmHrNDVn3XRn3vmAxXT6e8iB8PcO53zOKksa2/OOaPWVLkZb6vAjA3qDfqnjkaRAOwdHe7y+AEyu1eke5H/kc8fMDMH9zdagd9ydK3svPZq/LzNt1Xk/RwADLzPRWAxzz/ppir3chHYLNMD2miXOHF8O81vbAxgSD+dVmGqDUG7SLdz82Ccx20T4X3GJfpJD98zXbVM2QHJMcu3ccvh+r3/G2ZZk/PFaCwF+2Q4e77NC0TCIvaTHOQaVzFd7dF/uZBfDHs4xyrbMFDmHd3myj0o4JHPgXzMLUE+PUOs9vBK+wtuXDGLQcM61kTB5k6yMxB5g6ycJClg6wcZO0gGwfZOsi9gzx0kQG4qfWVilmPrxSsQ6Gi2OVTk+/p2EDkGyer8ZGvo6/9N64B+Ns6HZk+n9QMiG/LwCZj6jKIyZi5DGoy5i7Div3CZXDTxtJlCJOxchnSZKxdRmgyNi4jMhlbl4Etp973UCyvPtQU3vX71a1G0CE23STRQZdKCeqLpYZHvugasrw/rilSXzoWEB4JysIwZDTElIazm+vC9a2r+aHm00BwjDEXOBQCEy6Fw592+SRglCEpkYwwkhwx6fBnXT4LEBcy4pjikPGQYeBb+593+SjAPCSYI4www1EoQ4u96LJJQCgmVFJCOOYEU2czyy4djEdIiIhKjCMhOeOW8ZXFloJJxMOQUE4ihi322mKHhHMuQxRRigQJ7dTrsmmAmBkoZ+fbLh8HtTNIJDATiDE3TPddfhhgTHmEiKAiwiKk3HH7Q82PdBqAZ1DEKWUi5DwKqZTXsxrZConYzdYmSxVsyT+xru+45bTy7yBTB5k5yNxBFg6ydJCVg6wdZOMg2y5i+EH2+mGh4F5pVzVY51GgbzkX7S1XwzBPqGduLe0t0lFuSzInfRzL69M+jiWbsz6Olb3zHg6xdHFx4UQdsSKWMC777FgCterhYEum1z0ccs1Z7cNNH8d6MG17OPi6HyPmcC4nhuG1BFLDEENIgfZZS6yIjS+cWnvh0jEaGT/ms2hi0y1nTo3xKBDI+CGOpsyMCTIQxuJR5EyYGxNgw6F1ooVBgBWtGCyNcRQg6wgrY5wH0jgBco+w/r8TNsYEJXR2CtgEfs01I/5YFXqdS9yIn8Yt9aPW/RlfSc0Vn7jQ1IVmLjR3oYULLV1o5UJrF9q40NaF7l3owYBM11mlsLopBKqj5KWs8mP9sgJ3x9e6KK7Vj37tAap+GamFsYFwq5WTBoJFrlfPErlpQ4LK7EqyojTrJV3TQe9g3keithb2kqzkX/aSruqjl1v1kqxrtu4lWYm+6SVZF3rbkKA8aP1Er08VM6yqzO3ciB+GFfP2cYfr8hjCql4UrUiNm1F4+F53YJEmDakuezmUmUxC5QK/iIUIY0eJps2MRnwpxhKqTKgGBZdQV1l+n9l8xiTUR1BoIk6RZNHVJ5e0uByqth8GjDAeQS0FxWyIEHEL34W9AsFQjBOofqFGlZwLKzuXJl8EkkIVG4WCEyQYIlD9WmmxMmfAywGYB83HHIpfBBW2M2NtzrCyevPD0W0zeqkp24eZmTOq7uzkzEVFZ6oJYdVOdYujbj8c0+JJN0NKL8lfVIOCQvK0aKcDo3TBxsUQSrkeHKuWjVaSQTsFWijn+Cm9j4un7FR6B2jZQDckkCBXRd0vqb9AO0dL1mNegYbV6gXNsRTaISgA8j7Pq+YLLK1sfk6rl7OXFxl0WHS/a+Sf86Iq4qwC6QP87xwGDtNzNvIZvHFAeEkEqgbdvSpL3AEwm75X27LS/72XAub9A6kA2UbxzUcxRjdc/SFCohspCR7LCYqgTPi36YMd33+uCXaMk0H6nqS66RfWTT9w8/vw0/aLd5/voL8GvZ/fTuknOKb+/PUzbFh/hF3CXNij+qs3O3hrWo93/wEAAP//AwBQSwMEFAAGAAgAAAAhAPtipW2UBgAApxsAABMAAAB4bC90aGVtZS90aGVtZTEueG1s7FlPb9s2FL8P2HcgdG9tJ7YbB3WK2LGbrU0bxG6HHmmZllhTokDSSX0b2uOAAcO6YZcBu+0wbCvQArt0nyZbh60D+hX2SEqyGMtL0gYb1tWHRCJ/fP/f4yN19dqDiKFDIiTlcdurXa56iMQ+H9M4aHt3hv1LGx6SCsdjzHhM2t6cSO/a1vvvXcWbKiQRQbA+lpu47YVKJZuVivRhGMvLPCExzE24iLCCVxFUxgIfAd2IVdaq1WYlwjT2UIwjIHt7MqE+QUNN0tvKiPcYvMZK6gGfiYEmTZwVBjue1jRCzmWXCXSIWdsDPmN+NCQPlIcYlgom2l7V/LzK1tUK3kwXMbVibWFd3/zSdemC8XTN8BTBKGda69dbV3Zy+gbA1DKu1+t1e7WcngFg3wdNrSxFmvX+Rq2T0SyA7OMy7W61Ua27+AL99SWZW51Op9FKZbFEDcg+1pfwG9VmfXvNwRuQxTeW8PXOdrfbdPAGZPHNJXz/SqtZd/EGFDIaT5fQ2qH9fko9h0w42y2FbwB8o5rCFyiIhjy6NIsJj9WqWIvwfS76ANBAhhWNkZonZIJ9iOIujkaCYs0AbxJcmLFDvlwa0ryQ9AVNVNv7MMGQEQt6r55//+r5U/Tq+ZPjh8+OH/50/OjR8cMfLS1n4S6Og+LCl99+9ufXH6M/nn7z8vEX5XhZxP/6wye//Px5ORAyaCHRiy+f/PbsyYuvPv39u8cl8G2BR0X4kEZEolvkCB3wCHQzhnElJyNxvhXDEFNnBQ6Bdgnpngod4K05ZmW4DnGNd1dA8SgDXp/dd2QdhGKmaAnnG2HkAPc4Zx0uSg1wQ/MqWHg4i4Ny5mJWxB1gfFjGu4tjx7W9WQJVMwtKx/bdkDhi7jMcKxyQmCik5/iUkBLt7lHq2HWP+oJLPlHoHkUdTEtNMqQjJ5AWi3ZpBH6Zl+kMrnZss3cXdTgr03qHHLpISAjMSoQfEuaY8TqeKRyVkRziiBUNfhOrsEzIwVz4RVxPKvB0QBhHvTGRsmzNbQH6Fpx+A0O9KnX7HptHLlIoOi2jeRNzXkTu8Gk3xFFShh3QOCxiP5BTCFGM9rkqg+9xN0P0O/gBxyvdfZcSx92nF4I7NHBEWgSInpmJEl9eJ9yJ38GcTTAxVQZKulOpIxr/XdlmFOq25fCubLe9bdjEypJn90SxXoX7D5boHTyL9wlkxfIW9a5Cv6vQ3ltfoVfl8sXX5UUphiqtGxLba5vOO1rZeE8oYwM1Z+SmNL23hA1o3IdBvc4cOkl+EEtCeNSZDAwcXCCwWYMEVx9RFQ5CnEDfXvM0kUCmpAOJEi7hvGiGS2lrPPT+yp42G/ocYiuHxGqPj+3wuh7Ojhs5GSNVYM60GaN1TeCszNavpERBt9dhVtNCnZlbzYhmiqLDLVdZm9icy8HkuWowmFsTOhsE/RBYuQnHfs0azjuYkbG2u/VR5hbjhYt0kQzxmKQ+0nov+6hmnJTFypIiWg8bDPrseIrVCtxamuwbcDuLk4rs6ivYZd57Ey9lEbzwElA7mY4sLiYni9FR22s11hoe8nHS9iZwVIbHKAGvS91MYhbAfZOvhA37U5PZZPnCm61MMTcJanD7Ye2+pLBTBxIh1Q6WoQ0NM5WGAIs1Jyv/WgPMelEKlFSjs0mxvgHB8K9JAXZ0XUsmE+KrorMLI9p29jUtpXymiBiE4yM0YjNxgMH9OlRBnzGVcONhKoJ+ges5bW0z5RbnNOmKl2IGZ8cxS0KclludolkmW7gpSLkM5q0gHuhWKrtR7vyqmJS/IFWKYfw/U0XvJ3AFsT7WHvDhdlhgpDOl7XGhQg5VKAmp3xfQOJjaAdECV7wwDUEFd9TmvyCH+r/NOUvDpDWcJNUBDZCgsB+pUBCyD2XJRN8pxGrp3mVJspSQiaiCuDKxYo/IIWFDXQObem/3UAihbqpJWgYM7mT8ue9pBo0C3eQU882pZPnea3Pgn+58bDKDUm4dNg1NZv9cxLw9WOyqdr1Znu29RUX0xKLNqmdZAcwKW0ErTfvXFOGcW62tWEsarzUy4cCLyxrDYN4QJXCRhPQf2P+o8Jn94KE31CE/gNqK4PuFJgZhA1F9yTYeSBdIOziCxskO2mDSpKxp09ZJWy3brC+40835njC2luws/j6nsfPmzGXn5OJFGju1sGNrO7bS1ODZkykKQ5PsIGMcY76UFT9m8dF9cPQOfDaYMSVNMMGnKoGhhx6YPIDktxzN0q2/AAAA//8DAFBLAwQUAAYACAAAACEAjhjxVKAEAABsDAAAGAAAAHhsL3dvcmtzaGVldHMvc2hlZXQxLnhtbIxWbW+jOBD+ftL9B8T3gF8AQ5Rk1by0WWlXV13vdj8T4iSogHPgtume7r/f2AbCSzfaVkrIzPA8z9jj8cw+XfLMeuVllYpibmMH2RYvErFPi+Pc/vuv+0loW5WMi32ciYLP7Xde2Z8Wv/82exPlc3XiXFqAUFRz+yTleeq6VXLieVw54swL8BxEmccSfpZHtzqXPN7rl/LMJQgFbh6nhW0QpuWvYIjDIU34WiQvOS+kASl5FkvQX53Sc9Wg5cmvwOVx+fxyniQiPwPELs1S+a5BbStPpp+PhSjjXQZ5X7AXJw22/jGCz9OkFJU4SAfgXCN0nHPkRi4gLWb7FDJQy26V/DC37/B0i6ntLmZ6gb6l/K3qPFsy3j3xjCeS72GfbEut/06IZxX4GUwIICsdoCDjRKavfMWzbG6vGGzhP5pkxaarSHG4LUn3uSG815v2WFq7uOIrkX1P9/IErFAce36IXzJ5NYZOSAmimPit80/xtuXp8SThFQ/WTC3ddP++5lUCe6akgoJEZEAHn1aeqsqDBY8vJrOaDTsAWcl3tfzg3vFK3qcK07aSl0qKvJFVwxkgUgMB8ZsB6ips4EjvHeDR5FDrN97BvXeiRnBAw9tc6jXXpKtXfR3LeDErxZsFFQ/JVOdYnR88BXq1ZiSErUyUc6m84AF8sFdgfl14bOa+KsA6ZvVRTNiPWdcxsDZXnKiNcUFLKwhihoKw3wi6U14tusWhVxyj2YRQrNUiB1MaIcw8hnwoFBKRllaHb2pEXfnacj+yPIws266lJ5/elK+8ffke6utZmhBKavk+8cOAqH/iEYxZ0A/f1Igd+SPLw8iy7Vp68mGnb6y+8g7k476epQlp5WM/JIgFYYgZ85GPB5u1qRE78keWh5Fl27X05KsDO6jmTvEo70D+oBqWJuQqH2OPhYzhIApIFGHaz3ZTI3bkjywPI8u2a+nJD27KV96B/IGepQmhVBcPc5DvRTgIQo8GAUXhZjJId1NDdvSPLA8jy7Zr6elXjf7ny6+8oB+ybw+vNyhnfVXMberV1U9ZxGDlQw8h+Pao165/j1fNCAPeaxO7U94h7xVIn/mViaGq0bwukEMIg55BfALVixkNr/2sxws9+Aav8g55/TYBw2tiaNDkG1EcBl5AMYNvn1yPS49XXYQd4roT32nzgNEf9Jd1E9Q2GEaj7t9VYZ+yf1G0lHVn726qP6iyNW7bv1ldin6Wl2qr141sSepu2yMZNJ41roNMXszB3aSiyO8Wfz8z1Qw/IK17ZI90cN7WMDDpPTakntNfyoiNSc3gY67gc3zkX+PymBaVlfEDnArkwCEpzeiin6U4ayuo2AkJM0fz6wSTLIcrGjkg4SCEbH7AZa9wn7h8OVuiTGHi0cPp3D6LUpZxKuGWB/sPAY5sfU7ntkciLwoY3I22GsVlmowdAMsv8ksl9bf1UsJ7/wZwLgmjeHIXLNHEVx8kYGjCGMFLtkJRgNB/zdCaw3Q1mNE/nFjzOHH5JeF6Qg/NhL6Y5Zfp45dv1lexh2kMyv+Pgj9Cmvr5+xMI1o9q0gGZ5lOLddWcqseexf8AAAD//wMAUEsDBBQABgAIAAAAIQCuq1DVBQMAABkJAAAUAAAAeGwvc2hhcmVkU3RyaW5ncy54bWycVlFv2jAQfq/U/2DlqdWahlbtNE1AFcHQ+tCBCt20R9e5kJMcm9kOHfv1OwdoMwc62jfn7jvfd3ffGbo3v0vJlmAsatWLLs47EQMldIZq3oseZqP4U8Ss4yrjUivoRSuw0U3/+KhrrWMUq2wvKpxbfE4SKwoouT3XC1DkybUpuaNPM0/swgDPbAHgSplcdjofk5KjipjQlXK96Po6YpXCXxUMNoarqN+12O+6/oiLSroVe0JXMC54BiUKxrMlWiLJDNiFVhYfUaJDsN3E9buJD92EV1LGDktgE6NzsL5QLtnU8Txnqb9FmzAm3WbxbCzINmJCHfP3JHegHF33FbgkenvxQzQgnDZMb5IS9aTO7mtIsxIVWmc4QUIyRHuprQvN31H4ksBiRhQYXb2x1Gh2gkrIyo+RcarZj9DZM3/WArkDOoMT56fhtUPg6v3B2yrfm32gtSHOu9owKBBydqvWsqIhsnGeUw8MOxncjk9ZwtaIGYhCaannqwZgNm4V2pSVrtw7lDV2hc8+kcAtMLsAgfmqledHwR17BNqWDKwwSEe20pVhDp0ERs76C5UlQ+WosJtwJrMt8vYFFGKmrqp1MAWzpK601mDrT/Oco2m5vyijpSy9ku644nPwxzCHl2m9P63wB5WBmRueVSQt2i0SXpvC81Ztdd+6f7t2s4r2gKQbAkYkDUXylSzFLHQ2mkOAe7DAjShC1DMJWisiXJJuhrDgxtW1n0zfOsW8UsIPjVJyeuMOmufoJSalmBbFl9cAl8AeFLYmMakeJYozdhWvqEq//PxRLyG8aWJw6QeitItpb+IFvYDoDg57S8iG0GVN6FAer6Ob6fcgN1klPeuxK+jl2oPb04dD45pM/hcz0/R7EDZg+vz4N1QaguolYhdnnU4ndNXG+HqXqzbGF51dvrU1vtzpXFs/hKlG9DbFP0lVx0drlb0GWPc1RMyedH1DaG/UTusyxT8twf6LmK0WLcSU6ImW9W54Hyb7lg7SwS7jMG1bp5OGMaG/Nv2/AAAA//8DAFBLAwQUAAYACAAAACEAr0eKpzQBAAAS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FfS8MwFMXfBb9DyXubZsMioe1AZYg4EJwovl2Suy3Y/CGJdvv2Zt2sk/l4Oef+OOfeerbVXfaFPihrGsKKkmRohJXKrBvyspzn1yQLEYyEzhpsyA4DmbWXF7VwXFiPT9469FFhyBLJBC5cQzYxOk5pEBvUEIrkMElcWa8hptGvqQPxAWukk7KsqMYIEiLQPTB3I5EckVKMSPfpuwEgBcUONZoYKCsY/fVG9Dr8uzAoJ06t4s6lTse4p2wpDuLo3gY1Gvu+L/rpECPlZ/Rt8fg8VM2V2d9KIGlrKbjwCNH6tqanQzpcByEu0o1XCuXNrn2wBuIGTHZvfQKgMjU9dyXiUIDr42aWMvFDgx/pdXp7t5yTdlKyKi9Zzqolu+Ks4oy971P8BaRgZ19svwEAAP//AwBQSwMEFAAGAAgAAAAhANlmJ4mRAQAALw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JNTxsxEIbvSP0Plu/ES4pQFXmNELTiUNSIBHqeemezFl575RmWpL++3qxCNvRQqbf5eP368Xj09bb1osdELoZSXswKKTDYWLmwKeXT+tv5FymIIVTgY8BS7pDktfl0ppcpdpjYIYlsEaiUDXO3UIpsgy3QLLdD7tQxtcA5TRsV69pZvIv2tcXAal4UVwq3jKHC6rx7N5Sj46Ln/zWtoh346Hm96zKw0Tdd550Fzq80D86mSLFm8QDWBY7UiK9bi16rqUxnzhXa1+R4ZwqtpqleWfB4m68wNXhCrY4FfY8wjG8JLpHRPS96tByTIPc7D3AuxS8gHMBK2UNyEDgDDrIx2ce+I07mZ0wv1CAyaZUFY3EfTrXT2F2a+V6Qg1PhYDCC5MYp4tqxR/pRLyHxv4j3DCPviHPT+Zgc3QHDFPIddxVbFI/wJj4qToA+IHx34YWeunXMh/Aw4tOiXjWQsMq/cugfC/o+Tzf5weS2gbDB6qD5uzGsxvO4/+biclZ8LvJfT2paHTfd/AEAAP//AwBQSwECLQAUAAYACAAAACEAHv7FSWABAAAYBQAAEwAAAAAAAAAAAAAAAAAAAAAAW0NvbnRlbnRfVHlwZXNdLnhtbFBLAQItABQABgAIAAAAIQBQfE7B9gAAAEwCAAALAAAAAAAAAAAAAAAAAJkDAABfcmVscy8ucmVsc1BLAQItABQABgAIAAAAIQAT+O2w+QAAAEcDAAAaAAAAAAAAAAAAAAAAAMAGAAB4bC9fcmVscy93b3JrYm9vay54bWwucmVsc1BLAQItABQABgAIAAAAIQCt96GT0QEAAAQDAAAPAAAAAAAAAAAAAAAAAPkIAAB4bC93b3JrYm9vay54bWxQSwECLQAUAAYACAAAACEAjSITCNQHAACiYwAADQAAAAAAAAAAAAAAAAD3CgAAeGwvc3R5bGVzLnhtbFBLAQItABQABgAIAAAAIQAGt0YCcgYAAL8UAAAYAAAAAAAAAAAAAAAAAPYSAAB4bC93b3Jrc2hlZXRzL3NoZWV0Mi54bWxQSwECLQAUAAYACAAAACEA+2KlbZQGAACnGwAAEwAAAAAAAAAAAAAAAACeGQAAeGwvdGhlbWUvdGhlbWUxLnhtbFBLAQItABQABgAIAAAAIQCOGPFUoAQAAGwMAAAYAAAAAAAAAAAAAAAAAGMgAAB4bC93b3Jrc2hlZXRzL3NoZWV0MS54bWxQSwECLQAUAAYACAAAACEArqtQ1QUDAAAZCQAAFAAAAAAAAAAAAAAAAAA5JQAAeGwvc2hhcmVkU3RyaW5ncy54bWxQSwECLQAUAAYACAAAACEAr0eKpzQBAAASAgAAEQAAAAAAAAAAAAAAAABwKAAAZG9jUHJvcHMvY29yZS54bWxQSwECLQAUAAYACAAAACEA2WYniZEBAAAvAwAAEAAAAAAAAAAAAAAAAADbKgAAZG9jUHJvcHMvYXBwLnhtbFBLBQYAAAAACwALAMYCAACiLQAAAAAFIgAAAB9BcGxvcmlzLkJhc2UuT2JqZWN0cy5UZXh0Rm9ybWF0DAAAABJEYXRhT2JqZWN0K21QYXJlbnQVRGF0YU9iamVjdCttQ29udGFpbmVyCW1Gb250Qm9sZAttRm9udEl0YWxpYw5tRm9udFVuZGVybGluZQltRm9udFNpemUJbUZvbnROYW1lEG1Gb250RmFyRWFzdE5hbWUKbUZvbnRDb2xvcgltTW9kaWZpZWQSbUF1dG9Db2xvckRpc2FibGVkCm1BdXRvQ29sb3ICAgAAAAABAQQAAAQBAQELGkFwbG9yaXMuQmFzZS5PYmplY3RzLkNvbG9yAwAAAAEBGkFwbG9yaXMuQmFzZS5PYmplY3RzLkNvbG9yAwAAAAMAAAAKCgAAAAAAQEEGcAAAAAVBcmlhbAZxAAAABittbi1lYQlyAAAAAQAJcwAAAAcjAAAAAAEAAAARAAAABBRTeXN0ZW0uRHJhd2luZy5Db2xvcgQAAAAFdAAAABRTeXN0ZW0uRHJhd2luZy5Db2xvcgQAAAAFdmFsdWUFc3RhdGUKa25vd25Db2xvcgRuYW1lAAAAAQkHBwQAAAAAAAAAAAAAAAAAAAAKAXUAAAB0AAAAAAAA//////8CAAAACgF2AAAAdAAAAP//////////AgAAAAoBdwAAAHQAAABOQSL//////wIAAAAKAXgAAAB0AAAA3tzb//////8CAAAACgF5AAAAdAAAAH5pP///////AgAAAAoBegAAAHQAAACMhHL//////wIAAAAKAXsAAAB0AAAAJSHt//////8CAAAACgF8AAAAdAAAADQ7Rv//////AgAAAAoBfQAAAHQAAAB0mMP//////wIAAAAKAX4AAAB0AAAAHpT3//////8CAAAACgF/AAAAdAAAAB6U9///////AgAAAAoBgAAAAHQAAAAlIe3//////wIAAAAKAYEAAAB0AAAAAAAA//////8CAAAACgGCAAAAdAAAAP//////////AgAAAAoBgwAAAHQAAABOQSL//////wIAAAAKAYQAAAB0AAAA3tzb//////8CAAAACgQkAAAAmAFTeXN0ZW0uQ29sbGVjdGlvbnMuR2VuZXJpYy5MaXN0YDFbW0FwbG9yaXMuQmFzZS5PYmplY3RzLkRhdGFPYmplY3QsIEFwbG9yaXMuQmFzZSwgVmVyc2lvbj00LjAuMC4xNDg2LCBDdWx0dXJlPW5ldXRyYWwsIFB1YmxpY0tleVRva2VuPTE2ZmMxM2EyMjZjMGU5NTFdXQMAAAAGX2l0ZW1zBV9zaXplCF92ZXJzaW9uBAAAIUFwbG9yaXMuQmFzZS5PYmplY3RzLkRhdGFPYmplY3RbXQMAAAAICAmFAAAADAAAAAwAAAAEJQAAAJUBU3lzdGVtLkNvbGxlY3Rpb25zLkdlbmVyaWMuTGlzdGAxW1tBcGxvcmlzLkJhc2UuVUkuVmlzdWFsT2JqZWN0LCBBcGxvcmlzLkJhc2UsIFZlcnNpb249NC4wLjAuMTQ4NiwgQ3VsdHVyZT1uZXV0cmFsLCBQdWJsaWNLZXlUb2tlbj0xNmZjMTNhMjI2YzBlOTUxXV0DAAAABl9pdGVtcwVfc2l6ZQhfdmVyc2lvbgQAAB5BcGxvcmlzLkJhc2UuVUkuVmlzdWFsT2JqZWN0W10DAAAACAgJhgAAAAEAAAABAAAABScAAACbAUFwbG9yaXMuQmFzZS5PYmplY3RzLkRhdGFPYmplY3RDb2xsZWN0aW9uYDFbW0FwbG9yaXMuQ2hhcnQuVmFsdWVMaW5l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WYWx1ZUxpbmUsIEFwbG9yaXMuQ2hhcnQsIFZlcnNpb249NC4wLjAuMTQ4NiwgQ3VsdHVyZT1uZXV0cmFsLCBQdWJsaWNLZXlUb2tlbj0xNmZjMTNhMjI2YzBlOTUxXV0DAAAAkQFTeXN0ZW0uQ29sbGVjdGlvbnMuR2VuZXJpYy5MaXN0YDFbW0FwbG9yaXMuQ2hhcnQuVmFsdWVMaW5l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YcAAAAJiAAAAAkGAAAACQEAAAAJiQAAAAUoAAAAmwFBcGxvcmlzLkJhc2UuT2JqZWN0cy5EYXRhT2JqZWN0Q29sbGVjdGlvbmAxW1tBcGxvcmlzLkNoYXJ0LkF4aXNCcmVhay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QXhpc0JyZWFrLCBBcGxvcmlzLkNoYXJ0LCBWZXJzaW9uPTQuMC4wLjE0ODYsIEN1bHR1cmU9bmV1dHJhbCwgUHVibGljS2V5VG9rZW49MTZmYzEzYTIyNmMwZTk1MV1dAwAAAJEBU3lzdGVtLkNvbGxlY3Rpb25zLkdlbmVyaWMuTGlzdGAxW1tBcGxvcmlzLkNoYXJ0LkF4aXNCcmVh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KAAAACYsAAAAJBgAAAAkBAAAACYwAAAAFK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IAAAADAAAACWMAAAAJZAAAAAllAAAAAQAAAAAKCglmAAAAAAAAAAoAAAAAAA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GAAAACQEAAAAAAAAAAAliAAAAAwAAAAljAAAACWQAAAAJZQAAAAEAAAAACgaNAAAAASUJZgAAAAEAAAAKAAAAAAAAAAAFLAAAAJoBQXBsb3Jpcy5CYXNlLk9iamVjdHMuRGF0YU9iamVjdENvbGxlY3Rpb25gMVtbQXBsb3Jpcy5DaGFydC5UaWNrTWFyaywgQXBsb3Jpcy5DaGFydCwgVmVyc2lvbj00LjAuMC4xNDg2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VGlja01hcmssIEFwbG9yaXMuQ2hhcnQsIFZlcnNpb249NC4wLjAuMTQ4NiwgQ3VsdHVyZT1uZXV0cmFsLCBQdWJsaWNLZXlUb2tlbj0xNmZjMTNhMjI2YzBlOTUxXV0DAAAAkAFTeXN0ZW0uQ29sbGVjdGlvbnMuR2VuZXJpYy5MaXN0YDFbW0FwbG9yaXMuQ2hhcnQuVGlja01hcm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jgAAAAmPAAAACQYAAAAJAQAAAAmQAAAABS8AAAAaQXBsb3Jpcy5CYXNlLlVJLlZpc3VhbExpbmUNAAAAC21TdGFydFBvaW50CW1FbmRQb2ludAttTGluZUZvcm1h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AAAAABwIAAAMAFVN5c3RlbS5EcmF3aW5nLlBvaW50RgQAAAAVU3lzdGVtLkRyYXdpbmcuUG9pbnRGBAAAAB9BcGxvcmlzLkJhc2UuT2JqZWN0cy5MaW5lRm9ybWF0AwAAAAgIAQEIAQEPU3lzdGVtLkludFB0cltdAQMAAAABkQAAACAAAADpoitCxhSxQwGSAAAAIAAAAOoiJETGFLFDCZMAAAC4AQAA/////wEBCgmUAAAAAQAKAAcwAAAAAAEAAAAFAAAABBVTeXN0ZW0uRHJhd2luZy5Qb2ludEYEAAAAAZUAAAAgAAAA6eIkRMYUsUMBlgAAACAAAADpoitCJAm5QwGXAAAAIAAAABndrkMkCblDAZgAAAAgAAAA6iIkRCQJuUMBmQAAACAAAADp4iRExpSzQwcxAAAAAAEAAAAFAAAABBdBcGxvcmlzLkJhc2UuQW5jaG9yTW9kZQMAAAAFmgAAABdBcGxvcmlzLkJhc2UuQW5jaG9yTW9kZQEAAAAHdmFsdWVfXwAIAwAAAAQAAAABmwAAAJoAAAAFAAAAAZwAAACaAAAAAwAAAAGdAAAAmgAAAAYAAAABngAAAJoAAAAFAAAADzIAAAAFAAAAAQAAAAABBTMAAAAVQXBsb3Jpcy5CYXNlLlVJLkxhYmVsHAAAAA9tQW5jaG9yUG9zaXRpb24LbUFuY2hvck1vZGUPbUFkZElubmVyTWFyZ2luFm1PZmZzZXREaXJlY3Rpb25BbmNob3IXbU9mZnNldE9ydGhvZ29uYWxBbmNob3ILbVRleHRGb3JtYXQJbVJvdGF0aW9uCm1CYWNrQ29sb3INbVVzZUJhY2tDb2xvcg5tVXNlQmFja2dyb3VuZA5tTGluZUFsaWdubWVudAltVGV4dFNpemUPbUxhYmVsUmVjdGFuZ2xlFW1Jbm5lck1hcmdpbkxlZnRSaWdodAVtVGV4dAptVmFyaWFibGVzDW1WYXJpYWJsZUxpc3QO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AAAAEAAQAAAQEBAABAwMBAAAAAAcCAAADAB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DAAAAAZ8AAAAgAAAA6eIkRMYUsUMBoAAAAJoAAAAEAAAAAAAAAAAAAAAACaEAAAAAAAAACaIAAAAAAAWjAAAAKkFwbG9yaXMuQmFzZS5VSS5MYWJlbCtMaW5lQWxpZ25tZW50T3B0aW9ucwEAAAAHdmFsdWVfXwAIAwAAAAAAAAABpAAAAGwAAAAAAAAAAAAAAAGlAAAAFAAAAAAAAAAAAAAAAAAAAAAAAAAAAAAABqYAAAANQ2F0ZWdvcnkgYXhpcwoJpwAAAAmmAAAA5AIAAP////8AAQoJqAAAAAEACgABNAAAACQAAAAJqQAAAAYAAAAGAAAAATUAAAAlAAAACaoAAAACAAAAAgAAAAE3AAAAJwAAAAoJqwAAAAmsAAAACQcAAAAJAQAAAAmtAAAAATgAAAAoAAAACgmuAAAACa8AAAAJBwAAAAkBAAAACbAAAAAFO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YgAAAAMAAAAJYwAAAAlkAAAACWUAAAABAAAAAAoJjQAAAAlmAAAAAAAAAAoAAAAAAA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HAAAACQEAAAABAAAAAAliAAAAAwAAAAljAAAACWQAAAAJZQAAAAEAAAAACgoJZgAAAAAAAAAKAAAAAAA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YgAAAAMAAAAJYwAAAAlkAAAACWUAAAABAAAAAAoJjQAAAAlmAAAAAQAAAAoAAAAAAAAAAAE8AAAALAAAAAoJsQAAAAmyAAAACQcAAAAJAQAAAAmzAAAAAT8AAAAvAAAAAbQAAAAgAAAA6aIrQsYUsUMBtQAAACAAAADpoitCzOZ9QQm2AAAAuAEAAP////8BAQoJtwAAAAEACgAHQAAAAAABAAAABQAAAAQVU3lzdGVtLkRyYXdpbmcuUG9pbnRGBAAAAAG4AAAAIAAAAOmiK0L6oCZBAbkAAAAgAAAAzukYQcYUsUMBugAAACAAAADO6RhB/AM5QwG7AAAAIAAAAM7pGEHM5n1BAbwAAAAgAAAAzukYQfqgJkEHQQAAAAABAAAABQAAAAQXQXBsb3Jpcy5CYXNlLkFuY2hvck1vZGUDAAAAAb0AAACaAAAAAQAAAAG+AAAAmgAAAAgAAAABvwAAAJoAAAACAAAAAcAAAACaAAAABgAAAAHBAAAAmgAAAAcAAAAPQgAAAAUAAAABAAAAAAEBQwAAADMAAAABwgAAACAAAADpoitC+qAmQQHDAAAAmgAAAAEAAAAAAAAAAAAAAAAJxAAAAAAAAAAJxQAAAAAAAcYAAACjAAAAAAAAAAHHAAAAbAAAAAAAAAAAAAAAAcgAAAAUAAAAAAAAAAAAAAAAAAAAAAAAAAAAAAAGyQAAAApWYWx1ZSBheGlzCgnKAAAACckAAADkAgAA/////wABCgnLAAAAAQAKAAFEAAAAJAAAAAnMAAAABwAAAAcAAAABRQAAACUAAAAJzQAAAAIAAAACAAAAB0YAAAAAAQAAAAAAAAAELkFwbG9yaXMuQ2hhcnQuQ29sdW1uT3JpZW50ZWRDaGFydCtVbnVzZWRTZXJpZXMCAAAABEcAAACXAVN5c3RlbS5Db2xsZWN0aW9ucy5HZW5lcmljLkxpc3RgMVtbQXBsb3Jpcy5DaGFydC5DaGFydERhdGFTZXJpZXMsIEFwbG9yaXMuQ2hhcnQsIFZlcnNpb249NC4wLjAuMTQ4NiwgQ3VsdHVyZT1uZXV0cmFsLCBQdWJsaWNLZXlUb2tlbj0xNmZjMTNhMjI2YzBlOTUxXV0DAAAABl9pdGVtcwVfc2l6ZQhfdmVyc2lvbgQAAB9BcGxvcmlzLkNoYXJ0LkNoYXJ0RGF0YVNlcmllc1tdAgAAAAgICc4AAAAMAAAAzgAAAAFIAAAAJAAAAAnPAAAADAAAAFIAAAABSQAAACUAAAAJ0AAAAAAAAAAAAAAABEoAAACcAVN5c3RlbS5Db2xsZWN0aW9ucy5HZW5lcmljLkxpc3RgMVtbQXBsb3Jpcy5DaGFydC5Bbm5vdGF0aW9uRGF0YVNlcmllcywgQXBsb3Jpcy5DaGFydCwgVmVyc2lvbj00LjAuMC4xNDg2LCBDdWx0dXJlPW5ldXRyYWwsIFB1YmxpY0tleVRva2VuPTE2ZmMxM2EyMjZjMGU5NTFdXQMAAAAGX2l0ZW1zBV9zaXplCF92ZXJzaW9uBAAAJEFwbG9yaXMuQ2hhcnQuQW5ub3RhdGlvbkRhdGFTZXJpZXNbXQIAAAAICAnRAAAAAAAAAAAAAAABSwAAACQAAAAJ0gAAAAAAAAAAAAAAAUwAAAAlAAAACdAAAAAAAAAAAAAAAARNAAAAlwFTeXN0ZW0uQ29sbGVjdGlvbnMuR2VuZXJpYy5MaXN0YDFbW0FwbG9yaXMuQ2hhcnQuQW5ub3RhdGlvbkdyb3VwLCBBcGxvcmlzLkNoYXJ0LCBWZXJzaW9uPTQuMC4wLjE0ODYsIEN1bHR1cmU9bmV1dHJhbCwgUHVibGljS2V5VG9rZW49MTZmYzEzYTIyNmMwZTk1MV1dAwAAAAZfaXRlbXMFX3NpemUIX3ZlcnNpb24EAAAfQXBsb3Jpcy5DaGFydC5Bbm5vdGF0aW9uR3JvdXBbXQIAAAAICAnTAAAAAAAAAAAAAAABTgAAACQAAAAJ0gAAAAAAAAAAAAAAAU8AAAAlAAAACdAAAAAAAAAAAAAAAARQAAAAlgFTeXN0ZW0uQ29sbGVjdGlvbnMuR2VuZXJpYy5MaXN0YDFbW0FwbG9yaXMuQ2hhcnQuQ2hhcnREYXRhR3JvdXAsIEFwbG9yaXMuQ2hhcnQsIFZlcnNpb249NC4wLjAuMTQ4NiwgQ3VsdHVyZT1uZXV0cmFsLCBQdWJsaWNLZXlUb2tlbj0xNmZjMTNhMjI2YzBlOTUxXV0DAAAABl9pdGVtcwVfc2l6ZQhfdmVyc2lvbgQAAB5BcGxvcmlzLkNoYXJ0LkNoYXJ0RGF0YUdyb3VwW10CAAAACAgJ1AAAAAMAAAATAAAAAVEAAAAkAAAACdUAAAADAAAADwAAAAFSAAAAJQAAAAnQAAAAAAAAAAAAAAAEUwAAAJABU3lzdGVtLkNvbGxlY3Rpb25zLkdlbmVyaWMuTGlzdGAxW1tBcGxvcmlzLkNoYXJ0LkRlbHRhQmFyLCBBcGxvcmlzLkNoYXJ0LCBWZXJzaW9uPTQuMC4wLjE0ODYsIEN1bHR1cmU9bmV1dHJhbCwgUHVibGljS2V5VG9rZW49MTZmYzEzYTIyNmMwZTk1MV1dAwAAAAZfaXRlbXMFX3NpemUIX3ZlcnNpb24EAAAYQXBsb3Jpcy5DaGFydC5EZWx0YUJhcltdAgAAAAgICdYAAAAAAAAAAAAAAAFUAAAAJAAAAAnSAAAAAAAAAAAAAAABVQAAACUAAAAJ0AAAAAAAAAAAAAAABFYAAACTAVN5c3RlbS5Db2xsZWN0aW9ucy5HZW5lcmljLkxpc3RgMVtbQXBsb3Jpcy5DaGFydC5EZWx0YUJyaWRnZSwgQXBsb3Jpcy5DaGFydCwgVmVyc2lvbj00LjAuMC4xNDg2LCBDdWx0dXJlPW5ldXRyYWwsIFB1YmxpY0tleVRva2VuPTE2ZmMxM2EyMjZjMGU5NTFdXQMAAAAGX2l0ZW1zBV9zaXplCF92ZXJzaW9uBAAAG0FwbG9yaXMuQ2hhcnQuRGVsdGFCcmlkZ2VbXQIAAAAICAnXAAAAAAAAAAAAAAABVwAAACQAAAAJ0gAAAAAAAAAAAAAAAVgAAAAlAAAACdAAAAAAAAAAAAAAAARZAAAAkwFTeXN0ZW0uQ29sbGVjdGlvbnMuR2VuZXJpYy5MaXN0YDFbW0FwbG9yaXMuQ2hhcnQuR3Jvd3RoQXJyb3csIEFwbG9yaXMuQ2hhcnQsIFZlcnNpb249NC4wLjAuMTQ4NiwgQ3VsdHVyZT1uZXV0cmFsLCBQdWJsaWNLZXlUb2tlbj0xNmZjMTNhMjI2YzBlOTUxXV0DAAAABl9pdGVtcwVfc2l6ZQhfdmVyc2lvbgQAABtBcGxvcmlzLkNoYXJ0Lkdyb3d0aEFycm93W10CAAAACAgJ2AAAAAAAAAAAAAAAAVoAAAAkAAAACdIAAAAAAAAAAAAAAAFbAAAAJQAAAAnQAAAAAAAAAAAAAAAEXAAAAJoBU3lzdGVtLkNvbGxlY3Rpb25zLkdlbmVyaWMuTGlzdGAxW1tBcGxvcmlzLkNoYXJ0LldhdGVyZmFsbENvbm5lY3RvciwgQXBsb3Jpcy5DaGFydCwgVmVyc2lvbj00LjAuMC4xNDg2LCBDdWx0dXJlPW5ldXRyYWwsIFB1YmxpY0tleVRva2VuPTE2ZmMxM2EyMjZjMGU5NTFdXQMAAAAGX2l0ZW1zBV9zaXplCF92ZXJzaW9uBAAAIkFwbG9yaXMuQ2hhcnQuV2F0ZXJmYWxsQ29ubmVjdG9yW10CAAAACAgJ2QAAAAAAAAAAAAAAAV0AAAAkAAAACdIAAAAAAAAAAAAAAAFeAAAAJQAAAAnQAAAAAAAAAAAAAAAEXwAAAJgBU3lzdGVtLkNvbGxlY3Rpb25zLkdlbmVyaWMuTGlzdGAxW1tBcGxvcmlzLkNoYXJ0LkVsZW1lbnRDb25uZWN0b3IsIEFwbG9yaXMuQ2hhcnQsIFZlcnNpb249NC4wLjAuMTQ4NiwgQ3VsdHVyZT1uZXV0cmFsLCBQdWJsaWNLZXlUb2tlbj0xNmZjMTNhMjI2YzBlOTUxXV0DAAAABl9pdGVtcwVfc2l6ZQhfdmVyc2lvbgQAACBBcGxvcmlzLkNoYXJ0LkVsZW1lbnRDb25uZWN0b3JbXQIAAAAICAnaAAAAAAAAAAAAAAABYAAAACQAAAAJ0gAAAAAAAAAAAAAAAWEAAAAlAAAACdAAAAAAAAAAAAAAAAVq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AAACdsAAAAJ3AAAAAEAAAD+////AQAAAAEAAAABAAAAAQAAAAEAAAABAAAAAAABBWs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3QAAAAneAAAAAQAAAAAAAAAAAAAAAAAAAAABBW8AAAAfQXBsb3Jpcy5CYXNlLk9iamVjdHMuUGVyc0lkRGF0YQIAAAADbUlkC21DdXN0b21EYXRhBwIIAwAAAAnfAAAACgVyAAAAGkFwbG9yaXMuQmFzZS5PYmplY3RzLkNvbG9yBwAAABJEYXRhT2JqZWN0K21QYXJlbnQVRGF0YU9iamVjdCttQ29udGFpbmVyBW1UeXBlBG1SR0IQbVRoZW1lQ29sb3JJbmRleAxtQXV0b1VwZGF0ZWQJbU1vZGlmaWVkAgIAAAAAAAgICAEBAwAAAAoKAAAAAAAAAAANAAAAAAEBcwAAAHIAAAAKCgEAAAAAAAAA/////wABB4UAAAAAAQAAABAAAAAEH0FwbG9yaXMuQmFzZS5PYmplY3RzLkRhdGFPYmplY3QDAAAACQkAAAAJCgAAAAkLAAAACQwAAAAJEAAAAAkRAAAACQ0AAAAJDgAAAAkPAAAACQcAAAAJBgAAAAkXAAAADQQHhgAAAAABAAAABAAAAAQcQXBsb3Jpcy5CYXNlLlVJLlZpc3VhbE9iamVjdAMAAAAJGwAAAA0DBIcAAACRAVN5c3RlbS5Db2xsZWN0aW9ucy5HZW5lcmljLkxpc3RgMVtbQXBsb3Jpcy5DaGFydC5WYWx1ZUxpbmUsIEFwbG9yaXMuQ2hhcnQsIFZlcnNpb249NC4wLjAuMTQ4NiwgQ3VsdHVyZT1uZXV0cmFsLCBQdWJsaWNLZXlUb2tlbj0xNmZjMTNhMjI2YzBlOTUxXV0DAAAABl9pdGVtcwVfc2l6ZQhfdmVyc2lvbgQAABlBcGxvcmlzLkNoYXJ0LlZhbHVlTGluZVtdAgAAAAgICeAAAAAAAAAAAAAAAAGIAAAAJAAAAAnSAAAAAAAAAAAAAAABiQAAACUAAAAJ0AAAAAAAAAAAAAAABIoAAACRAVN5c3RlbS5Db2xsZWN0aW9ucy5HZW5lcmljLkxpc3RgMVtbQXBsb3Jpcy5DaGFydC5BeGlzQnJlYWssIEFwbG9yaXMuQ2hhcnQsIFZlcnNpb249NC4wLjAuMTQ4NiwgQ3VsdHVyZT1uZXV0cmFsLCBQdWJsaWNLZXlUb2tlbj0xNmZjMTNhMjI2YzBlOTUxXV0DAAAABl9pdGVtcwVfc2l6ZQhfdmVyc2lvbgQAABlBcGxvcmlzLkNoYXJ0LkF4aXNCcmVha1tdAgAAAAgICeEAAAAAAAAAAAAAAAGLAAAAJAAAAAnSAAAAAAAAAAAAAAABjAAAACUAAAAJ0AAAAAAAAAAAAAAABI4AAACQAVN5c3RlbS5Db2xsZWN0aW9ucy5HZW5lcmljLkxpc3RgMVtbQXBsb3Jpcy5DaGFydC5UaWNrTWFyaywgQXBsb3Jpcy5DaGFydCwgVmVyc2lvbj00LjAuMC4xNDg2LCBDdWx0dXJlPW5ldXRyYWwsIFB1YmxpY0tleVRva2VuPTE2ZmMxM2EyMjZjMGU5NTFdXQMAAAAGX2l0ZW1zBV9zaXplCF92ZXJzaW9uBAAAGEFwbG9yaXMuQ2hhcnQuVGlja01hcmtbXQIAAAAICAniAAAAAAAAAAAAAAABjwAAACQAAAAJ0gAAAAAAAAAAAAAAAZAAAAAlAAAACdAAAAAAAAAAAAAAAAGTAAAAagAAAAoKAAAAQD8J4wAAAAnkAAAAAQAAAP7///8AAAAAAQAAAAAAAAAAAAAAAQAAAAAAAAAAAAABlAAAAG8AAAAJ5QAAAAoFoQ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gAAAAoAAAAAAEBBCXAAAAAJcQAAAAnmAAAAAQAJ5wAAAAGiAAAAcgAAAAoKAQAAAAAAAAD/////AAEEpwAAAJYBU3lzdGVtLkNvbGxlY3Rpb25zLkdlbmVyaWMuTGlzdGAxW1tBcGxvcmlzLkJhc2UuT2JqZWN0cy5WYXJpYWJsZSwgQXBsb3Jpcy5CYXNlLCBWZXJzaW9uPTQuMC4wLjE0ODYsIEN1bHR1cmU9bmV1dHJhbCwgUHVibGljS2V5VG9rZW49MTZmYzEzYTIyNmMwZTk1MV1dAwAAAAZfaXRlbXMFX3NpemUIX3ZlcnNpb24EAAAfQXBsb3Jpcy5CYXNlLk9iamVjdHMuVmFyaWFibGVbXQMAAAAICAnoAAAAAAAAAAAAAAABqAAAAG8AAAAJ6QAAAAoHqQAAAAABAAAACAAAAAQfQXBsb3Jpcy5CYXNlLk9iamVjdHMuRGF0YU9iamVjdAMAAAAJKQAAAAkqAAAACSsAAAAJLAAAAAknAAAACSgAAAAKCgeqAAAAAAEAAAAEAAAABBxBcGxvcmlzLkJhc2UuVUkuVmlzdWFsT2JqZWN0AwAAAAkvAAAACTMAAAAKCgGrAAAAhwAAAAngAAAAAAAAAAAAAAABrAAAACQAAAAJ0gAAAAAAAAAAAAAAAa0AAAAlAAAACdAAAAAAAAAAAAAAAAGuAAAAigAAAAnhAAAAAAAAAAAAAAABrwAAACQAAAAJ0gAAAAAAAAAAAAAAAbAAAAAlAAAACdAAAAAAAAAAAAAAAAGxAAAAjgAAAAnqAAAACwAAACEAAAABsgAAACQAAAAJ6wAAAAsAAAAhAAAAAbMAAAAlAAAACdAAAAAAAAAAAAAAAAG2AAAAagAAAAoKAAAAQD8J7AAAAAntAAAAAQAAAP7///8AAAAAAQAAAAAAAAAAAAAAAQAAAAAAAAAAAAABtwAAAG8AAAAJ7gAAAAoFxA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wAAAAoAAAAAAEBBCXAAAAAJcQAAAAnvAAAAAQAJ8AAAAAHFAAAAcgAAAAoKAQAAAAAAAAD/////AAEBygAAAKcAAAAJ6AAAAAAAAAAAAAAAAcsAAABvAAAACfEAAAAKB8wAAAAAAQAAAAgAAAAEH0FwbG9yaXMuQmFzZS5PYmplY3RzLkRhdGFPYmplY3QDAAAACTkAAAAJOgAAAAk7AAAACTwAAAAJNwAAAAk4AAAACfIAAAAKB80AAAAAAQAAAAQAAAAEHEFwbG9yaXMuQmFzZS5VSS5WaXN1YWxPYmplY3QDAAAACT8AAAAJQwAAAAoKB84AAAAAAQAAACAAAAAEHUFwbG9yaXMuQ2hhcnQuQ2hhcnREYXRhU2VyaWVzAgAAAAnzAAAACfQAAAAJ9QAAAAn2AAAACfcAAAAJ+AAAAAn5AAAACfoAAAAJ+wAAAAn8AAAACf0AAAAJ/gAAAA0UB88AAAAAAQAAACAAAAAEH0FwbG9yaXMuQmFzZS5PYmplY3RzLkRhdGFPYmplY3QDAAAACfgAAAAJ+QAAAAn6AAAACfMAAAAJ9AAAAAn1AAAACfYAAAAJ9wAAAAn7AAAACf0AAAAJ/AAAAAn+AAAADRQH0AAAAAABAAAAAAAAAAQcQXBsb3Jpcy5CYXNlLlVJLlZpc3VhbE9iamVjdAMAAAAH0QAAAAABAAAAAAAAAAQiQXBsb3Jpcy5DaGFydC5Bbm5vdGF0aW9uRGF0YVNlcmllcwIAAAAH0gAAAAABAAAAAAAAAAQfQXBsb3Jpcy5CYXNlLk9iamVjdHMuRGF0YU9iamVjdAMAAAAH0wAAAAABAAAAAAAAAAQdQXBsb3Jpcy5DaGFydC5Bbm5vdGF0aW9uR3JvdXACAAAAB9QAAAAAAQAAAAgAAAAEHEFwbG9yaXMuQ2hhcnQuQ2hhcnREYXRhR3JvdXACAAAACf8AAAAJAAEAAAkBAQAADQUH1QAAAAABAAAACAAAAAQfQXBsb3Jpcy5CYXNlLk9iamVjdHMuRGF0YU9iamVjdAMAAAAJ/wAAAAkAAQAACQEBAAANBQfWAAAAAAEAAAAAAAAABBZBcGxvcmlzLkNoYXJ0LkRlbHRhQmFyAgAAAAfXAAAAAAEAAAAAAAAABBlBcGxvcmlzLkNoYXJ0LkRlbHRhQnJpZGdlAgAAAAfYAAAAAAEAAAAAAAAABBlBcGxvcmlzLkNoYXJ0Lkdyb3d0aEFycm93AgAAAAfZAAAAAAEAAAAAAAAABCBBcGxvcmlzLkNoYXJ0LldhdGVyZmFsbENvbm5lY3RvcgIAAAAH2gAAAAABAAAAAAAAAAQeQXBsb3Jpcy5DaGFydC5FbGVtZW50Q29ubmVjdG9yAgAAAAHbAAAAcgAAAAoKAAAAAAAAAAANAAAAAAEB3AAAAHIAAAAKCgEAAAAAAAAA/////wABAd0AAAByAAAACgoBAAAA////AP////8AAQHeAAAAcgAAAAoKAQAAAAAAAAD/////AAEP3wAAAAEAAAAIAAAAAAfgAAAAAAEAAAAAAAAABBdBcGxvcmlzLkNoYXJ0LlZhbHVlTGluZQIAAAAH4QAAAAABAAAAAAAAAAQXQXBsb3Jpcy5DaGFydC5BeGlzQnJlYWsCAAAAB+IAAAAAAQAAAAAAAAAEFkFwbG9yaXMuQ2hhcnQuVGlja01hcmsCAAAABeMAAAAaQXBsb3Jpcy5CYXNlLk9iamVjdHMuQ29sb3IHAAAAEkRhdGFPYmplY3QrbVBhcmVudBVEYXRhT2JqZWN0K21Db250YWluZXIFbVR5cGUEbVJHQhBtVGhlbWVDb2xvckluZGV4DG1BdXRvVXBkYXRlZAltTW9kaWZpZWQEAgAAAAAAH0FwbG9yaXMuQmFzZS5PYmplY3RzLkxpbmVGb3JtYXQDAAAACAgIAQEDAAAACZMAAAAKAAAAAAAAAAANAAAAAAAF5AAAABpBcGxvcmlzLkJhc2UuT2JqZWN0cy5Db2xvcgcAAAASRGF0YU9iamVjdCttUGFyZW50FURhdGFPYmplY3QrbUNvbnRhaW5lcgVtVHlwZQRtUkdCEG1UaGVtZUNvbG9ySW5kZXgMbUF1dG9VcGRhdGVkCW1Nb2RpZmllZAQCAAAAAAAfQXBsb3Jpcy5CYXNlLk9iamVjdHMuTGluZUZvcm1hdAMAAAAICAgBAQMAAAAJkwAAAAoBAAAAAAAAAP////8AAQ/lAAAAAQAAAAhhAQAAAeYAAAByAAAACgoAAAAAAAAAAA0AAAAAAQHnAAAAcgAAAAoKAQAAAAAAAAD/////AAEH6AAAAAABAAAAAAAAAAQdQXBsb3Jpcy5CYXNlLk9iamVjdHMuVmFyaWFibGUDAAAAD+kAAAABAAAACAAAAAAH6gAAAAABAAAAEAAAAAQWQXBsb3Jpcy5DaGFydC5UaWNrTWFyawIAAAAJAgEAAAkDAQAACQQBAAAJBQEAAAkGAQAACQcBAAAJCAEAAAkJAQAACQoBAAAJCwEAAAkMAQAADQUH6wAAAAABAAAAEAAAAAQfQXBsb3Jpcy5CYXNlLk9iamVjdHMuRGF0YU9iamVjdAMAAAAJAgEAAAkDAQAACQQBAAAJBQEAAAkGAQAACQcBAAAJCAEAAAkJAQAACQoBAAAJCwEAAAkMAQAADQUF7AAAABpBcGxvcmlzLkJhc2UuT2JqZWN0cy5Db2xvcgcAAAASRGF0YU9iamVjdCttUGFyZW50FURhdGFPYmplY3QrbUNvbnRhaW5lcgVtVHlwZQRtUkdCEG1UaGVtZUNvbG9ySW5kZXgMbUF1dG9VcGRhdGVkCW1Nb2RpZmllZAQCAAAAAAAfQXBsb3Jpcy5CYXNlLk9iamVjdHMuTGluZUZvcm1hdAMAAAAICAgBAQMAAAAJtgAAAAoAAAAAAAAAAA0AAAAAAAXtAAAAGkFwbG9yaXMuQmFzZS5PYmplY3RzLkNvbG9yBwAAABJEYXRhT2JqZWN0K21QYXJlbnQVRGF0YU9iamVjdCttQ29udGFpbmVyBW1UeXBlBG1SR0IQbVRoZW1lQ29sb3JJbmRleAxtQXV0b1VwZGF0ZWQJbU1vZGlmaWVkBAIAAAAAAB9BcGxvcmlzLkJhc2UuT2JqZWN0cy5MaW5lRm9ybWF0AwAAAAgICAEBAwAAAAm2AAAACgEAAAAAAAAA/////wABD+4AAAABAAAACGIBAAAB7wAAAHIAAAAKCgAAAAAAAAAADQAAAAABAfAAAAByAAAACgoBAAAAAAAAAP////8AAQ/xAAAAAQAAAAgAAAAABfI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IAAAADAAAACWMAAAAJZAAAAAllAAAAAQAAAAAKCY0AAAAJZgAAAAEAAAAKAAAAAAAAAAAF8wA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AuMC4xNDg2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AQ0BAAATAAAAAAAAAAIAAAD/////CQcAAAAJDgEAAAYPAQAAC1VuZGVyIDEsMDAwCgoAAAAAAAAAAAAAAAAKCgAJEAEAAAkRAQAACRIBAAAAAAAAAAAAAAAAAAAAAAAAAAAJEwEAAAkBAAAACQEAAAAJFAEAAAH0AAAA8wAAAAkBAAAAARUBAAATAAAAAAAAAAMAAAD/////CQcAAAAJFgEAAAYXAQAACzEsMDAwLTUsMDAwCgoAAAAAAAAAAAAAAAAKCgAJGAEAAAkZAQAACRoBAAAAAAAAAAEAAAAAAAAAAAAAAAAJGwEAAAkBAAAACQEAAAAJHAEAAAH1AAAA8wAAAAkBAAAAAR0BAAATAAAAAAAAAAQAAAD/////CQcAAAAJHgEAAAYfAQAADDUsMDAwLTEwLDAwMAoKAAAAAAAAAAAAAAAACgoACSABAAAJIQEAAAkiAQAAAAAAAAACAAAAAAAAAAAAAAAACSMBAAAJAQAAAAkBAAAACSQBAAAB9gAAAPMAAAAJAQAAAAElAQAAEwAAAAAAAAAFAAAA/////wkHAAAACSYBAAAGJwEAAA0xMCwwMDAtMjAsMDAwCgoAAAAAAAAAAAAAAAAKCgAJKAEAAAkpAQAACSoBAAAAAAAAAAMAAAAAAAAAAAAAAAAJKwEAAAkBAAAACQEAAAAJLAEAAAH3AAAA8wAAAAkBAAAAAS0BAAATAAAAAAAAAAYAAAD/////CQcAAAAJLgEAAAYvAQAABzIwLDAwMCsKCgAAAAAAAAAAAAAAAAoKAAkwAQAACTEBAAAJMgEAAAAAAAAABAAAAAAAAAAAAAAAAAkzAQAACQEAAAAJAQAAAAk0AQAAAfgAAADzAAAACQEAAAABNQEAABMAAAAAAAAABwAAAP////8JBwAAAAk2AQAABjcBAAAIVHdvLVllYXIKCgAAAAAAAAAAAAAAAAoKAAk4AQAACTkBAAAJOgEAAAAAAAAABQAAAAAAAAAAAAAAAAk7AQAACQEAAAAJAQAAAAk8AQAAAfkAAADzAAAACQEAAAABPQEAABMAAAAAAAAACAAAAP////8JBwAAAAk+AQAABj8BAAARRm91ci1ZZWFyDQpQdWJsaWMKCgAAAAAAAAAAAAAAAAoKAAlAAQAACUEBAAAJQgEAAAAAAAAABgAAAAAAAAAAAAAAAAlDAQAACQEAAAAJAQAAAAlEAQAAAfoAAADzAAAACQEAAAABRQEAABMAAAAAAAAACQAAAP////8JBwAAAAlGAQAABkcBAAASRm91ci1ZZWFyDQpQcml2YXRlCgoAAAAAAAAAAAAAAAAKCgAJSAEAAAlJAQAACUoBAAAAAAAAAAcAAAAAAAAAAAAAAAAJSwEAAAkBAAAACQEAAAAJTAEAAAH7AAAA8wAAAAkBAAAAAU0BAAATAAAAAAAAAAoAAAD/////CQcAAAAJTgEAAAZPAQAAA01EUgoKAAAAAAAAAAAAAAAACgoACVABAAAJUQEAAAlSAQAAAAAAAAAIAAAAAAAAAAAAAAAACVMBAAAJAQAAAAkBAAAACVQBAAAB/AAAAPMAAAAJAQAAAAFVAQAAEwAAAAAAAAALAAAA/////wkHAAAACVYBAAAGVwEAAAZOQUNBREEKCgAAAAAAAAAAAAAAAAoKAAlYAQAACVkBAAAJWgEAAAAAAAAACQAAAAAAAAAAAAAAAAlbAQAACQEAAAAJAQAAAAlcAQAAAf0AAADzAAAACQEAAAABXQEAABMAAAAAAAAADAAAAP////8JBwAAAAleAQAABl8BAAAFTkFDQUMKCgAAAAAAAAAAAAAAAAoKAAlgAQAACWEBAAAJYgEAAAAAAAAACgAAAAAAAAAAAAAAAAljAQAACQEAAAAJAQAAAAlkAQAAAf4AAADzAAAACQEAAAABZQEAABMAAAAAAAAADQAAAP////8JBwAAAAlmAQAABmcBAAAFTkFTUEEKCgAAAAAAAAAAAAAAAAoKAAloAQAACWkBAAAJagEAAAAAAAAACwAAAAAAAAAAAAAAAAlrAQAACQEAAAAJAQAAAAlsAQAABf8A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GbQEAABJJbnN0aXR1dGlvbmFsIFNpemUABW4BAAAeQXBsb3Jpcy5DaGFydC5DaGFydEdyb3VwQW5jaG9yAQAAAAd2YWx1ZV9fAAgCAAAAAAAAAAoAAAAAAQAAAAEAAAAJbwEAAAlwAQAACXEBAAAKCQcAAAAJcgEAAAkBAAAACQEAAAAJcwEAAAEAAQAA/wAAAAkBAAAABnQBAAASSW5zdGl0dXRpb25hbCBUeXBlAAF1AQAAbgEAAAAAAAAKAAAAAAEAAAABAAAACXYBAAAJdwEAAAl4AQAACgkHAAAACXkBAAAJAQAAAAkBAAAACXoBAAABAQEAAP8AAAAJAQAAAAZ7AQAABlNvdXJjZQABfAEAAG4BAAAAAAAACgAAAAABAAAAAQAAAAl9AQAACX4BAAAJfwEAAAoJBwAAAAmAAQAACQEAAAAJAQAAAAmBAQAABQIBAAAWQXBsb3Jpcy5DaGFydC5UaWNrTWFyaw0AAAALbVZpc3VhbExpbmUJbUdyaWRMaW5lBm1MYWJlbAVtQXhpcwhtVmlzaWJsZQltUG9zaXRpb24LbVN0YXJ0UG9pbnQJbUVuZFBvaW50DG1IYXNHcmlkTGluZRhEYXRhT2JqZWN0K21DaGlsZE9iamVjdHMSRGF0YU9iamVjdCttUGFyZW50FURhdGFPYmplY3QrbUNvbnRhaW5lchlEYXRhT2JqZWN0K21WaXN1YWxPYmplY3RzBAQEBAAABAQAAwQEAxpBcGxvcmlzLkJhc2UuVUkuVmlzdWFsTGluZQMAAAAaQXBsb3Jpcy5CYXNlLlVJLlZpc3VhbExpbmUDAAAAFUFwbG9yaXMuQmFzZS5VSS5MYWJlbAMAAAASQXBsb3Jpcy5DaGFydC5BeGlzAgAAAAEGFVN5c3RlbS5EcmF3aW5nLlBvaW50RgQAAAAVU3lzdGVtLkRyYXdpbmcuUG9pbnRG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mCAQAACgmDAQAACQcAAAABAAAAAAAAAAABhAEAACAAAADpoitCxhSxQwGFAQAAIAAAAOmiG0LGFLFDAAmGAQAACQcAAAAJAQAAAAmHAQAAAQMBAAACAQAACYgBAAAKCYkBAAAJBwAAAAGamZmZmZm5PwGKAQAAIAAAAOmiK0KeKqBDAYsBAAAgAAAA6aIbQp4qoEMACYwBAAAJBwAAAAkBAAAACY0BAAABBAEAAAIBAAAJjgEAAAoJjwEAAAkHAAAAAZqZmZmZmck/AZABAAAgAAAA6aIrQnZAj0MBkQEAACAAAADpohtCdkCPQwAJkgEAAAkHAAAACQEAAAAJkwEAAAEFAQAAAgEAAAmUAQAACgmVAQAACQcAAAABMzMzMzMz0z8BlgEAACAAAADpoitCnKx8QwGXAQAAIAAAAOmiG0KcrHxDAAmYAQAACQcAAAAJAQAAAAmZAQAAAQYBAAACAQAACZoBAAAKCZsBAAAJBwAAAAGamZmZmZnZPwGcAQAAIAAAAOmiK0JM2FpDAZ0BAAAgAAAA6aIbQkzYWkMACZ4BAAAJBwAAAAkBAAAACZ8BAAABBwEAAAIBAAAJoAEAAAoJoQEAAAkHAAAAAQAAAAAAAOA/AaIBAAAgAAAA6aIrQvwDOUMBowEAACAAAADpohtC/AM5QwAJpAEAAAkHAAAACQEAAAAJpQEAAAEIAQAAAgEAAAmmAQAACgmnAQAACQcAAAABMzMzMzMz4z8BqAEAACAAAADpoitCrC8XQwGpAQAAIAAAAOmiG0KsLxdDAAmqAQAACQcAAAAJAQAAAAmrAQAAAQkBAAACAQAACawBAAAKCa0BAAAJBwAAAAFmZmZmZmbmPwGuAQAAIAAAAOmiK0K5tupCAa8BAAAgAAAA6aIbQrm26kIACbABAAAJBwAAAAkBAAAACbEBAAABCgEAAAIBAAAJsgEAAAoJswEAAAkHAAAAAZqZmZmZmek/AbQBAAAgAAAA6aIrQhkOp0IBtQEAACAAAADpohtCGQ6nQgAJtgEAAAkHAAAACQEAAAAJtwEAAAELAQAAAgEAAAm4AQAACgm5AQAACQcAAAABzczMzMzM7D8BugEAACAAAADpoitC88pGQgG7AQAAIAAAAOmiG0LzykZCAAm8AQAACQcAAAAJAQAAAAm9AQAAAQwBAAACAQAACb4BAAAKCb8BAAAJBwAAAAEAAAAAAADwPwHAAQAAIAAAAOmiK0LM5n1BAcEBAAAgAAAA6aIbQszmfUEACcIBAAAJBwAAAAkBAAAACcMBAAAFDgEAAKIBQXBsb3Jpcy5CYXNlLk9iamVjdHMuRGF0YU9iamVjdENvbGxlY3Rpb25gMVtbQXBsb3Jpcy5DaGFydC5DaGFydERhdGF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C4wLjE0ODYsIEN1bHR1cmU9bmV1dHJhbCwgUHVibGljS2V5VG9rZW49MTZmYzEzYTIyNmMwZTk1MV1dAwAAAJgBU3lzdGVtLkNvbGxlY3Rpb25zLkdlbmVyaWMuTGlzdGAxW1tBcGxvcmlzLkNoYXJ0LkNoYXJ0RGF0YU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xAEAAAnFAQAACfMAAAAJAQAAAAnGAQAABRABAAAcQXBsb3Jpcy5DaGFydC5Db25uZWN0ZWRMYWJlbCQAAAAObUNvbm5lY3RvckxpbmUQbVpPcmRlckNvbm5lY3Rvcg5tQ29ubmVjdG9yTW9kZRltQW5nbGVkQ29ubmVjdG9yRGlyZWN0aW9uEG1Db25uZWN0b3JUYXJnZXQZbUNvbm5lY3RvclRhcmdldEFyZWFTaGFwZRptQ29ubmVjdG9yRGlzcGxheVRocmVzaG9sZBNtQ29ubmVjdEFuY2hvclBvaW5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QEAAAABAAE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gAAAApYAgAABccBAAArQXBsb3Jpcy5DaGFydC5Db25uZWN0ZWRMYWJlbCtlQ29ubmVjdG9yTW9kZQEAAAAHdmFsdWVfXwAIAgAAAAEAAAAFyAEAADZBcGxvcmlzLkNoYXJ0LkNvbm5lY3RlZExhYmVsK2VBbmdsZWRDb25uZWN0b3JEaXJlY3Rpb24BAAAAB3ZhbHVlX18ACAIAAAAAAAAAAckBAAAUAAAAGK32Q8zmfUGQrvNCAAAAAAXKAQAALUFwbG9yaXMuQ2hhcnQuQ29ubmVjdGVkTGFiZWwrZVRhcmdldEFyZWFTaGFwZQEAAAAHdmFsdWVfXwAIAgAAAAAAAAAAABBBAQHLAQAAIAAAAF7MG0TM5n1BAcwBAACaAAAABAAAAAAAAAAAAAAAAAnNAQAAAAAAAAnOAQAAAAABzwEAAKMAAAAAAAAAAdABAABsAAAAAAAAAAAAAAAB0QEAABQAAAAAAAAAAAAAAAAAAAAAAAAAAAAAAAkPAQAACgnSAQAABtMBAAAAIAMAAP////8AAQoJ1AEAAAEACgAHEQEAAAABAAAAAgAAAAQVU3lzdGVtLkRyYXdpbmcuUG9pbnRGBAAAAAHVAQAAIAAAAF7MG0TM5n1BAdYBAAAgAAAA6aIXQlISGkIHEgEAAAABAAAAAgAAAAQXQXBsb3Jpcy5CYXNlLkFuY2hvck1vZGUDAAAAAdcBAACaAAAABAAAAAHYAQAAmgAAAAIAAAABEwEAACQAAAAJ2QEAAAEAAAABAAAAARQBAAAlAAAACdoBAAABAAAAAQAAAAEWAQAADgEAAAoJ2wEAAAncAQAACfQAAAAJAQAAAAndAQAAARgBAAAQAQAAClgCAAAB3gEAAMcBAAABAAAAAd8BAADIAQAAAAAAAAHgAQAAFAAAABit9kPM5n1BkK7zQgAAAAAB4QEAAMoBAAAAAAAAAAAQQQEB4gEAACAAAABezBtEzOZ9QQHjAQAAmgAAAAQAAAAAAAAAAAAAAAAJ5AEAAAAAAAAJ5QEAAAAAAeYBAACjAAAAAAAAAAHnAQAAbAAAAAAAAAAAAAAAAegBAAAUAAAAAAAAAAAAAAAAAAAAAAAAAAAAAAAJFwEAAAoJ6QEAAAnTAQAAIAMAAP////8AAQoJ6gEAAAEACgAHGQEAAAABAAAAAgAAAAQVU3lzdGVtLkRyYXdpbmcuUG9pbnRGBAAAAAHrAQAAIAAAAF7MG0TM5n1BAewBAAAgAAAA6aIXQmgdFkMHGgEAAAABAAAAAgAAAAQXQXBsb3Jpcy5CYXNlLkFuY2hvck1vZGUDAAAAAe0BAACaAAAABAAAAAHuAQAAmgAAAAIAAAABGwEAACQAAAAJ7wEAAAEAAAABAAAAARwBAAAlAAAACfABAAABAAAAAQAAAAEeAQAADgEAAAoJ8QEAAAnyAQAACfUAAAAJAQAAAAnzAQAAASABAAAQAQAAClgCAAAB9AEAAMcBAAABAAAAAfUBAADIAQAAAAAAAAH2AQAAFAAAABit9kPM5n1BkK7zQgAAAAAB9wEAAMoBAAAAAAAAAAAQQQEB+AEAACAAAABezBtEzOZ9QQH5AQAAmgAAAAQAAAAAAAAAAAAAAAAJ+gEAAAAAAAAJ+wEAAAAAAfwBAACjAAAAAAAAAAH9AQAAbAAAAAAAAAAAAAAAAf4BAAAUAAAAAAAAAAAAAAAAAAAAAAAAAAAAAAAJHwEAAAoJ/wEAAAnTAQAAIAMAAP////8AAQoJAAIAAAEACgAHIQEAAAABAAAAAgAAAAQVU3lzdGVtLkRyYXdpbmcuUG9pbnRGBAAAAAEBAgAAIAAAAF7MG0TM5n1BAQICAAAgAAAA6aIXQlzphEMHIgEAAAABAAAAAgAAAAQXQXBsb3Jpcy5CYXNlLkFuY2hvck1vZGUDAAAAAQMCAACaAAAABAAAAAEEAgAAmgAAAAIAAAABIwEAACQAAAAJBQIAAAEAAAABAAAAASQBAAAlAAAACQYCAAABAAAAAQAAAAEmAQAADgEAAAoJBwIAAAkIAgAACfYAAAAJAQAAAAkJAgAAASgBAAAQAQAAClgCAAABCgIAAMcBAAABAAAAAQsCAADIAQAAAAAAAAEMAgAAFAAAABit9kPM5n1BkK7zQgAAAAABDQIAAMoBAAAAAAAAAAAQQQEBDgIAACAAAABezBtEzOZ9QQEPAgAAmgAAAAQAAAAAAAAAAAAAAAAJEAIAAAAAAAAJEQIAAAAAARICAACjAAAAAAAAAAETAgAAbAAAAAAAAAAAAAAAARQCAAAUAAAAAAAAAAAAAAAAAAAAAAAAAAAAAAAJJwEAAAoJFQIAAAnTAQAAIAMAAP////8AAQoJFgIAAAEACgAHKQEAAAABAAAAAgAAAAQVU3lzdGVtLkRyYXdpbmcuUG9pbnRGBAAAAAEXAgAAIAAAAF7MG0TM5n1BARgCAAAgAAAA6aIXQki4m0MHKgEAAAABAAAAAgAAAAQXQXBsb3Jpcy5CYXNlLkFuY2hvck1vZGUDAAAAARkCAACaAAAABAAAAAEaAgAAmgAAAAIAAAABKwEAACQAAAAJGwIAAAEAAAABAAAAASwBAAAlAAAACRwCAAABAAAAAQAAAAEuAQAADgEAAAoJHQIAAAkeAgAACfcAAAAJAQAAAAkfAgAAATABAAAQAQAAClgCAAABIAIAAMcBAAABAAAAASECAADIAQAAAAAAAAEiAgAAFAAAABit9kPM5n1BkK7zQgAAAAABIwIAAMoBAAAAAAAAAAAQQQEBJAIAACAAAABezBtEzOZ9QQElAgAAmgAAAAQAAAAAAAAAAAAAAAAJJgIAAAAAAAAJJwIAAAAAASgCAACjAAAAAAAAAAEpAgAAbAAAAAAAAAAAAAAAASoCAAAUAAAAAAAAAAAAAAAAAAAAAAAAAAAAAAAJLwEAAAoJKwIAAAnTAQAAIAMAAP////8AAQoJLAIAAAEACgAHMQEAAAABAAAAAgAAAAQVU3lzdGVtLkRyYXdpbmcuUG9pbnRGBAAAAAEtAgAAIAAAAF7MG0TM5n1BAS4CAAAgAAAA6aIXQlQdq0MHMgEAAAABAAAAAgAAAAQXQXBsb3Jpcy5CYXNlLkFuY2hvck1vZGUDAAAAAS8CAACaAAAABAAAAAEwAgAAmgAAAAIAAAABMwEAACQAAAAJMQIAAAEAAAABAAAAATQBAAAlAAAACTICAAABAAAAAQAAAAE2AQAADgEAAAoJMwIAAAk0AgAACfgAAAAJAQAAAAk1AgAAATgBAAAQAQAAClgCAAABNgIAAMcBAAABAAAAATcCAADIAQAAAAAAAAE4AgAAFAAAABit9kPM5n1BkK7zQgAAAAABOQIAAMoBAAAAAAAAAAAQQQEBOgIAACAAAABezBtEzOZ9QQE7AgAAmgAAAAQAAAAAAAAAAAAAAAAJPAIAAAAAAAAJPQIAAAAAAT4CAACjAAAAAAAAAAE/AgAAbAAAAAAAAAAAAAAAAUACAAAUAAAAAAAAAAAAAAAAAAAAAAAAAAAAAAAJNwEAAAoJQQIAAAnTAQAAIAMAAP////8AAQoJQgIAAAEACgAHOQEAAAABAAAAAgAAAAQVU3lzdGVtLkRyYXdpbmcuUG9pbnRGBAAAAAFDAgAAIAAAAF7MG0TM5n1BAUQCAAAgAAAA6aIXQsYUsUMHOgEAAAABAAAAAgAAAAQXQXBsb3Jpcy5CYXNlLkFuY2hvck1vZGUDAAAAAUUCAACaAAAABAAAAAFGAgAAmgAAAAIAAAABOwEAACQAAAAJRwIAAAEAAAABAAAAATwBAAAlAAAACUgCAAABAAAAAQAAAAE+AQAADgEAAAoJSQIAAAlKAgAACfkAAAAJAQAAAAlLAgAAAUABAAAQAQAAClgCAAABTAIAAMcBAAABAAAAAU0CAADIAQAAAAAAAAFOAgAAFAAAABit9kPM5n1BkK7zQgAAAAABTwIAAMoBAAAAAAAAAAAQQQEBUAIAACAAAABezBtEzOZ9QQFRAgAAmgAAAAQAAAAAAAAAAAAAAAAJUgIAAAAAAAAJUwIAAAAAAVQCAACjAAAAAAAAAAFVAgAAbAAAAAAAAAAAAAAAAVYCAAAUAAAAAAAAAAAAAAAAAAAAAAAAAAAAAAAJPwEAAAoJVwIAAAnTAQAAIAMAAP////8AAQoJWAIAAAEACgAHQQEAAAABAAAAAgAAAAQVU3lzdGVtLkRyYXdpbmcuUG9pbnRGBAAAAAFZAgAAIAAAAF7MG0TM5n1BAVoCAAAgAAAA6aIXQsYUsUMHQgEAAAABAAAAAgAAAAQXQXBsb3Jpcy5CYXNlLkFuY2hvck1vZGUDAAAAAVsCAACaAAAABAAAAAFcAgAAmgAAAAIAAAABQwEAACQAAAAJXQIAAAEAAAABAAAAAUQBAAAlAAAACV4CAAABAAAAAQAAAAFGAQAADgEAAAoJXwIAAAlgAgAACfoAAAAJAQAAAAlhAgAAAUgBAAAQAQAAClgCAAABYgIAAMcBAAABAAAAAWMCAADIAQAAAAAAAAFkAgAAFAAAABit9kPM5n1BkK7zQgAAAAABZQIAAMoBAAAAAAAAAAAQQQEBZgIAACAAAABezBtEzOZ9QQFnAgAAmgAAAAQAAAAAAAAAAAAAAAAJaAIAAAAAAAAJaQIAAAAAAWoCAACjAAAAAAAAAAFrAgAAbAAAAAAAAAAAAAAAAWwCAAAUAAAAAAAAAAAAAAAAAAAAAAAAAAAAAAAJRwEAAAoJbQIAAAnTAQAAIAMAAP////8AAQoJbgIAAAEACgAHSQEAAAABAAAAAgAAAAQVU3lzdGVtLkRyYXdpbmcuUG9pbnRGBAAAAAFvAgAAIAAAAF7MG0TM5n1BAXACAAAgAAAA6aIXQsYUsUMHSgEAAAABAAAAAgAAAAQXQXBsb3Jpcy5CYXNlLkFuY2hvck1vZGUDAAAAAXECAACaAAAABAAAAAFyAgAAmgAAAAIAAAABSwEAACQAAAAJcwIAAAEAAAABAAAAAUwBAAAlAAAACXQCAAABAAAAAQAAAAFOAQAADgEAAAoJdQIAAAl2AgAACfsAAAAJAQAAAAl3AgAAAVABAAAQAQAAClgCAAABeAIAAMcBAAABAAAAAXkCAADIAQAAAAAAAAF6AgAAFAAAABit9kNm85ZBkK7zQvNfPEMBewIAAMoBAAAAAAAAAAAQQQEBfAIAACAAAABezBtEzRziQgF9AgAAmgAAAAQAAAAAAAAAAAAAAAAJfgIAAAAAAAAJfwIAAAAAAYACAACjAAAAAAAAAAGBAgAAbAAAAAAAAAAAAAAAAYICAAAUAAAAAAAAAAAAAAAAAAAAAAAAAAAAAAAJTwEAAAoJgwIAAAnTAQAAIAMAAP////8AAQoJhAIAAAEACgAHUQEAAAABAAAAAgAAAAQVU3lzdGVtLkRyYXdpbmcuUG9pbnRGBAAAAAGFAgAAIAAAAF7MG0TNHOJCAYYCAAAgAAAA6aIXQsYUsUMHUgEAAAABAAAAAgAAAAQXQXBsb3Jpcy5CYXNlLkFuY2hvck1vZGUDAAAAAYcCAACaAAAABAAAAAGIAgAAmgAAAAIAAAABUwEAACQAAAAJiQIAAAEAAAABAAAAAVQBAAAlAAAACYoCAAABAAAAAQAAAAFWAQAADgEAAAoJiwIAAAmMAgAACfwAAAAJAQAAAAmNAgAAAVgBAAAQAQAAClgCAAABjgIAAMcBAAABAAAAAY8CAADIAQAAAAAAAAGQAgAAFAAAABit9kNgPlVDkK7zQlBGxUIBkQIAAMoBAAAAAAAAAAAQQQEBkgIAACAAAABezBtE+keDQwGTAgAAmgAAAAQAAAAAAAAAAAAAAAAJlAIAAAAAAAAJlQIAAAAAAZYCAACjAAAAAAAAAAGXAgAAbAAAAAAAAAAAAAAAAZgCAAAUAAAAAAAAAAAAAAAAAAAAAAAAAAAAAAAJVwEAAAoJmQIAAAnTAQAAIAMAAP////8AAQoJmgIAAAEACgAHWQEAAAABAAAAAgAAAAQVU3lzdGVtLkRyYXdpbmcuUG9pbnRGBAAAAAGbAgAAIAAAAF7MG0T6R4NDAZwCAAAgAAAA6aIXQsYUsUMHWgEAAAABAAAAAgAAAAQXQXBsb3Jpcy5CYXNlLkFuY2hvck1vZGUDAAAAAZ0CAACaAAAABAAAAAGeAgAAmgAAAAIAAAABWwEAACQAAAAJnwIAAAEAAAABAAAAAVwBAAAlAAAACaACAAABAAAAAQAAAAFeAQAADgEAAAoJoQIAAAmiAgAACf0AAAAJAQAAAAmjAgAAAWABAAAQAQAAClgCAAABpAIAAMcBAAABAAAAAaUCAADIAQAAAAAAAAGmAgAAFAAAABit9kPE8J5DkK7zQlANk0EBpwIAAMoBAAAAAAAAAAAQQQEBqAIAACAAAABezBtELomjQwGpAgAAmgAAAAQAAAAAAAAAAAAAAAAJqgIAAAAAAAAJqwIAAAAAAawCAACjAAAAAAAAAAGtAgAAbAAAAAAAAAAAAAAAAa4CAAAUAAAAAAAAAAAAAAAAAAAAAAAAAAAAAAAJXwEAAAoJrwIAAAnTAQAAIAMAAP////8AAQoJsAIAAAEACgAHYQEAAAABAAAAAgAAAAQVU3lzdGVtLkRyYXdpbmcuUG9pbnRGBAAAAAGxAgAAIAAAAF7MG0QuiaNDAbICAAAgAAAA6aIXQsYUsUMHYgEAAAABAAAAAgAAAAQXQXBsb3Jpcy5CYXNlLkFuY2hvck1vZGUDAAAAAbMCAACaAAAABAAAAAG0AgAAmgAAAAIAAAABYwEAACQAAAAJtQIAAAEAAAABAAAAAWQBAAAlAAAACbYCAAABAAAAAQAAAAFmAQAADgEAAAoJtwIAAAm4AgAACf4AAAAJAQAAAAm5AgAAAWgBAAAQAQAAClgCAAABugIAAMcBAAABAAAAAbsCAADIAQAAAAAAAAG8AgAAFAAAABit9kOZIatDkK7zQqBlDkEBvQIAAMoBAAAAAAAAAAAQQQEBvgIAACAAAABezBtEMFutQwG/AgAAmgAAAAQAAAAAAAAAAAAAAAAJwAIAAAAAAAAJwQIAAAAAAcICAACjAAAAAAAAAAHDAgAAbAAAAAAAAAAAAAAAAcQCAAAUAAAAAAAAAAAAAAAAAAAAAAAAAAAAAAAJZwEAAAoJxQIAAAnTAQAAIAMAAP////8AAQoJxgIAAAEACgAHaQEAAAABAAAAAgAAAAQVU3lzdGVtLkRyYXdpbmcuUG9pbnRGBAAAAAHHAgAAIAAAAF7MG0QwW61DAcgCAAAgAAAA6aIXQsYUsUMHagEAAAABAAAAAgAAAAQXQXBsb3Jpcy5CYXNlLkFuY2hvck1vZGUDAAAAAckCAACaAAAABAAAAAHKAgAAmgAAAAIAAAABawEAACQAAAAJywIAAAEAAAABAAAAAWwBAAAlAAAACcwCAAABAAAAAQAAAA9vAQAAAQAAAAgAAAAAB3ABAAAAAQAAAAEAAAAEFUFwbG9yaXMuQmFzZS5VSS5MYWJlbAMAAAAJzQIAAAFxAQAAMwAAAAHOAgAAIAAAAIwuEUPGlLNDAc8CAACaAAAAAwAAAAAAAAAAAAAAAAnQAgAAAAAAAAnRAgAAAAAB0gIAAKMAAAAAAAAAAdMCAABsAAAAAACoQgAAQEEB1AIAABQAAAC66NJCo4uzQ0eunkKjiy5BEoO+PwltAQAACgnVAgAACdMBAAAgAwAA/////wEBCgnWAgAAAQAKAAFyAQAAJAAAAAnXAgAAAAAAAAAAAAABcwEAACUAAAAJ2AIAAAIAAAACAAAAD3YBAAABAAAACAAAAAAHdwEAAAABAAAAAQAAAAQVQXBsb3Jpcy5CYXNlLlVJLkxhYmVsAwAAAAnZAgAAAXgBAAAzAAAAAdoCAAAgAAAAGN2uQ8aUs0MB2wIAAJoAAAADAAAAAAAAAAAAAAAACdwCAAAAAAAACd0CAAAAAAHeAgAAowAAAAAAAAAB3wIAAGwAAAAAAK5CAABAQQHgAgAAFAAAAKOLmkOji7NDpCKkQqOLLkESg74/CXQBAAAKCeECAAAJ0wEAACADAAD/////AQEKCeICAAABAAoAAXkBAAAkAAAACdcCAAAAAAAAAAAAAAF6AQAAJQAAAAnjAgAAAgAAAAIAAAAPfQEAAAEAAAAIAAAAAAd+AQAAAAEAAAABAAAABBVBcGxvcmlzLkJhc2UuVUkuTGFiZWwDAAAACeQCAAABfwEAADMAAAAB5QIAACAAAAB1kQpExpSzQwHmAgAAmgAAAAMAAAAAAAAAAAAAAAAJ5wIAAAAAAAAJ6AIAAAAAAekCAACjAAAAAAAAAAHqAgAAbAAAAAAAEEIAAEBBAesCAAAUAAAARhcGRKOLs0Pr0A5Co4suQRKDvj8JewEAAAoJ7AIAAAnTAQAAIAMAAP////8BAQoJ7QIAAAEACgABgAEAACQAAAAJ7gIAAAAAAAAAAAAAAYEBAAAlAAAACe8CAAACAAAAAgAAAAGCAQAALwAAAAHwAgAAIAAAAOmiK0LGFLFDAfECAAAgAAAA6aIbQsYUsUMJ8gIAAMwBAAD/////AQEKCfMCAAABAAoAAYMBAAAzAAAAAfQCAAAgAAAA6aIVQsYUsUMB9QIAAJoAAAACAAAAAAAAAAAAAAAACfYCAAAAAAAACfcCAAAAAAH4AgAAowAAAAAAAAAB+QIAAGwAAAAAAIBBAABAQQH6AgAAFAAAAKOLrkGji65Dei2MQaOLLkESg74/BvsCAAACMCUKCfwCAAAJ0wEAANACAAD/////AQEKCf0CAAABAAoAAYYBAAAkAAAACdIAAAAAAAAAAAAAAAGHAQAAJQAAAAn+AgAAAgAAAAIAAAABiAEAAC8AAAAB/wIAACAAAADpoitCniqgQwEAAwAAIAAAAOmiG0KeKqBDCQEDAADMAQAA/////wEBCgkCAwAAAQAKAAGJAQAAMwAAAAEDAwAAIAAAAOmiFUKeKqBDAQQDAACaAAAAAgAAAAAAAAAAAAAAAAkFAwAAAAAAAAkGAwAAAAABBwMAAKMAAAAAAAAAAQgDAABsAAAAAAC4QQAAQEEBCQMAABQAAADRRXdB0UWdQzQWv0Gjiy5BEoO+PwYKAwAAAzEwJQoJCwMAAAnTAQAA0AIAAP////8BAQoJDAMAAAEACgABjAEAACQAAAAJ0gAAAAAAAAAAAAAAAY0BAAAlAAAACQ0DAAACAAAAAgAAAAGOAQAALwAAAAEOAwAAIAAAAOmiK0J2QI9DAQ8DAAAgAAAA6aIbQnZAj0MJEAMAAMwBAAD/////AQEKCREDAAABAAoAAY8BAAAzAAAAARIDAAAgAAAA6aIVQnZAj0MBEwMAAJoAAAACAAAAAAAAAAAAAAAACRQDAAAAAAAACRUDAAAAAAEWAwAAowAAAAAAAAABFwMAAGwAAAAAALhBAABAQQEYAwAAFAAAANFFd0FddIxDNBa/QaOLLkESg74/BhkDAAADMjAlCgkaAwAACdMBAADQAgAA/////wEBCgkbAwAAAQAKAAGSAQAAJAAAAAnSAAAAAAAAAAAAAAABkwEAACUAAAAJHAMAAAIAAAACAAAAAZQBAAAvAAAAAR0DAAAgAAAA6aIrQpysfEMBHgMAACAAAADpohtCnKx8QwkfAwAAzAEAAP////8BAQoJIAMAAAEACgABlQEAADMAAAABIQMAACAAAADpohVCnKx8QwEiAwAAmgAAAAIAAAAAAAAAAAAAAAAJIwMAAAAAAAAJJAMAAAAAASUDAACjAAAAAAAAAAEmAwAAbAAAAAAAuEEAAEBBAScDAAAUAAAA0UV3QdFFd0M0Fr9Bo4suQRKDvj8GKAMAAAMzMCUKCSkDAAAJ0wEAANACAAD/////AQEKCSoDAAABAAoAAZgBAAAkAAAACdIAAAAAAAAAAAAAAAGZAQAAJQAAAAkrAwAAAgAAAAIAAAABmgEAAC8AAAABLAMAACAAAADpoitCTNhaQwEtAwAAIAAAAOmiG0JM2FpDCS4DAADMAQAA/////wEBCgkvAwAAAQAKAAGbAQAAMwAAAAEwAwAAIAAAAOmiFUJM2FpDATEDAACaAAAAAgAAAAAAAAAAAAAAAAkyAwAAAAAAAAkzAwAAAAABNAMAAKMAAAAAAAAAATUDAABsAAAAAAC4QQAAQEEBNgMAABQAAADRRXdB6KJVQzQWv0Gjiy5BEoO+PwY3AwAAAzQwJQoJOAMAAAnTAQAA0AIAAP////8BAQoJOQMAAAEACgABngEAACQAAAAJ0gAAAAAAAAAAAAAAAZ8BAAAlAAAACToDAAACAAAAAgAAAAGgAQAALwAAAAE7AwAAIAAAAOmiK0L8AzlDATwDAAAgAAAA6aIbQvwDOUMJPQMAAMwBAAD/////AQEKCT4DAAABAAoAAaEBAAAzAAAAAT8DAAAgAAAA6aIVQvwDOUMBQAMAAJoAAAACAAAAAAAAAAAAAAAACUEDAAAAAAAACUIDAAAAAAFDAwAAowAAAAAAAAABRAMAAGwAAAAAALhBAABAQQFFAwAAFAAAANFFd0EAADRDNBa/QaOLLkESg74/BkYDAAADNTAlCglHAwAACdMBAADQAgAA/////wEBCglIAwAAAQAKAAGkAQAAJAAAAAnSAAAAAAAAAAAAAAABpQEAACUAAAAJSQMAAAIAAAACAAAAAaYBAAAvAAAAAUoDAAAgAAAA6aIrQqwvF0MBSwMAACAAAADpohtCrC8XQwlMAwAAzAEAAP////8BAQoJTQMAAAEACgABpwEAADMAAAABTgMAACAAAADpohVCrC8XQwFPAwAAmgAAAAIAAAAAAAAAAAAAAAAJUAMAAAAAAAAJUQMAAAAAAVIDAACjAAAAAAAAAAFTAwAAbAAAAAAAuEEAAEBBAVQDAAAUAAAA0UV3QV10EUM0Fr9Bo4suQRKDvj8GVQMAAAM2MCUKCVYDAAAJ0wEAANACAAD/////AQEKCVcDAAABAAoAAaoBAAAkAAAACdIAAAAAAAAAAAAAAAGrAQAAJQAAAAlYAwAAAgAAAAIAAAABrAEAAC8AAAABWQMAACAAAADpoitCubbqQgFaAwAAIAAAAOmiG0K5tupCCVsDAADMAQAA/////wEBCglcAwAAAQAKAAGtAQAAMwAAAAFdAwAAIAAAAOmiFUK5tupCAV4DAACaAAAAAgAAAAAAAAAAAAAAAAlfAwAAAAAAAAlgAwAAAAABYQMAAKMAAAAAAAAAAWIDAABsAAAAAAC4QQAAQEEBYwMAABQAAADRRXdB6KLfQjQWv0Gjiy5BEoO+PwZkAwAAAzcwJQoJZQMAAAnTAQAA0AIAAP////8BAQoJZgMAAAEACgABsAEAACQAAAAJ0gAAAAAAAAAAAAAAAbEBAAAlAAAACWcDAAACAAAAAgAAAAGyAQAALwAAAAFoAwAAIAAAAOmiK0IZDqdCAWkDAAAgAAAA6aIbQhkOp0IJagMAAMwBAAD/////AQEKCWsDAAABAAoAAbMBAAAzAAAAAWwDAAAgAAAA6aIVQhkOp0IBbQMAAJoAAAACAAAAAAAAAAAAAAAACW4DAAAAAAAACW8DAAAAAAFwAwAAowAAAAAAAAABcQMAAGwAAAAAALhBAABAQQFyAwAAFAAAANFFd0EXXZxCNBa/QaOLLkESg74/BnMDAAADODAlCgl0AwAACdMBAADQAgAA/////wEBCgl1AwAAAQAKAAG2AQAAJAAAAAnSAAAAAAAAAAAAAAABtwEAACUAAAAJdgMAAAIAAAACAAAAAbgBAAAvAAAAAXcDAAAgAAAA6aIrQvPKRkIBeAMAACAAAADpohtC88pGQgl5AwAAzAEAAP////8BAQoJegMAAAEACgABuQEAADMAAAABewMAACAAAADpohVC88pGQgF8AwAAmgAAAAIAAAAAAAAAAAAAAAAJfQMAAAAAAAAJfgMAAAAAAX8DAACjAAAAAAAAAAGAAwAAbAAAAAAAuEEAAEBBAYEDAAAUAAAA0UV3QYsuMkI0Fr9Bo4suQRKDvj8GggMAAAM5MCUKCYMDAAAJ0wEAANACAAD/////AQEKCYQDAAABAAoAAbwBAAAkAAAACdIAAAAAAAAAAAAAAAG9AQAAJQAAAAmFAwAAAgAAAAIAAAABvgEAAC8AAAABhgMAACAAAADpoitCzOZ9QQGHAwAAIAAAAOmiG0LM5n1BCYgDAADMAQAA/////wEBCgmJAwAAAQAKAAG/AQAAMwAAAAGKAwAAIAAAAOmiFULM5n1BAYsDAACaAAAAAgAAAAAAAAAAAAAAAAmMAwAAAAAAAAmNAwAAAAABjgMAAKMAAAAAAAAAAY8DAABsAAAAAADoQQAAQEEBkAMAABQAAAAAACBBAAAgQRy56kGjiy5BEoO+PwaRAwAABDEwMCUKCZIDAAAJ0wEAANACAAD/////AQEKCZMDAAABAAoAAcIBAAAkAAAACdIAAAAAAAAAAAAAAAHDAQAAJQAAAAmUAwAAAgAAAAIAAAAExAEAAJgBU3lzdGVtLkNvbGxlY3Rpb25zLkdlbmVyaWMuTGlzdGAxW1tBcGxvcmlzLkNoYXJ0LkNoYXJ0RGF0YUVsZW1lbnQsIEFwbG9yaXMuQ2hhcnQsIFZlcnNpb249NC4wLjAuMTQ4NiwgQ3VsdHVyZT1uZXV0cmFsLCBQdWJsaWNLZXlUb2tlbj0xNmZjMTNhMjI2YzBlOTUxXV0DAAAABl9pdGVtcwVfc2l6ZQhfdmVyc2lvbgQAACBBcGxvcmlzLkNoYXJ0LkNoYXJ0RGF0YUVsZW1lbnRbXQIAAAAICAmVAwAAAwAAAAcAAAABxQEAACQAAAAJlgMAAAMAAAAHAAAAAcYBAAAlAAAACZcDAAAAAAAAAAAAAAXN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8wAAAAoAAAAAAEBBCXAAAAAJcQAAAAmYAwAAAQAJmQMAAAHOAQAAcgAAAAoKAQAAAAAAAAD/////AAEB0gEAAKcAAAAJmgMAAAEAAAABAAAAAdQBAABvAAAACZsDAAAKB9kBAAAAAQAAAAQAAAAEH0FwbG9yaXMuQmFzZS5PYmplY3RzLkRhdGFPYmplY3QDAAAACQ4BAAANAwfaAQAAAAEAAAAEAAAABBxBcGxvcmlzLkJhc2UuVUkuVmlzdWFsT2JqZWN0AwAAAAkQAQAADQMB2wEAAMQBAAAJnAMAAAMAAAAHAAAAAdwBAAAkAAAACZ0DAAADAAAABwAAAAHdAQAAJQAAAAmXAwAAAAAAAAAAAAAF5A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QAAAAKAAAAAABAQQlwAAAACXEAAAAJngMAAAEACZ8DAAAB5QEAAHIAAAAKCgEAAAAAAAAA/////wABAekBAACnAAAACaADAAABAAAAAQAAAAHqAQAAbwAAAAmhAwAACgfvAQAAAAEAAAAEAAAABB9BcGxvcmlzLkJhc2UuT2JqZWN0cy5EYXRhT2JqZWN0AwAAAAkWAQAADQMH8AEAAAABAAAABAAAAAQcQXBsb3Jpcy5CYXNlLlVJLlZpc3VhbE9iamVjdAMAAAAJGAEAAA0DAfEBAADEAQAACaIDAAADAAAABwAAAAHyAQAAJAAAAAmjAwAAAwAAAAcAAAAB8wEAACUAAAAJlwMAAAAAAAAAAAAABfo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1AAAACgAAAAAAQEEJcAAAAAlxAAAACaQDAAABAAmlAwAAAfsBAAByAAAACgoBAAAAAAAAAP////8AAQH/AQAApwAAAAmmAwAAAQAAAAEAAAABAAIAAG8AAAAJpwMAAAoHBQIAAAABAAAABAAAAAQfQXBsb3Jpcy5CYXNlLk9iamVjdHMuRGF0YU9iamVjdAMAAAAJHgEAAA0DBwYCAAAAAQAAAAQAAAAEHEFwbG9yaXMuQmFzZS5VSS5WaXN1YWxPYmplY3QDAAAACSABAAANAwEHAgAAxAEAAAmoAwAAAwAAAAcAAAABCAIAACQAAAAJqQMAAAMAAAAHAAAAAQkCAAAlAAAACZcDAAAAAAAAAAAAAAUQ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gAAAAoAAAAAAEBBCXAAAAAJcQAAAAmqAwAAAQAJqwMAAAERAgAAcgAAAAoKAQAAAAAAAAD/////AAEBFQIAAKcAAAAJrAMAAAEAAAABAAAAARYCAABvAAAACa0DAAAKBxsCAAAAAQAAAAQAAAAEH0FwbG9yaXMuQmFzZS5PYmplY3RzLkRhdGFPYmplY3QDAAAACSYBAAANAwccAgAAAAEAAAAEAAAABBxBcGxvcmlzLkJhc2UuVUkuVmlzdWFsT2JqZWN0AwAAAAkoAQAADQMBHQIAAMQBAAAJrgMAAAMAAAAHAAAAAR4CAAAkAAAACa8DAAADAAAABwAAAAEfAgAAJQAAAAmXAwAAAAAAAAAAAAAFJg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cAAAAKAAAAAABAQQlwAAAACXEAAAAJsAMAAAEACbEDAAABJwIAAHIAAAAKCgEAAAAAAAAA/////wABASsCAACnAAAACbIDAAABAAAAAQAAAAEsAgAAbwAAAAmzAwAACgcxAgAAAAEAAAAEAAAABB9BcGxvcmlzLkJhc2UuT2JqZWN0cy5EYXRhT2JqZWN0AwAAAAkuAQAADQMHMgIAAAABAAAABAAAAAQcQXBsb3Jpcy5CYXNlLlVJLlZpc3VhbE9iamVjdAMAAAAJMAEAAA0DATMCAADEAQAACbQDAAADAAAABwAAAAE0AgAAJAAAAAm1AwAAAwAAAAcAAAABNQIAACUAAAAJlwMAAAAAAAAAAAAABTw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4AAAACgAAAAAAQEEJcAAAAAlxAAAACbYDAAABAAm3AwAAAT0CAAByAAAACgoBAAAAAAAAAP////8AAQFBAgAApwAAAAm4AwAAAQAAAAEAAAABQgIAAG8AAAAJuQMAAAoHRwIAAAABAAAABAAAAAQfQXBsb3Jpcy5CYXNlLk9iamVjdHMuRGF0YU9iamVjdAMAAAAJNgEAAA0DB0gCAAAAAQAAAAQAAAAEHEFwbG9yaXMuQmFzZS5VSS5WaXN1YWxPYmplY3QDAAAACTgBAAANAwFJAgAAxAEAAAm6AwAAAwAAAAcAAAABSgIAACQAAAAJuwMAAAMAAAAHAAAAAUsCAAAlAAAACZcDAAAAAAAAAAAAAAVS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QAAAAoAAAAAAEBBCXAAAAAJcQAAAAm8AwAAAQAJvQMAAAFTAgAAcgAAAAoKAQAAAAAAAAD/////AAEBVwIAAKcAAAAJvgMAAAEAAAABAAAAAVgCAABvAAAACb8DAAAKB10CAAAAAQAAAAQAAAAEH0FwbG9yaXMuQmFzZS5PYmplY3RzLkRhdGFPYmplY3QDAAAACT4BAAANAwdeAgAAAAEAAAAEAAAABBxBcGxvcmlzLkJhc2UuVUkuVmlzdWFsT2JqZWN0AwAAAAlAAQAADQMBXwIAAMQBAAAJwAMAAAMAAAAHAAAAAWACAAAkAAAACcEDAAADAAAABwAAAAFhAgAAJQAAAAmXAwAAAAAAAAAAAAAFaA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oAAAAKAAAAAABAQQlwAAAACXEAAAAJwgMAAAEACcMDAAABaQIAAHIAAAAKCgEAAAAAAAAA/////wABAW0CAACnAAAACcQDAAABAAAAAQAAAAFuAgAAbwAAAAnFAwAACgdzAgAAAAEAAAAEAAAABB9BcGxvcmlzLkJhc2UuT2JqZWN0cy5EYXRhT2JqZWN0AwAAAAlGAQAADQMHdAIAAAABAAAABAAAAAQcQXBsb3Jpcy5CYXNlLlVJLlZpc3VhbE9iamVjdAMAAAAJSAEAAA0DAXUCAADEAQAACcYDAAADAAAABwAAAAF2AgAAJAAAAAnHAwAAAwAAAAcAAAABdwIAACUAAAAJyAMAAAAAAAAAAAAABX4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7AAAACgAAAAAAQEEJcAAAAAlxAAAACckDAAABAAnKAwAAAX8CAAByAAAACgoBAAAAAAAAAP////8AAQGDAgAApwAAAAnLAwAAAQAAAAEAAAABhAIAAG8AAAAJzAMAAAoHiQIAAAABAAAABAAAAAQfQXBsb3Jpcy5CYXNlLk9iamVjdHMuRGF0YU9iamVjdAMAAAAJTgEAAA0DB4oCAAAAAQAAAAQAAAAEHEFwbG9yaXMuQmFzZS5VSS5WaXN1YWxPYmplY3QDAAAACVABAAANAwGLAgAAxAEAAAnNAwAAAwAAAAcAAAABjAIAACQAAAAJzgMAAAMAAAAHAAAAAY0CAAAlAAAACcgDAAAAAAAAAAAAAAWU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AAAAAoAAAAAAEBBCXAAAAAJcQAAAAnPAwAAAQAJ0AMAAAGVAgAAcgAAAAoKAQAAAAAAAAD/////AAEBmQIAAKcAAAAJ0QMAAAEAAAABAAAAAZoCAABvAAAACdIDAAAKB58CAAAAAQAAAAQAAAAEH0FwbG9yaXMuQmFzZS5PYmplY3RzLkRhdGFPYmplY3QDAAAACVYBAAANAwegAgAAAAEAAAAEAAAABBxBcGxvcmlzLkJhc2UuVUkuVmlzdWFsT2JqZWN0AwAAAAlYAQAADQMBoQIAAMQBAAAJ0wMAAAMAAAAHAAAAAaICAAAkAAAACdQDAAADAAAABwAAAAGjAgAAJQAAAAnIAwAAAAAAAAAAAAAFqg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0AAAAKAAAAAABAQQlwAAAACXEAAAAJ1QMAAAEACdYDAAABqwIAAHIAAAAKCgEAAAAAAAAA/////wABAa8CAACnAAAACdcDAAABAAAAAQAAAAGwAgAAbwAAAAnYAwAACge1AgAAAAEAAAAEAAAABB9BcGxvcmlzLkJhc2UuT2JqZWN0cy5EYXRhT2JqZWN0AwAAAAleAQAADQMHtgIAAAABAAAABAAAAAQcQXBsb3Jpcy5CYXNlLlVJLlZpc3VhbE9iamVjdAMAAAAJYAEAAA0DAbcCAADEAQAACdkDAAADAAAABwAAAAG4AgAAJAAAAAnaAwAAAwAAAAcAAAABuQIAACUAAAAJyAMAAAAAAAAAAAAABcA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AAAACgAAAAAAQEEJcAAAAAlxAAAACdsDAAABAAncAwAAAcECAAByAAAACgoBAAAAAAAAAP////8AAQHFAgAApwAAAAndAwAAAQAAAAEAAAABxgIAAG8AAAAJ3gMAAAoHywIAAAABAAAABAAAAAQfQXBsb3Jpcy5CYXNlLk9iamVjdHMuRGF0YU9iamVjdAMAAAAJZgEAAA0DB8wCAAAAAQAAAAQAAAAEHEFwbG9yaXMuQmFzZS5VSS5WaXN1YWxPYmplY3QDAAAACWgBAAANAwHNAgAAMwAAAAHfAwAAIAAAAIwuEUPM5k1BAeADAACaAAAAAQAAAAAAAAAAAAAAAAnhAwAAAAAAAAniAwAAAAAB4wMAAKMAAAAAAAAAAeQDAABsAAAAAACQQQAAYEEB5QMAABQAAAAAAAAAAAAAAAAAAAAAAAAAXrrZPwbmAwAAAzEuMAoJ5wMAAAnTAQAANAMAAP////8AAQoJ6AMAAAEACgAB0AIAACIAAAAKCgAAAAAAKEEJcAAAAAlxAAAACekDAAAAAAnqAwAAAdECAAByAAAACgoAAAAA////AA4AAAAAAQHVAgAApwAAAAnrAwAAAQAAAAEAAAAB1gIAAG8AAAAJ7AMAAAoH1wIAAAABAAAAAAAAAAQfQXBsb3Jpcy5CYXNlLk9iamVjdHMuRGF0YU9iamVjdAMAAAAH2AIAAAABAAAABAAAAAQcQXBsb3Jpcy5CYXNlLlVJLlZpc3VhbE9iamVjdAMAAAAJcQEAAAnNAgAACgoB2QIAADMAAAAB7QMAACAAAAAY3a5DzOZNQQHuAwAAmgAAAAEAAAAAAAAAAAAAAAAJ7wMAAAAAAAAJ8AMAAAAAAfEDAACjAAAAAAAAAAHyAwAAbAAAAAAAkEEAAGBBAfMDAAAUAAAAAAAAAAAAAAAAAAAAAAAAAF662T8G9AMAAAMxLjAKCfUDAAAJ0wEAADQDAAD/////AAEKCfYDAAABAAoAAdwCAAAiAAAACgoAAAAAAChBCXAAAAAJcQAAAAn3AwAAAAAJ+AMAAAHdAgAAcgAAAAoKAAAAAP///wAOAAAAAAEB4QIAAKcAAAAJ+QMAAAEAAAABAAAAAeICAABvAAAACfoDAAAKB+MCAAAAAQAAAAQAAAAEHEFwbG9yaXMuQmFzZS5VSS5WaXN1YWxPYmplY3QDAAAACXgBAAAJ2QIAAAoKAeQCAAAzAAAAAfsDAAAgAAAAdZEKRMzmTUEB/AMAAJoAAAABAAAAAAAAAAAAAAAACf0DAAAAAAAACf4DAAAAAAH/AwAAowAAAAAAAAABAAQAAGwAAAAAAAAAAAAAAAEBBAAAFAAAAAAAAAAAAAAAAAAAAAAAAAAAAAAABgIEAAADMS4wCgkDBAAACdMBAAA0AwAA/////wABCgkEBAAAAQAKAAHnAgAAIgAAAAoKAAAAAAAoQQlwAAAACXEAAAAJBQQAAAAACQYEAAAB6AIAAHIAAAAKCgAAAAD///8ADgAAAAABAewCAACnAAAACQcEAAABAAAAAQAAAAHtAgAAbwAAAAkIBAAACgfuAgAAAAEAAAAAAAAABB9BcGxvcmlzLkJhc2UuT2JqZWN0cy5EYXRhT2JqZWN0AwAAAAfvAgAAAAEAAAAEAAAABBxBcGxvcmlzLkJhc2UuVUkuVmlzdWFsT2JqZWN0AwAAAAl/AQAACeQCAAAKCgHyAgAAagAAAAoKAAAAQD8JCQQAAAkKBAAAAQAAAP7///8AAAAAAQAAAAAAAAAAAAAAAQAAAAAAAAAAAAAB8wIAAG8AAAAJCwQAAAoB9gIAACIAAAAKCgAAAAAAKEEJcAAAAAlxAAAACQwEAAAAAAkNBAAAAfcCAAByAAAACgoAAAAA////AA4AAAAAAQH8AgAApwAAAAkOBAAAAQAAAAEAAAAB/QIAAG8AAAAJDwQAAAoH/gIAAAABAAAABAAAAAQcQXBsb3Jpcy5CYXNlLlVJLlZpc3VhbE9iamVjdAMAAAAJggEAAAmDAQAACgoBAQMAAGoAAAAKCgAAAEA/CRAEAAAJEQQAAAEAAAD+////AAAAAAEAAAAAAAAAAAAAAAEAAAAAAAAAAAAAAQIDAABvAAAACRIEAAAKAQUDAAAiAAAACgoAAAAAAChBCXAAAAAJcQAAAAkTBAAAAAAJFAQAAAEGAwAAcgAAAAoKAAAAAP///wAOAAAAAAEBCwMAAKcAAAAJFQQAAAEAAAADAAAAAQwDAABvAAAACRYEAAAKBw0DAAAAAQAAAAQAAAAEHEFwbG9yaXMuQmFzZS5VSS5WaXN1YWxPYmplY3QDAAAACYgBAAAJiQEAAAoKARADAABqAAAACgoAAABAPwkXBAAACRgEAAABAAAA/v///wAAAAABAAAAAAAAAAAAAAABAAAAAAAAAAAAAAERAwAAbwAAAAkZBAAACgEUAwAAIgAAAAoKAAAAAAAoQQlwAAAACXEAAAAJGgQAAAAACRsEAAABFQMAAHIAAAAKCgAAAAD///8ADgAAAAABARoDAACnAAAACRwEAAABAAAAAwAAAAEbAwAAbwAAAAkdBAAACgccAwAAAAEAAAAEAAAABBxBcGxvcmlzLkJhc2UuVUkuVmlzdWFsT2JqZWN0AwAAAAmOAQAACY8BAAAKCgEfAwAAagAAAAoKAAAAQD8JHgQAAAkfBAAAAQAAAP7///8AAAAAAQAAAAAAAAAAAAAAAQAAAAAAAAAAAAABIAMAAG8AAAAJIAQAAAoBIwMAACIAAAAKCgAAAAAAKEEJcAAAAAlxAAAACSEEAAAAAAkiBAAAASQDAAByAAAACgoAAAAA////AA4AAAAAAQEpAwAApwAAAAkjBAAAAQAAAAMAAAABKgMAAG8AAAAJJAQAAAoHKwMAAAABAAAABAAAAAQcQXBsb3Jpcy5CYXNlLlVJLlZpc3VhbE9iamVjdAMAAAAJlAEAAAmVAQAACgoBLgMAAGoAAAAKCgAAAEA/CSUEAAAJJgQAAAEAAAD+////AAAAAAEAAAAAAAAAAAAAAAEAAAAAAAAAAAAAAS8DAABvAAAACScEAAAKATIDAAAiAAAACgoAAAAAAChBCXAAAAAJcQAAAAkoBAAAAAAJKQQAAAEzAwAAcgAAAAoKAAAAAP///wAOAAAAAAEBOAMAAKcAAAAJKgQAAAEAAAADAAAAATkDAABvAAAACSsEAAAKBzoDAAAAAQAAAAQAAAAEHEFwbG9yaXMuQmFzZS5VSS5WaXN1YWxPYmplY3QDAAAACZoBAAAJmwEAAAoKAT0DAABqAAAACgoAAABAPwksBAAACS0EAAABAAAA/v///wAAAAABAAAAAAAAAAAAAAABAAAAAAAAAAAAAAE+AwAAbwAAAAkuBAAACgFBAwAAIgAAAAoKAAAAAAAoQQlwAAAACXEAAAAJLwQAAAAACTAEAAABQgMAAHIAAAAKCgAAAAD///8ADgAAAAABAUcDAACnAAAACTEEAAABAAAAAwAAAAFIAwAAbwAAAAkyBAAACgdJAwAAAAEAAAAEAAAABBxBcGxvcmlzLkJhc2UuVUkuVmlzdWFsT2JqZWN0AwAAAAmgAQAACaEBAAAKCgFMAwAAagAAAAoKAAAAQD8JMwQAAAk0BAAAAQAAAP7///8AAAAAAQAAAAAAAAAAAAAAAQAAAAAAAAAAAAABTQMAAG8AAAAJNQQAAAoBUAMAACIAAAAKCgAAAAAAKEEJcAAAAAlxAAAACTYEAAAAAAk3BAAAAVEDAAByAAAACgoAAAAA////AA4AAAAAAQFWAwAApwAAAAk4BAAAAQAAAAMAAAABVwMAAG8AAAAJOQQAAAoHWAMAAAABAAAABAAAAAQcQXBsb3Jpcy5CYXNlLlVJLlZpc3VhbE9iamVjdAMAAAAJpgEAAAmnAQAACgoBWwMAAGoAAAAKCgAAAEA/CToEAAAJOwQAAAEAAAD+////AAAAAAEAAAAAAAAAAAAAAAEAAAAAAAAAAAAAAVwDAABvAAAACTwEAAAKAV8DAAAiAAAACgoAAAAAAChBCXAAAAAJcQAAAAk9BAAAAAAJPgQAAAFgAwAAcgAAAAoKAAAAAP///wAOAAAAAAEBZQMAAKcAAAAJPwQAAAEAAAADAAAAAWYDAABvAAAACUAEAAAKB2cDAAAAAQAAAAQAAAAEHEFwbG9yaXMuQmFzZS5VSS5WaXN1YWxPYmplY3QDAAAACawBAAAJrQEAAAoKAWoDAABqAAAACgoAAABAPwlBBAAACUIEAAABAAAA/v///wAAAAABAAAAAAAAAAAAAAABAAAAAAAAAAAAAAFrAwAAbwAAAAlDBAAACgFuAwAAIgAAAAoKAAAAAAAoQQlwAAAACXEAAAAJRAQAAAAACUUEAAABbwMAAHIAAAAKCgAAAAD///8ADgAAAAABAXQDAACnAAAACUYEAAABAAAAAwAAAAF1AwAAbwAAAAlHBAAACgd2AwAAAAEAAAAEAAAABBxBcGxvcmlzLkJhc2UuVUkuVmlzdWFsT2JqZWN0AwAAAAmyAQAACbMBAAAKCgF5AwAAagAAAAoKAAAAQD8JSAQAAAlJBAAAAQAAAP7///8AAAAAAQAAAAAAAAAAAAAAAQAAAAAAAAAAAAABegMAAG8AAAAJSgQAAAoBfQMAACIAAAAKCgAAAAAAKEEJcAAAAAlxAAAACUsEAAAAAAlMBAAAAX4DAAByAAAACgoAAAAA////AA4AAAAAAQGDAwAApwAAAAlNBAAAAQAAAAMAAAABhAMAAG8AAAAJTgQAAAoHhQMAAAABAAAABAAAAAQcQXBsb3Jpcy5CYXNlLlVJLlZpc3VhbE9iamVjdAMAAAAJuAEAAAm5AQAACgoBiAMAAGoAAAAKCgAAAEA/CU8EAAAJUAQAAAEAAAD+////AAAAAAEAAAAAAAAAAAAAAAEAAAAAAAAAAAAAAYkDAABvAAAACVEEAAAKAYwDAAAiAAAACgoAAAAAAChBCXAAAAAJcQAAAAlSBAAAAAAJUwQAAAGNAwAAcgAAAAoKAAAAAP///wAOAAAAAAEBkgMAAKcAAAAJVAQAAAEAAAADAAAAAZMDAABvAAAACVUEAAAKB5QDAAAAAQAAAAQAAAAEHEFwbG9yaXMuQmFzZS5VSS5WaXN1YWxPYmplY3QDAAAACb4BAAAJvwEAAAoKB5UDAAAAAQAAAAgAAAAEHkFwbG9yaXMuQ2hhcnQuQ2hhcnREYXRhRWxlbWVudAIAAAAJVgQAAAlXBAAACVgEAAANBQeWAwAAAAEAAAAIAAAABB9BcGxvcmlzLkJhc2UuT2JqZWN0cy5EYXRhT2JqZWN0AwAAAAlWBAAACVcEAAAJWAQAAA0FB5cDAAAAAQAAAAAAAAAEHEFwbG9yaXMuQmFzZS5VSS5WaXN1YWxPYmplY3QDAAAAAZgDAAByAAAACgoAAAAAAAAAAA0AAAAAAQGZAwAAcgAAAAoKAQAAAAAAAAD/////AAEHmgMAAAABAAAABAAAAAQdQXBsb3Jpcy5CYXNlLk9iamVjdHMuVmFyaWFibGUDAAAABVkEAAAdQXBsb3Jpcy5CYXNlLk9iamVjdHMuVmFyaWFibGUCAAAABk51bWJlcghQb3NpdGlvbgAACAgDAAAAAQAAAAAAAAABWgQAAFkEAAAAAAAAAAAAAAFbBAAAWQQAAAAAAAAAAAAAAVwEAABZBAAAAAAAAAAAAAAPmwMAAAEAAAAIAAAAAAecAwAAAAEAAAAIAAAABB5BcGxvcmlzLkNoYXJ0LkNoYXJ0RGF0YUVsZW1lbnQCAAAACV0EAAAJXgQAAAlfBAAADQUHnQMAAAABAAAACAAAAAQfQXBsb3Jpcy5CYXNlLk9iamVjdHMuRGF0YU9iamVjdAMAAAAJXQQAAAleBAAACV8EAAANBQGeAwAAcgAAAAoKAAAAAAAAAAANAAAAAAEBnwMAAHIAAAAKCgEAAAAAAAAA/////wABB6ADAAAAAQAAAAQAAAAEHUFwbG9yaXMuQmFzZS5PYmplY3RzLlZhcmlhYmxlAwAAAAFgBAAAWQQAAAEAAAAAAAAAAWEEAABZBAAAAAAAAAAAAAABYgQAAFkEAAAAAAAAAAAAAAFjBAAAWQQAAAAAAAAAAAAAD6EDAAABAAAACAAAAAAHogMAAAABAAAACAAAAAQeQXBsb3Jpcy5DaGFydC5DaGFydERhdGFFbGVtZW50AgAAAAlkBAAACWUEAAAJZgQAAA0FB6MDAAAAAQAAAAgAAAAEH0FwbG9yaXMuQmFzZS5PYmplY3RzLkRhdGFPYmplY3QDAAAACWQEAAAJZQQAAAlmBAAADQUBpAMAAHIAAAAKCgAAAAAAAAAADQAAAAABAaUDAAByAAAACgoBAAAAAAAAAP////8AAQemAwAAAAEAAAAEAAAABB1BcGxvcmlzLkJhc2UuT2JqZWN0cy5WYXJpYWJsZQMAAAABZwQAAFkEAAABAAAAAAAAAAFoBAAAWQQAAAAAAAAAAAAAAWkEAABZBAAAAAAAAAAAAAABagQAAFkEAAAAAAAAAAAAAA+nAwAAAQAAAAgAAAAAB6gDAAAAAQAAAAgAAAAEHkFwbG9yaXMuQ2hhcnQuQ2hhcnREYXRhRWxlbWVudAIAAAAJawQAAAlsBAAACW0EAAANBQepAwAAAAEAAAAIAAAABB9BcGxvcmlzLkJhc2UuT2JqZWN0cy5EYXRhT2JqZWN0AwAAAAlrBAAACWwEAAAJbQQAAA0FAaoDAAByAAAACgoAAAAAAAAAAA0AAAAAAQGrAwAAcgAAAAoKAQAAAAAAAAD/////AAEHrAMAAAABAAAABAAAAAQdQXBsb3Jpcy5CYXNlLk9iamVjdHMuVmFyaWFibGUDAAAAAW4EAABZBAAAAQAAAAAAAAABbwQAAFkEAAAAAAAAAAAAAAFwBAAAWQQAAAAAAAAAAAAAAXEEAABZBAAAAAAAAAAAAAAPrQMAAAEAAAAIAAAAAAeuAwAAAAEAAAAIAAAABB5BcGxvcmlzLkNoYXJ0LkNoYXJ0RGF0YUVsZW1lbnQCAAAACXIEAAAJcwQAAAl0BAAADQUHrwMAAAABAAAACAAAAAQfQXBsb3Jpcy5CYXNlLk9iamVjdHMuRGF0YU9iamVjdAMAAAAJcgQAAAlzBAAACXQEAAANBQGwAwAAcgAAAAoKAAAAAAAAAAANAAAAAAEBsQMAAHIAAAAKCgEAAAAAAAAA/////wABB7IDAAAAAQAAAAQAAAAEHUFwbG9yaXMuQmFzZS5PYmplY3RzLlZhcmlhYmxlAwAAAAF1BAAAWQQAAAEAAAAAAAAAAXYEAABZBAAAAAAAAAAAAAABdwQAAFkEAAAAAAAAAAAAAAF4BAAAWQQAAAAAAAAAAAAAD7MDAAABAAAACAAAAAAHtAMAAAABAAAACAAAAAQeQXBsb3Jpcy5DaGFydC5DaGFydERhdGFFbGVtZW50AgAAAAl5BAAACXoEAAAJewQAAA0FB7UDAAAAAQAAAAgAAAAEH0FwbG9yaXMuQmFzZS5PYmplY3RzLkRhdGFPYmplY3QDAAAACXkEAAAJegQAAAl7BAAADQUBtgMAAHIAAAAKCgAAAAAAAAAADQAAAAABAbcDAAByAAAACgoBAAAAAAAAAP////8AAQe4AwAAAAEAAAAEAAAABB1BcGxvcmlzLkJhc2UuT2JqZWN0cy5WYXJpYWJsZQMAAAABfAQAAFkEAAABAAAAAAAAAAF9BAAAWQQAAAAAAAAAAAAAAX4EAABZBAAAAAAAAAAAAAABfwQAAFkEAAAAAAAAAAAAAA+5AwAAAQAAAAgAAAAAB7oDAAAAAQAAAAgAAAAEHkFwbG9yaXMuQ2hhcnQuQ2hhcnREYXRhRWxlbWVudAIAAAAJgAQAAAmBBAAACYIEAAANBQe7AwAAAAEAAAAIAAAABB9BcGxvcmlzLkJhc2UuT2JqZWN0cy5EYXRhT2JqZWN0AwAAAAmABAAACYEEAAAJggQAAA0FAbwDAAByAAAACgoAAAAAAAAAAA0AAAAAAQG9AwAAcgAAAAoKAQAAAAAAAAD/////AAEHvgMAAAABAAAABAAAAAQdQXBsb3Jpcy5CYXNlLk9iamVjdHMuVmFyaWFibGUDAAAAAYMEAABZBAAAAQAAAAAAAAABhAQAAFkEAAAAAAAAAAAAAAGFBAAAWQQAAAAAAAAAAAAAAYYEAABZBAAAAAAAAAAAAAAPvwMAAAEAAAAIAAAAAAfAAwAAAAEAAAAIAAAABB5BcGxvcmlzLkNoYXJ0LkNoYXJ0RGF0YUVsZW1lbnQCAAAACYcEAAAJiAQAAAmJBAAADQUHwQMAAAABAAAACAAAAAQfQXBsb3Jpcy5CYXNlLk9iamVjdHMuRGF0YU9iamVjdAMAAAAJhwQAAAmIBAAACYkEAAANBQHCAwAAcgAAAAoKAAAAAAAAAAANAAAAAAEBwwMAAHIAAAAKCgEAAAAAAAAA/////wABB8QDAAAAAQAAAAQAAAAEHUFwbG9yaXMuQmFzZS5PYmplY3RzLlZhcmlhYmxlAwAAAAGKBAAAWQQAAAEAAAAAAAAAAYsEAABZBAAAAAAAAAAAAAABjAQAAFkEAAAAAAAAAAAAAAGNBAAAWQQAAAAAAAAAAAAAD8UDAAABAAAACAAAAAAHxgMAAAABAAAACAAAAAQeQXBsb3Jpcy5DaGFydC5DaGFydERhdGFFbGVtZW50AgAAAAmOBAAACY8EAAAJkAQAAA0FB8cDAAAAAQAAAAgAAAAEH0FwbG9yaXMuQmFzZS5PYmplY3RzLkRhdGFPYmplY3QDAAAACY4EAAAJjwQAAAmQBAAADQUHyAMAAAABAAAAAAAAAAQcQXBsb3Jpcy5CYXNlLlVJLlZpc3VhbE9iamVjdAMAAAAByQMAAHIAAAAKCgAAAAAAAAAADQAAAAABAcoDAAByAAAACgoBAAAAAAAAAP////8AAQfLAwAAAAEAAAAEAAAABB1BcGxvcmlzLkJhc2UuT2JqZWN0cy5WYXJpYWJsZQMAAAABkQQAAFkEAAABAAAAAAAAAAGSBAAAWQQAAAAAAAAAAAAAAZMEAABZBAAAAAAAAAAAAAABlAQAAFkEAAAAAAAAAAAAAA/MAwAAAQAAAAgAAAAAB80DAAAAAQAAAAgAAAAEHkFwbG9yaXMuQ2hhcnQuQ2hhcnREYXRhRWxlbWVudAIAAAAJlQQAAAmWBAAACZcEAAANBQfOAwAAAAEAAAAIAAAABB9BcGxvcmlzLkJhc2UuT2JqZWN0cy5EYXRhT2JqZWN0AwAAAAmVBAAACZYEAAAJlwQAAA0FAc8DAAByAAAACgoAAAAAAAAAAA0AAAAAAQHQAwAAcgAAAAoKAQAAAAAAAAD/////AAEH0QMAAAABAAAABAAAAAQdQXBsb3Jpcy5CYXNlLk9iamVjdHMuVmFyaWFibGUDAAAAAZgEAABZBAAAAQAAAAAAAAABmQQAAFkEAAAAAAAAAAAAAAGaBAAAWQQAAAAAAAAAAAAAAZsEAABZBAAAAAAAAAAAAAAP0gMAAAEAAAAIAAAAAAfTAwAAAAEAAAAIAAAABB5BcGxvcmlzLkNoYXJ0LkNoYXJ0RGF0YUVsZW1lbnQCAAAACZwEAAAJnQQAAAmeBAAADQUH1AMAAAABAAAACAAAAAQfQXBsb3Jpcy5CYXNlLk9iamVjdHMuRGF0YU9iamVjdAMAAAAJnAQAAAmdBAAACZ4EAAANBQHVAwAAcgAAAAoKAAAAAAAAAAANAAAAAAEB1gMAAHIAAAAKCgEAAAAAAAAA/////wABB9cDAAAAAQAAAAQAAAAEHUFwbG9yaXMuQmFzZS5PYmplY3RzLlZhcmlhYmxlAwAAAAGfBAAAWQQAAAEAAAAAAAAAAaAEAABZBAAAAAAAAAAAAAABoQQAAFkEAAAAAAAAAAAAAAGiBAAAWQQAAAAAAAAAAAAAD9gDAAABAAAACAAAAAAH2QMAAAABAAAACAAAAAQeQXBsb3Jpcy5DaGFydC5DaGFydERhdGFFbGVtZW50AgAAAAmjBAAACaQEAAAJpQQAAA0FB9oDAAAAAQAAAAgAAAAEH0FwbG9yaXMuQmFzZS5PYmplY3RzLkRhdGFPYmplY3QDAAAACaMEAAAJpAQAAAmlBAAADQUB2wMAAHIAAAAKCgAAAAAAAAAADQAAAAABAdwDAAByAAAACgoBAAAAAAAAAP////8AAQfdAwAAAAEAAAAEAAAABB1BcGxvcmlzLkJhc2UuT2JqZWN0cy5WYXJpYWJsZQMAAAABpgQAAFkEAAABAAAAAAAAAAGnBAAAWQQAAAAAAAAAAAAAAagEAABZBAAAAAAAAAAAAAABqQQAAFkEAAAAAAAAAAAAAA/eAwAAAQAAAAgAAAAABeE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8AAAAKAAAAAABAQQlwAAAACXEAAAAJqgQAAAEACasEAAAB4gMAAHIAAAAKCgAAAAD///8ADgAAAAABAecDAACnAAAACawEAAABAAAAAQAAAAHoAwAAbwAAAAmtBAAACgHpAwAAcgAAAAoKAAAAAAAAAAANAAAAAAAB6gMAAHIAAAAKCgAAAAAAAAAADQAAAAABB+sDAAAAAQAAAAQAAAAEHUFwbG9yaXMuQmFzZS5PYmplY3RzLlZhcmlhYmxlAwAAAAGuBAAAWQQAAAEAAAAAAAAAAa8EAABZBAAAAAAAAAAAAAABsAQAAFkEAAAAAAAAAAAAAAGxBAAAWQQAAAAAAAAAAAAAD+wDAAABAAAACMUAAAAF7w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AAEAAAoAAAAAAEBBCXAAAAAJcQAAAAmyBAAAAQAJswQAAAHwAwAAcgAAAAoKAAAAAP///wAOAAAAAAEB9QMAAKcAAAAJtAQAAAEAAAADAAAAAfYDAABvAAAACbUEAAAKAfcDAAByAAAACgoAAAAAAAAAAA0AAAAAAAH4AwAAcgAAAAoKAAAAAAAAAAANAAAAAAEH+QMAAAABAAAABAAAAAQdQXBsb3Jpcy5CYXNlLk9iamVjdHMuVmFyaWFibGUDAAAAAbYEAABZBAAAAQAAAAAAAAABtwQAAFkEAAAAAAAAAAAAAAG4BAAAWQQAAAAAAAAAAAAAAbkEAABZBAAAAAAAAAAAAAAP+gMAAAEAAAAIxAAAAAX9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BAQAACgAAAAAAQEEJcAAAAAlxAAAACboEAAABAAm7BAAAAf4DAAByAAAACgoBAAAAAAAAAP////8AAQEDBAAApwAAAAm8BAAAAQAAAAMAAAABBAQAAG8AAAAJvQQAAAoBBQQAAHIAAAAKCgAAAAAAAAAADQAAAAAAAQYEAAByAAAACgoAAAAAAAAAAA0AAAAAAQcHBAAAAAEAAAAEAAAABB1BcGxvcmlzLkJhc2UuT2JqZWN0cy5WYXJpYWJsZQMAAAABvgQAAFkEAAABAAAAAAAAAAG/BAAAWQQAAAAAAAAAAAAAAcAEAABZBAAAAAAAAAAAAAABwQQAAFkEAAAAAAAAAAAAAA8IBAAAAQAAAAg1AQAAAQkEAAByAAAACgoAAAAAAAAAAA0AAAAAAAUKBAAAGkFwbG9yaXMuQmFzZS5PYmplY3RzLkNvbG9yBwAAABJEYXRhT2JqZWN0K21QYXJlbnQVRGF0YU9iamVjdCttQ29udGFpbmVyBW1UeXBlBG1SR0IQbVRoZW1lQ29sb3JJbmRleAxtQXV0b1VwZGF0ZWQJbU1vZGlmaWVkBAIAAAAAAB9BcGxvcmlzLkJhc2UuT2JqZWN0cy5MaW5lRm9ybWF0AwAAAAgICAEBAwAAAAnyAgAACgEAAAAAAAAA/////wABDwsEAAABAAAACGkBAAABDAQAAHIAAAAKCgAAAAAAAAAADQAAAAAAAQ0EAAByAAAACgoAAAAAAAAAAA0AAAAAAQcOBAAAAAEAAAAEAAAABB1BcGxvcmlzLkJhc2UuT2JqZWN0cy5WYXJpYWJsZQMAAAABwgQAAFkEAAABAAAAAAAAAAHDBAAAWQQAAAAAAAAAAAAAAcQEAABZBAAAAAAAAAAAAAABxQQAAFkEAAAAAAAAAAAAAA8PBAAAAQAAAAgmAAAAARAEAAByAAAACgoAAAAAAAAAAA0AAAAAAAURBAAAGkFwbG9yaXMuQmFzZS5PYmplY3RzLkNvbG9yBwAAABJEYXRhT2JqZWN0K21QYXJlbnQVRGF0YU9iamVjdCttQ29udGFpbmVyBW1UeXBlBG1SR0IQbVRoZW1lQ29sb3JJbmRleAxtQXV0b1VwZGF0ZWQJbU1vZGlmaWVkBAIAAAAAAB9BcGxvcmlzLkJhc2UuT2JqZWN0cy5MaW5lRm9ybWF0AwAAAAgICAEBAwAAAAkBAwAACgEAAAAAAAAA/////wABDxIEAAABAAAACG0BAAABEwQAAHIAAAAKCgAAAAAAAAAADQAAAAAAARQEAAByAAAACgoAAAAAAAAAAA0AAAAAAQcVBAAAAAEAAAAEAAAABB1BcGxvcmlzLkJhc2UuT2JqZWN0cy5WYXJpYWJsZQMAAAABxgQAAFkEAAABAAAAAAAAAAHHBAAAWQQAAAAAAAAAAAAAAcgEAABZBAAAAAAAAAAAAAAByQQAAFkEAAAAAAAAAAAAAA8WBAAAAQAAAAgjAAAAARcEAAByAAAACgoAAAAAAAAAAA0AAAAAAAUYBAAAGkFwbG9yaXMuQmFzZS5PYmplY3RzLkNvbG9yBwAAABJEYXRhT2JqZWN0K21QYXJlbnQVRGF0YU9iamVjdCttQ29udGFpbmVyBW1UeXBlBG1SR0IQbVRoZW1lQ29sb3JJbmRleAxtQXV0b1VwZGF0ZWQJbU1vZGlmaWVkBAIAAAAAAB9BcGxvcmlzLkJhc2UuT2JqZWN0cy5MaW5lRm9ybWF0AwAAAAgICAEBAwAAAAkQAwAACgEAAAAAAAAA/////wABDxkEAAABAAAACGUBAAABGgQAAHIAAAAKCgAAAAAAAAAADQAAAAAAARsEAAByAAAACgoAAAAAAAAAAA0AAAAAAQccBAAAAAEAAAAEAAAABB1BcGxvcmlzLkJhc2UuT2JqZWN0cy5WYXJpYWJsZQMAAAABygQAAFkEAAABAAAAAAAAAAHLBAAAWQQAAAAAAAAAAAAAAcwEAABZBAAAAAAAAAAAAAABzQQAAFkEAAAAAAAAAAAAAA8dBAAAAQAAAAgrAAAAAR4EAAByAAAACgoAAAAAAAAAAA0AAAAAAAUfBAAAGkFwbG9yaXMuQmFzZS5PYmplY3RzLkNvbG9yBwAAABJEYXRhT2JqZWN0K21QYXJlbnQVRGF0YU9iamVjdCttQ29udGFpbmVyBW1UeXBlBG1SR0IQbVRoZW1lQ29sb3JJbmRleAxtQXV0b1VwZGF0ZWQJbU1vZGlmaWVkBAIAAAAAAB9BcGxvcmlzLkJhc2UuT2JqZWN0cy5MaW5lRm9ybWF0AwAAAAgICAEBAwAAAAkfAwAACgEAAAAAAAAA/////wABDyAEAAABAAAACGYBAAABIQQAAHIAAAAKCgAAAAAAAAAADQAAAAAAASIEAAByAAAACgoAAAAAAAAAAA0AAAAAAQcjBAAAAAEAAAAEAAAABB1BcGxvcmlzLkJhc2UuT2JqZWN0cy5WYXJpYWJsZQMAAAABzgQAAFkEAAABAAAAAAAAAAHPBAAAWQQAAAAAAAAAAAAAAdAEAABZBAAAAAAAAAAAAAAB0QQAAFkEAAAAAAAAAAAAAA8kBAAAAQAAAAgqAAAAASUEAAByAAAACgoAAAAAAAAAAA0AAAAAAAUmBAAAGkFwbG9yaXMuQmFzZS5PYmplY3RzLkNvbG9yBwAAABJEYXRhT2JqZWN0K21QYXJlbnQVRGF0YU9iamVjdCttQ29udGFpbmVyBW1UeXBlBG1SR0IQbVRoZW1lQ29sb3JJbmRleAxtQXV0b1VwZGF0ZWQJbU1vZGlmaWVkBAIAAAAAAB9BcGxvcmlzLkJhc2UuT2JqZWN0cy5MaW5lRm9ybWF0AwAAAAgICAEBAwAAAAkuAwAACgEAAAAAAAAA/////wABDycEAAABAAAACGQBAAABKAQAAHIAAAAKCgAAAAAAAAAADQAAAAAAASkEAAByAAAACgoAAAAAAAAAAA0AAAAAAQcqBAAAAAEAAAAEAAAABB1BcGxvcmlzLkJhc2UuT2JqZWN0cy5WYXJpYWJsZQMAAAAB0gQAAFkEAAABAAAAAAAAAAHTBAAAWQQAAAAAAAAAAAAAAdQEAABZBAAAAAAAAAAAAAAB1QQAAFkEAAAAAAAAAAAAAA8rBAAAAQAAAAgnAAAAASwEAAByAAAACgoAAAAAAAAAAA0AAAAAAAUtBAAAGkFwbG9yaXMuQmFzZS5PYmplY3RzLkNvbG9yBwAAABJEYXRhT2JqZWN0K21QYXJlbnQVRGF0YU9iamVjdCttQ29udGFpbmVyBW1UeXBlBG1SR0IQbVRoZW1lQ29sb3JJbmRleAxtQXV0b1VwZGF0ZWQJbU1vZGlmaWVkBAIAAAAAAB9BcGxvcmlzLkJhc2UuT2JqZWN0cy5MaW5lRm9ybWF0AwAAAAgICAEBAwAAAAk9AwAACgEAAAAAAAAA/////wABDy4EAAABAAAACGMBAAABLwQAAHIAAAAKCgAAAAAAAAAADQAAAAAAATAEAAByAAAACgoAAAAAAAAAAA0AAAAAAQcxBAAAAAEAAAAEAAAABB1BcGxvcmlzLkJhc2UuT2JqZWN0cy5WYXJpYWJsZQMAAAAB1gQAAFkEAAABAAAAAAAAAAHXBAAAWQQAAAAAAAAAAAAAAdgEAABZBAAAAAAAAAAAAAAB2QQAAFkEAAAAAAAAAAAAAA8yBAAAAQAAAAgpAAAAATMEAAByAAAACgoAAAAAAAAAAA0AAAAAAAU0BAAAGkFwbG9yaXMuQmFzZS5PYmplY3RzLkNvbG9yBwAAABJEYXRhT2JqZWN0K21QYXJlbnQVRGF0YU9iamVjdCttQ29udGFpbmVyBW1UeXBlBG1SR0IQbVRoZW1lQ29sb3JJbmRleAxtQXV0b1VwZGF0ZWQJbU1vZGlmaWVkBAIAAAAAAB9BcGxvcmlzLkJhc2UuT2JqZWN0cy5MaW5lRm9ybWF0AwAAAAgICAEBAwAAAAlMAwAACgEAAAAAAAAA/////wABDzUEAAABAAAACGwBAAABNgQAAHIAAAAKCgAAAAAAAAAADQAAAAAAATcEAAByAAAACgoAAAAAAAAAAA0AAAAAAQc4BAAAAAEAAAAEAAAABB1BcGxvcmlzLkJhc2UuT2JqZWN0cy5WYXJpYWJsZQMAAAAB2gQAAFkEAAABAAAAAAAAAAHbBAAAWQQAAAAAAAAAAAAAAdwEAABZBAAAAAAAAAAAAAAB3QQAAFkEAAAAAAAAAAAAAA85BAAAAQAAAAgoAAAAAToEAAByAAAACgoAAAAAAAAAAA0AAAAAAAU7BAAAGkFwbG9yaXMuQmFzZS5PYmplY3RzLkNvbG9yBwAAABJEYXRhT2JqZWN0K21QYXJlbnQVRGF0YU9iamVjdCttQ29udGFpbmVyBW1UeXBlBG1SR0IQbVRoZW1lQ29sb3JJbmRleAxtQXV0b1VwZGF0ZWQJbU1vZGlmaWVkBAIAAAAAAB9BcGxvcmlzLkJhc2UuT2JqZWN0cy5MaW5lRm9ybWF0AwAAAAgICAEBAwAAAAlbAwAACgEAAAAAAAAA/////wABDzwEAAABAAAACGsBAAABPQQAAHIAAAAKCgAAAAAAAAAADQAAAAAAAT4EAAByAAAACgoAAAAAAAAAAA0AAAAAAQc/BAAAAAEAAAAEAAAABB1BcGxvcmlzLkJhc2UuT2JqZWN0cy5WYXJpYWJsZQMAAAAB3gQAAFkEAAABAAAAAAAAAAHfBAAAWQQAAAAAAAAAAAAAAeAEAABZBAAAAAAAAAAAAAAB4QQAAFkEAAAAAAAAAAAAAA9ABAAAAQAAAAgsAAAAAUEEAAByAAAACgoAAAAAAAAAAA0AAAAAAAVCBAAAGkFwbG9yaXMuQmFzZS5PYmplY3RzLkNvbG9yBwAAABJEYXRhT2JqZWN0K21QYXJlbnQVRGF0YU9iamVjdCttQ29udGFpbmVyBW1UeXBlBG1SR0IQbVRoZW1lQ29sb3JJbmRleAxtQXV0b1VwZGF0ZWQJbU1vZGlmaWVkBAIAAAAAAB9BcGxvcmlzLkJhc2UuT2JqZWN0cy5MaW5lRm9ybWF0AwAAAAgICAEBAwAAAAlqAwAACgEAAAAAAAAA/////wABD0MEAAABAAAACGgBAAABRAQAAHIAAAAKCgAAAAAAAAAADQAAAAAAAUUEAAByAAAACgoAAAAAAAAAAA0AAAAAAQdGBAAAAAEAAAAEAAAABB1BcGxvcmlzLkJhc2UuT2JqZWN0cy5WYXJpYWJsZQMAAAAB4gQAAFkEAAABAAAAAAAAAAHjBAAAWQQAAAAAAAAAAAAAAeQEAABZBAAAAAAAAAAAAAAB5QQAAFkEAAAAAAAAAAAAAA9HBAAAAQAAAAgtAAAAAUgEAAByAAAACgoAAAAAAAAAAA0AAAAAAAVJBAAAGkFwbG9yaXMuQmFzZS5PYmplY3RzLkNvbG9yBwAAABJEYXRhT2JqZWN0K21QYXJlbnQVRGF0YU9iamVjdCttQ29udGFpbmVyBW1UeXBlBG1SR0IQbVRoZW1lQ29sb3JJbmRleAxtQXV0b1VwZGF0ZWQJbU1vZGlmaWVkBAIAAAAAAB9BcGxvcmlzLkJhc2UuT2JqZWN0cy5MaW5lRm9ybWF0AwAAAAgICAEBAwAAAAl5AwAACgEAAAAAAAAA/////wABD0oEAAABAAAACGcBAAABSwQAAHIAAAAKCgAAAAAAAAAADQAAAAAAAUwEAAByAAAACgoAAAAAAAAAAA0AAAAAAQdNBAAAAAEAAAAEAAAABB1BcGxvcmlzLkJhc2UuT2JqZWN0cy5WYXJpYWJsZQMAAAAB5gQAAFkEAAABAAAAAAAAAAHnBAAAWQQAAAAAAAAAAAAAAegEAABZBAAAAAAAAAAAAAAB6QQAAFkEAAAAAAAAAAAAAA9OBAAAAQAAAAglAAAAAU8EAAByAAAACgoAAAAAAAAAAA0AAAAAAAVQBAAAGkFwbG9yaXMuQmFzZS5PYmplY3RzLkNvbG9yBwAAABJEYXRhT2JqZWN0K21QYXJlbnQVRGF0YU9iamVjdCttQ29udGFpbmVyBW1UeXBlBG1SR0IQbVRoZW1lQ29sb3JJbmRleAxtQXV0b1VwZGF0ZWQJbU1vZGlmaWVkBAIAAAAAAB9BcGxvcmlzLkJhc2UuT2JqZWN0cy5MaW5lRm9ybWF0AwAAAAgICAEBAwAAAAmIAwAACgEAAAAAAAAA/////wABD1EEAAABAAAACGoBAAABUgQAAHIAAAAKCgAAAAAAAAAADQAAAAAAAVMEAAByAAAACgoAAAAAAAAAAA0AAAAAAQdUBAAAAAEAAAAEAAAABB1BcGxvcmlzLkJhc2UuT2JqZWN0cy5WYXJpYWJsZQMAAAAB6gQAAFkEAAABAAAAAAAAAAHrBAAAWQQAAAAAAAAAAAAAAewEAABZBAAAAAAAAAAAAAAB7QQAAFkEAAAAAAAAAAAAAA9VBAAAAQAAAAgkAAAABVYEAAAeQXBsb3Jpcy5DaGFydC5DaGFydERhdGFFbGVtZW50EQAAAAZtTGFiZWwKbVJlY3RhbmdsZQVtTGluZQ5tQ3Jvc3NiYXJMaW5lcwdtTWFya2VyB21TZXJpZXMGbVZhbHVlB21WYWx1ZTILbUdyb3VwSW5kZXgPbUxhYmVsUG9zaXRpb25zEW1MYWJlbEFuY2hvck1vZGVzDm1MYWJlbFBvc2l0aW9uIG1TZWxmVHJpZ2dlcmVkTWFya2VyRm9ybWF0VXBkYXRlGERhdGFPYmplY3QrbUNoaWxkT2JqZWN0cxJEYXRhT2JqZWN0K21QYXJlbnQVRGF0YU9iamVjdCttQ29udGFpbmVyGURhdGFPYmplY3QrbVZpc3VhbE9iamVjdHMEBAQEBAQCAgAEBAAAAwQEAxxBcGxvcmlzLkNoYXJ0LkNvbm5lY3RlZExhYmVsAgAAABpBcGxvcmlzLkJhc2UuVUkuVmlzdWFsUmVjdAMAAAAaQXBsb3Jpcy5CYXNlLlVJLlZpc3VhbExpbmUDAAAAHEFwbG9yaXMuQmFzZS5VSS5WaXN1YWxMaW5lW10DAAAAGkFwbG9yaXMuQ2hhcnQuVmlzdWFsTWFya2VyAgAAAB1BcGxvcmlzLkNoYXJ0LkNoYXJ0RGF0YVNlcmllcwIAAAAIF1N5c3RlbS5EcmF3aW5nLlBvaW50RltdBAAAABlBcGxvcmlzLkJhc2UuQW5jaG9yTW9kZVtdAwAAAAg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7gQAAAnvBAAACgnwBAAACgnzAAAACAbMEj9EsSPBPwoAAAAACfEEAAAJ8gQAAAAAAAAACfMEAAAJ8wAAAAkBAAAACfQEAAABVwQAAFYEAAAKCgoJ9QQAAAoJ8wAAAAoKAQAAAAoKAAAAAAAJ9gQAAAnzAAAACQEAAAAJ9wQAAAFYBAAAVgQAAAoKCgn4BAAACgnzAAAACgoCAAAACgoAAAAAAAn5BAAACfMAAAAJAQAAAAn6BAAAAV0EAABWBAAACfsEAAAJ/AQAAAoJ/QQAAAoJ9AAAAAgGDUu6293T4D8KAAAAAAn+BAAACf8EAAAAAAAAAAkABQAACfQAAAAJAQAAAAkBBQAAAV4EAABWBAAACgoKCQIFAAAKCfQAAAAKCgEAAAAKCgAAAAAACQMFAAAJ9AAAAAkBAAAACQQFAAABXwQAAFYEAAAKCgoJBQUAAAoJ9AAAAAoKAgAAAAoKAAAAAAAJBgUAAAn0AAAACQEAAAAJBwUAAAFkBAAAVgQAAAkIBQAACQkFAAAKCQoFAAAKCfUAAAAIBgBdWUcmQMQ/CgAAAAAJCwUAAAkMBQAAAAAAAAAJDQUAAAn1AAAACQEAAAAJDgUAAAFlBAAAVgQAAAoKCgkPBQAACgn1AAAACgoBAAAACgoAAAAAAAkQBQAACfUAAAAJAQAAAAkRBQAAAWYEAABWBAAACgoKCRIFAAAKCfUAAAAKCgIAAAAKCgAAAAAACRMFAAAJ9QAAAAkBAAAACRQFAAABawQAAFYEAAAJFQUAAAkWBQAACgkXBQAACgn2AAAACAZWRKJu34m8PwoAAAAACRgFAAAJGQUAAAAAAAAACRoFAAAJ9gAAAAkBAAAACRsFAAABbAQAAFYEAAAKCgoJHAUAAAoJ9gAAAAoKAQAAAAoKAAAAAAAJHQUAAAn2AAAACQEAAAAJHgUAAAFtBAAAVgQAAAoKCgkfBQAACgn2AAAACgoCAAAACgoAAAAAAAkgBQAACfYAAAAJAQAAAAkhBQAAAXIEAABWBAAACSIFAAAJIwUAAAoJJAUAAAoJ9wAAAAgGQIRanIIPsj8KAAAAAAklBQAACSYFAAAAAAAAAAknBQAACfcAAAAJAQAAAAkoBQAAAXMEAABWBAAACgoKCSkFAAAKCfcAAAAKCgEAAAAKCgAAAAAACSoFAAAJ9wAAAAkBAAAACSsFAAABdAQAAFYEAAAKCgoJLAUAAAoJ9wAAAAoKAgAAAAoKAAAAAAAJLQUAAAn3AAAACQEAAAAJLgUAAAF5BAAAVgQAAAoKCgkvBQAACgn4AAAACgoAAAAACgoAAAAAAAkwBQAACfgAAAAJAQAAAAkxBQAAAXoEAABWBAAACTIFAAAJMwUAAAoJNAUAAAoJ+AAAAAgG3Te9EpVO2D8KAQAAAAk1BQAACTYFAAAAAAAAAAk3BQAACfgAAAAJAQAAAAk4BQAAAXsEAABWBAAACgoKCTkFAAAKCfgAAAAKCgIAAAAKCgAAAAAACToFAAAJ+AAAAAkBAAAACTsFAAABgAQAAFYEAAAKCgoJPAUAAAoJ+QAAAAoKAAAAAAoKAAAAAAAJPQUAAAn5AAAACQEAAAAJPgUAAAGBBAAAVgQAAAk/BQAACUAFAAAKCUEFAAAKCfkAAAAIBsbFPr7mDs0/CgEAAAAJQgUAAAlDBQAAAAAAAAAJRAUAAAn5AAAACQEAAAAJRQUAAAGCBAAAVgQAAAoKCglGBQAACgn5AAAACgoCAAAACgoAAAAAAAlHBQAACfkAAAAJAQAAAAlIBQAAAYcEAABWBAAACgoKCUkFAAAKCfoAAAAKCgAAAAAKCgAAAAAACUoFAAAJ+gAAAAkBAAAACUsFAAABiAQAAFYEAAAJTAUAAAlNBQAACglOBQAACgn6AAAACAZ/ZSOO9ynZPwoBAAAACU8FAAAJUAUAAAAAAAAACVEFAAAJ+gAAAAkBAAAACVIFAAABiQQAAFYEAAAKCgoJUwUAAAoJ+gAAAAoKAgAAAAoKAAAAAAAJVAUAAAn6AAAACQEAAAAJVQUAAAGOBAAAVgQAAAoKCglWBQAACgn7AAAACgoAAAAACgoAAAAAAAlXBQAACfsAAAAJAQAAAAlYBQAAAY8EAABWBAAACgoKCVkFAAAKCfsAAAAKCgEAAAAKCgAAAAAACVoFAAAJ+wAAAAkBAAAACVsFAAABkAQAAFYEAAAJXAUAAAldBQAACgleBQAACgn7AAAACAaR7Xw/NV7iPwoCAAAACV8FAAAJYAUAAAAAAAAACWEFAAAJ+wAAAAkBAAAACWIFAAABlQQAAFYEAAAKCgoJYwUAAAoJ/AAAAAoKAAAAAAoKAAAAAAAJZAUAAAn8AAAACQEAAAAJZQUAAAGWBAAAVgQAAAoKCglmBQAACgn8AAAACgoBAAAACgoAAAAAAAlnBQAACfwAAAAJAQAAAAloBQAAAZcEAABWBAAACWkFAAAJagUAAAoJawUAAAoJ/AAAAAgGLbKd76fG0z8KAgAAAAlsBQAACW0FAAAAAAAAAAluBQAACfwAAAAJAQAAAAlvBQAAAZwEAABWBAAACgoKCXAFAAAKCf0AAAAKCgAAAAAKCgAAAAAACXEFAAAJ/QAAAAkBAAAACXIFAAABnQQAAFYEAAAKCgoJcwUAAAoJ/QAAAAoKAQAAAAoKAAAAAAAJdAUAAAn9AAAACQEAAAAJdQUAAAGeBAAAVgQAAAl2BQAACXcFAAAKCXgFAAAKCf0AAAAIBjvfT42XbrI/CgIAAAAJeQUAAAl6BQAAAAAAAAAJewUAAAn9AAAACQEAAAAJfAUAAAGjBAAAVgQAAAoKCgl9BQAACgn+AAAACgoAAAAACgoAAAAAAAl+BQAACf4AAAAJAQAAAAl/BQAAAaQEAABWBAAACgoKCYAFAAAKCf4AAAAKCgEAAAAKCgAAAAAACYEFAAAJ/gAAAAkBAAAACYIFAAABpQQAAFYEAAAJgwUAAAmEBQAACgmFBQAACgn+AAAACAa6SQwCK4emPwoCAAAACYYFAAAJhwUAAAAAAAAACYgFAAAJ/gAAAAkBAAAACYkFAAABqgQAAHIAAAAKCgAAAAAAAAAADQAAAAABAasEAAByAAAACgoBAAAAAAAAAP////8AAQesBAAAAAEAAAAEAAAABB1BcGxvcmlzLkJhc2UuT2JqZWN0cy5WYXJpYWJsZQMAAAABigUAAFkEAAABAAAAAAAAAAGLBQAAWQQAAAAAAAAAAAAAAYwFAABZBAAAAAAAAAAAAAABjQUAAFkEAAAAAAAAAAAAAA+tBAAAAQAAAAgAAAAAAbIEAAByAAAACgoAAAAAAAAAAA0AAAAAAQGzBAAAcgAAAAoKAQAAAAAAAAD/////AAEHtAQAAAABAAAABAAAAAQdQXBsb3Jpcy5CYXNlLk9iamVjdHMuVmFyaWFibGUDAAAAAY4FAABZBAAAAQAAAAAAAAABjwUAAFkEAAAAAAAAAAAAAAGQBQAAWQQAAAAAAAAAAAAAAZEFAABZBAAAAAAAAAAAAAAPtQQAAAEAAAAIAAAAAAG6BAAAcgAAAAoKAAAAAAAAAAANAAAAAAEBuwQAAHIAAAAKCgEAAAAAAAAA/////wABB7wEAAAAAQAAAAQAAAAEHUFwbG9yaXMuQmFzZS5PYmplY3RzLlZhcmlhYmxlAwAAAAGSBQAAWQQAAAEAAAAAAAAAAZMFAABZBAAAAAAAAAAAAAABlAUAAFkEAAAAAAAAAAAAAAGVBQAAWQQAAAAAAAAAAAAAD70EAAABAAAACAAAAAAB7gQAABABAAAKWAIAAAGWBQAAxwEAAAIAAAABlwUAAMgBAAABAAAAAZgFAAAUAAAA0oWoQmbzlkGMrvNCPTEdQgGZBQAAygEAAAAAAAAAAKBAAAGaBQAAIAAAAIwuEUNSEhpCAZsFAACaAAAAAAAAAAAAAAAAAAAAAAmcBQAAAAAAAAmdBQAAAAABngUAAKMAAAAAAAAAAZ8FAABsAAAAAADAQgAAQEEBoAUAABQAAAAAAMhCuugCQrt/tEKjiy5BEoO+PwahBQAAEVVuZGVyIDEsMDAwICAgMTMlCgmiBQAABqMFAAADICAgNAMAAP////8BAQoJpAUAAAEACgAB7wQAABsAAAABpQUAACAAAADShaJC8Kp0QgGmBQAAIAAAAC8aUUPM5n1BCacFAAAJqAUAAAAAAAAKAakFAABsAAAAAAAAAAAAAAABqgUAAGwAAAAAAAAAAAAAAAAAAAABqwUAABQAAAAAAAAAAAAAAAAAAAAAAAAApAEAAP////8BAQoJrAUAAAEACgAH8AQAAAABAAAAAgAAAAQaQXBsb3Jpcy5CYXNlLlVJLlZpc3VhbExpbmUDAAAACgoH8QQAAAABAAAAAwAAAAQVU3lzdGVtLkRyYXdpbmcuUG9pbnRGBAAAAAGtBQAAIAAAAIwuEUNSEhpCAa4FAAAgAAAA0oWcQlISGkIBrwUAACAAAAAvGlRDUhIaQgfyBAAAAAEAAAADAAAABBdBcGxvcmlzLkJhc2UuQW5jaG9yTW9kZQMAAAABsAUAAJoAAAAAAAAAAbEFAACaAAAAAgAAAAGyBQAAmgAAAAQAAAAB8wQAACQAAAAJ1wIAAAAAAAAAAAAAAfQEAAAlAAAACbMFAAACAAAAAgAAAAf1BAAAAAEAAAACAAAABBpBcGxvcmlzLkJhc2UuVUkuVmlzdWFsTGluZQMAAAAKCgH2BAAAJAAAAAnXAgAAAAAAAAAAAAAB9wQAACUAAAAJlwMAAAAAAAAAAAAAB/gEAAAAAQAAAAIAAAAEGkFwbG9yaXMuQmFzZS5VSS5WaXN1YWxMaW5lAwAAAAoKAfkEAAAkAAAACe4CAAAAAAAAAAAAAAH6BAAAJQAAAAnIAwAAAAAAAAAAAAAB+wQAABABAAAKWAIAAAG0BQAAxwEAAAIAAAABtQUAAMgBAAABAAAAAbYFAAAUAAAA0oWoQnhVgEKMrvNCWOUrQwG3BQAAygEAAAAAAAAAAKBAAAG4BQAAIAAAAIwuEUNoHRZDAbkFAACaAAAAAAAAAAAAAAAAAAAAAAm6BQAAAAAAAAm7BQAAAAABvAUAAKMAAAAAAAAAAb0FAABsAAAAAAB0QgAAyEEBvgUAABQAAAAuuuhCRhcLQ6S5aUJ00bVBEoO+Pwa/BQAAEDEsMDAwLTUsMDAwDQo1MyUKCcAFAAAGwQUAAAINCjQDAAD/////AQEKCcIFAAABAAoAAfwEAAAbAAAAAcMFAAAgAAAA0oWiQhQQb0MBxAUAACAAAAAvGlFD8Kp0QgnFBQAACcYFAAAAAAAACgHHBQAAbAAAAAAAAAAAAAAAAcgFAABsAAAAAAAAAAAAAAAAAAAAAckFAAAUAAAAAAAAAAAAAAAAAAAAAAAAAKQBAAD/////AQEKCcoFAAABAAoAB/0EAAAAAQAAAAIAAAAEGkFwbG9yaXMuQmFzZS5VSS5WaXN1YWxMaW5lAwAAAAoKB/4EAAAAAQAAAAMAAAAEFVN5c3RlbS5EcmF3aW5nLlBvaW50RgQAAAABywUAACAAAACMLhFDaB0WQwHMBQAAIAAAANKFnEJoHRZDAc0FAAAgAAAALxpUQ2gdFkMH/wQAAAABAAAAAwAAAAQXQXBsb3Jpcy5CYXNlLkFuY2hvck1vZGUDAAAAAc4FAACaAAAAAAAAAAHPBQAAmgAAAAIAAAAB0AUAAJoAAAAEAAAAAQAFAAAkAAAACdcCAAAAAAAAAAAAAAEBBQAAJQAAAAnRBQAAAgAAAAIAAAAHAgUAAAABAAAAAgAAAAQaQXBsb3Jpcy5CYXNlLlVJLlZpc3VhbExpbmUDAAAACgoBAwUAACQAAAAJ1wIAAAAAAAAAAAAAAQQFAAAlAAAACZcDAAAAAAAAAAAAAAcFBQAAAAEAAAACAAAABBpBcGxvcmlzLkJhc2UuVUkuVmlzdWFsTGluZQMAAAAKCgEGBQAAJAAAAAnuAgAAAAAAAAAAAAABBwUAACUAAAAJyAMAAAAAAAAAAAAAAQgFAAAQAQAAClgCAAAB0gUAAMcBAAACAAAAAdMFAADIAQAAAQAAAAHUBQAAFAAAANKFqEIUEHJDjK7zQiAVPkIB1QUAAMoBAAAAAAAAAACgQAAB1gUAACAAAACMLhFDXOmEQwHXBQAAmgAAAAAAAAAAAAAAAAAAAAAJ2AUAAAAAAAAJ2QUAAAAAAdoFAACjAAAAAAAAAAHbBQAAbAAAAAAAiEIAAMhBAdwFAAAUAAAAXXThQqOLfkMBl4FCdNG1QRKDvj8G3QUAABE1LDAwMC0xMCwwMDANCjE2JQoJ3gUAAAbfBQAAAg0KNAMAAP////8BAQoJ4AUAAAEACgABCQUAABsAAAAB4QUAACAAAADShaJCrkqSQwHiBQAAIAAAAC8aUUMUEG9DCeMFAAAJ5AUAAAAAAAAKAeUFAABsAAAAAAAAAAAAAAAB5gUAAGwAAAAAAAAAAAAAAAAAAAAB5wUAABQAAAAAAAAAAAAAAAAAAAAAAAAApAEAAP////8BAQoJ6AUAAAEACgAHCgUAAAABAAAAAgAAAAQaQXBsb3Jpcy5CYXNlLlVJLlZpc3VhbExpbmUDAAAACgoHCwUAAAABAAAAAwAAAAQVU3lzdGVtLkRyYXdpbmcuUG9pbnRGBAAAAAHpBQAAIAAAAIwuEUNc6YRDAeoFAAAgAAAA0oWcQlzphEMB6wUAACAAAAAvGlRDXOmEQwcMBQAAAAEAAAADAAAABBdBcGxvcmlzLkJhc2UuQW5jaG9yTW9kZQMAAAAB7AUAAJoAAAAAAAAAAe0FAACaAAAAAgAAAAHuBQAAmgAAAAQAAAABDQUAACQAAAAJ1wIAAAAAAAAAAAAAAQ4FAAAlAAAACe8FAAACAAAAAgAAAAcPBQAAAAEAAAACAAAABBpBcGxvcmlzLkJhc2UuVUkuVmlzdWFsTGluZQMAAAAKCgEQBQAAJAAAAAnXAgAAAAAAAAAAAAABEQUAACUAAAAJlwMAAAAAAAAAAAAABxIFAAAAAQAAAAIAAAAEGkFwbG9yaXMuQmFzZS5VSS5WaXN1YWxMaW5lAwAAAAoKARMFAAAkAAAACe4CAAAAAAAAAAAAAAEUBQAAJQAAAAnIAwAAAAAAAAAAAAABFQUAABABAAAKWAIAAAHwBQAAxwEAAAIAAAAB8QUAAMgBAAABAAAAAfIFAAAUAAAA0oWoQq7Kk0OMrvNCQLP9QQHzBQAAygEAAAAAAAAAAKBAAAH0BQAAIAAAAIwuEUNIuJtDAfUFAACaAAAAAAAAAAAAAAAAAAAAAAn2BQAAAAAAAAn3BQAAAAAB+AUAAKMAAAAAAAAAAfkFAABsAAAAAACUQgAAyEEB+gUAABQAAAAAANxCAACWQ7t/jEJ00bVBEoO+Pwb7BQAAEjEwLDAwMC0yMCwwMDANCjExJQoJ/AUAAAb9BQAAAg0KNAMAAP////8BAQoJ/gUAAAEACgABFgUAABsAAAAB/wUAACAAAADShaJC4iWlQwEABgAAIAAAAC8aUUOuSpJDCQEGAAAJAgYAAAAAAAAKAQMGAABsAAAAAAAAAAAAAAABBAYAAGwAAAAAAAAAAAAAAAAAAAABBQYAABQAAAAAAAAAAAAAAAAAAAAAAAAApAEAAP////8BAQoJBgYAAAEACgAHFwUAAAABAAAAAgAAAAQaQXBsb3Jpcy5CYXNlLlVJLlZpc3VhbExpbmUDAAAACgoHGAUAAAABAAAAAwAAAAQVU3lzdGVtLkRyYXdpbmcuUG9pbnRGBAAAAAEHBgAAIAAAAIwuEUNIuJtDAQgGAAAgAAAA0oWcQki4m0MBCQYAACAAAAAvGlRDSLibQwcZBQAAAAEAAAADAAAABBdBcGxvcmlzLkJhc2UuQW5jaG9yTW9kZQMAAAABCgYAAJoAAAAAAAAAAQsGAACaAAAAAgAAAAEMBgAAmgAAAAQAAAABGgUAACQAAAAJ1wIAAAAAAAAAAAAAARsFAAAlAAAACQ0GAAACAAAAAgAAAAccBQAAAAEAAAACAAAABBpBcGxvcmlzLkJhc2UuVUkuVmlzdWFsTGluZQMAAAAKCgEdBQAAJAAAAAnXAgAAAAAAAAAAAAABHgUAACUAAAAJlwMAAAAAAAAAAAAABx8FAAAAAQAAAAIAAAAEGkFwbG9yaXMuQmFzZS5VSS5WaXN1YWxMaW5lAwAAAAoKASAFAAAkAAAACe4CAAAAAAAAAAAAAAEhBQAAJQAAAAnIAwAAAAAAAAAAAAABIgUAABABAAAKWAIAAAEOBgAAxwEAAAIAAAABDwYAAMgBAAABAAAAARAGAAAUAAAA0oWoQuKlpkOMrvNCQO6OQQERBgAAygEAAAAAAAAAAKBAAAESBgAAIAAAAIwuEUNUHatDARMGAACaAAAAAAAAAAAAAAAAAAAAAAkUBgAAAAAAAAkVBgAAAAABFgYAAKMAAAAAAAAAARcGAABsAAAAAAAoQgAAyEEBGAYAABQAAABFF/lCXXSlQ2CiJEJ00bVBEoO+PwYZBgAACzIwLDAwMCsNCjclCgkaBgAABhsGAAACDQo0AwAA/////wEBCgkcBgAAAQAKAAEjBQAAGwAAAAEdBgAAIAAAANKFokLGFLFDAR4GAAAgAAAALxpRQ+IlpUMJHwYAAAkgBgAAAAAAAAoBIQYAAGwAAAAAAAAAAAAAAAEiBgAAbAAAAAAAAAAAAAAAAAAAAAEjBgAAFAAAAAAAAAAAAAAAAAAAAAAAAACkAQAA/////wEBCgkkBgAAAQAKAAckBQAAAAEAAAACAAAABBpBcGxvcmlzLkJhc2UuVUkuVmlzdWFsTGluZQMAAAAKCgclBQAAAAEAAAADAAAABBVTeXN0ZW0uRHJhd2luZy5Qb2ludEYEAAAAASUGAAAgAAAAjC4RQ1Qdq0MBJgYAACAAAADShZxCVB2rQwEnBgAAIAAAAC8aVENUHatDByYFAAAAAQAAAAMAAAAEF0FwbG9yaXMuQmFzZS5BbmNob3JNb2RlAwAAAAEoBgAAmgAAAAAAAAABKQYAAJoAAAACAAAAASoGAACaAAAABAAAAAEnBQAAJAAAAAnXAgAAAAAAAAAAAAABKAUAACUAAAAJKwYAAAIAAAACAAAABykFAAAAAQAAAAIAAAAEGkFwbG9yaXMuQmFzZS5VSS5WaXN1YWxMaW5lAwAAAAoKASoFAAAkAAAACdcCAAAAAAAAAAAAAAErBQAAJQAAAAmXAwAAAAAAAAAAAAAHLAUAAAABAAAAAgAAAAQaQXBsb3Jpcy5CYXNlLlVJLlZpc3VhbExpbmUDAAAACgoBLQUAACQAAAAJ7gIAAAAAAAAAAAAAAS4FAAAlAAAACcgDAAAAAAAAAAAAAAcvBQAAAAEAAAACAAAABBpBcGxvcmlzLkJhc2UuVUkuVmlzdWFsTGluZQMAAAAKCgEwBQAAJAAAAAnXAgAAAAAAAAAAAAABMQUAACUAAAAJlwMAAAAAAAAAAAAAATIFAAAQAQAAClgCAAABLAYAAMcBAAACAAAAAS0GAADIAQAAAQAAAAEuBgAAFAAAAEZnkENm85ZBkK7zQhb39EIBLwYAAMoBAAAAAAAAAACgQAABMAYAACAAAAAY3a5DZTigQgExBgAAmgAAAAAAAAAAAAAAAAAAAAAJMgYAAAAAAAAJMwYAAAAAATQGAACjAAAAAAAAAAE1BgAAbAAAAAAASEIAAMhBATYGAAAUAAAALrqiQ4suikKluUFCdNG1QRKDvj8GNwYAAA1Ud28tWWVhcg0KMzglCgk4BgAABjkGAAACDQo0AwAA/////wEBCgk6BgAAAQAKAAEzBQAAGwAAAAE7BgAAIAAAAEbnjkP4WRBDATwGAAAgAAAA6tLOQ8zmfUEJPQYAAAk+BgAAAAAAAAoBPwYAAGwAAAAAAAAAAAAAAAFABgAAbAAAAAAAAAAAAAAAAAAAAAFBBgAAFAAAAAAAAAAAAAAAAAAAAAAAAACkAQAA/////wEBCglCBgAAAQAKAAc0BQAAAAEAAAACAAAABBpBcGxvcmlzLkJhc2UuVUkuVmlzdWFsTGluZQMAAAAKCgc1BQAAAAEAAAADAAAABBVTeXN0ZW0uRHJhd2luZy5Qb2ludEYEAAAAAUMGAAAgAAAAGN2uQ2U4oEIBRAYAACAAAABGZ41DZTigQgFFBgAAIAAAAOpS0ENlOKBCBzYFAAAAAQAAAAMAAAAEF0FwbG9yaXMuQmFzZS5BbmNob3JNb2RlAwAAAAFGBgAAmgAAAAAAAAABRwYAAJoAAAACAAAAAUgGAACaAAAABAAAAAE3BQAAJAAAAAnXAgAAAAAAAAAAAAABOAUAACUAAAAJSQYAAAIAAAACAAAABzkFAAAAAQAAAAIAAAAEGkFwbG9yaXMuQmFzZS5VSS5WaXN1YWxMaW5lAwAAAAoKAToFAAAkAAAACe4CAAAAAAAAAAAAAAE7BQAAJQAAAAnIAwAAAAAAAAAAAAAHPAUAAAABAAAAAgAAAAQaQXBsb3Jpcy5CYXNlLlVJLlZpc3VhbExpbmUDAAAACgoBPQUAACQAAAAJ1wIAAAAAAAAAAAAAAT4FAAAlAAAACZcDAAAAAAAAAAAAAAE/BQAAEAEAAApYAgAAAUoGAADHAQAAAgAAAAFLBgAAyAEAAAEAAAABTAYAABQAAABGZ5BD+FkTQ5Cu80LOmI1CAU0GAADKAQAAAAAAAAAAoEAAAU4GAAAgAAAAGN2uQyzANkMBTwYAAJoAAAAAAAAAAAAAAAAAAAAACVAGAAAAAAAACVEGAAAAAAFSBgAAowAAAAAAAAABUwYAAGwAAAAAAExCAAAYQgFUBgAAFAAAAC66okNddCVDjlxFQosuCkISg74/BlUGAAAWRm91ci1ZZWFyDQpQdWJsaWMNCjIzJQoJVgYAAAZXBgAAAg0KNAMAAP////8BAQoJWAYAAAEACgABQAUAABsAAAABWQYAACAAAABG545DXyZdQwFaBgAAIAAAAOrSzkP4WRBDCVsGAAAJXAYAAAAAAAAKAV0GAABsAAAAAAAAAAAAAAABXgYAAGwAAAAAAAAAAAAAAAAAAAABXwYAABQAAAAAAAAAAAAAAAAAAAAAAAAApAEAAP////8BAQoJYAYAAAEACgAHQQUAAAABAAAAAgAAAAQaQXBsb3Jpcy5CYXNlLlVJLlZpc3VhbExpbmUDAAAACgoHQgUAAAABAAAAAwAAAAQVU3lzdGVtLkRyYXdpbmcuUG9pbnRGBAAAAAFhBgAAIAAAABjdrkMswDZDAWIGAAAgAAAARmeNQyzANkMBYwYAACAAAADqUtBDLMA2QwdDBQAAAAEAAAADAAAABBdBcGxvcmlzLkJhc2UuQW5jaG9yTW9kZQMAAAABZAYAAJoAAAAAAAAAAWUGAACaAAAAAgAAAAFmBgAAmgAAAAQAAAABRAUAACQAAAAJ1wIAAAAAAAAAAAAAAUUFAAAlAAAACWcGAAACAAAAAgAAAAdGBQAAAAEAAAACAAAABBpBcGxvcmlzLkJhc2UuVUkuVmlzdWFsTGluZQMAAAAKCgFHBQAAJAAAAAnuAgAAAAAAAAAAAAABSAUAACUAAAAJyAMAAAAAAAAAAAAAB0kFAAAAAQAAAAIAAAAEGkFwbG9yaXMuQmFzZS5VSS5WaXN1YWxMaW5lAwAAAAoKAUoFAAAkAAAACdcCAAAAAAAAAAAAAAFLBQAAJQAAAAmXAwAAAAAAAAAAAAABTAUAABABAAAKWAIAAAFoBgAAxwEAAAIAAAABaQYAAMgBAAABAAAAAWoGAAAUAAAARmeQQ18mYEOQrvNCWgb+QgFrBgAAygEAAAAAAAAAAKBAAAFsBgAAIAAAABjdrkP7049DAW0GAACaAAAAAAAAAAAAAAAAAAAAAAluBgAAAAAAAAlvBgAAAAABcAYAAKMAAAAAAAAAAXEGAABsAAAAAABMQgAAGEIBcgYAABQAAAAuuqJDAACHQ45cRUKLLgpCEoO+PwZzBgAAF0ZvdXItWWVhcg0KUHJpdmF0ZQ0KMzklCgl0BgAABnUGAAACDQo0AwAA/////wEBCgl2BgAAAQAKAAFNBQAAGwAAAAF3BgAAIAAAAEbnjkPGFLFDAXgGAAAgAAAA6tLOQ18mXUMJeQYAAAl6BgAAAAAAAAoBewYAAGwAAAAAAAAAAAAAAAF8BgAAbAAAAAAAAAAAAAAAAAAAAAF9BgAAFAAAAAAAAAAAAAAAAAAAAAAAAACkAQAA/////wEBCgl+BgAAAQAKAAdOBQAAAAEAAAACAAAABBpBcGxvcmlzLkJhc2UuVUkuVmlzdWFsTGluZQMAAAAKCgdPBQAAAAEAAAADAAAABBVTeXN0ZW0uRHJhd2luZy5Qb2ludEYEAAAAAX8GAAAgAAAAGN2uQ/vTj0MBgAYAACAAAABGZ41D+9OPQwGBBgAAIAAAAOpS0EP7049DB1AFAAAAAQAAAAMAAAAEF0FwbG9yaXMuQmFzZS5BbmNob3JNb2RlAwAAAAGCBgAAmgAAAAAAAAABgwYAAJoAAAACAAAAAYQGAACaAAAABAAAAAFRBQAAJAAAAAnXAgAAAAAAAAAAAAABUgUAACUAAAAJhQYAAAIAAAACAAAAB1MFAAAAAQAAAAIAAAAEGkFwbG9yaXMuQmFzZS5VSS5WaXN1YWxMaW5lAwAAAAoKAVQFAAAkAAAACe4CAAAAAAAAAAAAAAFVBQAAJQAAAAnIAwAAAAAAAAAAAAAHVgUAAAABAAAAAgAAAAQaQXBsb3Jpcy5CYXNlLlVJLlZpc3VhbExpbmUDAAAACgoBVwUAACQAAAAJ7gIAAAAAAAAAAAAAAVgFAAAlAAAACcgDAAAAAAAAAAAAAAdZBQAAAAEAAAACAAAABBpBcGxvcmlzLkJhc2UuVUkuVmlzdWFsTGluZQMAAAAKCgFaBQAAJAAAAAnuAgAAAAAAAAAAAAABWwUAACUAAAAJyAMAAAAAAAAAAAAAAVwFAAAQAQAAClgCAAABhgYAAMcBAAACAAAAAYcGAADIAQAAAQAAAAGIBgAAFAAAABit9kNm85ZBkK7zQvNfPEMBiQYAAMoBAAAAAAAAAACgQAABigYAACAAAAB1kQpEzRziQgGLBgAAmgAAAAAAAAAAAAAAAAAAAAAJjAYAAAAAAAAJjQYAAAAAAY4GAACjAAAAAAAAAAGPBgAAbAAAAAAA0EEAAMhBAZAGAAAUAAAALjoHROiiy0Ko59RBdNG1QRKDvj8GkQYAAAhNRFINCjU3JQoJkgYAAAaTBgAAAg0KNAMAAP////8BAQoJlAYAAAEACgABXQUAABsAAAABlQYAACAAAAAYLfVDYD5SQwGWBgAAIAAAAF6MGkTM5n1BCZcGAAAJmAYAAAAAAAAKAZkGAABsAAAAAAAAAAAAAAABmgYAAGwAAAAAAAAAAAAAAAAAAAABmwYAABQAAAAAAAAAAAAAAAAAAAAAAAAApAEAAP////8BAQoJnAYAAAEACgAHXgUAAAABAAAAAgAAAAQaQXBsb3Jpcy5CYXNlLlVJLlZpc3VhbExpbmUDAAAACgoHXwUAAAABAAAAAwAAAAQVU3lzdGVtLkRyYXdpbmcuUG9pbnRGBAAAAAGdBgAAIAAAAHWRCkTNHOJCAZ4GAAAgAAAAGK3zQ80c4kIBnwYAACAAAABeTBtEzRziQgdgBQAAAAEAAAADAAAABBdBcGxvcmlzLkJhc2UuQW5jaG9yTW9kZQMAAAABoAYAAJoAAAAAAAAAAaEGAACaAAAAAgAAAAGiBgAAmgAAAAQAAAABYQUAACQAAAAJ7gIAAAAAAAAAAAAAAWIFAAAlAAAACaMGAAACAAAAAgAAAAdjBQAAAAEAAAACAAAABBpBcGxvcmlzLkJhc2UuVUkuVmlzdWFsTGluZQMAAAAKCgFkBQAAJAAAAAnuAgAAAAAAAAAAAAABZQUAACUAAAAJyAMAAAAAAAAAAAAAB2YFAAAAAQAAAAIAAAAEGkFwbG9yaXMuQmFzZS5VSS5WaXN1YWxMaW5lAwAAAAoKAWcFAAAkAAAACe4CAAAAAAAAAAAAAAFoBQAAJQAAAAnIAwAAAAAAAAAAAAABaQUAABABAAAKWAIAAAGkBgAAxwEAAAIAAAABpQYAAMgBAAABAAAAAaYGAAAUAAAAGK32Q2A+VUOQrvNCUEbFQgGnBgAAygEAAAAAAAAAAKBAAAGoBgAAIAAAAHWRCkT6R4NDAakGAACaAAAAAAAAAAAAAAAAAAAAAAmqBgAAAAAAAAmrBgAAAAABrAYAAKMAAAAAAAAAAa0GAABsAAAAAABAQgAAyEEBrgYAABQAAAAuugREuuh6Q9RzOkJ00bVBEoO+PwavBgAAC05BQ0FEQQ0KMzElCgmwBgAABrEGAAACDQo0AwAA/////wEBCgmyBgAAAQAKAAFqBQAAGwAAAAGzBgAAIAAAABgt9UPEcJ1DAbQGAAAgAAAAXowaRGA+UkMJtQYAAAm2BgAAAAAAAAoBtwYAAGwAAAAAAAAAAAAAAAG4BgAAbAAAAAAAAAAAAAAAAAAAAAG5BgAAFAAAAAAAAAAAAAAAAAAAAAAAAACkAQAA/////wEBCgm6BgAAAQAKAAdrBQAAAAEAAAACAAAABBpBcGxvcmlzLkJhc2UuVUkuVmlzdWFsTGluZQMAAAAKCgdsBQAAAAEAAAADAAAABBVTeXN0ZW0uRHJhd2luZy5Qb2ludEYEAAAAAbsGAAAgAAAAdZEKRPpHg0MBvAYAACAAAAAYrfND+keDQwG9BgAAIAAAAF5MG0T6R4NDB20FAAAAAQAAAAMAAAAEF0FwbG9yaXMuQmFzZS5BbmNob3JNb2RlAwAAAAG+BgAAmgAAAAAAAAABvwYAAJoAAAACAAAAAcAGAACaAAAABAAAAAFuBQAAJAAAAAnuAgAAAAAAAAAAAAABbwUAACUAAAAJwQYAAAIAAAACAAAAB3AFAAAAAQAAAAIAAAAEGkFwbG9yaXMuQmFzZS5VSS5WaXN1YWxMaW5lAwAAAAoKAXEFAAAkAAAACe4CAAAAAAAAAAAAAAFyBQAAJQAAAAnIAwAAAAAAAAAAAAAHcwUAAAABAAAAAgAAAAQaQXBsb3Jpcy5CYXNlLlVJLlZpc3VhbExpbmUDAAAACgoBdAUAACQAAAAJ7gIAAAAAAAAAAAAAAXUFAAAlAAAACcgDAAAAAAAAAAAAAAF2BQAAEAEAAApYAgAAAcIGAADHAQAAAgAAAAHDBgAAyAEAAAEAAAABxAYAABQAAAAYrfZDxPCeQ5Cu80JQDZNBAcUGAADKAQAAAAAAAAAAoEAAAcYGAAAgAAAAdZEKRC6Jo0MBxwYAAJoAAAAAAAAAAAAAAAAAAAAACcgGAAAAAAAACckGAAAAAAHKBgAAowAAAAAAAAABywYAAGwAAAAAACBCAADIQQHMBgAAFAAAAOmiBUQuup1DjlwdQnTRtUESg74/Bs0GAAAJTkFDQUMNCjclCgnOBgAABs8GAAACDQo0AwAA/////wEBCgnQBgAAAQAKAAF3BQAAGwAAAAHRBgAAIAAAABgt9UOZoalDAdIGAAAgAAAAXowaRMRwnUMJ0wYAAAnUBgAAAAAAAAoB1QYAAGwAAAAAAAAAAAAAAAHWBgAAbAAAAAAAAAAAAAAAAAAAAAHXBgAAFAAAAAAAAAAAAAAAAAAAAAAAAACkAQAA/////wEBCgnYBgAAAQAKAAd4BQAAAAEAAAACAAAABBpBcGxvcmlzLkJhc2UuVUkuVmlzdWFsTGluZQMAAAAKCgd5BQAAAAEAAAADAAAABBVTeXN0ZW0uRHJhd2luZy5Qb2ludEYEAAAAAdkGAAAgAAAAdZEKRC6Jo0MB2gYAACAAAAAYrfNDLomjQwHbBgAAIAAAAF5MG0QuiaNDB3oFAAAAAQAAAAMAAAAEF0FwbG9yaXMuQmFzZS5BbmNob3JNb2RlAwAAAAHcBgAAmgAAAAAAAAAB3QYAAJoAAAACAAAAAd4GAACaAAAABAAAAAF7BQAAJAAAAAnuAgAAAAAAAAAAAAABfAUAACUAAAAJ3wYAAAIAAAACAAAAB30FAAAAAQAAAAIAAAAEGkFwbG9yaXMuQmFzZS5VSS5WaXN1YWxMaW5lAwAAAAoKAX4FAAAkAAAACe4CAAAAAAAAAAAAAAF/BQAAJQAAAAnIAwAAAAAAAAAAAAAHgAUAAAABAAAAAgAAAAQaQXBsb3Jpcy5CYXNlLlVJLlZpc3VhbExpbmUDAAAACgoBgQUAACQAAAAJ7gIAAAAAAAAAAAAAAYIFAAAlAAAACcgDAAAAAAAAAAAAAAGDBQAAEAEAAApYAgAAAeAGAADHAQAAAgAAAAHhBgAAyAEAAAEAAAAB4gYAABQAAAAYrfZDmSGrQ5Cu80KgZQ5BAeMGAADKAQAAAAAAAAAAoEAAAeQGAAAgAAAAdZEKRDBbrUMB5QYAAJoAAAAAAAAAAAAAAAAAAAAACeYGAAAAAAAACecGAAAAAAHoBgAAowAAAAAAAAAB6QYAAGwAAAAAAIJCAABAQQHqBgAAFAAAALroAkRddKpDR0V4QqOLLkESg74/BusGAAAKTkFTUEEgICA0JQoJ7AYAAAbtBgAAAyAgIDQDAAD/////AQEKCe4GAAABAAoAAYQFAAAbAAAAAe8GAAAgAAAAGC31Q8YUsUMB8AYAACAAAABejBpEmaGpQwnxBgAACfIGAAAAAAAACgHzBgAAbAAAAAAAAAAAAAAAAfQGAABsAAAAAAAAAAAAAAAAAAAAAfUGAAAUAAAAAAAAAAAAAAAAAAAAAAAAAKQBAAD/////AQEKCfYGAAABAAoAB4UFAAAAAQAAAAIAAAAEGkFwbG9yaXMuQmFzZS5VSS5WaXN1YWxMaW5lAwAAAAoKB4YFAAAAAQAAAAMAAAAEFVN5c3RlbS5EcmF3aW5nLlBvaW50RgQAAAAB9wYAACAAAAB1kQpEMFutQwH4BgAAIAAAABit80MwW61DAfkGAAAgAAAAXkwbRDBbrUMHhwUAAAABAAAAAwAAAAQXQXBsb3Jpcy5CYXNlLkFuY2hvck1vZGUDAAAAAfoGAACaAAAAAAAAAAH7BgAAmgAAAAIAAAAB/AYAAJoAAAAEAAAAAYgFAAAkAAAACe4CAAAAAAAAAAAAAAGJBQAAJQAAAAn9BgAAAgAAAAIAAAABnAUAACIAAAAKCgAAAAAAKEEJcAAAAAlxAAAACf4GAAAAAAn/BgAAAZ0FAAByAAAACgoBAAAAwdDtAP////8AAAGiBQAApwAAAAkABwAAAgAAAA8AAAABpAUAAG8AAAAJAQcAAAoBpwUAAGoAAAAKCgAAAEA/CQIHAAAJAwcAAAEAAAD+////AAAAAAEAAAAAAAAAAAAAAAEAAAAAAAAAAAAAAagFAABrAAAACgoJBAcAAAkFBwAAAQAAAP7///8AAAAA/////wAAAawFAABvAAAACQYHAAAKB7MFAAAAAQAAAAQAAAAEHEFwbG9yaXMuQmFzZS5VSS5WaXN1YWxPYmplY3QDAAAACe8EAAAJ7gQAAAoKAboFAAAiAAAACgoAAAAAAChBCXAAAAAJcQAAAAkHBwAAAAAJCAcAAAG7BQAAcgAAAAoKAQAAAGuP1AD/////AAEBwAUAAKcAAAAJCQcAAAIAAAAGAAAAAcIFAABvAAAACQoHAAAKAcUFAABqAAAACgoAAABAPwkLBwAACQwHAAABAAAA/v///wAAAAABAAAAAAAAAAAAAAABAAAAAAAAAAAAAAHGBQAAawAAAAoKCQ0HAAAJDgcAAAEAAAD+////AAAAAP////8AAAHKBQAAbwAAAAkPBwAACgfRBQAAAAEAAAAEAAAABBxBcGxvcmlzLkJhc2UuVUkuVmlzdWFsT2JqZWN0AwAAAAn8BAAACfsEAAAKCgHYBQAAIgAAAAoKAAAAAAAoQQlwAAAACXEAAAAJEAcAAAAACREHAAAB2QUAAHIAAAAKCgEAAABFddQA/////wABAd4FAACnAAAACRIHAAACAAAABgAAAAHgBQAAbwAAAAkTBwAACgHjBQAAagAAAAoKAAAAQD8JFAcAAAkVBwAAAQAAAP7///8AAAAAAQAAAAAAAAAAAAAAAQAAAAAAAAAAAAAB5AUAAGsAAAAKCgkWBwAACRcHAAABAAAA/v///wAAAAD/////AAAB6AUAAG8AAAAJGAcAAAoH7wUAAAABAAAABAAAAAQcQXBsb3Jpcy5CYXNlLlVJLlZpc3VhbE9iamVjdAMAAAAJCQUAAAkIBQAACgoB9gUAACIAAAAKCgAAAAAAKEEJcAAAAAlxAAAACRkHAAAAAAkaBwAAAfcFAAByAAAACgoBAAAAEUSqAP////8AAQH8BQAApwAAAAkbBwAAAgAAAAQAAAAB/gUAAG8AAAAJHAcAAAoBAQYAAGoAAAAKCgAAAEA/CR0HAAAJHgcAAAEAAAD+////AAAAAAEAAAAAAAAAAAAAAAEAAAAAAAAAAAAAAQIGAABrAAAACgoJHwcAAAkgBwAAAQAAAP7///8AAAAA/////wAAAQYGAABvAAAACSEHAAAKBw0GAAAAAQAAAAQAAAAEHEFwbG9yaXMuQmFzZS5VSS5WaXN1YWxPYmplY3QDAAAACRYFAAAJFQUAAAoKARQGAAAiAAAACgoAAAAAAChBCXAAAAAJcQAAAAkiBwAAAAAJIwcAAAEVBgAAcgAAAAoKAQAAAAUpbgD/////AAEBGgYAAKcAAAAJJAcAAAIAAAAGAAAAARwGAABvAAAACSUHAAAKAR8GAABqAAAACgoAAABAPwkmBwAACScHAAABAAAA/v///wAAAAABAAAAAAAAAAAAAAABAAAAAAAAAAAAAAEgBgAAawAAAAoKCSgHAAAJKQcAAAEAAAD+////AAAAAP////8AAAEkBgAAbwAAAAkqBwAACgcrBgAAAAEAAAAEAAAABBxBcGxvcmlzLkJhc2UuVUkuVmlzdWFsT2JqZWN0AwAAAAkjBQAACSIFAAAKCgEyBgAAIgAAAAoKAAAAAAAoQQlwAAAACXEAAAAJKwcAAAAACSwHAAABMwYAAHIAAAAKCgAAAADDmHQACQAAAAABATgGAACnAAAACS0HAAACAAAABgAAAAE6BgAAbwAAAAkuBwAACgE9BgAAagAAAAoKAAAAQD8JLwcAAAkwBwAAAQAAAP7///8AAAAAAQAAAAAAAAAAAAAAAQAAAAAAAAAAAAABPgYAAGsAAAAKCgkxBwAACTIHAAABAAAA/v///wAAAAD/////AAABQgYAAG8AAAAJMwcAAAoHSQYAAAABAAAABAAAAAQcQXBsb3Jpcy5CYXNlLlVJLlZpc3VhbE9iamVjdAMAAAAJMwUAAAkyBQAACgoBUAYAACIAAAAKCgAAAAAAKEEJcAAAAAlxAAAACTQHAAAAAAk1BwAAAVEGAAByAAAACgoAAAAARjs0AAgAAAAAAQFWBgAApwAAAAk2BwAAAgAAAAQAAAABWAYAAG8AAAAJNwcAAAoBWwYAAGoAAAAKCgAAAEA/CTgHAAAJOQcAAAEAAAD+////AAAAAAEAAAAAAAAAAAAAAAEAAAAAAAAAAAAAAVwGAABrAAAACgoJOgcAAAk7BwAAAQAAAP7///8AAAAA/////wAAAWAGAABvAAAACTwHAAAKB2cGAAAAAQAAAAQAAAAEHEFwbG9yaXMuQmFzZS5VSS5WaXN1YWxPYmplY3QDAAAACUAFAAAJPwUAAAoKAW4GAAAiAAAACgoAAAAAAChBCXAAAAAJcQAAAAk9BwAAAAAJPgcAAAFvBgAAcgAAAAoKAAAAAHKEjAAGAAAAAAEBdAYAAKcAAAAJPwcAAAIAAAAGAAAAAXYGAABvAAAACUAHAAAKAXkGAABqAAAACgoAAABAPwlBBwAACUIHAAABAAAA/v///wAAAAABAAAAAAAAAAAAAAABAAAAAAAAAAAAAAF6BgAAawAAAAoKCUMHAAAJRAcAAAEAAAD+////AAAAAP////8AAAF+BgAAbwAAAAlFBwAACgeFBgAAAAEAAAAEAAAABBxBcGxvcmlzLkJhc2UuVUkuVmlzdWFsT2JqZWN0AwAAAAlNBQAACUwFAAAKCgGMBgAAIgAAAAoKAAAAAAAoQQlwAAAACXEAAAAJRgcAAAAACUcHAAABjQYAAHIAAAAKCgAAAAAiQU4ADwAAAAABAZIGAACnAAAACUgHAAACAAAABgAAAAGUBgAAbwAAAAlJBwAACgGXBgAAagAAAAoKAAAAQD8JSgcAAAlLBwAAAQAAAP7///8AAAAAAQAAAAAAAAAAAAAAAQAAAAAAAAAAAAABmAYAAGsAAAAKCglMBwAACU0HAAABAAAAAAAAAAAAAAD/////AAABnAYAAG8AAAAJTgcAAAoHowYAAAABAAAABAAAAAQcQXBsb3Jpcy5CYXNlLlVJLlZpc3VhbE9iamVjdAMAAAAJXQUAAAlcBQAACgoBqgYAACIAAAAKCgAAAAAAKEEJcAAAAAlxAAAACU8HAAAAAAlQBwAAAasGAAByAAAACgoAAAAAP2l+AAUAAAAAAQGwBgAApwAAAAlRBwAAAgAAAAYAAAABsgYAAG8AAAAJUgcAAAoBtQYAAGoAAAAKCgAAAEA/CVMHAAAJVAcAAAEAAAD+////AAAAAAEAAAAAAAAAAAAAAAEAAAAAAAAAAAAAAbYGAABrAAAACgoJVQcAAAlWBwAAAQAAAAAAAAAAAAAA/////wAAAboGAABvAAAACVcHAAAKB8EGAAAAAQAAAAQAAAAEHEFwbG9yaXMuQmFzZS5VSS5WaXN1YWxPYmplY3QDAAAACWoFAAAJaQUAAAoKAcgGAAAiAAAACgoAAAAAAChBCXAAAAAJcQAAAAlYBwAAAAAJWQcAAAHJBgAAcgAAAAoKAAAAAHKEjAAGAAAAAAEBzgYAAKcAAAAJWgcAAAIAAAAGAAAAAdAGAABvAAAACVsHAAAKAdMGAABqAAAACgoAAABAPwlcBwAACV0HAAABAAAA/v///wAAAAABAAAAAAAAAAAAAAABAAAAAAAAAAAAAAHUBgAAawAAAAoKCV4HAAAJXwcAAAEAAAAAAAAAAAAAAP////8AAAHYBgAAbwAAAAlgBwAACgffBgAAAAEAAAAEAAAABBxBcGxvcmlzLkJhc2UuVUkuVmlzdWFsT2JqZWN0AwAAAAl3BQAACXYFAAAKCgHmBgAAIgAAAAoKAAAAAAAoQQlwAAAACXEAAAAJYQcAAAAACWIHAAAB5wYAAHIAAAAKCgEAAADB0O0A/////wABAewGAACnAAAACWMHAAACAAAABwAAAAHuBgAAbwAAAAlkBwAACgHxBgAAagAAAAoKAAAAQD8JZQcAAAlmBwAAAQAAAP7///8AAAAAAQAAAAAAAAAAAAAAAQAAAAAAAAAAAAAB8gYAAGsAAAAKCglnBwAACWgHAAABAAAAAAAAAAAAAAD/////AAAB9gYAAG8AAAAJaQcAAAoH/QYAAAABAAAABAAAAAQcQXBsb3Jpcy5CYXNlLlVJLlZpc3VhbE9iamVjdAMAAAAJhAUAAAmDBQAACgoB/gYAAHIAAAAKCgAAAAAAAAAADQAAAAAAAf8GAAByAAAACgoAAAAAAAAAAA0AAAAAAQcABwAAAAEAAAAEAAAABB1BcGxvcmlzLkJhc2UuT2JqZWN0cy5WYXJpYWJsZQMAAAABagcAAFkEAAADAAAAAAAAAAFrBwAAWQQAAAIAAAADAAAAAWwHAABZBAAAAAAAAAAAAAABbQcAAFkEAAAAAAAAAAAAAA8BBwAAAQAAAAjKAAAABQIHAAAaQXBsb3Jpcy5CYXNlLk9iamVjdHMuQ29sb3IHAAAAEkRhdGFPYmplY3QrbVBhcmVudBVEYXRhT2JqZWN0K21Db250YWluZXIFbVR5cGUEbVJHQhBtVGhlbWVDb2xvckluZGV4DG1BdXRvVXBkYXRlZAltTW9kaWZpZWQEAgAAAAAAH0FwbG9yaXMuQmFzZS5PYmplY3RzLkxpbmVGb3JtYXQDAAAACAgIAQEDAAAACacFAAAKAAAAAP///wAOAAAAAAAFAwcAABpBcGxvcmlzLkJhc2UuT2JqZWN0cy5Db2xvcgcAAAASRGF0YU9iamVjdCttUGFyZW50FURhdGFPYmplY3QrbUNvbnRhaW5lcgVtVHlwZQRtUkdCEG1UaGVtZUNvbG9ySW5kZXgMbUF1dG9VcGRhdGVkCW1Nb2RpZmllZAQCAAAAAAAfQXBsb3Jpcy5CYXNlLk9iamVjdHMuTGluZUZvcm1hdAMAAAAICAgBAQMAAAAJpwUAAAoBAAAAAAAAAP////8AAQEEBwAAcgAAAAoKAQAAAMHQ7QD/////AAABBQcAAHIAAAAKCgEAAAD///8A/////wAADwYHAAABAAAACLEAAAABBwcAAHIAAAAKCgAAAAAAAAAADQAAAAAAAQgHAAByAAAACgoAAAAAAAAAAA0AAAAAAQcJBwAAAAEAAAAEAAAABB1BcGxvcmlzLkJhc2UuT2JqZWN0cy5WYXJpYWJsZQMAAAABbgcAAFkEAAADAAAAAAAAAAFvBwAAWQQAAAIAAAACAAAAAXAHAABZBAAAAAAAAAAAAAABcQcAAFkEAAAAAAAAAAAAAA8KBwAAAQAAAAjTAAAABQsHAAAaQXBsb3Jpcy5CYXNlLk9iamVjdHMuQ29sb3IHAAAAEkRhdGFPYmplY3QrbVBhcmVudBVEYXRhT2JqZWN0K21Db250YWluZXIFbVR5cGUEbVJHQhBtVGhlbWVDb2xvckluZGV4DG1BdXRvVXBkYXRlZAltTW9kaWZpZWQEAgAAAAAAH0FwbG9yaXMuQmFzZS5PYmplY3RzLkxpbmVGb3JtYXQDAAAACAgIAQEDAAAACcUFAAAKAAAAAP///wAOAAAAAAAFDAcAABpBcGxvcmlzLkJhc2UuT2JqZWN0cy5Db2xvcgcAAAASRGF0YU9iamVjdCttUGFyZW50FURhdGFPYmplY3QrbUNvbnRhaW5lcgVtVHlwZQRtUkdCEG1UaGVtZUNvbG9ySW5kZXgMbUF1dG9VcGRhdGVkCW1Nb2RpZmllZAQCAAAAAAAfQXBsb3Jpcy5CYXNlLk9iamVjdHMuTGluZUZvcm1hdAMAAAAICAgBAQMAAAAJxQUAAAoBAAAAAAAAAP////8AAQENBwAAcgAAAAoKAQAAAGuP1AD/////AAABDgcAAHIAAAAKCgEAAAD///8A/////wAADw8HAAABAAAACLIAAAABEAcAAHIAAAAKCgAAAAD///8ADgAAAAAAAREHAAByAAAACgoAAAAA////AA4AAAAAAQcSBwAAAAEAAAAEAAAABB1BcGxvcmlzLkJhc2UuT2JqZWN0cy5WYXJpYWJsZQMAAAABcgcAAFkEAAADAAAAAAAAAAFzBwAAWQQAAAIAAAACAAAAAXQHAABZBAAAAAAAAAAAAAABdQcAAFkEAAAAAAAAAAAAAA8TBwAAAQAAAAjVAAAABRQHAAAaQXBsb3Jpcy5CYXNlLk9iamVjdHMuQ29sb3IHAAAAEkRhdGFPYmplY3QrbVBhcmVudBVEYXRhT2JqZWN0K21Db250YWluZXIFbVR5cGUEbVJHQhBtVGhlbWVDb2xvckluZGV4DG1BdXRvVXBkYXRlZAltTW9kaWZpZWQEAgAAAAAAH0FwbG9yaXMuQmFzZS5PYmplY3RzLkxpbmVGb3JtYXQDAAAACAgIAQEDAAAACeMFAAAKAAAAAP///wAOAAAAAAAFFQcAABpBcGxvcmlzLkJhc2UuT2JqZWN0cy5Db2xvcgcAAAASRGF0YU9iamVjdCttUGFyZW50FURhdGFPYmplY3QrbUNvbnRhaW5lcgVtVHlwZQRtUkdCEG1UaGVtZUNvbG9ySW5kZXgMbUF1dG9VcGRhdGVkCW1Nb2RpZmllZAQCAAAAAAAfQXBsb3Jpcy5CYXNlLk9iamVjdHMuTGluZUZvcm1hdAMAAAAICAgBAQMAAAAJ4wUAAAoBAAAAAAAAAP////8AAQEWBwAAcgAAAAoKAQAAAEV11AD/////AAABFwcAAHIAAAAKCgEAAAD///8A/////wAADxgHAAABAAAACLAAAAABGQcAAHIAAAAKCgAAAAD///8ADgAAAAAAARoHAAByAAAACgoAAAAA////AA4AAAAAAQcbBwAAAAEAAAAEAAAABB1BcGxvcmlzLkJhc2UuT2JqZWN0cy5WYXJpYWJsZQMAAAABdgcAAFkEAAADAAAAAAAAAAF3BwAAWQQAAAIAAAACAAAAAXgHAABZBAAAAAAAAAAAAAABeQcAAFkEAAAAAAAAAAAAAA8cBwAAAQAAAAjUAAAABR0HAAAaQXBsb3Jpcy5CYXNlLk9iamVjdHMuQ29sb3IHAAAAEkRhdGFPYmplY3QrbVBhcmVudBVEYXRhT2JqZWN0K21Db250YWluZXIFbVR5cGUEbVJHQhBtVGhlbWVDb2xvckluZGV4DG1BdXRvVXBkYXRlZAltTW9kaWZpZWQEAgAAAAAAH0FwbG9yaXMuQmFzZS5PYmplY3RzLkxpbmVGb3JtYXQDAAAACAgIAQEDAAAACQEGAAAKAAAAAP///wAOAAAAAAAFHgcAABpBcGxvcmlzLkJhc2UuT2JqZWN0cy5Db2xvcgcAAAASRGF0YU9iamVjdCttUGFyZW50FURhdGFPYmplY3QrbUNvbnRhaW5lcgVtVHlwZQRtUkdCEG1UaGVtZUNvbG9ySW5kZXgMbUF1dG9VcGRhdGVkCW1Nb2RpZmllZAQCAAAAAAAfQXBsb3Jpcy5CYXNlLk9iamVjdHMuTGluZUZvcm1hdAMAAAAICAgBAQMAAAAJAQYAAAoBAAAAAAAAAP////8AAQEfBwAAcgAAAAoKAQAAABFEqgD/////AAABIAcAAHIAAAAKCgEAAAD///8A/////wAADyEHAAABAAAACK4AAAABIgcAAHIAAAAKCgAAAAD///8ADgAAAAAAASMHAAByAAAACgoAAAAA////AA4AAAAAAQckBwAAAAEAAAAEAAAABB1BcGxvcmlzLkJhc2UuT2JqZWN0cy5WYXJpYWJsZQMAAAABegcAAFkEAAADAAAAAAAAAAF7BwAAWQQAAAIAAAACAAAAAXwHAABZBAAAAAAAAAAAAAABfQcAAFkEAAAAAAAAAAAAAA8lBwAAAQAAAAjRAAAABSYHAAAaQXBsb3Jpcy5CYXNlLk9iamVjdHMuQ29sb3IHAAAAEkRhdGFPYmplY3QrbVBhcmVudBVEYXRhT2JqZWN0K21Db250YWluZXIFbVR5cGUEbVJHQhBtVGhlbWVDb2xvckluZGV4DG1BdXRvVXBkYXRlZAltTW9kaWZpZWQEAgAAAAAAH0FwbG9yaXMuQmFzZS5PYmplY3RzLkxpbmVGb3JtYXQDAAAACAgIAQEDAAAACR8GAAAKAAAAAP///wAOAAAAAAAFJwcAABpBcGxvcmlzLkJhc2UuT2JqZWN0cy5Db2xvcgcAAAASRGF0YU9iamVjdCttUGFyZW50FURhdGFPYmplY3QrbUNvbnRhaW5lcgVtVHlwZQRtUkdCEG1UaGVtZUNvbG9ySW5kZXgMbUF1dG9VcGRhdGVkCW1Nb2RpZmllZAQCAAAAAAAfQXBsb3Jpcy5CYXNlLk9iamVjdHMuTGluZUZvcm1hdAMAAAAICAgBAQMAAAAJHwYAAAoBAAAAAAAAAP////8AAQEoBwAAcgAAAAoKAQAAAAUpbgD/////AAABKQcAAHIAAAAKCgEAAAD///8A/////wAADyoHAAABAAAACK8AAAABKwcAAHIAAAAKCgAAAAAAAAAADQAAAAAAASwHAAByAAAACgoAAAAAAAAAAA0AAAAAAQctBwAAAAEAAAAEAAAABB1BcGxvcmlzLkJhc2UuT2JqZWN0cy5WYXJpYWJsZQMAAAABfgcAAFkEAAADAAAAAAAAAAF/BwAAWQQAAAIAAAACAAAAAYAHAABZBAAAAAAAAAAAAAABgQcAAFkEAAAAAAAAAAAAAA8uBwAAAQAAAAjMAAAABS8HAAAaQXBsb3Jpcy5CYXNlLk9iamVjdHMuQ29sb3IHAAAAEkRhdGFPYmplY3QrbVBhcmVudBVEYXRhT2JqZWN0K21Db250YWluZXIFbVR5cGUEbVJHQhBtVGhlbWVDb2xvckluZGV4DG1BdXRvVXBkYXRlZAltTW9kaWZpZWQEAgAAAAAAH0FwbG9yaXMuQmFzZS5PYmplY3RzLkxpbmVGb3JtYXQDAAAACAgIAQEDAAAACT0GAAAKAAAAAP///wAOAAAAAAAFMAcAABpBcGxvcmlzLkJhc2UuT2JqZWN0cy5Db2xvcgcAAAASRGF0YU9iamVjdCttUGFyZW50FURhdGFPYmplY3QrbUNvbnRhaW5lcgVtVHlwZQRtUkdCEG1UaGVtZUNvbG9ySW5kZXgMbUF1dG9VcGRhdGVkCW1Nb2RpZmllZAQCAAAAAAAfQXBsb3Jpcy5CYXNlLk9iamVjdHMuTGluZUZvcm1hdAMAAAAICAgBAQMAAAAJPQYAAAoBAAAAAAAAAP////8AAQExBwAAcgAAAAoKAAAAAMOYdAAJAAAAAAABMgcAAHIAAAAKCgEAAAD///8A/////wAADzMHAAABAAAACKsAAAABNAcAAHIAAAAKCgAAAAD///8ADgAAAAAAATUHAAByAAAACgoAAAAA////AA4AAAAAAQc2BwAAAAEAAAAEAAAABB1BcGxvcmlzLkJhc2UuT2JqZWN0cy5WYXJpYWJsZQMAAAABggcAAFkEAAADAAAAAAAAAAGDBwAAWQQAAAIAAAACAAAAAYQHAABZBAAAAAAAAAAAAAABhQcAAFkEAAAAAAAAAAAAAA83BwAAAQAAAAjJAAAABTgHAAAaQXBsb3Jpcy5CYXNlLk9iamVjdHMuQ29sb3IHAAAAEkRhdGFPYmplY3QrbVBhcmVudBVEYXRhT2JqZWN0K21Db250YWluZXIFbVR5cGUEbVJHQhBtVGhlbWVDb2xvckluZGV4DG1BdXRvVXBkYXRlZAltTW9kaWZpZWQEAgAAAAAAH0FwbG9yaXMuQmFzZS5PYmplY3RzLkxpbmVGb3JtYXQDAAAACAgIAQEDAAAACVsGAAAKAAAAAP///wAOAAAAAAAFOQcAABpBcGxvcmlzLkJhc2UuT2JqZWN0cy5Db2xvcgcAAAASRGF0YU9iamVjdCttUGFyZW50FURhdGFPYmplY3QrbUNvbnRhaW5lcgVtVHlwZQRtUkdCEG1UaGVtZUNvbG9ySW5kZXgMbUF1dG9VcGRhdGVkCW1Nb2RpZmllZAQCAAAAAAAfQXBsb3Jpcy5CYXNlLk9iamVjdHMuTGluZUZvcm1hdAMAAAAICAgBAQMAAAAJWwYAAAoBAAAAAAAAAP////8AAQE6BwAAcgAAAAoKAAAAAEY7NAAIAAAAAAABOwcAAHIAAAAKCgEAAAD///8A/////wAADzwHAAABAAAACKkAAAABPQcAAHIAAAAKCgAAAAD///8ADgAAAAAAAT4HAAByAAAACgoAAAAA////AA4AAAAAAQc/BwAAAAEAAAAEAAAABB1BcGxvcmlzLkJhc2UuT2JqZWN0cy5WYXJpYWJsZQMAAAABhgcAAFkEAAADAAAAAAAAAAGHBwAAWQQAAAIAAAACAAAAAYgHAABZBAAAAAAAAAAAAAABiQcAAFkEAAAAAAAAAAAAAA9ABwAAAQAAAAjLAAAABUEHAAAaQXBsb3Jpcy5CYXNlLk9iamVjdHMuQ29sb3IHAAAAEkRhdGFPYmplY3QrbVBhcmVudBVEYXRhT2JqZWN0K21Db250YWluZXIFbVR5cGUEbVJHQhBtVGhlbWVDb2xvckluZGV4DG1BdXRvVXBkYXRlZAltTW9kaWZpZWQEAgAAAAAAH0FwbG9yaXMuQmFzZS5PYmplY3RzLkxpbmVGb3JtYXQDAAAACAgIAQEDAAAACXkGAAAKAAAAAP///wAOAAAAAAAFQgcAABpBcGxvcmlzLkJhc2UuT2JqZWN0cy5Db2xvcgcAAAASRGF0YU9iamVjdCttUGFyZW50FURhdGFPYmplY3QrbUNvbnRhaW5lcgVtVHlwZQRtUkdCEG1UaGVtZUNvbG9ySW5kZXgMbUF1dG9VcGRhdGVkCW1Nb2RpZmllZAQCAAAAAAAfQXBsb3Jpcy5CYXNlLk9iamVjdHMuTGluZUZvcm1hdAMAAAAICAgBAQMAAAAJeQYAAAoBAAAAAAAAAP////8AAQFDBwAAcgAAAAoKAAAAAHKEjAAGAAAAAAABRAcAAHIAAAAKCgEAAAD///8A/////wAAD0UHAAABAAAACKoAAAABRgcAAHIAAAAKCgAAAAD///8ADgAAAAAAAUcHAAByAAAACgoAAAAA////AA4AAAAAAQdIBwAAAAEAAAAEAAAABB1BcGxvcmlzLkJhc2UuT2JqZWN0cy5WYXJpYWJsZQMAAAABigcAAFkEAAADAAAAAAAAAAGLBwAAWQQAAAIAAAACAAAAAYwHAABZBAAAAAAAAAAAAAABjQcAAFkEAAAAAAAAAAAAAA9JBwAAAQAAAAg4AQAABUoHAAAaQXBsb3Jpcy5CYXNlLk9iamVjdHMuQ29sb3IHAAAAEkRhdGFPYmplY3QrbVBhcmVudBVEYXRhT2JqZWN0K21Db250YWluZXIFbVR5cGUEbVJHQhBtVGhlbWVDb2xvckluZGV4DG1BdXRvVXBkYXRlZAltTW9kaWZpZWQEAgAAAAAAH0FwbG9yaXMuQmFzZS5PYmplY3RzLkxpbmVGb3JtYXQDAAAACAgIAQEDAAAACZcGAAAKAAAAAP///wAOAAAAAAAFSwcAABpBcGxvcmlzLkJhc2UuT2JqZWN0cy5Db2xvcgcAAAASRGF0YU9iamVjdCttUGFyZW50FURhdGFPYmplY3QrbUNvbnRhaW5lcgVtVHlwZQRtUkdCEG1UaGVtZUNvbG9ySW5kZXgMbUF1dG9VcGRhdGVkCW1Nb2RpZmllZAQCAAAAAAAfQXBsb3Jpcy5CYXNlLk9iamVjdHMuTGluZUZvcm1hdAMAAAAICAgBAQMAAAAJlwYAAAoBAAAAAAAAAP////8AAQFMBwAAcgAAAAoKAAAAACJBTgAPAAAAAAABTQcAAHIAAAAKCgEAAAAAAAAA/////wABD04HAAABAAAACCcBAAABTwcAAHIAAAAKCgAAAAD///8ADgAAAAAAAVAHAAByAAAACgoAAAAA////AA4AAAAAAQdRBwAAAAEAAAAEAAAABB1BcGxvcmlzLkJhc2UuT2JqZWN0cy5WYXJpYWJsZQMAAAABjgcAAFkEAAADAAAAAAAAAAGPBwAAWQQAAAIAAAACAAAAAZAHAABZBAAAAAAAAAAAAAABkQcAAFkEAAAAAAAAAAAAAA9SBwAAAQAAAAg3AQAABVMHAAAaQXBsb3Jpcy5CYXNlLk9iamVjdHMuQ29sb3IHAAAAEkRhdGFPYmplY3QrbVBhcmVudBVEYXRhT2JqZWN0K21Db250YWluZXIFbVR5cGUEbVJHQhBtVGhlbWVDb2xvckluZGV4DG1BdXRvVXBkYXRlZAltTW9kaWZpZWQEAgAAAAAAH0FwbG9yaXMuQmFzZS5PYmplY3RzLkxpbmVGb3JtYXQDAAAACAgIAQEDAAAACbUGAAAKAAAAAP///wAOAAAAAAAFVAcAABpBcGxvcmlzLkJhc2UuT2JqZWN0cy5Db2xvcgcAAAASRGF0YU9iamVjdCttUGFyZW50FURhdGFPYmplY3QrbUNvbnRhaW5lcgVtVHlwZQRtUkdCEG1UaGVtZUNvbG9ySW5kZXgMbUF1dG9VcGRhdGVkCW1Nb2RpZmllZAQCAAAAAAAfQXBsb3Jpcy5CYXNlLk9iamVjdHMuTGluZUZvcm1hdAMAAAAICAgBAQMAAAAJtQYAAAoBAAAAAAAAAP////8AAQFVBwAAcgAAAAoKAAAAAD9pfgAFAAAAAAABVgcAAHIAAAAKCgEAAAAAAAAA/////wABD1cHAAABAAAACCQBAAABWAcAAHIAAAAKCgAAAAD///8ADgAAAAAAAVkHAAByAAAACgoAAAAA////AA4AAAAAAQdaBwAAAAEAAAAEAAAABB1BcGxvcmlzLkJhc2UuT2JqZWN0cy5WYXJpYWJsZQMAAAABkgcAAFkEAAADAAAAAAAAAAGTBwAAWQQAAAIAAAACAAAAAZQHAABZBAAAAAAAAAAAAAABlQcAAFkEAAAAAAAAAAAAAA9bBwAAAQAAAAg5AQAABVwHAAAaQXBsb3Jpcy5CYXNlLk9iamVjdHMuQ29sb3IHAAAAEkRhdGFPYmplY3QrbVBhcmVudBVEYXRhT2JqZWN0K21Db250YWluZXIFbVR5cGUEbVJHQhBtVGhlbWVDb2xvckluZGV4DG1BdXRvVXBkYXRlZAltTW9kaWZpZWQEAgAAAAAAH0FwbG9yaXMuQmFzZS5PYmplY3RzLkxpbmVGb3JtYXQDAAAACAgIAQEDAAAACdMGAAAKAAAAAP///wAOAAAAAAAFXQcAABpBcGxvcmlzLkJhc2UuT2JqZWN0cy5Db2xvcgcAAAASRGF0YU9iamVjdCttUGFyZW50FURhdGFPYmplY3QrbUNvbnRhaW5lcgVtVHlwZQRtUkdCEG1UaGVtZUNvbG9ySW5kZXgMbUF1dG9VcGRhdGVkCW1Nb2RpZmllZAQCAAAAAAAfQXBsb3Jpcy5CYXNlLk9iamVjdHMuTGluZUZvcm1hdAMAAAAICAgBAQMAAAAJ0wYAAAoBAAAAAAAAAP////8AAQFeBwAAcgAAAAoKAAAAAHKEjAAGAAAAAAABXwcAAHIAAAAKCgEAAAAAAAAA/////wABD2AHAAABAAAACCYBAAABYQcAAHIAAAAKCgAAAAAAAAAADQAAAAAAAWIHAAByAAAACgoAAAAAAAAAAA0AAAAAAQdjBwAAAAEAAAAEAAAABB1BcGxvcmlzLkJhc2UuT2JqZWN0cy5WYXJpYWJsZQMAAAABlgcAAFkEAAADAAAAAAAAAAGXBwAAWQQAAAIAAAADAAAAAZgHAABZBAAAAAAAAAAAAAABmQcAAFkEAAAAAAAAAAAAAA9kBwAAAQAAAAg2AQAABWUHAAAaQXBsb3Jpcy5CYXNlLk9iamVjdHMuQ29sb3IHAAAAEkRhdGFPYmplY3QrbVBhcmVudBVEYXRhT2JqZWN0K21Db250YWluZXIFbVR5cGUEbVJHQhBtVGhlbWVDb2xvckluZGV4DG1BdXRvVXBkYXRlZAltTW9kaWZpZWQEAgAAAAAAH0FwbG9yaXMuQmFzZS5PYmplY3RzLkxpbmVGb3JtYXQDAAAACAgIAQEDAAAACfEGAAAKAAAAAP///wAOAAAAAAAFZgcAABpBcGxvcmlzLkJhc2UuT2JqZWN0cy5Db2xvcgcAAAASRGF0YU9iamVjdCttUGFyZW50FURhdGFPYmplY3QrbUNvbnRhaW5lcgVtVHlwZQRtUkdCEG1UaGVtZUNvbG9ySW5kZXgMbUF1dG9VcGRhdGVkCW1Nb2RpZmllZAQCAAAAAAAfQXBsb3Jpcy5CYXNlLk9iamVjdHMuTGluZUZvcm1hdAMAAAAICAgBAQMAAAAJ8QYAAAoBAAAAAAAAAP////8AAQFnBwAAcgAAAAoKAQAAAMHQ7QD/////AAABaAcAAHIAAAAKCgEAAAAAAAAA/////wABD2kHAAABAAAACCUBAAAL"/>
</p:tagLst>
</file>

<file path=ppt/tags/tag20.xml><?xml version="1.0" encoding="utf-8"?>
<p:tagLst xmlns:a="http://schemas.openxmlformats.org/drawingml/2006/main" xmlns:r="http://schemas.openxmlformats.org/officeDocument/2006/relationships" xmlns:p="http://schemas.openxmlformats.org/presentationml/2006/main">
  <p:tag name="APLORISTAG" val="MX/IjfW661gLV+xOY.359"/>
</p:tagLst>
</file>

<file path=ppt/tags/tag200.xml><?xml version="1.0" encoding="utf-8"?>
<p:tagLst xmlns:a="http://schemas.openxmlformats.org/drawingml/2006/main" xmlns:r="http://schemas.openxmlformats.org/officeDocument/2006/relationships" xmlns:p="http://schemas.openxmlformats.org/presentationml/2006/main">
  <p:tag name="APLORISTAG" val="M8ejm1SFH7rYyU1s2.214"/>
</p:tagLst>
</file>

<file path=ppt/tags/tag201.xml><?xml version="1.0" encoding="utf-8"?>
<p:tagLst xmlns:a="http://schemas.openxmlformats.org/drawingml/2006/main" xmlns:r="http://schemas.openxmlformats.org/officeDocument/2006/relationships" xmlns:p="http://schemas.openxmlformats.org/presentationml/2006/main">
  <p:tag name="APLORISTAG" val="M8ejm1SFH7rYyU1s2.215"/>
</p:tagLst>
</file>

<file path=ppt/tags/tag202.xml><?xml version="1.0" encoding="utf-8"?>
<p:tagLst xmlns:a="http://schemas.openxmlformats.org/drawingml/2006/main" xmlns:r="http://schemas.openxmlformats.org/officeDocument/2006/relationships" xmlns:p="http://schemas.openxmlformats.org/presentationml/2006/main">
  <p:tag name="APLORISTAG" val="M8ejm1SFH7rYyU1s2.216"/>
</p:tagLst>
</file>

<file path=ppt/tags/tag203.xml><?xml version="1.0" encoding="utf-8"?>
<p:tagLst xmlns:a="http://schemas.openxmlformats.org/drawingml/2006/main" xmlns:r="http://schemas.openxmlformats.org/officeDocument/2006/relationships" xmlns:p="http://schemas.openxmlformats.org/presentationml/2006/main">
  <p:tag name="APLORISTAG" val="M8ejm1SFH7rYyU1s2.217"/>
</p:tagLst>
</file>

<file path=ppt/tags/tag204.xml><?xml version="1.0" encoding="utf-8"?>
<p:tagLst xmlns:a="http://schemas.openxmlformats.org/drawingml/2006/main" xmlns:r="http://schemas.openxmlformats.org/officeDocument/2006/relationships" xmlns:p="http://schemas.openxmlformats.org/presentationml/2006/main">
  <p:tag name="APLORISTAG" val="M8ejm1SFH7rYyU1s2.218"/>
</p:tagLst>
</file>

<file path=ppt/tags/tag205.xml><?xml version="1.0" encoding="utf-8"?>
<p:tagLst xmlns:a="http://schemas.openxmlformats.org/drawingml/2006/main" xmlns:r="http://schemas.openxmlformats.org/officeDocument/2006/relationships" xmlns:p="http://schemas.openxmlformats.org/presentationml/2006/main">
  <p:tag name="APLORISTAG" val="M8ejm1SFH7rYyU1s2.219"/>
</p:tagLst>
</file>

<file path=ppt/tags/tag206.xml><?xml version="1.0" encoding="utf-8"?>
<p:tagLst xmlns:a="http://schemas.openxmlformats.org/drawingml/2006/main" xmlns:r="http://schemas.openxmlformats.org/officeDocument/2006/relationships" xmlns:p="http://schemas.openxmlformats.org/presentationml/2006/main">
  <p:tag name="APLORISTAG" val="M8ejm1SFH7rYyU1s2.220"/>
</p:tagLst>
</file>

<file path=ppt/tags/tag207.xml><?xml version="1.0" encoding="utf-8"?>
<p:tagLst xmlns:a="http://schemas.openxmlformats.org/drawingml/2006/main" xmlns:r="http://schemas.openxmlformats.org/officeDocument/2006/relationships" xmlns:p="http://schemas.openxmlformats.org/presentationml/2006/main">
  <p:tag name="APLORISTAG" val="M8ejm1SFH7rYyU1s2.221"/>
</p:tagLst>
</file>

<file path=ppt/tags/tag208.xml><?xml version="1.0" encoding="utf-8"?>
<p:tagLst xmlns:a="http://schemas.openxmlformats.org/drawingml/2006/main" xmlns:r="http://schemas.openxmlformats.org/officeDocument/2006/relationships" xmlns:p="http://schemas.openxmlformats.org/presentationml/2006/main">
  <p:tag name="APLORISTAG" val="M8ejm1SFH7rYyU1s2.222"/>
</p:tagLst>
</file>

<file path=ppt/tags/tag209.xml><?xml version="1.0" encoding="utf-8"?>
<p:tagLst xmlns:a="http://schemas.openxmlformats.org/drawingml/2006/main" xmlns:r="http://schemas.openxmlformats.org/officeDocument/2006/relationships" xmlns:p="http://schemas.openxmlformats.org/presentationml/2006/main">
  <p:tag name="APLORISTAG" val="M8ejm1SFH7rYyU1s2.223"/>
</p:tagLst>
</file>

<file path=ppt/tags/tag21.xml><?xml version="1.0" encoding="utf-8"?>
<p:tagLst xmlns:a="http://schemas.openxmlformats.org/drawingml/2006/main" xmlns:r="http://schemas.openxmlformats.org/officeDocument/2006/relationships" xmlns:p="http://schemas.openxmlformats.org/presentationml/2006/main">
  <p:tag name="APLORISTAG" val="MX/IjfW661gLV+xOY.360"/>
</p:tagLst>
</file>

<file path=ppt/tags/tag210.xml><?xml version="1.0" encoding="utf-8"?>
<p:tagLst xmlns:a="http://schemas.openxmlformats.org/drawingml/2006/main" xmlns:r="http://schemas.openxmlformats.org/officeDocument/2006/relationships" xmlns:p="http://schemas.openxmlformats.org/presentationml/2006/main">
  <p:tag name="APLORISTAG" val="M8ejm1SFH7rYyU1s2.224"/>
</p:tagLst>
</file>

<file path=ppt/tags/tag211.xml><?xml version="1.0" encoding="utf-8"?>
<p:tagLst xmlns:a="http://schemas.openxmlformats.org/drawingml/2006/main" xmlns:r="http://schemas.openxmlformats.org/officeDocument/2006/relationships" xmlns:p="http://schemas.openxmlformats.org/presentationml/2006/main">
  <p:tag name="APLORISTAG" val="Mz+GVVSsYoRG5+PN4"/>
</p:tagLst>
</file>

<file path=ppt/tags/tag212.xml><?xml version="1.0" encoding="utf-8"?>
<p:tagLst xmlns:a="http://schemas.openxmlformats.org/drawingml/2006/main" xmlns:r="http://schemas.openxmlformats.org/officeDocument/2006/relationships" xmlns:p="http://schemas.openxmlformats.org/presentationml/2006/main">
  <p:tag name="APLORISTAG" val="Mz+GVVSsYoRG5+PN4.642"/>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AFFQAAABlTeXN0ZW0uRHJhd2luZy5SZWN0YW5nbGVGBAAAAAF4AXkFd2lkdGgGaGVpZ2h0AAAAAAsLCwsEAAAA//9/////f////3////9//wEWAAAAFQAAAP//f////3////9/////f/8AAAAAAAUXAAAALEFwbG9yaXMuQ2hhcnQuQXhpc0JyZWFrK0F4aXNCcmVha0Rpc3BsYXlNb2RlAQAAAAd2YWx1ZV9fAAgCAAAAAQAAAAEBAQoKCRgAAAAKCgAAAAAACRkAAAAKCRoAAAAAAAAACgUbAAAAGUFwbG9yaXMuQ2hhcnQuT3JpZW50YXRpb24BAAAAB3ZhbHVlX18ACAIAAAABAAAACRwAAAABHQAAABUAAAAYoy1CjlZ6QTBQ/UOvhp5DAAQeAAAAC1N5c3RlbS5HdWlkCwAAAAJfYQJfYgJfYwJfZAJfZQJfZgJfZwJfaAJfaQJfagJfawAAAAAAAAAAAAAACAcHAgICAgICAgIAAAAAAAAAAAAAAAAAAAAAAAoKCR8AAAAACgoKAQAAAAAAAAD/////AAABIAAAABUAAAC66M1DXXThQTAWv0Hoon1D1gT5Qt3k/UJKOgxEZG7LQwUhAAAAFVN5c3RlbS5EcmF3aW5nLlBvaW50RgIAAAABeAF5AAALCwQAAAA2XepDarkxQwYiAAAAEHorR1ZWU3NZb1JHNStQTjQ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GKMtQmNZpkMBLwAAACEAAABKgglEY1mmQwkwAAAACTEAAAAJMgAAAAkzAAAAAAAAAAAAAAAAAAAACTQAAAAAAAAAAAAJNQAAAAkBAAAACQEAAAAJNgAAAAEHAAAABgAAAAkBAAAAATcAAAAnAAAAAAAAAM3MTD8AAAAIAQAJAQAAAAk4AAAACTkAAAABAAAAAAAAAAABAAAAAAAA8D8BmpmZmZmZuT8AAAAgQQEBCToAAAAKCTsAAAAJPAAAAAk9AAAAAT4AAAAhAAAAGKMtQmNZpkMBPwAAACEAAAAYoy1CjlZ6QQ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BophdCYSC4Q40APEMw4OBBCWUAAAAF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AwAAAAgBAAAAAgAAAAMAAAAFHAAAABpBcGxvcmlzLkJhc2UuVUkuVmlzdWFsUmVjdBQAAAALbVN0YXJ0UG9pbnQJbUVuZFBvaW50C21MaW5lRm9ybWF0C21GaWxsRm9ybWF0CW1Sb3RhdGlvbhJtUmVjdGFuZ2xlUHJvdmlkZXIMbVBhaW50T2Zmc2V0Em1QYWludFNpemVPdmVycmlkZQ5tRXh0cmFSb3RhdGlvbg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QEBAAEAAAAAAcCAAADABVTeXN0ZW0uRHJhd2luZy5Qb2ludEYEAAAAFVN5c3RlbS5EcmF3aW5nLlBvaW50RgQAAAAfQXBsb3Jpcy5CYXNlLk9iamVjdHMuTGluZUZvcm1hdAMAAAAfQXBsb3Jpcy5CYXNlLk9iamVjdHMuRmlsbEZvcm1hdAMAAAALKkFwbG9yaXMuQmFzZS5VSS5JUmVjdGFuZ2xlUG9zaXRpb25Qcm92aWRlcgMAAAAUU3lzdGVtLkRyYXdpbmcuU2l6ZUYEAAAAFFN5c3RlbS5EcmF3aW5nLlNpemVGBAAAAAsZU3lzdGVtLkRyYXdpbmcuUmVjdGFuZ2xlRgQAAAAICAEBCAEBD1N5c3RlbS5JbnRQdHJbXQEDAAAAAW4AAAAhAAAAGKMtQo5WekEBbwAAACEAAABKgglEY1mmQwlwAAAACXEAAAAAAAAACgVyAAAAFFN5c3RlbS5EcmF3aW5nLlNpemVGAgAAAAV3aWR0aAZoZWlnaHQAAAsLBAAAAAAAAAAAAAAAAXMAAAByAAAAAAAAAAAAAAAAAAAAAXQAAAAVAAAAAAAAAAAAAAAAAAAAAAAAABQAAAD/////AQEKCXUAAAABAAoADx8AAABDNwAAAlBLAwQUAAYACAAAACEAeWJDn34BAAD4BQ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xFTJTsMwEL0j8Q+Rryhx2wNCqGkPFI5QifIBxp40UeNFHnf7eyZuQVCFlKqVuMSK7bdNMjMcb3SdrMBjZU3O+lmPJWCkVZWZ5+xt9pTesQSDMErU1kDOtoBsPLq+Gs62DjAhtMGclSG4e85RlqAFZtaBoZPCei0Cvfo5d0IuxBz4oNe75dKaACakoeFgo+EECrGsQ/K4oe2dE4Kz5GF3r5HKmXCurqQIZJQ3p7wVt+rErYw6MJfaoqgkKCuXmixlhJ94sab4vwh4qLHDWYvCPnpGyOgey8rhzT7CC9XeVwqSqfDhWWgKyjc1X1u/eLd2kXXXoUXtIA86D0JhCRB0ncU106Iyf9CPl5HHpX9hI02+SHyij8E/+Qj0YwOPz/NLEWmOBMewrQEvnHZHeky5FB7Ua/DUAxc38J37iA9pddOReH69f/bAJ2+XPI2DqbcOaVJ5OP0jfHZ8g04dEYEPFXT2/JcijbnTBQ+aHpo5qkC1aPM4t0cfAAAA//8DAFBLAwQUAAYACAAAACEAUHxOwfY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ySz0oDMRCH74LvEObezbaCiDTbiwi9idQHGJPZP+xuJiTTun17g6C4sNYek8x8882PbHfTOKgTxdSxN7AuSlDkLbvONwbeDs+rB1BJ0Dsc2JOBMyXYVbc321caUHJTaruQVKb4ZKAVCY9aJ9vSiKngQD6/1BxHlHyMjQ5oe2xIb8ryXsffDKhmTLV3BuLerUEdziFP/p/Ndd1ZemJ7HMnLwgg9r8hkjA2JgWnQHxz7d+a+yMKgl10217v8vaceSdChoLYcaRViTilKl3P90XFsX/J1+qq4JHR3vdB89aVwaBLyjtxlJQzh20jP/kD1CQAA//8DAFBLAwQUAAYACAAAACEAE/jtsPkAAABHAw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vJLNasMwEITvhb6D2Hst2/2hhMi5lEKubfoAQl5bJrYktNsfv31FQlMHgnsxPc4smvnY1XrzNfTiAyN13ikoshwEOuPrzrUK3nbPN48giLWrde8dKhiRYFNdX61fsNecHpHtAomU4kiBZQ4rKclYHDRlPqBLk8bHQXOSsZVBm71uUZZ5/iDjNAOqs0yxrRXEbX0LYjeG1Px3tm+azuCTN+8DOr5QITlxYQrUsUVWcJBHs8gSKMjLDHdLMhCPfVriCeKo5+rvF623OmL9yjFdeEoxtedgiiVhPn3ck0Xk33WcLJKHyexhyn+GKX82I8++f/UNAAD//wMAUEsDBBQABgAIAAAAIQCt96GT0QEAAAQDAAAPAAAAeGwvd29ya2Jvb2sueG1sjFJNj9MwEL0j8R8s31s7TtJdVU1WpR+iEkIrWHbPxnEba/0R2Q7JCvHfmSRkKXDhZI/HM2/em7e5641G36QPytkCJ0uKkbTCVcpeCvzl4bi4xShEbiuunZUFfpEB35Vv32w655+/OveMoIENBa5jbNaEBFFLw8PSNdJC5uy84RFCfyGh8ZJXoZYyGk0YpStiuLJ46rD2/9PDnc9KyL0TrZE2Tk281DzC+KFWTcDl5qy0fJwYId40H7mBuXuNkeYhHioVZVXgHELXyT8efNu8a5WGLFtRmmFSvrK894i30e2cARIh3CsRW7gUmA6/Bh0elezC74IhRP2TspXrCpzeUBD2ZQ4ZZRB2Y/JJVbEGxCQZvkxv76W61BHWwdJsBCBXCKOAgDSeyI7sto12XoU9jxzWNSh8AhYJRn6t4OJPVTLMeV3y2RmJPvEO/VXErorYUERmQMG1AB2GY+yeUUoBQjgrWu9hHTvI/FJE9vFDiOUGTtR6VeDvNzlLD/k+XbD8mC62+YEuklXKFqvsyPJsx1iWsx+zF0z/jxmMEt4Fd45L4QyZfAD+EUT2Qo52up3sVG5Mv956UZ/26Kj5BZY08YBZgM08GZkNXP4EAAD//wMAUEsDBBQABgAIAAAAIQAYPBZwbgkAAK2FAAANAAAAeGwvc3R5bGVzLnhtbOxdWW/jNhB+L9D/IGjRx0SHJVsK4hTNbt0WaIsFkgJ9lWU6FlaHIcm7Tov+986QlGUptmSZ9DYpuA9ZSx4Ohx/n4OXh7ffbJNY+k7yIsnSqW9emrpE0zBZR+jTV/3icXXm6VpRBugjiLCVT/ZkU+vd3335zW5TPMXlYEVJqwCItpvqqLNc3hlGEK5IExXW2Jil8s8zyJCjhMX8yinVOgkWBhZLYsE1zbCRBlOqMw00SnsIkCfJPm/VVmCXroIzmURyVz5SXriXhzS9PaZYH8xhE3VpOEFa86cML9kkU5lmRLctrYGdky2UUkpdS+oZvAKe723STzJKy0MJsk5ZT3d690tg3vywAwrGja6zR77MFiGFem9/pRlW4Qek2Kd+9e1cRG7yqu9tlltY1Wja0B5t18ynNvqQz/A6qBDmQ7O62+Ev7HMTwxsIawyzOcq2E7gAx6Js0SAijeB/E0TyPkGwZJFH8zF7b+IL2IKdLIsATXxqsBvZ3jlS8Lh+/ZVVF6YJsCYDgtWp7DFZZEiDhi8oafCuel5b/9Hp+iuJYewjS4gUGh3jkT/OpPpuZ9B+WqAE/zmi+B+aghvf306aHtdmUUUwp+ipr6YRYZYfQ55reatRx4Hc8qNYzFT6rB3eMaBN7GYm1POrp06Nd2qUu1AoLME9Q94Z/wxd3t+BpS5KnMzQG/vnxeQ1eJYWggBUajK6H+ikPni3b3StAy0G98yxfQBCqPCt6NPbq7jYmyxJqyKOnFf5fZmv4O8/KEjz23e0iCp6yNIjho1GV4B+AbUji+AED1Z/LmrczAu7b5Z4nhqCHfg3dN36EVvKPjCN7gBoahfy6EHjlI4W0YL2On2fAnLJmT8C/frqnLa+ff4ijpzQh+wU+5llJwpJGaKrcDTn2hD8uR1t4VQgCedXfvOvPQm/c0/W/b5I5yWd0EFR38uxiKjB5ZfIofMCldFifwkfhI+Lylf4o/VH6c7l4quxL2ZeyL2VfMGGik7evPZ5X/kf5H+V/lP9R/oetz6n1jW5/qPBR+IjEC6U/Sn+U/lxuvKHsS9mXsi9lX//VeF75H+V/lP9R/kf5H7aeoNZXu/2hwkfhIxIvzjpUpQqJHElT6Cn0+ElWDoRy4sqJKyfetImv5yWV9SnrE7E+pT9Kf5T+XG7JRtmXsi9lX8q+/qslUeV/lP9R/kf5H+V/1BHPU37lrbbwu+OFwkfhIxJPlf68Lf35eiu5nTUZ+8lGWOqRvawjo/OSjmjb5eHsIzBY6E9ZsivN05DQrBM0R82xDCKj4+kjKkn2U5pY/FdxVRKT6nnP/DCVS1DlNNFWWR79BbtSmKQqhCQnJNe1L3mwfiRbyJBCRTO2y1amlb22Ym6tw+lZeFuhi/ZSrlTysMFl9fR6pAW435C0AP4bkhaSq11GWkxIdILWWmOa3o2NaXv1FhYBqLTN35dWGssSCO2euB2zEkLaDJn/yijcs0bMo/TCAIc1BeLn/6UpkPzwjTQFfWSnYzw8u3wZDHj+Qqa2vVwrlRyutkNCxEGl3IsKvWJWjW/GgaMiSI1Iu7oh7GGIYxp1tO6LR0gBeS7i+Sp5TlGhQahdwrddTNghKgde6TRbb4YNkUDRZ4GYDK/T/UwuG47F5asCcBOzpsMQQXDQMLcfzirIvhFxq0D6KsQVnuSAth2bQPX3HFBcclxaez3IlEkzbXYP53oF9ob4PIn2UjeETxQP2nhjaNrflir8nhJsXntbqqnuK20LTnn4+VPIatwTHs7vl0FDgt4o2xj9WqD53VFtiGnIFRRF4+jiNLMz9lZSNp3vSfLQEZ8Ew7OcSohXqq17c/VeL2I556ur0BDiEi7Rcl6bH6ELqbB0upe+uZW8ebfSqmF+dci4nsVx9oUstJ8hKXUeR+knSJNPF07RhOebKC6jFNdRoWtX0WJB8KoDjI0DGAFKchiBX5TDCEaschjB4EwKI1sW2LYssG1ZYNuywLZlgT2SBfZIFtgjWWCPZIE9kgU2Ri8pJoLOVg4jWWA7ssB2ZIHtygLblQW2KwtsVxbYriywx7LAHssCG+/PkWIiY1lgj2WBPZEF9kQW2BNZYPuwqCKl13wYiUthZJmyRLJMeTLBup2k1sFYVg4nnJ1L4iQNcUsa4pY0xC1piNvSELelIQ7X8kjSAlsa4rY0xEfSEIeDPJJwGklDfCQN8dEwxF/Mt5vFIW52TrdfFG+5ouHlm50zvHyzS4aXb3bE8PKC+LUcy+D6W+5keHlB/FquY3j9gvi13MTg+lvOYXh5QfxajmB4/YL44cLo3lBicP1wNZtYeUH8HEH7dQTxcwXxcwXxcwXxcwXxcwXxGwviNxbED4/8iej/WBC/sSB+E0H8JoL4+c157WD/4Tens4PLW6agAJYpLEFz1eKMJkARER20WnsmwyXAW4rFJBAF0RIF0RIFsbUXMhzE1h7IGQxEQWzteZwhgSiIrT2O4RK09jbOYCAKYmsv4wwJhoH4O940Glfbn831RnoRZXvL8yPJ8XxNVaIZAOhVve0S9OZ3y3Em3siybctBkNlu60nkGCMYObt2ubqil+/ltrmjS2fkzqEd2xb5GC2fkY9PIcfuYeTeKeSTHfnoBPIJrhgx7pMucs/3XN9zTFyC4eSdSHJ6G2drnL6zsRU9ji45/Sny2F4tTyc6nL+DO0CcP7sU/kjXVvSTHT2cMTuwG1/1Lad3zZr+4O59mx5nQ0wer1PVgP8EwPRweZ7R+314Unpvp5p+Hz5I75s7/hZ87G4wLYCroFygvg6j9OgvOX1fB1B6Z8ffMvsQnbiWSw/bcUQ7DQARRXo8O8jpexFFelz85/S9DQB6G4cqnL7TO3B57NrCvF5AkT/u+zL+fm+HIT3On7g8fRaM+Ni1xnm9GoT0tUX6Xf3lgjJbrjc2cb+RyYMHsI5r3K4AHtOuCpxUQ91jeJAIaqh/BgkHeBbb+t51Wn8ZzGPygDey7470AMQLsgw2cfm4+3Kq159/I4tok0CM4VQfo89ZSVlM9frzr3g9PDh/kAB+SvhrUdL/tU0eTfW/f7yf+B9+nNlXnnnvXTkj4l757v2HK9d5f//hw8w3bfP9P9DwJE6Lm63lTPVVWa5vDKMIVyQJiuskCvOsyJbldQi3zmfLZRQSo1jnJFgUK0LKJDZs0/QN30iCKMXr5S3npoiBKueN5cI/1O+m+t4DE5/iB+IDilUjDOrUHrCSu38BAAD//wMAUEsDBBQABgAIAAAAIQDnZXW41gAAALgBAAAjAAAAeGwvd29ya3NoZWV0cy9fcmVscy9zaGVldDEueG1sLnJlbHOskMlqAzEMQO+F/oPRPdZMDqGUeHIJhVxD+gHC1ix0vGC5afL3dSiFDAR66VHb05O2u4uf1ZmzTDEYaHUDioONbgqDgffT2+oFlBQKjuYY2MCVBXbd89P2yDOVOiTjlERVShADYynpFVHsyJ5Ex8ShVvqYPZUa5gET2Q8aGNdNs8F8z4BuwVQHZyAfXAvqdE1189/s2PeT5X20n55DebACz37eZ/qqx1Uq5YGLAa3R/eTkrt7q2gv42Gn9n042+puuLIx+k62u/7tp4OLf3TcAAAD//wMAUEsDBBQABgAIAAAAIQC7WZZobwYAAL8UAAAYAAAAeGwvd29ya3NoZWV0cy9zaGVldDIueG1slFjbbuM2EH0v0H8Q9B6Zd0pG7MX6fku66La7z4qsJMLalispl23Rf++QsiyRFBbbBEjsw8MhOTM8Gs3th/fjwXtNizLLTyMfB8j30lOS77PT08j/84/FTeh7ZRWf9vEhP6Uj/3ta+h/Gv/5y+5YX38rnNK08sHAqR/5zVZ2Hg0GZPKfHuAzyc3qCkce8OMYVfC2eBuW5SOO9nnQ8DAhCYnCMs5NfWxgWP2Mjf3zMknSWJy/H9FTVRor0EFew//I5O5eNtWPyM+aOcfHt5XyT5MczmHjIDln1XRv1vWMyXD+d8iJ+OMC53zGLk8a2/uKYP2ZJkZf5YxWAuUG9UffM0SAagKXx7T6DEyi3e0X6OPI/4uE9Zv5gfKsd9CVL38rOZ6/Kz7v0sZqmhwOQme+pADzk+TfFXO9HPgKbZXpIE+UKL4Z/r+mFjQkE8a/LMkStMbgu0v3cLLjQQftUeA9xmU7zw9dsXz1DdkBy7NPH+OVQ/Z6/rdLs6bkCFPaiHTLcf5+lZQJhUZtpDjKLq3h8W+RvHsQXwz7OscoWPIR549tEoR8VPPJJ5HswtQT4dYzZ7eAV9pZcOJMrBwzrWVMHmTnI3EEWDrJ0kJWDrB1k4yBbB9k5yJ2D3HeRAbjp6isVsx5fKViHQkWxy6cm39Oxgcg3Tlbj4GQVGO2/SQ3A36vTkenzac2A+F4Z2GTMXAYxGXOXQU3GwmVYsV+6DG7aWLkMYTLWLkOajI3LCE3G1mVEJmPnMrDl1LseiuXV+5rCu35v3WoEHWLTTRIddKmUoL5Yanjki64hy/uTmiL1pWMB4ZGgLAxDRkNMaTi/aReub13NDzWfBoJjjLnAoRCYcCkc/qzLJwGjDEmJZISR5IhJhz/v8lmAuJARxxSHjIcMA9/a/6LLRwHmIcEcYYQZjkIZWuxll00CQjGhkhLCMSeYOptZdelgPEJCRFRiHAnJGbeMry22FEwiHoaEchIxbLE3FjsknHMZoohSJEhop16XTQPEzEA5O991+TionUEigZlAjLlhuuvywwBjyiNEBBURFiHljtvva36k0wA8gyJOKRMh51FIpWzPamQrJGI3W5ssVbAl/8S6vpMrp5GvqYPMHGTuIAsHWTrIykHWDrJxkK2D7LqI4QfZ64elgnulXdVgnUeBvuVcXG+5GoZ5tJX2K9JRbksyp30cy+uzPo4lm/M+jpW9ix4OsXRxeeGA065PG2IJ46rPjiVQ6x4OtmR608Mhbc5qodv2cawH066Hg9v9GDGH4saJYdiWQGoYYgjXqj29FbHJhcObS8doZPyYz6KpTbecOTPGo0Ag44c4mjI3JshAGItHkTNhYUwAlQitEy0NAqxoxWBljKMAWUdYG+M8kMYJkHuEzf+dsDUmKKGzU8Am8DbXjPhjVeh1LnEjfhq31I9a92fSkq7y50IzF5q70MKFli60cqG1C21caOtCOxe6c6F7AzJdZ5XC+mkBWPJSVvmxflmBu+NrXRRt9aNfe2BAtsLYQOEVmjYQBLK9epbIzS4kAm9ALcmK0ryX1KaDlpVFH4naWthLspJ/1Utq1Ucvt+4lWdds00uyEn3bS7Iu9K4hQTCufqLtU8UMqypzOzfih2HFSvX0kT7Cg05rZV2zWpGaXEYJkNodWKRpQ1L6+zrmUGYyCZUL/CIWIowdJZo1MxrxpRhLqDKhGhRcQl1l+X1u8xmTUB9BoYk4RZJFrU8uaVEfitT2w4ARxiOopaCYDREibuG7tFcgGIpxAtUv1KiSc2Fl58rki0BSqGKjUHCCBEMEql8rLdbmDHg5APOg+ZhD8YugwnZmbMwZVlZvfzi6a0ZVXfM6bueaOaPqzk7OXHJirh6cVu1Utzjq9sMxLZ50M6T0kvxFNSgorHJFOx0YpQs2LoZQyvXgWLVssBoZXKdAC+UcP6V3cfGUnUrvAC0b6IYEEl7mirpfUn+Bdo6WrIe8Ag2r1QuaYym0Q1AA5Mc8r5ovsICy+TmtXs5eXmTQYdH9rpF/zouqiLMKpA/wv3MYOMzO2chn8MYB4SURyCR096oscQfAbPpe7cpK//deCpj3D6QCZBvFNx/FBN1w9YcIiW6kJHgipyiCMuHfpg92fP+5JtgxTgbpe5Lqpl9YN/3Aze/DT7sv3l2+h/4aCOtvp/QTHFN//voZNqw/Ku/CNuu/erODt6b1OP4P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PIDRz2EAwAAAwgAABgAAAB4bC93b3Jrc2hlZXRzL3NoZWV0MS54bWyMVd9v4ygQfj9p/wfL74nBYGNHSVZtomor7eqq693uM8EkQbWNBaRJbnX/+w224+ZHVfXFYOabj2+GYZh+PVRl8CqNVbqehXiMwkDWQheq3szCf/5+GGVhYB2vC17qWs7Co7Th1/mXP6Z7bV7sVkoXAENtZ+HWuWYSRVZsZcXtWDeyBstam4o7+DWbyDZG8qJ1qsooRiiNKq7qsGOYmM9w6PVaCbnUYlfJ2nUkRpbcgX67VY09sR2KT/EVhu8h1pOeM4nLzjLwYXqjr1LCaKvXbix0FXXSbqPMo/wizkrcEL2TrIqbl10zAuIGglupUrljG24YVGLyuKm14asSTuSAKRdnKvkt/ed1AtN8WijIrS+IwMj1LLzDkwUNo/m0PbmfSu7t2TxwfPUsSymcLKCAwsAXxkrrFw98hCXkXaMb34e2MJ5MsOJWLnT5SxVuCwRQgIVc813p3hazcUZiRHCcDMa/9P6bVJutAxcK0fskTIrjUloBddHvKnQJUuEbVMpXN6SOHzqR/W54DJTWHX0iwbyS1j0ozxkGYmedrk6yfBADUdwTwbh/n+gDZ9I7w9g7n4d30oIvNoQIO+UpyWD+gV+b7C7uNuVL7vh8avQ+gOsAUdmG+8uKJ7B9m7w0gxMX3nrnzS0IEmBh9XVO42n0Cqcnesh9B4mhKbxh6CVm0WPYOYYMmAi0DIIggTeCkkGPt4IeGIbNSD4QtZrvOwxBrVw0pgnNkjhOKU4ZTTKcXsIXV3CS0JRlGctJynKWETbAL2RCrj6Q6a1XMikaiDqZHYbgXiahCWZZgkmW05wici3zCp54fJKwPGMJyjFJBvYLmVAZH8j01qvTxQNPp7KDkLhXifM8T/M4xjlhKUrpVe6hKXjGNzhGGUoSiliS5oTS62R2PaAryIZv5A9uNqq2QSnXcL5oDAVjuhvdzp1u2lW4oCvt4Cqe/rbwiEioVzSGNK21dqcfuKKe91m6XRNoo6ARtO/CLGy0cYYrBzUP6/9qMJTLRs1CGsMBpCzOoTDgFXRK3BqAtpQbLo79ixCYiSpmoXks2ksqD+67dfMpjMHOAOfvlCIUM4JHd+k9GiX+E6cMjRiL8T1boDxF6L9Tx66gIV09ne+264qLSB6EbB/OrHtQ5tPqMHn6/jP4oQtoYNA6/6zlE6Sgnf96hmDaqW/AIK/7tmKj4fme/w8AAP//AwBQSwMEFAAGAAgAAAAhAJhBh32eAgAAEgcAABsAAAB4bC9kcmF3aW5ncy92bWxEcmF3aW5nMS52bWzsVUtv2zAMvvdXCO4hlwR+tM0K1Q5QdOhtG7DnsVBsJVYriYbFOG5//SjZea3YUGCHXWYgFk1SJL+PH5C8N5rRzzreFdGmtdyVtTTCzYwqW3CwwlkJhndGR2djIvwpEVYrVUo+HPsr/RuuyL6UhyaGxqkRGx7HRpTfjf4S5vrWqmhxxnLgrhaN1OIZNsg6LnssIlkp9FEfVpURzUmAVQJFEaVR7AvEJxUWeTcUxOdGMlUV0UOf0POAWZJFrARoK6deZBFl6TxJpuEdMarRUF+fQ10bgXURmWSa6DFjyDt5J70cRqSG2MKTZI+grMNnTcWNQtmG+RgN5OuxdSsqJS0GuPBUROjblmCtLNFPW0QtWSOoIxR7SMdwXJpkVxEb7p2fYBxGmDTgFCqwXCwd6A3KG0JmRLtWdqblCvn8usGb0YHQ8PTikhxbVWHN08zbtVTrGnmWkP0yU7aSPU99mU45tVRa4TOvVVVJe2MczLataGahO0d/ccJWSusSNLRFdL6iR6YeM7Ek0UBFiMUGYceiT6YFUXZ2SPcr9hQSaxVsGdiBt6UrN62k7Q587Un+hVALVu63gCStJfRs5MdPXClPOZE0Exq5H2bi+7G8Ut0uz1+jsFpb7mmbLPKYomGsuONj0fDZ8zvtN/ye5Mk+LR+p9New14+Ag1ZY3vMP0MkfCus7qbUL8Lz3C2nytffWljW0YSSWTNn8euoPWtSUXdA5fF1d5nHPj1Kp3C1BuSc+F/dCOxniO0/A1/PPsF2kPuCN0XdHOjF2kXj3aHv2/dceGOXmhDuo+LfKnP+dMtN3Xn1H0swOwky9vRNmeiTM7L8w/40wMxLjPEiRLFLmJR2k0uwiyO6g4DfLMujvtSyzt8sypj/CxU8AAAD//wMAUEsDBBQABgAIAAAAIQDghHKOLQMAALEIAAAUAAAAeGwvc2hhcmVkU3RyaW5ncy54bWycVtFu00oQfUfiH0Z+KhKpC+IihJJUUUpFH3obkRSet+txPNJ61+yMA+Hp/sb9Pb6E2TRpgk2h9M32npk5s3NmxsPTr7WDFUam4EfZi+OTDNDbUJBfjrLrxfngTQYsxhfGBY+jbI2cnY6fPhkyC6it51FWiTRv85xthbXh49Cg15MyxNqIvsZlzk1EU3CFKLXLX56cvM5rQz4DG1ovo+zV6wxaT59bnG4//JONh0zjoYzPjW2drOELSQXGmgJrsmCKFbGShIjcBM90Q46EkIe5jId5Mt2at84NhGqEWQwlckrUOJiLKUuYJC8hdm0muyiJDaPrI2Z6Y8lPfole1N17NE7p3Ys/o4hWQoSwDarU8030lMOkqMkTSzQK6ZJR2qvA0v38kWxKCZkKpQDqevtlg4Yj8ta1qYxgNOdUQuHn6TlYMoL6jGKPn3XdnqHxjzfeZfnY6NMQonL+1TVMK8ISLvytrLSIcFWWegcRjqYXV88gh1vEAm3lgwvL9QFgcdVL9FBWoZVHKOtKqhR95tAwAjdoqVz34nyqjMANarcUyDaSPsI6tBGExCHo4eaNPOuHVjSx025NFjvkxR7Uxcyl3ehgjnGlt9Jrg935pCwNxd7xOx+Dc3VS0qXxZonpsRsjyXTTPz3za19gXEZTtCot7S0VXp/CXVftdN/zv2u7Rat9oNLtAs5VGl7l62BCRffw4HIU8AEZTbRVF3VHQttKCdeqmzNsTJRN7kfzv61i2XqbiqYhjc64B9XzfG8zUZsexf00oBXCtadeJWbtjSP7HF4N1pplan5zE1bY9TSLtEoF8UEG2jeDRicgyYPN/sZkS+jlhtBDefwefRj+HuQ2qtOxPpBKJ9c9uHvu4aF2h0z+ZLMIug+6FzC/G/4HKu2CJsuIvRL+i62uhZ7DM2LzK/gcnYZSPXacp1X9lhtjdYXrLmadEpiNL9dwMHe+//c/g2lUJMZWIGG/Y58+IdYZZoOuqSXUISJYnQ/Ki75hAfo30Fm6U52JKssvXtdkRQ2oNqP+RtyOKG6tDihWM116ostIVc6AX3VJaXyB+idWe9e5/nKMfwAAAP//AwBQSwMEFAAGAAgAAAAhANlmJ4mRAQAALw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JNTxsxEIbvSP0Plu/ES4pQFXmNELTiUNSIBHqeemezFl575RmWpL++3qxCNvRQqbf5eP368Xj09bb1osdELoZSXswKKTDYWLmwKeXT+tv5FymIIVTgY8BS7pDktfl0ppcpdpjYIYlsEaiUDXO3UIpsgy3QLLdD7tQxtcA5TRsV69pZvIv2tcXAal4UVwq3jKHC6rx7N5Sj46Ln/zWtoh346Hm96zKw0Tdd550Fzq80D86mSLFm8QDWBY7UiK9bi16rqUxnzhXa1+R4ZwqtpqleWfB4m68wNXhCrY4FfY8wjG8JLpHRPS96tByTIPc7D3AuxS8gHMBK2UNyEDgDDrIx2ce+I07mZ0wv1CAyaZUFY3EfTrXT2F2a+V6Qg1PhYDCC5MYp4tqxR/pRLyHxv4j3DCPviHPT+Zgc3QHDFPIddxVbFI/wJj4qToA+IHx34YWeunXMh/Aw4tOiXjWQsMq/cugfC/o+Tzf5weS2gbDB6qD5uzGsxvO4/+biclZ8LvJfT2paHTfd/AEAAP//AwBQSwMEFAAGAAgAAAAhAK1O4xIPAQAAIgIAABAAAAB4bC9jb21tZW50czEueG1svFBNS8QwFLwL/ofw7m7aHmSVJosIK4IHwfUHxOZ1G8hHycsuXX+9b+3WgydPQgiZybyZ4bWbKXhxxEwuRQX1qgKBsUvWxb2C9932Zg2CionW+BRRwQkJNvr6qu1SCBgLCTaIpGAoZbyXkroBg6FVGjHyT59yMIVh3ksaMxpLA2IJXjZVdSuDcRF0aw5lSJmWh9St/KEuOS+Oil5CRcZewWMNYpY9WwUV+xScWJT5vPL1wT70KY7GK7gDBl3yKQsXLU7IE+v6TOZtimUW7cyQgjmTvQnOn2a2ORPy27Hop5wOo7BIXXZj4Z1RKzlScpyc0+Wl8K+yD83/l33D7JD+2HbpPS96QaS/AAAA//8DAFBLAwQUAAYACAAAACEAraivljUBAAAS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FfS8MwFMXfBb9DyXubpmNDQtuByhBxIDhRfAvJ3RZs/pBc7fbtzeqsk/l4Oef+OOfeer4zXfYJIWpnG8KKkmRgpVPabhryvFrkVySLKKwSnbPQkD1EMm8vL2rpuXQBHoPzEFBDzBLJRi59Q7aInlMa5RaMiEVy2CSuXTAC0xg21Av5LjZAq7KcUQMolEBBD8Dcj0RyRCo5Iv1H6AaAkhQ6MGAxUlYw+utFCCb+uzAoJ06jce9Tp2PcU7aS3+Lo3kU9Gvu+L/rJECPlZ/R1+fA0VM21PdxKAmlrJbkMINCFtqanQzpcJyIu043XGtT1vr13VuBW2OzOhQQAbWt67krEoQA3x80sZeLfDX6kl8nN7WpB2qpks7xkOZusqopXUz6t3g4p/gJSsLMvtl8AAAD//wMAUEsBAi0AFAAGAAgAAAAhAHliQ59+AQAA+AUAABMAAAAAAAAAAAAAAAAAAAAAAFtDb250ZW50X1R5cGVzXS54bWxQSwECLQAUAAYACAAAACEAUHxOwfYAAABMAgAACwAAAAAAAAAAAAAAAAC3AwAAX3JlbHMvLnJlbHNQSwECLQAUAAYACAAAACEAE/jtsPkAAABHAwAAGgAAAAAAAAAAAAAAAADeBgAAeGwvX3JlbHMvd29ya2Jvb2sueG1sLnJlbHNQSwECLQAUAAYACAAAACEArfehk9EBAAAEAwAADwAAAAAAAAAAAAAAAAAXCQAAeGwvd29ya2Jvb2sueG1sUEsBAi0AFAAGAAgAAAAhABg8FnBuCQAArYUAAA0AAAAAAAAAAAAAAAAAFQsAAHhsL3N0eWxlcy54bWxQSwECLQAUAAYACAAAACEA52V1uNYAAAC4AQAAIwAAAAAAAAAAAAAAAACuFAAAeGwvd29ya3NoZWV0cy9fcmVscy9zaGVldDEueG1sLnJlbHNQSwECLQAUAAYACAAAACEAu1mWaG8GAAC/FAAAGAAAAAAAAAAAAAAAAADFFQAAeGwvd29ya3NoZWV0cy9zaGVldDIueG1sUEsBAi0AFAAGAAgAAAAhAPtipW2UBgAApxsAABMAAAAAAAAAAAAAAAAAahwAAHhsL3RoZW1lL3RoZW1lMS54bWxQSwECLQAUAAYACAAAACEA8gNHPYQDAAADCAAAGAAAAAAAAAAAAAAAAAAvIwAAeGwvd29ya3NoZWV0cy9zaGVldDEueG1sUEsBAi0AFAAGAAgAAAAhAJhBh32eAgAAEgcAABsAAAAAAAAAAAAAAAAA6SYAAHhsL2RyYXdpbmdzL3ZtbERyYXdpbmcxLnZtbFBLAQItABQABgAIAAAAIQDghHKOLQMAALEIAAAUAAAAAAAAAAAAAAAAAMApAAB4bC9zaGFyZWRTdHJpbmdzLnhtbFBLAQItABQABgAIAAAAIQDZZieJkQEAAC8DAAAQAAAAAAAAAAAAAAAAAB8tAABkb2NQcm9wcy9hcHAueG1sUEsBAi0AFAAGAAgAAAAhAK1O4xIPAQAAIgIAABAAAAAAAAAAAAAAAAAA5i8AAHhsL2NvbW1lbnRzMS54bWxQSwECLQAUAAYACAAAACEAraivljUBAAASAgAAEQAAAAAAAAAAAAAAAAAjMQAAZG9jUHJvcHMvY29yZS54bWxQSwUGAAAAAA4ADgCeAwAAjzMAAAAABSM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YAAAAFQXJpYWwGdwAAAAYrbW4tZWEJeAAAAAEACXkAAAAHJAAAAAABAAAAEQAAAAQUU3lzdGVtLkRyYXdpbmcuQ29sb3IEAAAABXoAAAAUU3lzdGVtLkRyYXdpbmcuQ29sb3IEAAAABXZhbHVlBXN0YXRlCmtub3duQ29sb3IEbmFtZQAAAAEJBwcEAAAAAAAAAAAAAAAAAAAACgF7AAAAegAAAAAAAP//////AgAAAAoBfAAAAHoAAAD//////////wIAAAAKAX0AAAB6AAAATkEi//////8CAAAACgF+AAAAegAAAN7c2///////AgAAAAoBfwAAAHoAAAB+aT///////wIAAAAKAYAAAAB6AAAAjIRy//////8CAAAACgGBAAAAegAAACUh7f//////AgAAAAoBggAAAHoAAAA0O0b//////wIAAAAKAYMAAAB6AAAAdJjD//////8CAAAACgGEAAAAegAAAB6U9///////AgAAAAoBhQAAAHoAAAAelPf//////wIAAAAKAYYAAAB6AAAAJSHt//////8CAAAACgGHAAAAegAAAAAAAP//////AgAAAAoBiAAAAHoAAAD//////////wIAAAAKAYkAAAB6AAAATkEi//////8CAAAACgGKAAAAegAAAN7c2///////AgAAAAoEJQAAAJgBU3lzdGVtLkNvbGxlY3Rpb25zLkdlbmVyaWMuTGlzdGAxW1tBcGxvcmlzLkJhc2UuT2JqZWN0cy5EYXRhT2JqZWN0LCBBcGxvcmlzLkJhc2UsIFZlcnNpb249NC4wLjAuMTQ4NiwgQ3VsdHVyZT1uZXV0cmFsLCBQdWJsaWNLZXlUb2tlbj0xNmZjMTNhMjI2YzBlOTUxXV0DAAAABl9pdGVtcwVfc2l6ZQhfdmVyc2lvbgQAACFBcGxvcmlzLkJhc2UuT2JqZWN0cy5EYXRhT2JqZWN0W10DAAAACAgJiwAAAA0AAAANAAAABCYAAACVAVN5c3RlbS5Db2xsZWN0aW9ucy5HZW5lcmljLkxpc3RgMVtbQXBsb3Jpcy5CYXNlLlVJLlZpc3VhbE9iamVjdCwgQXBsb3Jpcy5CYXNlLCBWZXJzaW9uPTQuMC4wLjE0ODYsIEN1bHR1cmU9bmV1dHJhbCwgUHVibGljS2V5VG9rZW49MTZmYzEzYTIyNmMwZTk1MV1dAwAAAAZfaXRlbXMFX3NpemUIX3ZlcnNpb24EAAAeQXBsb3Jpcy5CYXNlLlVJLlZpc3VhbE9iamVjdFtdAwAAAAgICYwAAAABAAAAAQAAAAUoAAAAmwFBcGxvcmlzLkJhc2UuT2JqZWN0cy5EYXRhT2JqZWN0Q29sbGVjdGlvbmAxW1tBcGxvcmlzLkNoYXJ0LlZhbHVl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C4wLjE0ODYsIEN1bHR1cmU9bmV1dHJhbCwgUHVibGljS2V5VG9rZW49MTZmYzEzYTIyNmMwZTk1MV1dAwAAAJEBU3lzdGVtLkNvbGxlY3Rpb25zLkdlbmVyaWMuTGlzdGAxW1tBcGxvcmlzLkNoYXJ0LlZhbHVl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NAAAACY4AAAAJBgAAAAkBAAAACY8AAAAFKQAAAJsBQXBsb3Jpcy5CYXNlLk9iamVjdHMuRGF0YU9iamVjdENvbGxlY3Rpb25gMVtbQXBsb3Jpcy5DaGFydC5BeGlzQnJlYWs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AuMC4xNDg2LCBDdWx0dXJlPW5ldXRyYWwsIFB1YmxpY0tleVRva2VuPTE2ZmMxM2EyMjZjMGU5NTFdXQMAAACRAVN5c3RlbS5Db2xsZWN0aW9ucy5HZW5lcmljLkxpc3RgMVtbQXBsb3Jpcy5DaGFydC5BeGlzQnJlYW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kAAAAAmRAAAACQYAAAAJAQAAAAmSAAAABS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gAAAADAAAACWkAAAAJagAAAAlrAAAAAQAAAAAKCglsAAAAAAAAAAoAAAAAAA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L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aAAAAAMAAAAJaQAAAAlqAAAACWsAAAABAAAAAAoGkwAAAAElCWwAAAABAAAACgAAAAAAAAAABS0AAACaAUFwbG9yaXMuQmFzZS5PYmplY3RzLkRhdGFPYmplY3RDb2xsZWN0aW9uYDFbW0FwbG9yaXMuQ2hhcnQuVGlja01hcms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C4wLjE0ODYsIEN1bHR1cmU9bmV1dHJhbCwgUHVibGljS2V5VG9rZW49MTZmYzEzYTIyNmMwZTk1MV1dAwAAAJABU3lzdGVtLkNvbGxlY3Rpb25zLkdlbmVyaWMuTGlzdGAxW1tBcGxvcmlzLkNoYXJ0LlRpY2tNYXJ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QAAAAJlQAAAAkGAAAACQEAAAAJlgAAAAUw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cAAAAhAAAAGKMtQmNZpkMBmAAAACEAAABKgglEY1mmQwmZAAAAuAEAAP////8BAQoJmgAAAAEACgAHMQAAAAABAAAABQAAAAQVU3lzdGVtLkRyYXdpbmcuUG9pbnRGBAAAAAGbAAAAIQAAAElCCkRjWaZDAZwAAAAhAAAAGKMtQjUfukMBnQAAACEAAAB8XJRDNR+6QwGeAAAAIQAAAEqCCUQ1H7pDAZ8AAAAhAAAASUIKRGPZqEMHMgAAAAABAAAABQAAAAQXQXBsb3Jpcy5CYXNlLkFuY2hvck1vZGUDAAAABaAAAAAXQXBsb3Jpcy5CYXNlLkFuY2hvck1vZGUBAAAAB3ZhbHVlX18ACAMAAAAEAAAAAaEAAACgAAAABQAAAAGiAAAAoAAAAAMAAAABowAAAKAAAAAGAAAAAaQAAACgAAAABQAAAA8zAAAABQAAAAEAAAAAAQU0AAAAFUFwbG9yaXMuQmFzZS5VSS5MYWJlbBwAAAAPbUFuY2hvclBvc2l0aW9uC21BbmNob3JNb2RlD21BZGRJbm5lck1hcmdpbhZtT2Zmc2V0RGlyZWN0aW9uQW5jaG9yF21PZmZzZXRPcnRob2dvbmFsQW5jaG9yC21UZXh0Rm9ybWF0CW1Sb3RhdGlvbgptQmFja0NvbG9yDW1Vc2VCYWNrQ29sb3IObVVzZ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EBAQAAQMDAQAAAAAHAgAAAwA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wAAAAGlAAAAIQAAAElCCkRjWaZDAaYAAACgAAAABAAAAAAAAAAAAAAAAAmnAAAAAAAAAAmoAAAAAAAFqQAAACpBcGxvcmlzLkJhc2UuVUkuTGFiZWwrTGluZUFsaWdubWVudE9wdGlvbnMBAAAAB3ZhbHVlX18ACAMAAAAAAAAAAaoAAAByAAAAAAAAAAAAAAABqwAAABUAAAAAAAAAAAAAAAAAAAAAAAAAAAAAAAasAAAADUNhdGVnb3J5IGF4aXMKCa0AAAAJrAAAAOQCAAD/////AAEKCa4AAAABAAoAATUAAAAlAAAACa8AAAAGAAAABgAAAAE2AAAAJgAAAAmwAAAAAgAAAAIAAAABOAAAACgAAAAKCbEAAAAJsgAAAAkHAAAACQEAAAAJswAAAAE5AAAAKQAAAAoJtAAAAAm1AAAACQcAAAAJAQAAAAm2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gAAAADAAAACWkAAAAJagAAAAlrAAAAAQAAAAAKCZMAAAAJbAAAAAAAAAAKAAAAAAA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aAAAAAMAAAAJaQAAAAlqAAAACWsAAAABAAAAAAoGtwAAAAElCWwAAAAAAAAACgAAAAAAAAAABT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EAAAABCWgAAAADAAAACWkAAAAJagAAAAlrAAAAAQAAAAAKCZMAAAAJbAAAAAEAAAAKAAAAAAAAAAABPQAAAC0AAAAKCbgAAAAJuQAAAAkHAAAACQEAAAAJugAAAAFAAAAAMAAAAAG7AAAAIQAAABijLUJjWaZDAbwAAAAhAAAAGKMtQo5WekEJvQAAALgBAAD/////AQEKCb4AAAABAAoAB0EAAAAAAQAAAAUAAAAEFVN5c3RlbS5EcmF3aW5nLlBvaW50RgQAAAABvwAAACEAAAAYoy1CvBAjQQHAAAAAIQAAAIrqIEFjWaZDAcEAAAAhAAAAiuogQRcsLkMBwgAAACEAAACK6iBBjlZ6QQHDAAAAIQAAAIrqIEG8ECNBB0IAAAAAAQAAAAUAAAAEF0FwbG9yaXMuQmFzZS5BbmNob3JNb2RlAwAAAAHEAAAAoAAAAAEAAAABxQAAAKAAAAAIAAAAAcYAAACgAAAAAgAAAAHHAAAAoAAAAAYAAAAByAAAAKAAAAAHAAAAD0MAAAAFAAAAAQAAAAABAUQAAAA0AAAAAckAAAAhAAAAGKMtQrwQI0EBygAAAKAAAAABAAAAAAAAAAAAAAAACcsAAAAAAAAACcwAAAAAAAHNAAAAqQAAAAAAAAABzgAAAHIAAAAAAAAAAAAAAAHPAAAAFQAAAAAAAAAAAAAAAAAAAAAAAAAAAAAABtAAAAAKVmFsdWUgYXhpcwoJ0QAAAAnQAAAA5AIAAP////8AAQoJ0gAAAAEACgABRQAAACUAAAAJ0wAAAAcAAAAHAAAAAUYAAAAmAAAACdQAAAACAAAAAgAAAAdHAAAAAAEAAAAAAAAABC5BcGxvcmlzLkNoYXJ0LkNvbHVtbk9yaWVudGVkQ2hhcnQrVW51c2VkU2VyaWVzAgAAAARIAAAAlwFTeXN0ZW0uQ29sbGVjdGlvbnMuR2VuZXJpYy5MaXN0YDFbW0FwbG9yaXMuQ2hhcnQuQ2hhcnREYXRhU2VyaWVzLCBBcGxvcmlzLkNoYXJ0LCBWZXJzaW9uPTQuMC4wLjE0ODYsIEN1bHR1cmU9bmV1dHJhbCwgUHVibGljS2V5VG9rZW49MTZmYzEzYTIyNmMwZTk1MV1dAwAAAAZfaXRlbXMFX3NpemUIX3ZlcnNpb24EAAAfQXBsb3Jpcy5DaGFydC5DaGFydERhdGFTZXJpZXNbXQIAAAAICAnVAAAAAwAAABcBAAABSQAAACUAAAAJ1gAAAAMAAABfAAAAAUoAAAAmAAAACdcAAAAAAAAAAAAAAARLAAAAnAFTeXN0ZW0uQ29sbGVjdGlvbnMuR2VuZXJpYy5MaXN0YDFbW0FwbG9yaXMuQ2hhcnQuQW5ub3RhdGlvbkRhdGFTZXJpZXMsIEFwbG9yaXMuQ2hhcnQsIFZlcnNpb249NC4wLjAuMTQ4NiwgQ3VsdHVyZT1uZXV0cmFsLCBQdWJsaWNLZXlUb2tlbj0xNmZjMTNhMjI2YzBlOTUxXV0DAAAABl9pdGVtcwVfc2l6ZQhfdmVyc2lvbgQAACRBcGxvcmlzLkNoYXJ0LkFubm90YXRpb25EYXRhU2VyaWVzW10CAAAACAgJ2AAAAAAAAAAAAAAAAUwAAAAlAAAACdkAAAAAAAAAAAAAAAFNAAAAJgAAAAnXAAAAAAAAAAAAAAAETgAAAJcBU3lzdGVtLkNvbGxlY3Rpb25zLkdlbmVyaWMuTGlzdGAxW1tBcGxvcmlzLkNoYXJ0LkFubm90YXRpb25Hcm91cCwgQXBsb3Jpcy5DaGFydCwgVmVyc2lvbj00LjAuMC4xNDg2LCBDdWx0dXJlPW5ldXRyYWwsIFB1YmxpY0tleVRva2VuPTE2ZmMxM2EyMjZjMGU5NTFdXQMAAAAGX2l0ZW1zBV9zaXplCF92ZXJzaW9uBAAAH0FwbG9yaXMuQ2hhcnQuQW5ub3RhdGlvbkdyb3VwW10CAAAACAgJ2gAAAAAAAAAAAAAAAU8AAAAlAAAACdkAAAAAAAAAAAAAAAFQAAAAJgAAAAnXAAAAAAAAAAAAAAAEUQAAAJYBU3lzdGVtLkNvbGxlY3Rpb25zLkdlbmVyaWMuTGlzdGAxW1tBcGxvcmlzLkNoYXJ0LkNoYXJ0RGF0YUdyb3VwLCBBcGxvcmlzLkNoYXJ0LCBWZXJzaW9uPTQuMC4wLjE0ODYsIEN1bHR1cmU9bmV1dHJhbCwgUHVibGljS2V5VG9rZW49MTZmYzEzYTIyNmMwZTk1MV1dAwAAAAZfaXRlbXMFX3NpemUIX3ZlcnNpb24EAAAeQXBsb3Jpcy5DaGFydC5DaGFydERhdGFHcm91cFtdAgAAAAgICdsAAAACAAAALgAAAAFSAAAAJQAAAAncAAAAAgAAAB4AAAABUwAAACYAAAAJ1wAAAAAAAAAAAAAABFQAAACQAVN5c3RlbS5Db2xsZWN0aW9ucy5HZW5lcmljLkxpc3RgMVtbQXBsb3Jpcy5DaGFydC5EZWx0YUJhciwgQXBsb3Jpcy5DaGFydCwgVmVyc2lvbj00LjAuMC4xNDg2LCBDdWx0dXJlPW5ldXRyYWwsIFB1YmxpY0tleVRva2VuPTE2ZmMxM2EyMjZjMGU5NTFdXQMAAAAGX2l0ZW1zBV9zaXplCF92ZXJzaW9uBAAAGEFwbG9yaXMuQ2hhcnQuRGVsdGFCYXJbXQIAAAAICAndAAAAAAAAAAAAAAABVQAAACUAAAAJ2QAAAAAAAAAAAAAAAVYAAAAmAAAACdcAAAAAAAAAAAAAAARXAAAAkwFTeXN0ZW0uQ29sbGVjdGlvbnMuR2VuZXJpYy5MaXN0YDFbW0FwbG9yaXMuQ2hhcnQuRGVsdGFCcmlkZ2UsIEFwbG9yaXMuQ2hhcnQsIFZlcnNpb249NC4wLjAuMTQ4NiwgQ3VsdHVyZT1uZXV0cmFsLCBQdWJsaWNLZXlUb2tlbj0xNmZjMTNhMjI2YzBlOTUxXV0DAAAABl9pdGVtcwVfc2l6ZQhfdmVyc2lvbgQAABtBcGxvcmlzLkNoYXJ0LkRlbHRhQnJpZGdlW10CAAAACAgJ3gAAAAAAAAAAAAAAAVgAAAAlAAAACdkAAAAAAAAAAAAAAAFZAAAAJgAAAAnXAAAAAAAAAAAAAAAEWgAAAJMBU3lzdGVtLkNvbGxlY3Rpb25zLkdlbmVyaWMuTGlzdGAxW1tBcGxvcmlzLkNoYXJ0Lkdyb3d0aEFycm93LCBBcGxvcmlzLkNoYXJ0LCBWZXJzaW9uPTQuMC4wLjE0ODYsIEN1bHR1cmU9bmV1dHJhbCwgUHVibGljS2V5VG9rZW49MTZmYzEzYTIyNmMwZTk1MV1dAwAAAAZfaXRlbXMFX3NpemUIX3ZlcnNpb24EAAAbQXBsb3Jpcy5DaGFydC5Hcm93dGhBcnJvd1tdAgAAAAgICd8AAAAAAAAAAAAAAAFbAAAAJQAAAAnZAAAAAAAAAAAAAAABXAAAACYAAAAJ1wAAAAAAAAAAAAAABF0AAACaAVN5c3RlbS5Db2xsZWN0aW9ucy5HZW5lcmljLkxpc3RgMVtbQXBsb3Jpcy5DaGFydC5XYXRlcmZhbGxDb25uZWN0b3IsIEFwbG9yaXMuQ2hhcnQsIFZlcnNpb249NC4wLjAuMTQ4NiwgQ3VsdHVyZT1uZXV0cmFsLCBQdWJsaWNLZXlUb2tlbj0xNmZjMTNhMjI2YzBlOTUxXV0DAAAABl9pdGVtcwVfc2l6ZQhfdmVyc2lvbgQAACJBcGxvcmlzLkNoYXJ0LldhdGVyZmFsbENvbm5lY3RvcltdAgAAAAgICeAAAAAAAAAAAAAAAAFeAAAAJQAAAAnZAAAAAAAAAAAAAAABXwAAACYAAAAJ1wAAAAAAAAAAAAAABGAAAACYAVN5c3RlbS5Db2xsZWN0aW9ucy5HZW5lcmljLkxpc3RgMVtbQXBsb3Jpcy5DaGFydC5FbGVtZW50Q29ubmVjdG9yLCBBcGxvcmlzLkNoYXJ0LCBWZXJzaW9uPTQuMC4wLjE0ODYsIEN1bHR1cmU9bmV1dHJhbCwgUHVibGljS2V5VG9rZW49MTZmYzEzYTIyNmMwZTk1MV1dAwAAAAZfaXRlbXMFX3NpemUIX3ZlcnNpb24EAAAgQXBsb3Jpcy5DaGFydC5FbGVtZW50Q29ubmVjdG9yW10CAAAACAgJ4QAAAAAAAAAAAAAAAWEAAAAlAAAACdkAAAAAAAAAAAAAAAFiAAAAJgAAAAnXAAAAAAAAAAAAAAAFYwAAAK0BQXBsb3Jpcy5CYXNlLk9iamVjdHMuRGF0YU9iamVjdENvbGxlY3Rpb25gMVtbQXBsb3Jpcy5DaGFydC5Db2x1bW5PcmllbnRlZExlZ2VuZE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rAUFwbG9yaXMuQmFzZS5PYmplY3RzLlNvcnRhYmxlQ29sbGVjdGlvbmAxW1tBcGxvcmlzLkNoYXJ0LkNvbHVtbk9yaWVudGVkTGVnZW5kRWxlbWVudCwgQXBsb3Jpcy5DaGFydCwgVmVyc2lvbj00LjAuMC4xNDg2LCBDdWx0dXJlPW5ldXRyYWwsIFB1YmxpY0tleVRva2VuPTE2ZmMxM2EyMjZjMGU5NTFdXQMAAACjAVN5c3RlbS5Db2xsZWN0aW9ucy5HZW5lcmljLkxpc3RgMVtbQXBsb3Jpcy5DaGFydC5Db2x1bW5PcmllbnRlZExlZ2VuZE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4gAAAAnjAAAACRQAAAAJAQAAAAnkAAAAAWUAAAAcAAAAAeUAAAAhAAAAaKYXQmEguEMB5gAAACEAAAAn6mFDZC7GQwnnAAAACegAAAAAAAAACgHpAAAAcgAAAAAAAAAAAAAAAeoAAAByAAAAAAAAAAAAAAAAAAAAAesAAAAVAAAAAAAAAAAAAAAAAAAAAAAAAKQBAAD/////AQEKCewAAAABAAoAAWYAAAAlAAAACe0AAAABAAAAAQAAAAFnAAAAJgAAAAnuAAAAAQAAAAEAAAAFcA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nvAAAACfAAAAABAAAA/v///wEAAAABAAAAAQAAAAEAAAABAAAAAQAAAAAAAQVx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fEAAAAJ8gAAAAEAAAAAAAAAAAAAAAAAAAAAAQV1AAAAH0FwbG9yaXMuQmFzZS5PYmplY3RzLlBlcnNJZERhdGECAAAAA21JZAttQ3VzdG9tRGF0YQcCCAMAAAAJ8wAAAAoFeAAAABpBcGxvcmlzLkJhc2UuT2JqZWN0cy5Db2xvcgcAAAASRGF0YU9iamVjdCttUGFyZW50FURhdGFPYmplY3QrbUNvbnRhaW5lcgVtVHlwZQRtUkdCEG1UaGVtZUNvbG9ySW5kZXgMbUF1dG9VcGRhdGVkCW1Nb2RpZmllZAICAAAAAAAICAgBAQMAAAAKCgAAAAAAAAAADQAAAAABAXkAAAB4AAAACgoBAAAAAAAAAP////8AAQeLAAAAAAEAAAAQAAAABB9BcGxvcmlzLkJhc2UuT2JqZWN0cy5EYXRhT2JqZWN0AwAAAAkJAAAACQoAAAAJCwAAAAkMAAAACRAAAAAJEQAAAAkNAAAACQ4AAAAJDwAAAAkHAAAACQYAAAAJGAAAAAkUAAAADQMHjAAAAAABAAAABAAAAAQcQXBsb3Jpcy5CYXNlLlVJLlZpc3VhbE9iamVjdAMAAAAJHAAAAA0DBI0AAACRAVN5c3RlbS5Db2xsZWN0aW9ucy5HZW5lcmljLkxpc3RgMVtbQXBsb3Jpcy5DaGFydC5WYWx1ZUxpbmUsIEFwbG9yaXMuQ2hhcnQsIFZlcnNpb249NC4wLjAuMTQ4NiwgQ3VsdHVyZT1uZXV0cmFsLCBQdWJsaWNLZXlUb2tlbj0xNmZjMTNhMjI2YzBlOTUxXV0DAAAABl9pdGVtcwVfc2l6ZQhfdmVyc2lvbgQAABlBcGxvcmlzLkNoYXJ0LlZhbHVlTGluZVtdAgAAAAgICfQAAAAAAAAAAAAAAAGOAAAAJQAAAAnZAAAAAAAAAAAAAAABjwAAACYAAAAJ1wAAAAAAAAAAAAAABJAAAACRAVN5c3RlbS5Db2xsZWN0aW9ucy5HZW5lcmljLkxpc3RgMVtbQXBsb3Jpcy5DaGFydC5BeGlzQnJlYWssIEFwbG9yaXMuQ2hhcnQsIFZlcnNpb249NC4wLjAuMTQ4NiwgQ3VsdHVyZT1uZXV0cmFsLCBQdWJsaWNLZXlUb2tlbj0xNmZjMTNhMjI2YzBlOTUxXV0DAAAABl9pdGVtcwVfc2l6ZQhfdmVyc2lvbgQAABlBcGxvcmlzLkNoYXJ0LkF4aXNCcmVha1tdAgAAAAgICfUAAAAAAAAAAAAAAAGRAAAAJQAAAAnZAAAAAAAAAAAAAAABkgAAACYAAAAJ1wAAAAAAAAAAAAAABJQAAACQAVN5c3RlbS5Db2xsZWN0aW9ucy5HZW5lcmljLkxpc3RgMVtbQXBsb3Jpcy5DaGFydC5UaWNrTWFyaywgQXBsb3Jpcy5DaGFydCwgVmVyc2lvbj00LjAuMC4xNDg2LCBDdWx0dXJlPW5ldXRyYWwsIFB1YmxpY0tleVRva2VuPTE2ZmMxM2EyMjZjMGU5NTFdXQMAAAAGX2l0ZW1zBV9zaXplCF92ZXJzaW9uBAAAGEFwbG9yaXMuQ2hhcnQuVGlja01hcmtbXQIAAAAICAn2AAAAAAAAAAAAAAABlQAAACUAAAAJ2QAAAAAAAAAAAAAAAZYAAAAmAAAACdcAAAAAAAAAAAAAAAGZAAAAcAAAAAoKAAAAQD8J9wAAAAn4AAAAAQAAAP7///8AAAAAAQAAAAAAAAAAAAAAAQAAAAAAAAAAAAABmgAAAHUAAAAJ+QAAAAoFpw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gAAAAoAAAAAAEBBCXYAAAAJdwAAAAn6AAAAAQAJ+wAAAAGoAAAAeAAAAAoKAQAAAAAAAAD/////AAEErQAAAJYBU3lzdGVtLkNvbGxlY3Rpb25zLkdlbmVyaWMuTGlzdGAxW1tBcGxvcmlzLkJhc2UuT2JqZWN0cy5WYXJpYWJsZSwgQXBsb3Jpcy5CYXNlLCBWZXJzaW9uPTQuMC4wLjE0ODYsIEN1bHR1cmU9bmV1dHJhbCwgUHVibGljS2V5VG9rZW49MTZmYzEzYTIyNmMwZTk1MV1dAwAAAAZfaXRlbXMFX3NpemUIX3ZlcnNpb24EAAAfQXBsb3Jpcy5CYXNlLk9iamVjdHMuVmFyaWFibGVbXQMAAAAICAn8AAAAAAAAAAAAAAABrgAAAHUAAAAJ/QAAAAoHrwAAAAABAAAACAAAAAQfQXBsb3Jpcy5CYXNlLk9iamVjdHMuRGF0YU9iamVjdAMAAAAJKgAAAAkrAAAACSwAAAAJLQAAAAkoAAAACSkAAAAKCgewAAAAAAEAAAAEAAAABBxBcGxvcmlzLkJhc2UuVUkuVmlzdWFsT2JqZWN0AwAAAAkwAAAACTQAAAAKCgGxAAAAjQAAAAn0AAAAAAAAAAAAAAABsgAAACUAAAAJ2QAAAAAAAAAAAAAAAbMAAAAmAAAACdcAAAAAAAAAAAAAAAG0AAAAkAAAAAn1AAAAAAAAAAAAAAABtQAAACUAAAAJ2QAAAAAAAAAAAAAAAbYAAAAmAAAACdcAAAAAAAAAAAAAAAG4AAAAlAAAAAn+AAAACwAAACEAAAABuQAAACUAAAAJ/wAAAAsAAAAhAAAAAboAAAAmAAAACdcAAAAAAAAAAAAAAAG9AAAAcAAAAAoKAAAAQD8JAAEAAAkBAQAAAQAAAP7///8AAAAAAQAAAAAAAAAAAAAAAQAAAAAAAAAAAAABvgAAAHUAAAAJAgEAAAoFyw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wAAAAoAAAAAAEBBCXYAAAAJdwAAAAkDAQAAAQAJBAEAAAHMAAAAeAAAAAoKAQAAAAAAAAD/////AAEB0QAAAK0AAAAJ/AAAAAAAAAAAAAAAAdIAAAB1AAAACQUBAAAKB9MAAAAAAQAAAAgAAAAEH0FwbG9yaXMuQmFzZS5PYmplY3RzLkRhdGFPYmplY3QDAAAACToAAAAJOwAAAAk8AAAACT0AAAAJOAAAAAk5AAAACQYBAAAKB9QAAAAAAQAAAAQAAAAEHEFwbG9yaXMuQmFzZS5VSS5WaXN1YWxPYmplY3QDAAAACUAAAAAJRAAAAAoKB9UAAAAAAQAAACAAAAAEHUFwbG9yaXMuQ2hhcnQuQ2hhcnREYXRhU2VyaWVzAgAAAAkHAQAACQgBAAAJCQEAAA0dB9YAAAAAAQAAACAAAAAEH0FwbG9yaXMuQmFzZS5PYmplY3RzLkRhdGFPYmplY3QDAAAACQkBAAAJCAEAAAkHAQAADR0H1wAAAAABAAAAAAAAAAQcQXBsb3Jpcy5CYXNlLlVJLlZpc3VhbE9iamVjdAMAAAAH2AAAAAABAAAAAAAAAAQiQXBsb3Jpcy5DaGFydC5Bbm5vdGF0aW9uRGF0YVNlcmllcwIAAAAH2QAAAAABAAAAAAAAAAQfQXBsb3Jpcy5CYXNlLk9iamVjdHMuRGF0YU9iamVjdAMAAAAH2gAAAAABAAAAAAAAAAQdQXBsb3Jpcy5DaGFydC5Bbm5vdGF0aW9uR3JvdXACAAAAB9sAAAAAAQAAABAAAAAEHEFwbG9yaXMuQ2hhcnQuQ2hhcnREYXRhR3JvdXACAAAACQoBAAAJCwEAAA0OB9wAAAAAAQAAABAAAAAEH0FwbG9yaXMuQmFzZS5PYmplY3RzLkRhdGFPYmplY3QDAAAACQoBAAAJCwEAAA0OB90AAAAAAQAAAAAAAAAEFkFwbG9yaXMuQ2hhcnQuRGVsdGFCYXICAAAAB94AAAAAAQAAAAAAAAAEGUFwbG9yaXMuQ2hhcnQuRGVsdGFCcmlkZ2UCAAAAB98AAAAAAQAAAAAAAAAEGUFwbG9yaXMuQ2hhcnQuR3Jvd3RoQXJyb3cCAAAAB+AAAAAAAQAAAAAAAAAEIEFwbG9yaXMuQ2hhcnQuV2F0ZXJmYWxsQ29ubmVjdG9yAgAAAAfhAAAAAAEAAAAAAAAABB5BcGxvcmlzLkNoYXJ0LkVsZW1lbnRDb25uZWN0b3ICAAAABOIAAACjAVN5c3RlbS5Db2xsZWN0aW9ucy5HZW5lcmljLkxpc3RgMVtbQXBsb3Jpcy5DaGFydC5Db2x1bW5PcmllbnRlZExlZ2VuZEVsZW1lbnQsIEFwbG9yaXMuQ2hhcnQsIFZlcnNpb249NC4wLjAuMTQ4NiwgQ3VsdHVyZT1uZXV0cmFsLCBQdWJsaWNLZXlUb2tlbj0xNmZjMTNhMjI2YzBlOTUxXV0DAAAABl9pdGVtcwVfc2l6ZQhfdmVyc2lvbgQAACtBcGxvcmlzLkNoYXJ0LkNvbHVtbk9yaWVudGVkTGVnZW5kRWxlbWVudFtdAgAAAAgICQwBAAADAAAAAQEAAAHjAAAAJQAAAAkNAQAAAwAAAAsAAAAB5AAAACYAAAAJDgEAAAAAAAAAAAAAAecAAABwAAAACgoAAAAAAAkPAQAACRABAAABAAAA/v///wEAAAABAAAAAQAAAAEAAAABAAAAAQAAAAAAAQHoAAAAcQAAAAoKCREBAAAJEgEAAAEAAAAAAAAAAAAAAAAAAAAAAQHsAAAAdQAAAAkTAQAACgftAAAAAAEAAAAEAAAABB9BcGxvcmlzLkJhc2UuT2JqZWN0cy5EYXRhT2JqZWN0AwAAAAljAAAADQMH7gAAAAABAAAABAAAAAQcQXBsb3Jpcy5CYXNlLlVJLlZpc3VhbE9iamVjdAMAAAAJZQAAAA0DAe8AAAB4AAAACgoAAAAAAAAAAA0AAAAAAQHwAAAAeAAAAAoKAQAAAAAAAAD/////AAEB8QAAAHgAAAAKCgEAAAD///8A/////wABAfIAAAB4AAAACgoBAAAAAAAAAP////8AAQ/zAAAAAQAAAAgAAAAAB/QAAAAAAQAAAAAAAAAEF0FwbG9yaXMuQ2hhcnQuVmFsdWVMaW5lAgAAAAf1AAAAAAEAAAAAAAAABBdBcGxvcmlzLkNoYXJ0LkF4aXNCcmVhawIAAAAH9gAAAAABAAAAAAAAAAQWQXBsb3Jpcy5DaGFydC5UaWNrTWFyawIAAAAF9wAAABpBcGxvcmlzLkJhc2UuT2JqZWN0cy5Db2xvcgcAAAASRGF0YU9iamVjdCttUGFyZW50FURhdGFPYmplY3QrbUNvbnRhaW5lcgVtVHlwZQRtUkdCEG1UaGVtZUNvbG9ySW5kZXgMbUF1dG9VcGRhdGVkCW1Nb2RpZmllZAQCAAAAAAAfQXBsb3Jpcy5CYXNlLk9iamVjdHMuTGluZUZvcm1hdAMAAAAICAgBAQMAAAAJmQAAAAoAAAAAAAAAAA0AAAAAAAX4AAAAGkFwbG9yaXMuQmFzZS5PYmplY3RzLkNvbG9yBwAAABJEYXRhT2JqZWN0K21QYXJlbnQVRGF0YU9iamVjdCttQ29udGFpbmVyBW1UeXBlBG1SR0IQbVRoZW1lQ29sb3JJbmRleAxtQXV0b1VwZGF0ZWQJbU1vZGlmaWVkBAIAAAAAAB9BcGxvcmlzLkJhc2UuT2JqZWN0cy5MaW5lRm9ybWF0AwAAAAgICAEBAwAAAAmZAAAACgEAAAAAAAAA/////wABD/kAAAABAAAACPECAAAB+gAAAHgAAAAKCgAAAAAAAAAADQAAAAABAfsAAAB4AAAACgoBAAAAAAAAAP////8AAQf8AAAAAAEAAAAAAAAABB1BcGxvcmlzLkJhc2UuT2JqZWN0cy5WYXJpYWJsZQMAAAAP/QAAAAEAAAAIAAAAAAf+AAAAAAEAAAAQAAAABBZBcGxvcmlzLkNoYXJ0LlRpY2tNYXJrAgAAAAkUAQAACRUBAAAJFgEAAAkXAQAACRgBAAAJGQEAAAkaAQAACRsBAAAJHAEAAAkdAQAACR4BAAANBQf/AAAAAAEAAAAQAAAABB9BcGxvcmlzLkJhc2UuT2JqZWN0cy5EYXRhT2JqZWN0AwAAAAkUAQAACRUBAAAJFgEAAAkXAQAACRgBAAAJGQEAAAkaAQAACRsBAAAJHAEAAAkdAQAACR4BAAANBQUAAQAAGkFwbG9yaXMuQmFzZS5PYmplY3RzLkNvbG9yBwAAABJEYXRhT2JqZWN0K21QYXJlbnQVRGF0YU9iamVjdCttQ29udGFpbmVyBW1UeXBlBG1SR0IQbVRoZW1lQ29sb3JJbmRleAxtQXV0b1VwZGF0ZWQJbU1vZGlmaWVkBAIAAAAAAB9BcGxvcmlzLkJhc2UuT2JqZWN0cy5MaW5lRm9ybWF0AwAAAAgICAEBAwAAAAm9AAAACgAAAAAAAAAADQAAAAAABQEBAAAaQXBsb3Jpcy5CYXNlLk9iamVjdHMuQ29sb3IHAAAAEkRhdGFPYmplY3QrbVBhcmVudBVEYXRhT2JqZWN0K21Db250YWluZXIFbVR5cGUEbVJHQhBtVGhlbWVDb2xvckluZGV4DG1BdXRvVXBkYXRlZAltTW9kaWZpZWQEAgAAAAAAH0FwbG9yaXMuQmFzZS5PYmplY3RzLkxpbmVGb3JtYXQDAAAACAgIAQEDAAAACb0AAAAKAQAAAAAAAAD/////AAEPAgEAAAEAAAAI8gIAAAEDAQAAeAAAAAoKAAAAAAAAAAANAAAAAAEBBAEAAHgAAAAKCgEAAAAAAAAA/////wABDwUBAAABAAAACAAAAAAFBg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aAAAAAMAAAAJaQAAAAlqAAAACWsAAAABAAAAAAoJkwAAAAlsAAAAAQAAAAoAAAAAAAAAAAUHAQ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C4wLjE0ODY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BHwEAABMAAAAAAAAAAgAAAP////8JBwAAAAkgAQAABiEBAAAFQWdyZWUKCgAAAAAAAAAAAAAAAAoKAAkiAQAACSMBAAAJJAEAAAAAAAAAAAAAAAAAAAAAAAAAAAklAQAACQEAAAAJAQAAAAkmAQAAAQgBAAAHAQAACQEAAAABJwEAABMAAAAAAAAAAwAAAP////8JBwAAAAkoAQAABikBAAAHTmV1dHJhbAoKAAAAAAAAAAAAAAAACgoACSoBAAAJKwEAAAksAQAAAAAAAAABAAAAAAAAAAAAAAAACS0BAAAJAQAAAAkBAAAACS4BAAABCQEAAAcBAAAJAQAAAAEvAQAAEwAAAAAAAAAEAAAA/////wkHAAAACTABAAAGMQEAAAhEaXNhZ3JlZQoKAAAAAAAAAAAAAAAACgoACTIBAAAJMwEAAAk0AQAAAAAAAAACAAAAAAAAAAAAAAAACTUBAAAJAQAAAAkBAAAACTYBAAAFCg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Y3AQAAS0NsZWFyIG93bmVyc2hpcCBvdmVyIHN0dWRlbnQgc3VjY2VzcyANCmluaXRpYXRpdmVzIGV4aXN0cyBhdCBteSBpbnN0aXR1dGlvbgAFOAEAAB5BcGxvcmlzLkNoYXJ0LkNoYXJ0R3JvdXBBbmNob3IBAAAAB3ZhbHVlX18ACAIAAAAAAAAACgAAAAABAAAAAQAAAAk5AQAACToBAAAJOwEAAAoJBwAAAAk8AQAACQEAAAAJAQAAAAk9AQAAAQsBAAAKAQAACQEAAAAGPgEAAElNeSBpbnN0aXR1dGlvbuKAmXMgYXBwcm9hY2ggdG8gYWR2aXNpbmcgDQppcyBiZWNvbWluZyBtb3JlIGNlbnRyYWxpemVkIA0KAAE/AQAAOAEAAAAAAAAKAAAAAAEAAAABAAAACUABAAAJQQEAAAlCAQAACgkHAAAACUMBAAAJAQAAAAkBAAAACUQBAAAHDAEAAAABAAAABAAAAAQpQXBsb3Jpcy5DaGFydC5Db2x1bW5PcmllbnRlZExlZ2VuZEVsZW1lbnQCAAAACUUBAAAJRgEAAAlHAQAACgcNAQAAAAEAAAAEAAAABB9BcGxvcmlzLkJhc2UuT2JqZWN0cy5EYXRhT2JqZWN0AwAAAAlHAQAACUYBAAAJRQEAAAoHDgEAAAABAAAAAAAAAAQcQXBsb3Jpcy5CYXNlLlVJLlZpc3VhbE9iamVjdAMAAAABDwEAAHgAAAAKCgAAAAAAAAAADQAAAAABARABAAB4AAAACgoBAAAAAAAAAP////8AAQERAQAAeAAAAAoKAQAAAP///wD/////AAEBEgEAAHgAAAAKCgEAAAAAAAAA/////wABDxMBAAABAAAACAAAAAAFFAE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UgBAAAKCUkBAAAJBwAAAAEAAAAAAAAAAAFKAQAAIQAAABijLUJjWaZDAUsBAAAhAAAAGKMdQmNZpkMACUwBAAAJBwAAAAkBAAAACU0BAAABFQEAABQBAAAJTgEAAAoJTwEAAAkHAAAAAZqZmZmZmbk/AVABAAAhAAAAGKMtQh5/lkMBUQEAACEAAAAYox1CHn+WQwAJUgEAAAkHAAAACQEAAAAJUwEAAAEWAQAAFAEAAAlUAQAACglVAQAACQcAAAABmpmZmZmZyT8BVgEAACEAAAAYoy1C2qSGQwFXAQAAIQAAABijHULapIZDAAlYAQAACQcAAAAJAQAAAAlZAQAAARcBAAAUAQAACVoBAAAKCVsBAAAJBwAAAAEzMzMzMzPTPwFcAQAAIQAAABijLUIqlW1DAV0BAAAhAAAAGKMdQiqVbUMACV4BAAAJBwAAAAkBAAAACV8BAAABGAEAABQBAAAJYAEAAAoJYQEAAAkHAAAAAZqZmZmZmdk/AWIBAAAhAAAAGKMtQqHgTUMBYwEAACEAAAAYox1CoeBNQwAJZAEAAAkHAAAACQEAAAAJZQEAAAEZAQAAFAEAAAlmAQAACglnAQAACQcAAAABAAAAAAAA4D8BaAEAACEAAAAYoy1CFywuQwFpAQAAIQAAABijHUIXLC5DAAlqAQAACQcAAAAJAQAAAAlrAQAAARoBAAAUAQAACWwBAAAKCW0BAAAJBwAAAAEzMzMzMzPjPwFuAQAAIQAAABijLUKOdw5DAW8BAAAhAAAAGKMdQo53DkMACXABAAAJBwAAAAkBAAAACXEBAAABGwEAABQBAAAJcgEAAAoJcwEAAAkHAAAAAWZmZmZmZuY/AXQBAAAhAAAAGKMtQgqG3UIBdQEAACEAAAAYox1CCobdQgAJdgEAAAkHAAAACQEAAAAJdwEAAAEcAQAAFAEAAAl4AQAACgl5AQAACQcAAAABmpmZmZmZ6T8BegEAACEAAAAYoy1C9xyeQgF7AQAAIQAAABijHUL3HJ5CAAl8AQAACQcAAAAJAQAAAAl9AQAAAR0BAAAUAQAACX4BAAAKCX8BAAAJBwAAAAHNzMzMzMzsPwGAAQAAIQAAABijLULJZz1CAYEBAAAhAAAAGKMdQslnPUIACYIBAAAJBwAAAAkBAAAACYMBAAABHgEAABQBAAAJhAEAAAoJhQEAAAkHAAAAAQAAAAAAAPA/AYYBAAAhAAAAGKMtQo5WekEBhwEAACEAAAAYox1CjlZ6QQAJiAEAAAkHAAAACQEAAAAJiQEAAAUgAQAAogFBcGxvcmlzLkJhc2UuT2JqZWN0cy5EYXRhT2JqZWN0Q29sbGVjdGlvbmAxW1tBcGxvcmlzLkNoYXJ0LkNoYXJ0RGF0YU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wLjAuMTQ4NiwgQ3VsdHVyZT1uZXV0cmFsLCBQdWJsaWNLZXlUb2tlbj0xNmZjMTNhMjI2YzBlOTUxXV0DAAAAmAFTeXN0ZW0uQ29sbGVjdGlvbnMuR2VuZXJpYy5MaXN0YDFbW0FwbG9yaXMuQ2hhcnQuQ2hhcnREYXRh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KAQAACYsBAAAJBwEAAAkBAAAACYwBAAAFIgEAABxBcGxvcmlzLkNoYXJ0LkNvbm5lY3RlZExhYmVsJA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CAAAAClgCAAAFjQEAACtBcGxvcmlzLkNoYXJ0LkNvbm5lY3RlZExhYmVsK2VDb25uZWN0b3JNb2RlAQAAAAd2YWx1ZV9fAAgCAAAAAQAAAAWOAQAANkFwbG9yaXMuQ2hhcnQuQ29ubmVjdGVkTGFiZWwrZUFuZ2xlZENvbm5lY3RvckRpcmVjdGlvbgEAAAAHdmFsdWVfXwAIAgAAAAAAAAABjwEAABUAAAAAnK1DIj9fQyBSGENI59RCBZABAAAtQXBsb3Jpcy5DaGFydC5Db25uZWN0ZWRMYWJlbCtlVGFyZ2V0QXJlYVNoYXBlAQAAAAd2YWx1ZV9fAAgCAAAAAAAAAAAAEEEBAZEBAAAhAAAAEMX9Q3o8ikMBkgEAAKAAAAAEAAAAAAAAAAAAAAAACZMBAAAAAAAACZQBAAAAAAGVAQAAqQAAAAAAAAABlgEAAHIAAAAAAAxCAABgQQGXAQAAFQAAAAAAAAAAAAAAAAAAAAAAAABeutk/CSEBAAAKCZgBAAAGmQEAAAAgAwAA/////wABCgmaAQAAAQAKAAcjAQAAAAEAAAACAAAABBVTeXN0ZW0uRHJhd2luZy5Qb2ludEYEAAAAAZsBAAAhAAAAEMX9Q3o8ikMBnAEAACEAAAAYoxlC00uCQwckAQAAAAEAAAACAAAABBdBcGxvcmlzLkJhc2UuQW5jaG9yTW9kZQMAAAABnQEAAKAAAAAEAAAAAZ4BAACgAAAAAgAAAAElAQAAJQAAAAmfAQAAAQAAAAEAAAABJgEAACYAAAAJoAEAAAEAAAABAAAAASgBAAAgAQAACgmhAQAACaIBAAAJCAEAAAkBAAAACaMBAAABKgEAACIBAAAKWAIAAAGkAQAAjQEAAAEAAAABpQEAAI4BAAAAAAAAAaYBAAAVAAAAAJytQ+0bV0IgUhhDJ3gjQwGnAQAAkAEAAAAAAAAAABBBAQGoAQAAIQAAABDF/UMPgwdDAakBAACgAAAABAAAAAAAAAAAAAAAAAmqAQAAAAAAAAmrAQAAAAABrAEAAKkAAAAAAAAAAa0BAAByAAAAAAAoQgAAYEEBrgEAABUAAAAAAAAAAAAAAAAAAAAAAAAAXrrZPwkpAQAACgmvAQAACZkBAAAgAwAA/////wABCgmwAQAAAQAKAAcrAQAAAAEAAAACAAAABBVTeXN0ZW0uRHJhd2luZy5Qb2ludEYEAAAAAbEBAAAhAAAAEMX9Qw+DB0MBsgEAACEAAAAYoxlCQcQFQwcsAQAAAAEAAAACAAAABBdBcGxvcmlzLkJhc2UuQW5jaG9yTW9kZQMAAAABswEAAKAAAAAEAAAAAbQBAACgAAAAAgAAAAEtAQAAJQAAAAm1AQAAAQAAAAEAAAABLgEAACYAAAAJtgEAAAEAAAABAAAAATABAAAgAQAACgm3AQAACbgBAAAJCQEAAAkBAAAACbkBAAABMgEAACIBAAAKWAIAAAG6AQAAjQEAAAEAAAABuwEAAI4BAAAAAAAAAbwBAAAVAAAAAJytQ0crlUEgUhhDlAzpQQG9AQAAkAEAAAAAAAAAABBBAQG+AQAAIQAAABDF/UPI2ARCAb8BAACgAAAABAAAAAAAAAAAAAAAAAnAAQAAAAAAAAnBAQAAAAABwgEAAKkAAAAAAAAAAcMBAAByAAAAAABQQgAAYEEBxAEAABUAAAAAAAAAAAAAAAAAAAAAAAAAXrrZPwkxAQAACgnFAQAACZkBAAAgAwAA/////wABCgnGAQAAAQAKAAczAQAAAAEAAAACAAAABBVTeXN0ZW0uRHJhd2luZy5Qb2ludEYEAAAAAccBAAAhAAAAEMX9Q8jYBEIByAEAACEAAAAYoxlCymI9Qgc0AQAAAAEAAAACAAAABBdBcGxvcmlzLkJhc2UuQW5jaG9yTW9kZQMAAAAByQEAAKAAAAAEAAAAAcoBAACgAAAAAgAAAAE1AQAAJQAAAAnLAQAAAQAAAAEAAAABNgEAACYAAAAJzAEAAAEAAAABAAAADzkBAAABAAAACAAAAAAHOgEAAAABAAAAAQAAAAQVQXBsb3Jpcy5CYXNlLlVJLkxhYmVsAwAAAAnNAQAAATsBAAA0AAAAAc4BAAAhAAAA3hAqQ2PZqEMBzwEAAKAAAAADAAAAAAAAAAAAAAAACdABAAAAAAAACdEBAAAAAAHSAQAAqQAAAAAAAAAB0wEAAHIAAAAAAEZDAADIQQHUAQAAFQAAABddnELooqhDDPo2Q3TRtUESg74/CTcBAAAKCdUBAAAJmQEAACADAAD/////AQEKCdYBAAABAAoAATwBAAAlAAAACdkAAAAAAAAAAAAAAAE9AQAAJgAAAAnXAQAAAgAAAAwAAAAPQAEAAAEAAAAIAAAAAAdBAQAAAAEAAAABAAAABBVBcGxvcmlzLkJhc2UuVUkuTGFiZWwDAAAACdgBAAABQgEAADQAAAAB2QEAACEAAACIsNNDY9moQwHaAQAAoAAAAAMAAAAAAAAAAAAAAAAJ2wEAAAAAAAAJ3AEAAAAAAd0BAACpAAAAAAAAAAHeAQAAcgAAAAAAPEMAABhCAd8BAAAVAAAAiy6oQ+iiqEPG4i1Diy4KQhKDvj8JPgEAAAoJ4AEAAAmZAQAAIAMAAP////8BAQoJ4QEAAAEACgABQwEAACUAAAAJ4gEAAAAAAAAAAAAAAUQBAAAmAAAACeMBAAACAAAAAgAAAAVFAQAAKUFwbG9yaXMuQ2hhcnQuQ29sdW1uT3JpZW50ZWRMZWdlbmRFbGVtZW50DQAAAAdtTGVnZW5kC21EYXRhU2VyaWVzFExlZ2VuZEVsZW1lbnQrbUxhYmVsGExlZ2VuZEVsZW1lbnQrbVJlY3RhbmdsZRNMZWdlbmRFbGVtZW50K21MaW5lFUxlZ2VuZEVsZW1lbnQrbUNpcmNsZRVMZWdlbmRFbGVtZW50K21NYXJrZXIUTGVnZW5kRWxlbWVudCttSW5kZXgdTGVnZW5kRWxlbWVudCttTGFiZWxQb3NpdGlvbnMYRGF0YU9iamVjdCttQ2hpbGRPYmplY3RzEkRhdGFPYmplY3QrbVBhcmVudBVEYXRhT2JqZWN0K21Db250YWluZXIZRGF0YU9iamVjdCttVmlzdWFsT2JqZWN0cwQEBAQEBAQABAMEBAMiQXBsb3Jpcy5DaGFydC5Db2x1bW5PcmllbnRlZExlZ2VuZAIAAAAdQXBsb3Jpcy5DaGFydC5DaGFydERhdGFTZXJpZXMCAAAAFUFwbG9yaXMuQmFzZS5VSS5MYWJlbAMAAAAaQXBsb3Jpcy5CYXNlLlVJLlZpc3VhbFJlY3QDAAAAGkFwbG9yaXMuQmFzZS5VSS5WaXN1YWxMaW5lAwAAAB1BcGxvcmlzLkJhc2UuVUkuVmlzdWFsRWxsaXBzZQMAAAAaQXBsb3Jpcy5DaGFydC5WaXN1YWxNYXJrZXICAAAACBdTeXN0ZW0uRHJhd2luZy5Qb2ludEZbXQQAAAC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UAAAACQcBAAAJ5AEAAAnlAQAACgoKAAAAAAoJ5gEAAAkUAAAACQEAAAAJ5wEAAAFGAQAARQEAAAkUAAAACQgBAAAJ6AEAAAnpAQAACgoKAQAAAAoJ6gEAAAkUAAAACQEAAAAJ6wEAAAFHAQAARQEAAAkUAAAACQkBAAAJ7AEAAAntAQAACgoKAgAAAAoJ7gEAAAkUAAAACQEAAAAJ7wEAAAFIAQAAMAAAAAHwAQAAIQAAABijLUJjWaZDAfEBAAAhAAAAGKMdQmNZpkMJ8gEAAMwBAAD/////AQEKCfMBAAABAAoAAUkBAAA0AAAAAfQBAAAhAAAAGKMXQmNZpkMB9QEAAKAAAAACAAAAAAAAAAAAAAAACfYBAAAAAAAACfcBAAAAAAH4AQAAqQAAAAAAAAAB+QEAAHIAAAAAAIBBAABAQQH6AQAAFQAAAKOLrkHooqNDei2MQaOLLkESg74/BvsBAAACMCUKCfwBAAAJmQEAANACAAD/////AQEKCf0BAAABAAoAAUwBAAAlAAAACdkAAAAAAAAAAAAAAAFNAQAAJgAAAAn+AQAAAgAAAAIAAAABTgEAADAAAAAB/wEAACEAAAAYoy1CHn+WQwEAAgAAIQAAABijHUIef5ZDCQECAADMAQAA/////wEBCgkCAgAAAQAKAAFPAQAANAAAAAEDAgAAIQAAABijF0Ief5ZDAQQCAACgAAAAAgAAAAAAAAAAAAAAAAkFAgAAAAAAAAkGAgAAAAABBwIAAKkAAAAAAAAAAQgCAAByAAAAAAC4QQAAQEEBCQIAABUAAADRRXdBLrqTQzQWv0Gjiy5BEoO+PwYKAgAAAzEwJQoJCwIAAAmZAQAA0AIAAP////8BAQoJDAIAAAEACgABUgEAACUAAAAJ2QAAAAAAAAAAAAAAAVMBAAAmAAAACQ0CAAACAAAAAgAAAAFUAQAAMAAAAAEOAgAAIQAAABijLULapIZDAQ8CAAAhAAAAGKMdQtqkhkMJEAIAAMwBAAD/////AQEKCRECAAABAAoAAVUBAAA0AAAAARICAAAhAAAAGKMXQtqkhkMBEwIAAKAAAAACAAAAAAAAAAAAAAAACRQCAAAAAAAACRUCAAAAAAEWAgAAqQAAAAAAAAABFwIAAHIAAAAAALhBAABAQQEYAgAAFQAAANFFd0F00YNDNBa/QaOLLkESg74/BhkCAAADMjAlCgkaAgAACZkBAADQAgAA/////wEBCgkbAgAAAQAKAAFYAQAAJQAAAAnZAAAAAAAAAAAAAAABWQEAACYAAAAJHAIAAAIAAAACAAAAAVoBAAAwAAAAAR0CAAAhAAAAGKMtQiqVbUMBHgIAACEAAAAYox1CKpVtQwkfAgAAzAEAAP////8BAQoJIAIAAAEACgABWwEAADQAAAABIQIAACEAAAAYoxdCKpVtQwEiAgAAoAAAAAIAAAAAAAAAAAAAAAAJIwIAAAAAAAAJJAIAAAAAASUCAACpAAAAAAAAAAEmAgAAcgAAAAAAuEEAAEBBAScCAAAVAAAA0UV3QXTRZ0M0Fr9Bo4suQRKDvj8GKAIAAAMzMCUKCSkCAAAJmQEAANACAAD/////AQEKCSoCAAABAAoAAV4BAAAlAAAACdkAAAAAAAAAAAAAAAFfAQAAJgAAAAkrAgAAAgAAAAIAAAABYAEAADAAAAABLAIAACEAAAAYoy1CoeBNQwEtAgAAIQAAABijHUKh4E1DCS4CAADMAQAA/////wEBCgkvAgAAAQAKAAFhAQAANAAAAAEwAgAAIQAAABijF0Kh4E1DATECAACgAAAAAgAAAAAAAAAAAAAAAAkyAgAAAAAAAAkzAgAAAAABNAIAAKkAAAAAAAAAATUCAAByAAAAAAC4QQAAQEEBNgIAABUAAADRRXdBAABIQzQWv0Gjiy5BEoO+PwY3AgAAAzQwJQoJOAIAAAmZAQAA0AIAAP////8BAQoJOQIAAAEACgABZAEAACUAAAAJ2QAAAAAAAAAAAAAAAWUBAAAmAAAACToCAAACAAAAAgAAAAFmAQAAMAAAAAE7AgAAIQAAABijLUIXLC5DATwCAAAhAAAAGKMdQhcsLkMJPQIAAMwBAAD/////AQEKCT4CAAABAAoAAWcBAAA0AAAAAT8CAAAhAAAAGKMXQhcsLkMBQAIAAKAAAAACAAAAAAAAAAAAAAAACUECAAAAAAAACUICAAAAAAFDAgAAqQAAAAAAAAABRAIAAHIAAAAAALhBAABAQQFFAgAAFQAAANFFd0FGFylDNBa/QaOLLkESg74/BkYCAAADNTAlCglHAgAACZkBAADQAgAA/////wEBCglIAgAAAQAKAAFqAQAAJQAAAAnZAAAAAAAAAAAAAAABawEAACYAAAAJSQIAAAIAAAACAAAAAWwBAAAwAAAAAUoCAAAhAAAAGKMtQo53DkMBSwIAACEAAAAYox1CjncOQwlMAgAAzAEAAP////8BAQoJTQIAAAEACgABbQEAADQAAAABTgIAACEAAAAYoxdCjncOQwFPAgAAoAAAAAIAAAAAAAAAAAAAAAAJUAIAAAAAAAAJUQIAAAAAAVICAACpAAAAAAAAAAFTAgAAcgAAAAAAuEEAAEBBAVQCAAAVAAAA0UV3QdFFCUM0Fr9Bo4suQRKDvj8GVQIAAAM2MCUKCVYCAAAJmQEAANACAAD/////AQEKCVcCAAABAAoAAXABAAAlAAAACdkAAAAAAAAAAAAAAAFxAQAAJgAAAAlYAgAAAgAAAAIAAAABcgEAADAAAAABWQIAACEAAAAYoy1CCobdQgFaAgAAIQAAABijHUIKht1CCVsCAADMAQAA/////wEBCglcAgAAAQAKAAFzAQAANAAAAAFdAgAAIQAAABijF0IKht1CAV4CAACgAAAAAgAAAAAAAAAAAAAAAAlfAgAAAAAAAAlgAgAAAAABYQIAAKkAAAAAAAAAAWICAAByAAAAAAC4QQAAQEEBYwIAABUAAADRRXdBuujSQjQWv0Gjiy5BEoO+PwZkAgAAAzcwJQoJZQIAAAmZAQAA0AIAAP////8BAQoJZgIAAAEACgABdgEAACUAAAAJ2QAAAAAAAAAAAAAAAXcBAAAmAAAACWcCAAACAAAAAgAAAAF4AQAAMAAAAAFoAgAAIQAAABijLUL3HJ5CAWkCAAAhAAAAGKMdQvccnkIJagIAAMwBAAD/////AQEKCWsCAAABAAoAAXkBAAA0AAAAAWwCAAAhAAAAGKMXQvccnkIBbQIAAKAAAAACAAAAAAAAAAAAAAAACW4CAAAAAAAACW8CAAAAAAFwAgAAqQAAAAAAAAABcQIAAHIAAAAAALhBAABAQQFyAgAAFQAAANFFd0HRRZNCNBa/QaOLLkESg74/BnMCAAADODAlCgl0AgAACZkBAADQAgAA/////wEBCgl1AgAAAQAKAAF8AQAAJQAAAAnZAAAAAAAAAAAAAAABfQEAACYAAAAJdgIAAAIAAAACAAAAAX4BAAAwAAAAAXcCAAAhAAAAGKMtQslnPUIBeAIAACEAAAAYox1CyWc9Qgl5AgAAzAEAAP////8BAQoJegIAAAEACgABfwEAADQAAAABewIAACEAAAAYoxdCyWc9QgF8AgAAoAAAAAIAAAAAAAAAAAAAAAAJfQIAAAAAAAAJfgIAAAAAAX8CAACpAAAAAAAAAAGAAgAAcgAAAAAAuEEAAEBBAYECAAAVAAAA0UV3QdFFJ0I0Fr9Bo4suQRKDvj8GggIAAAM5MCUKCYMCAAAJmQEAANACAAD/////AQEKCYQCAAABAAoAAYIBAAAlAAAACdkAAAAAAAAAAAAAAAGDAQAAJgAAAAmFAgAAAgAAAAIAAAABhAEAADAAAAABhgIAACEAAAAYoy1CjlZ6QQGHAgAAIQAAABijHUKOVnpBCYgCAADMAQAA/////wEBCgmJAgAAAQAKAAGFAQAANAAAAAGKAgAAIQAAABijF0KOVnpBAYsCAACgAAAAAgAAAAAAAAAAAAAAAAmMAgAAAAAAAAmNAgAAAAABjgIAAKkAAAAAAAAAAY8CAAByAAAAAADoQQAAQEEBkAIAABUAAAAAACBBAAAgQRy56kGjiy5BEoO+PwaRAgAABDEwMCUKCZICAAAJmQEAANACAAD/////AQEKCZMCAAABAAoAAYgBAAAlAAAACdkAAAAAAAAAAAAAAAGJAQAAJgAAAAmUAgAAAgAAAAIAAAAEigEAAJgBU3lzdGVtLkNvbGxlY3Rpb25zLkdlbmVyaWMuTGlzdGAxW1tBcGxvcmlzLkNoYXJ0LkNoYXJ0RGF0YUVsZW1lbnQsIEFwbG9yaXMuQ2hhcnQsIFZlcnNpb249NC4wLjAuMTQ4NiwgQ3VsdHVyZT1uZXV0cmFsLCBQdWJsaWNLZXlUb2tlbj0xNmZjMTNhMjI2YzBlOTUxXV0DAAAABl9pdGVtcwVfc2l6ZQhfdmVyc2lvbgQAACBBcGxvcmlzLkNoYXJ0LkNoYXJ0RGF0YUVsZW1lbnRbXQIAAAAICAmVAgAAAgAAABIAAAABiwEAACUAAAAJlgIAAAIAAAASAAAAAYwBAAAmAAAACZcCAAAAAAAAAAAAAAWT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BwEAAAoAAAAAAEBBCXYAAAAJdwAAAAmYAgAAAQAJmQIAAAGUAQAAeAAAAAoKAAAAAP///wAOAAAAAAEBmAEAAK0AAAAJmgIAAAEAAAABAAAAAZoBAAB1AAAACZsCAAAKB58BAAAAAQAAAAQAAAAEH0FwbG9yaXMuQmFzZS5PYmplY3RzLkRhdGFPYmplY3QDAAAACSABAAANAwegAQAAAAEAAAAEAAAABBxBcGxvcmlzLkJhc2UuVUkuVmlzdWFsT2JqZWN0AwAAAAkiAQAADQMBoQEAAIoBAAAJnAIAAAIAAAASAAAAAaIBAAAlAAAACZ0CAAACAAAAEgAAAAGjAQAAJgAAAAmeAgAAAAAAAAAAAAAFq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gBAAAKAAAAAABAQQl2AAAACXcAAAAJnwIAAAEACaACAAABqwEAAHgAAAAKCgAAAAD///8ADgAAAAABAa8BAACtAAAACaECAAABAAAAAQAAAAGwAQAAdQAAAAmiAgAACge1AQAAAAEAAAAEAAAABB9BcGxvcmlzLkJhc2UuT2JqZWN0cy5EYXRhT2JqZWN0AwAAAAkoAQAADQMHtgEAAAABAAAABAAAAAQcQXBsb3Jpcy5CYXNlLlVJLlZpc3VhbE9iamVjdAMAAAAJKgEAAA0DAbcBAACKAQAACaMCAAACAAAAEgAAAAG4AQAAJQAAAAmkAgAAAgAAABIAAAABuQEAACYAAAAJngIAAAAAAAAAAAAABcA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JAQAACgAAAAAAQEEJdgAAAAl3AAAACaUCAAABAAmmAgAAAcEBAAB4AAAACgoAAAAA////AA4AAAAAAQHFAQAArQAAAAmnAgAAAQAAAAEAAAABxgEAAHUAAAAJqAIAAAoHywEAAAABAAAABAAAAAQfQXBsb3Jpcy5CYXNlLk9iamVjdHMuRGF0YU9iamVjdAMAAAAJMAEAAA0DB8wBAAAAAQAAAAQAAAAEHEFwbG9yaXMuQmFzZS5VSS5WaXN1YWxPYmplY3QDAAAACTIBAAANAwHNAQAANAAAAAGpAgAAIQAAAN4QKkOOVkpBAaoCAACgAAAAAQAAAAAAAAAAAAAAAAmrAgAAAAAAAAmsAgAAAAABrQIAAKkAAAAAAAAAAa4CAAByAAAAAAAcQgAAQEEBrwIAABUAAAAAAAAAAAAAAAAAAAAAAAAAEoO+PwawAgAABDEwMCUKCbECAAAJmQEAADQDAAD/////AAEKCbICAAABAAoAAdABAAAjAAAACgoAAQAAAChBCXYAAAAJdwAAAAmzAgAAAAAJtAIAAAHRAQAAeAAAAAoKAAAAAP///wAOAAAAAAEB1QEAAK0AAAAJtQIAAAEAAAABAAAAAdYBAAB1AAAACbYCAAAKB9cBAAAAAQAAAAQAAAAEHEFwbG9yaXMuQmFzZS5VSS5WaXN1YWxPYmplY3QDAAAACTsBAAAJzQEAAAoKAdgBAAA0AAAAAbcCAAAhAAAAiLDTQ45WSkEBuAIAAKAAAAABAAAAAAAAAAAAAAAACbkCAAAAAAAACboCAAAAAAG7AgAAqQAAAAAAAAABvAIAAHIAAAAAAAAAAAAAAAG9AgAAFQAAAAAAAAAAAAAAAAAAAAAAAAAAAAAABr4CAAAEMTAwJQoJvwIAAAmZAQAANAMAAP////8AAQoJwAIAAAEACgAB2wEAACMAAAAKCgABAAAAKEEJdgAAAAl3AAAACcECAAAAAAnCAgAAAdwBAAB4AAAACgoAAAAA////AA4AAAAAAQHgAQAArQAAAAnDAgAAAQAAAAEAAAAB4QEAAHUAAAAJxAIAAAoH4gEAAAABAAAAAAAAAAQfQXBsb3Jpcy5CYXNlLk9iamVjdHMuRGF0YU9iamVjdAMAAAAH4wEAAAABAAAABAAAAAQcQXBsb3Jpcy5CYXNlLlVJLlZpc3VhbE9iamVjdAMAAAAJQgEAAAnYAQAACgoB5AEAADQAAAABxQIAACEAAADZo2VCYaC6QwHGAgAAoAAAAAUAAAAAAAAAAAAAAAAJxwIAAAAAAAAJyAIAAAAAAckCAACpAAAAAAAAAAHKAgAAcgAAAAAA8EEAAEBBAcsCAAAVAAAAXXRhQnTRukPu/vFBo4suQRKDvj8JIQEAAAoJzAIAAAmZAQAAhAMAAP////8BAQoJzQIAAAEACgAB5QEAABwAAAABzgIAACEAAABopitCYaC6QwHPAgAAIQAAANmjWUIPYMBDCdACAAAJ0QIAAAAAAAAKAdICAAByAAAAAAAAAAAAAAAB0wIAAHIAAAAAAAAAAAAAAAAAAAAB1AIAABUAAAAAAAAAAAAAAAAAAAAAAAAAmAMAAP////8BAQoJ1QIAAAEACgAB5gEAACUAAAAJ1gIAAAAAAAAAAAAAAecBAAAmAAAACdcCAAACAAAAAgAAAAHoAQAANAAAAAHYAgAAIQAAAIUq40JhoLpDAdkCAACgAAAABQAAAAAAAAAAAAAAAAnaAgAAAAAAAAnbAgAAAAAB3AIAAKkAAAAAAAAAAd0CAAByAAAAAAAUQgAAQEEB3gIAABUAAADoot9CdNG6Q9RzEkKjiy5BEoO+PwkpAQAACgnfAgAACZkBAACEAwAA/////wEBCgngAgAAAQAKAAHpAQAAHAAAAAHhAgAAIQAAAM0rxkJhoLpDAeICAAAhAAAAhSrdQg9gwEMJ4wIAAAnkAgAAAAAAAAoB5QIAAHIAAAAAAAAAAAAAAAHmAgAAcgAAAAAAAAAAAAAAAAAAAAHnAgAAFQAAAAAAAAAAAAAAAAAAAAAAAACYAwAA/////wEBCgnoAgAAAQAKAAHqAQAAJQAAAAnpAgAAAAAAAAAAAAAB6wEAACYAAAAJ6gIAAAIAAAACAAAAAewBAAA0AAAAAesCAAAhAAAAph4wQ2GgukMB7AIAAKAAAAAFAAAAAAAAAAAAAAAACe0CAAAAAAAACe4CAAAAAAHvAgAAqQAAAAAAAAAB8AIAAHIAAAAAADhCAABAQQHxAgAAFQAAAKOLLkN00bpDAi4zQqOLLkESg74/CTEBAAAKCfICAAAJmQEAAIQDAAD/////AQEKCfMCAAABAAoAAe0BAAAcAAAAAfQCAAAhAAAASp8hQ2GgukMB9QIAACEAAACmHi1DD2DAQwn2AgAACfcCAAAAAAAACgH4AgAAcgAAAAAAAAAAAAAAAfkCAAByAAAAAAAAAAAAAAAAAAAAAfoCAAAVAAAAAAAAAAAAAAAAAAAAAAAAAJgDAAD/////AQEKCfsCAAABAAoAAe4BAAAlAAAACekCAAAAAAAAAAAAAAHvAQAAJgAAAAn8AgAAAgAAAAIAAAAB8gEAAHAAAAAKCgAAAEA/Cf0CAAAJ/gIAAAEAAAD+////AAAAAAEAAAAAAAAAAAAAAAEAAAAAAAAAAAAAAfMBAAB1AAAACf8CAAAKAfYBAAAjAAAACgoAAAAAAChBCXYAAAAJdwAAAAkAAwAAAAAJAQMAAAH3AQAAeAAAAAoKAAAAAP///wAOAAAAAAEB/AEAAK0AAAAJAgMAAAEAAAABAAAAAf0BAAB1AAAACQMDAAAKB/4BAAAAAQAAAAQAAAAEHEFwbG9yaXMuQmFzZS5VSS5WaXN1YWxPYmplY3QDAAAACUgBAAAJSQEAAAoKAQECAABwAAAACgoAAABAPwkEAwAACQUDAAABAAAA/v///wAAAAABAAAAAAAAAAAAAAABAAAAAAAAAAAAAAECAgAAdQAAAAkGAwAACgEFAgAAIwAAAAoKAAAAAAAoQQl2AAAACXcAAAAJBwMAAAAACQgDAAABBgIAAHgAAAAKCgAAAAD///8ADgAAAAABAQsCAACtAAAACQkDAAABAAAAAwAAAAEMAgAAdQAAAAkKAwAACgcNAgAAAAEAAAAEAAAABBxBcGxvcmlzLkJhc2UuVUkuVmlzdWFsT2JqZWN0AwAAAAlOAQAACU8BAAAKCgEQAgAAcAAAAAoKAAAAQD8JCwMAAAkMAwAAAQAAAP7///8AAAAAAQAAAAAAAAAAAAAAAQAAAAAAAAAAAAABEQIAAHUAAAAJDQMAAAoBFAIAACMAAAAKCgAAAAAAKEEJdgAAAAl3AAAACQ4DAAAAAAkPAwAAARUCAAB4AAAACgoAAAAA////AA4AAAAAAQEaAgAArQAAAAkQAwAAAQAAAAMAAAABGwIAAHUAAAAJEQMAAAoHHAIAAAABAAAABAAAAAQcQXBsb3Jpcy5CYXNlLlVJLlZpc3VhbE9iamVjdAMAAAAJVAEAAAlVAQAACgoBHwIAAHAAAAAKCgAAAEA/CRIDAAAJEwMAAAEAAAD+////AAAAAAEAAAAAAAAAAAAAAAEAAAAAAAAAAAAAASACAAB1AAAACRQDAAAKASMCAAAjAAAACgoAAAAAAChBCXYAAAAJdwAAAAkVAwAAAAAJFgMAAAEkAgAAeAAAAAoKAAAAAP///wAOAAAAAAEBKQIAAK0AAAAJFwMAAAEAAAADAAAAASoCAAB1AAAACRgDAAAKBysCAAAAAQAAAAQAAAAEHEFwbG9yaXMuQmFzZS5VSS5WaXN1YWxPYmplY3QDAAAACVoBAAAJWwEAAAoKAS4CAABwAAAACgoAAABAPwkZAwAACRoDAAABAAAA/v///wAAAAABAAAAAAAAAAAAAAABAAAAAAAAAAAAAAEvAgAAdQAAAAkbAwAACgEyAgAAIwAAAAoKAAAAAAAoQQl2AAAACXcAAAAJHAMAAAAACR0DAAABMwIAAHgAAAAKCgAAAAD///8ADgAAAAABATgCAACtAAAACR4DAAABAAAAAwAAAAE5AgAAdQAAAAkfAwAACgc6AgAAAAEAAAAEAAAABBxBcGxvcmlzLkJhc2UuVUkuVmlzdWFsT2JqZWN0AwAAAAlgAQAACWEBAAAKCgE9AgAAcAAAAAoKAAAAQD8JIAMAAAkhAwAAAQAAAP7///8AAAAAAQAAAAAAAAAAAAAAAQAAAAAAAAAAAAABPgIAAHUAAAAJIgMAAAoBQQIAACMAAAAKCgAAAAAAKEEJdgAAAAl3AAAACSMDAAAAAAkkAwAAAUICAAB4AAAACgoAAAAA////AA4AAAAAAQFHAgAArQAAAAklAwAAAQAAAAMAAAABSAIAAHUAAAAJJgMAAAoHSQIAAAABAAAABAAAAAQcQXBsb3Jpcy5CYXNlLlVJLlZpc3VhbE9iamVjdAMAAAAJZgEAAAlnAQAACgoBTAIAAHAAAAAKCgAAAEA/CScDAAAJKAMAAAEAAAD+////AAAAAAEAAAAAAAAAAAAAAAEAAAAAAAAAAAAAAU0CAAB1AAAACSkDAAAKAVACAAAjAAAACgoAAAAAAChBCXYAAAAJdwAAAAkqAwAAAAAJKwMAAAFRAgAAeAAAAAoKAAAAAP///wAOAAAAAAEBVgIAAK0AAAAJLAMAAAEAAAADAAAAAVcCAAB1AAAACS0DAAAKB1gCAAAAAQAAAAQAAAAEHEFwbG9yaXMuQmFzZS5VSS5WaXN1YWxPYmplY3QDAAAACWwBAAAJbQEAAAoKAVsCAABwAAAACgoAAABAPwkuAwAACS8DAAABAAAA/v///wAAAAABAAAAAAAAAAAAAAABAAAAAAAAAAAAAAFcAgAAdQAAAAkwAwAACgFfAgAAIwAAAAoKAAAAAAAoQQl2AAAACXcAAAAJMQMAAAAACTIDAAABYAIAAHgAAAAKCgAAAAD///8ADgAAAAABAWUCAACtAAAACTMDAAABAAAAAwAAAAFmAgAAdQAAAAk0AwAACgdnAgAAAAEAAAAEAAAABBxBcGxvcmlzLkJhc2UuVUkuVmlzdWFsT2JqZWN0AwAAAAlyAQAACXMBAAAKCgFqAgAAcAAAAAoKAAAAQD8JNQMAAAk2AwAAAQAAAP7///8AAAAAAQAAAAAAAAAAAAAAAQAAAAAAAAAAAAABawIAAHUAAAAJNwMAAAoBbgIAACMAAAAKCgAAAAAAKEEJdgAAAAl3AAAACTgDAAAAAAk5AwAAAW8CAAB4AAAACgoAAAAA////AA4AAAAAAQF0AgAArQAAAAk6AwAAAQAAAAMAAAABdQIAAHUAAAAJOwMAAAoHdgIAAAABAAAABAAAAAQcQXBsb3Jpcy5CYXNlLlVJLlZpc3VhbE9iamVjdAMAAAAJeAEAAAl5AQAACgoBeQIAAHAAAAAKCgAAAEA/CTwDAAAJPQMAAAEAAAD+////AAAAAAEAAAAAAAAAAAAAAAEAAAAAAAAAAAAAAXoCAAB1AAAACT4DAAAKAX0CAAAjAAAACgoAAAAAAChBCXYAAAAJdwAAAAk/AwAAAAAJQAMAAAF+AgAAeAAAAAoKAAAAAP///wAOAAAAAAEBgwIAAK0AAAAJQQMAAAEAAAADAAAAAYQCAAB1AAAACUIDAAAKB4UCAAAAAQAAAAQAAAAEHEFwbG9yaXMuQmFzZS5VSS5WaXN1YWxPYmplY3QDAAAACX4BAAAJfwEAAAoKAYgCAABwAAAACgoAAABAPwlDAwAACUQDAAABAAAA/v///wAAAAABAAAAAAAAAAAAAAABAAAAAAAAAAAAAAGJAgAAdQAAAAlFAwAACgGMAgAAIwAAAAoKAAAAAAAoQQl2AAAACXcAAAAJRgMAAAAACUcDAAABjQIAAHgAAAAKCgAAAAD///8ADgAAAAABAZICAACtAAAACUgDAAABAAAAAwAAAAGTAgAAdQAAAAlJAwAACgeUAgAAAAEAAAAEAAAABBxBcGxvcmlzLkJhc2UuVUkuVmlzdWFsT2JqZWN0AwAAAAmEAQAACYUBAAAKCgeVAgAAAAEAAAAQAAAABB5BcGxvcmlzLkNoYXJ0LkNoYXJ0RGF0YUVsZW1lbnQCAAAACUoDAAAJSwMAAA0OB5YCAAAAAQAAABAAAAAEH0FwbG9yaXMuQmFzZS5PYmplY3RzLkRhdGFPYmplY3QDAAAACUoDAAAJSwMAAA0OB5cCAAAAAQAAAAAAAAAEHEFwbG9yaXMuQmFzZS5VSS5WaXN1YWxPYmplY3QDAAAAAZgCAAB4AAAACgoAAAAAAAAAAA0AAAAAAQGZAgAAeAAAAAoKAQAAAAAAAAD/////AAEHmgIAAAABAAAABAAAAAQdQXBsb3Jpcy5CYXNlLk9iamVjdHMuVmFyaWFibGUDAAAABUwDAAAdQXBsb3Jpcy5CYXNlLk9iamVjdHMuVmFyaWFibGUCAAAABk51bWJlcghQb3NpdGlvbgAACAgDAAAAAQAAAAAAAAABTQMAAEwDAAAAAAAAAAAAAAFOAwAATAMAAAAAAAAAAAAAAU8DAABMAwAAAAAAAAAAAAAPmwIAAAEAAAAIAAAAAAecAgAAAAEAAAAQAAAABB5BcGxvcmlzLkNoYXJ0LkNoYXJ0RGF0YUVsZW1lbnQCAAAACVADAAAJUQMAAA0OB50CAAAAAQAAABAAAAAEH0FwbG9yaXMuQmFzZS5PYmplY3RzLkRhdGFPYmplY3QDAAAACVADAAAJUQMAAA0OB54CAAAAAQAAAAAAAAAEHEFwbG9yaXMuQmFzZS5VSS5WaXN1YWxPYmplY3QDAAAAAZ8CAAB4AAAACgoAAAAAAAAAAA0AAAAAAQGgAgAAeAAAAAoKAQAAAAAAAAD/////AAEHoQIAAAABAAAABAAAAAQdQXBsb3Jpcy5CYXNlLk9iamVjdHMuVmFyaWFibGUDAAAAAVIDAABMAwAAAQAAAAAAAAABUwMAAEwDAAAAAAAAAAAAAAFUAwAATAMAAAAAAAAAAAAAAVUDAABMAwAAAAAAAAAAAAAPogIAAAEAAAAIAAAAAAejAgAAAAEAAAAQAAAABB5BcGxvcmlzLkNoYXJ0LkNoYXJ0RGF0YUVsZW1lbnQCAAAACVYDAAAJVwMAAA0OB6QCAAAAAQAAABAAAAAEH0FwbG9yaXMuQmFzZS5PYmplY3RzLkRhdGFPYmplY3QDAAAACVYDAAAJVwMAAA0OAaUCAAB4AAAACgoAAAAAAAAAAA0AAAAAAQGmAgAAeAAAAAoKAQAAAAAAAAD/////AAEHpwIAAAABAAAABAAAAAQdQXBsb3Jpcy5CYXNlLk9iamVjdHMuVmFyaWFibGUDAAAAAVgDAABMAwAAAQAAAAAAAAABWQMAAEwDAAAAAAAAAAAAAAFaAwAATAMAAAAAAAAAAAAAAVsDAABMAwAAAAAAAAAAAAAPqAIAAAEAAAAIAAAAAAWr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KAQAACgAAAAAAQEEJdgAAAAl3AAAACVwDAAABAAldAwAAAawCAAB4AAAACgoAAAAA////AA4AAAAAAQGxAgAArQAAAAleAwAAAQAAAAEAAAABsgIAAHUAAAAJXwMAAAoBswIAAHgAAAAKCgAAAAAAAAAADQAAAAAAAbQCAAB4AAAACgoAAAAAAAAAAA0AAAAAAQe1AgAAAAEAAAAEAAAABB1BcGxvcmlzLkJhc2UuT2JqZWN0cy5WYXJpYWJsZQMAAAABYAMAAEwDAAABAAAAAAAAAAFhAwAATAMAAAAAAAAAAAAAAWIDAABMAwAAAAAAAAAAAAABYwMAAEwDAAAAAAAAAAAAAA+2AgAAAQAAAAhSAQAABbk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sBAAAKAAAAAABAQQl2AAAACXcAAAAJZAMAAAEACWUDAAABugIAAHgAAAAKCgEAAAAAAAAA/////wABAb8CAACtAAAACWYDAAABAAAAAwAAAAHAAgAAdQAAAAlnAwAACgHBAgAAeAAAAAoKAAAAAAAAAAANAAAAAAABwgIAAHgAAAAKCgAAAAAAAAAADQAAAAABB8MCAAAAAQAAAAQAAAAEHUFwbG9yaXMuQmFzZS5PYmplY3RzLlZhcmlhYmxlAwAAAAFoAwAATAMAAAEAAAAAAAAAAWkDAABMAwAAAAAAAAAAAAABagMAAEwDAAAAAAAAAAAAAAFrAwAATAMAAAAAAAAAAAAAD8QCAAABAAAACJICAAABxwIAACMAAAAKCgAAAAAAKEEJdgAAAAl3AAAACWwDAAAAAAltAwAAAcgCAAB4AAAACgoBAAAAAAAAAP////8AAQHMAgAArQAAAAluAwAAAQAAAAEAAAABzQIAAHUAAAAJbwMAAAoB0AIAAHAAAAAKCgAAAEA/CXADAAAJcQMAAAEAAAD+////AAAAAAEAAAAAAAAAAAAAAAEAAAAAAAAAAAAAAdECAABxAAAACgoJcgMAAAlzAwAAAQAAAP7///8AAAAA/////wEAAdUCAAB1AAAACXQDAAAKB9YCAAAAAQAAAAAAAAAEH0FwbG9yaXMuQmFzZS5PYmplY3RzLkRhdGFPYmplY3QDAAAAB9cCAAAAAQAAAAQAAAAEHEFwbG9yaXMuQmFzZS5VSS5WaXN1YWxPYmplY3QDAAAACeQBAAAJ5QEAAAoKAdoCAAAjAAAACgoAAAAAAChBCXYAAAAJdwAAAAl1AwAAAAAJdgMAAAHbAgAAeAAAAAoKAQAAAAAAAAD/////AAEB3wIAAK0AAAAJdwMAAAEAAAABAAAAAeACAAB1AAAACXgDAAAKAeMCAABwAAAACgoAAABAPwl5AwAACXoDAAABAAAA/v///wAAAAABAAAAAAAAAAAAAAABAAAAAAAAAAAAAAHkAgAAcQAAAAoKCXsDAAAJfAMAAAEAAAD+////AAAAAP////8BAAHoAgAAdQAAAAl9AwAACgfpAgAAAAEAAAAAAAAABB9BcGxvcmlzLkJhc2UuT2JqZWN0cy5EYXRhT2JqZWN0AwAAAAfqAgAAAAEAAAAEAAAABBxBcGxvcmlzLkJhc2UuVUkuVmlzdWFsT2JqZWN0AwAAAAnoAQAACekBAAAKCgHtAgAAIwAAAAoKAAAAAAAoQQl2AAAACXcAAAAJfgMAAAAACX8DAAAB7gIAAHgAAAAKCgEAAAAAAAAA/////wABAfICAACtAAAACYADAAABAAAAAQAAAAHzAgAAdQAAAAmBAwAACgH2AgAAcAAAAAoKAAAAQD8JggMAAAmDAwAAAQAAAP7///8AAAAAAQAAAAAAAAAAAAAAAQAAAAAAAAAAAAAB9wIAAHEAAAAKCgmEAwAACYUDAAABAAAA/v///wAAAAD/////AQAB+wIAAHUAAAAJhgMAAAoH/AIAAAABAAAABAAAAAQcQXBsb3Jpcy5CYXNlLlVJLlZpc3VhbE9iamVjdAMAAAAJ7AEAAAntAQAACgoB/QIAAHgAAAAKCgAAAAAAAAAADQAAAAAABf4CAAAaQXBsb3Jpcy5CYXNlLk9iamVjdHMuQ29sb3IHAAAAEkRhdGFPYmplY3QrbVBhcmVudBVEYXRhT2JqZWN0K21Db250YWluZXIFbVR5cGUEbVJHQhBtVGhlbWVDb2xvckluZGV4DG1BdXRvVXBkYXRlZAltTW9kaWZpZWQEAgAAAAAAH0FwbG9yaXMuQmFzZS5PYmplY3RzLkxpbmVGb3JtYXQDAAAACAgIAQEDAAAACfIBAAAKAQAAAAAAAAD/////AAEP/wIAAAEAAAAI8wIAAAEAAwAAeAAAAAoKAAAAAAAAAAANAAAAAAABAQMAAHgAAAAKCgAAAAAAAAAADQAAAAABBwIDAAAAAQAAAAQAAAAEHUFwbG9yaXMuQmFzZS5PYmplY3RzLlZhcmlhYmxlAwAAAAGHAwAATAMAAAEAAAAAAAAAAYgDAABMAwAAAAAAAAAAAAABiQMAAEwDAAAAAAAAAAAAAAGKAwAATAMAAAAAAAAAAAAADwMDAAABAAAACCYAAAABBAMAAHgAAAAKCgAAAAAAAAAADQAAAAAABQUDAAAaQXBsb3Jpcy5CYXNlLk9iamVjdHMuQ29sb3IHAAAAEkRhdGFPYmplY3QrbVBhcmVudBVEYXRhT2JqZWN0K21Db250YWluZXIFbVR5cGUEbVJHQhBtVGhlbWVDb2xvckluZGV4DG1BdXRvVXBkYXRlZAltTW9kaWZpZWQEAgAAAAAAH0FwbG9yaXMuQmFzZS5PYmplY3RzLkxpbmVGb3JtYXQDAAAACAgIAQEDAAAACQECAAAKAQAAAAAAAAD/////AAEPBgMAAAEAAAAI9QIAAAEHAwAAeAAAAAoKAAAAAAAAAAANAAAAAAABCAMAAHgAAAAKCgAAAAAAAAAADQAAAAABBwkDAAAAAQAAAAQAAAAEHUFwbG9yaXMuQmFzZS5PYmplY3RzLlZhcmlhYmxlAwAAAAGLAwAATAMAAAEAAAAAAAAAAYwDAABMAwAAAAAAAAAAAAABjQMAAEwDAAAAAAAAAAAAAAGOAwAATAMAAAAAAAAAAAAADwoDAAABAAAACCMAAAABCwMAAHgAAAAKCgAAAAAAAAAADQAAAAAABQwDAAAaQXBsb3Jpcy5CYXNlLk9iamVjdHMuQ29sb3IHAAAAEkRhdGFPYmplY3QrbVBhcmVudBVEYXRhT2JqZWN0K21Db250YWluZXIFbVR5cGUEbVJHQhBtVGhlbWVDb2xvckluZGV4DG1BdXRvVXBkYXRlZAltTW9kaWZpZWQEAgAAAAAAH0FwbG9yaXMuQmFzZS5PYmplY3RzLkxpbmVGb3JtYXQDAAAACAgIAQEDAAAACRACAAAKAQAAAAAAAAD/////AAEPDQMAAAEAAAAI9gIAAAEOAwAAeAAAAAoKAAAAAAAAAAANAAAAAAABDwMAAHgAAAAKCgAAAAAAAAAADQAAAAABBxADAAAAAQAAAAQAAAAEHUFwbG9yaXMuQmFzZS5PYmplY3RzLlZhcmlhYmxlAwAAAAGPAwAATAMAAAEAAAAAAAAAAZADAABMAwAAAAAAAAAAAAABkQMAAEwDAAAAAAAAAAAAAAGSAwAATAMAAAAAAAAAAAAADxEDAAABAAAACCsAAAABEgMAAHgAAAAKCgAAAAAAAAAADQAAAAAABRMDAAAaQXBsb3Jpcy5CYXNlLk9iamVjdHMuQ29sb3IHAAAAEkRhdGFPYmplY3QrbVBhcmVudBVEYXRhT2JqZWN0K21Db250YWluZXIFbVR5cGUEbVJHQhBtVGhlbWVDb2xvckluZGV4DG1BdXRvVXBkYXRlZAltTW9kaWZpZWQEAgAAAAAAH0FwbG9yaXMuQmFzZS5PYmplY3RzLkxpbmVGb3JtYXQDAAAACAgIAQEDAAAACR8CAAAKAQAAAAAAAAD/////AAEPFAMAAAEAAAAI9wIAAAEVAwAAeAAAAAoKAAAAAAAAAAANAAAAAAABFgMAAHgAAAAKCgAAAAAAAAAADQAAAAABBxcDAAAAAQAAAAQAAAAEHUFwbG9yaXMuQmFzZS5PYmplY3RzLlZhcmlhYmxlAwAAAAGTAwAATAMAAAEAAAAAAAAAAZQDAABMAwAAAAAAAAAAAAABlQMAAEwDAAAAAAAAAAAAAAGWAwAATAMAAAAAAAAAAAAADxgDAAABAAAACCoAAAABGQMAAHgAAAAKCgAAAAAAAAAADQAAAAAABRoDAAAaQXBsb3Jpcy5CYXNlLk9iamVjdHMuQ29sb3IHAAAAEkRhdGFPYmplY3QrbVBhcmVudBVEYXRhT2JqZWN0K21Db250YWluZXIFbVR5cGUEbVJHQhBtVGhlbWVDb2xvckluZGV4DG1BdXRvVXBkYXRlZAltTW9kaWZpZWQEAgAAAAAAH0FwbG9yaXMuQmFzZS5PYmplY3RzLkxpbmVGb3JtYXQDAAAACAgIAQEDAAAACS4CAAAKAQAAAAAAAAD/////AAEPGwMAAAEAAAAI9AIAAAEcAwAAeAAAAAoKAAAAAAAAAAANAAAAAAABHQMAAHgAAAAKCgAAAAAAAAAADQAAAAABBx4DAAAAAQAAAAQAAAAEHUFwbG9yaXMuQmFzZS5PYmplY3RzLlZhcmlhYmxlAwAAAAGXAwAATAMAAAEAAAAAAAAAAZgDAABMAwAAAAAAAAAAAAABmQMAAEwDAAAAAAAAAAAAAAGaAwAATAMAAAAAAAAAAAAADx8DAAABAAAACCcAAAABIAMAAHgAAAAKCgAAAAAAAAAADQAAAAAABSEDAAAaQXBsb3Jpcy5CYXNlLk9iamVjdHMuQ29sb3IHAAAAEkRhdGFPYmplY3QrbVBhcmVudBVEYXRhT2JqZWN0K21Db250YWluZXIFbVR5cGUEbVJHQhBtVGhlbWVDb2xvckluZGV4DG1BdXRvVXBkYXRlZAltTW9kaWZpZWQEAgAAAAAAH0FwbG9yaXMuQmFzZS5PYmplY3RzLkxpbmVGb3JtYXQDAAAACAgIAQEDAAAACT0CAAAKAQAAAAAAAAD/////AAEPIgMAAAEAAAAI+wIAAAEjAwAAeAAAAAoKAAAAAAAAAAANAAAAAAABJAMAAHgAAAAKCgAAAAAAAAAADQAAAAABByUDAAAAAQAAAAQAAAAEHUFwbG9yaXMuQmFzZS5PYmplY3RzLlZhcmlhYmxlAwAAAAGbAwAATAMAAAEAAAAAAAAAAZwDAABMAwAAAAAAAAAAAAABnQMAAEwDAAAAAAAAAAAAAAGeAwAATAMAAAAAAAAAAAAADyYDAAABAAAACCkAAAABJwMAAHgAAAAKCgAAAAAAAAAADQAAAAAABSgDAAAaQXBsb3Jpcy5CYXNlLk9iamVjdHMuQ29sb3IHAAAAEkRhdGFPYmplY3QrbVBhcmVudBVEYXRhT2JqZWN0K21Db250YWluZXIFbVR5cGUEbVJHQhBtVGhlbWVDb2xvckluZGV4DG1BdXRvVXBkYXRlZAltTW9kaWZpZWQEAgAAAAAAH0FwbG9yaXMuQmFzZS5PYmplY3RzLkxpbmVGb3JtYXQDAAAACAgIAQEDAAAACUwCAAAKAQAAAAAAAAD/////AAEPKQMAAAEAAAAI/AIAAAEqAwAAeAAAAAoKAAAAAAAAAAANAAAAAAABKwMAAHgAAAAKCgAAAAAAAAAADQAAAAABBywDAAAAAQAAAAQAAAAEHUFwbG9yaXMuQmFzZS5PYmplY3RzLlZhcmlhYmxlAwAAAAGfAwAATAMAAAEAAAAAAAAAAaADAABMAwAAAAAAAAAAAAABoQMAAEwDAAAAAAAAAAAAAAGiAwAATAMAAAAAAAAAAAAADy0DAAABAAAACCgAAAABLgMAAHgAAAAKCgAAAAAAAAAADQAAAAAABS8DAAAaQXBsb3Jpcy5CYXNlLk9iamVjdHMuQ29sb3IHAAAAEkRhdGFPYmplY3QrbVBhcmVudBVEYXRhT2JqZWN0K21Db250YWluZXIFbVR5cGUEbVJHQhBtVGhlbWVDb2xvckluZGV4DG1BdXRvVXBkYXRlZAltTW9kaWZpZWQEAgAAAAAAH0FwbG9yaXMuQmFzZS5PYmplY3RzLkxpbmVGb3JtYXQDAAAACAgIAQEDAAAACVsCAAAKAQAAAAAAAAD/////AAEPMAMAAAEAAAAI/QIAAAExAwAAeAAAAAoKAAAAAAAAAAANAAAAAAABMgMAAHgAAAAKCgAAAAAAAAAADQAAAAABBzMDAAAAAQAAAAQAAAAEHUFwbG9yaXMuQmFzZS5PYmplY3RzLlZhcmlhYmxlAwAAAAGjAwAATAMAAAEAAAAAAAAAAaQDAABMAwAAAAAAAAAAAAABpQMAAEwDAAAAAAAAAAAAAAGmAwAATAMAAAAAAAAAAAAADzQDAAABAAAACCwAAAABNQMAAHgAAAAKCgAAAAAAAAAADQAAAAAABTYDAAAaQXBsb3Jpcy5CYXNlLk9iamVjdHMuQ29sb3IHAAAAEkRhdGFPYmplY3QrbVBhcmVudBVEYXRhT2JqZWN0K21Db250YWluZXIFbVR5cGUEbVJHQhBtVGhlbWVDb2xvckluZGV4DG1BdXRvVXBkYXRlZAltTW9kaWZpZWQEAgAAAAAAH0FwbG9yaXMuQmFzZS5PYmplY3RzLkxpbmVGb3JtYXQDAAAACAgIAQEDAAAACWoCAAAKAQAAAAAAAAD/////AAEPNwMAAAEAAAAI+AIAAAE4AwAAeAAAAAoKAAAAAAAAAAANAAAAAAABOQMAAHgAAAAKCgAAAAAAAAAADQAAAAABBzoDAAAAAQAAAAQAAAAEHUFwbG9yaXMuQmFzZS5PYmplY3RzLlZhcmlhYmxlAwAAAAGnAwAATAMAAAEAAAAAAAAAAagDAABMAwAAAAAAAAAAAAABqQMAAEwDAAAAAAAAAAAAAAGqAwAATAMAAAAAAAAAAAAADzsDAAABAAAACC0AAAABPAMAAHgAAAAKCgAAAAAAAAAADQAAAAAABT0DAAAaQXBsb3Jpcy5CYXNlLk9iamVjdHMuQ29sb3IHAAAAEkRhdGFPYmplY3QrbVBhcmVudBVEYXRhT2JqZWN0K21Db250YWluZXIFbVR5cGUEbVJHQhBtVGhlbWVDb2xvckluZGV4DG1BdXRvVXBkYXRlZAltTW9kaWZpZWQEAgAAAAAAH0FwbG9yaXMuQmFzZS5PYmplY3RzLkxpbmVGb3JtYXQDAAAACAgIAQEDAAAACXkCAAAKAQAAAAAAAAD/////AAEPPgMAAAEAAAAI+QIAAAE/AwAAeAAAAAoKAAAAAAAAAAANAAAAAAABQAMAAHgAAAAKCgAAAAAAAAAADQAAAAABB0EDAAAAAQAAAAQAAAAEHUFwbG9yaXMuQmFzZS5PYmplY3RzLlZhcmlhYmxlAwAAAAGrAwAATAMAAAEAAAAAAAAAAawDAABMAwAAAAAAAAAAAAABrQMAAEwDAAAAAAAAAAAAAAGuAwAATAMAAAAAAAAAAAAAD0IDAAABAAAACCUAAAABQwMAAHgAAAAKCgAAAAAAAAAADQAAAAAABUQDAAAaQXBsb3Jpcy5CYXNlLk9iamVjdHMuQ29sb3IHAAAAEkRhdGFPYmplY3QrbVBhcmVudBVEYXRhT2JqZWN0K21Db250YWluZXIFbVR5cGUEbVJHQhBtVGhlbWVDb2xvckluZGV4DG1BdXRvVXBkYXRlZAltTW9kaWZpZWQEAgAAAAAAH0FwbG9yaXMuQmFzZS5PYmplY3RzLkxpbmVGb3JtYXQDAAAACAgIAQEDAAAACYgCAAAKAQAAAAAAAAD/////AAEPRQMAAAEAAAAI+gIAAAFGAwAAeAAAAAoKAAAAAAAAAAANAAAAAAABRwMAAHgAAAAKCgAAAAAAAAAADQAAAAABB0gDAAAAAQAAAAQAAAAEHUFwbG9yaXMuQmFzZS5PYmplY3RzLlZhcmlhYmxlAwAAAAGvAwAATAMAAAEAAAAAAAAAAbADAABMAwAAAAAAAAAAAAABsQMAAEwDAAAAAAAAAAAAAAGyAwAATAMAAAAAAAAAAAAAD0kDAAABAAAACCQAAAAFSgM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mzAwAACbQDAAAKCbUDAAAKCQcBAAAIBhwXx6tMHN0/CgAAAAAJtgMAAAm3AwAAAAAAAAAJuAMAAAkHAQAACQEAAAAJuQMAAAFLAwAASgMAAAm6AwAACbsDAAAKCbwDAAAKCQcBAAAIBtLp3QoPs9Y/CgEAAAAJvQMAAAm+AwAAAAAAAAAJvwMAAAkHAQAACQEAAAAJwAMAAAFQAwAASgMAAAnBAwAACcIDAAAKCcMDAAAKCQgBAAAIBkx7HZ9nF9Y/CgAAAAAJxAMAAAnFAwAAAAAAAAAJxgMAAAkIAQAACQEAAAAJxwMAAAFRAwAASgMAAAnIAwAACckDAAAKCcoDAAAKCQgBAAAIBgSD2GrAGuE/CgEAAAAJywMAAAnMAwAAAAAAAAAJzQMAAAkIAQAACQEAAAAJzgMAAAFWAwAASgMAAAnPAwAACdADAAAKCdEDAAAKCQkBAAAIBuXbNmqXmMk/CgAAAAAJ0gMAAAnTAwAAAAAAAAAJ1AMAAAkJAQAACQEAAAAJ1QMAAAFXAwAASgMAAAnWAwAACdcDAAAKCdgDAAAKCQkBAAAIBsZBxH3AXbw/CgEAAAAJ2QMAAAnaAwAAAAAAAAAJ2wMAAAkJAQAACQEAAAAJ3AMAAAFcAwAAeAAAAAoKAAAAAAAAAAANAAAAAAEBXQMAAHgAAAAKCgEAAAAAAAAA/////wABB14DAAAAAQAAAAQAAAAEHUFwbG9yaXMuQmFzZS5PYmplY3RzLlZhcmlhYmxlAwAAAAHdAwAATAMAAAEAAAAAAAAAAd4DAABMAwAAAAAAAAAAAAAB3wMAAEwDAAAAAAAAAAAAAAHgAwAATAMAAAAAAAAAAAAAD18DAAABAAAACAAAAAABZAMAAHgAAAAKCgAAAAAAAAAADQAAAAABAWUDAAB4AAAACgoBAAAAAAAAAP////8AAQdmAwAAAAEAAAAEAAAABB1BcGxvcmlzLkJhc2UuT2JqZWN0cy5WYXJpYWJsZQMAAAAB4QMAAEwDAAABAAAAAAAAAAHiAwAATAMAAAAAAAAAAAAAAeMDAABMAwAAAAAAAAAAAAAB5AMAAEwDAAAAAAAAAAAAAA9nAwAAAQAAAAgAAAAAAWwDAAB4AAAACgoAAAAAAAAAAA0AAAAAAAFtAwAAeAAAAAoKAQAAAAAAAAD/////AAEHbgMAAAABAAAABAAAAAQdQXBsb3Jpcy5CYXNlLk9iamVjdHMuVmFyaWFibGUDAAAAAeUDAABMAwAAAQAAAAAAAAAB5gMAAEwDAAAAAAAAAAAAAAHnAwAATAMAAAAAAAAAAAAAAegDAABMAwAAAAAAAAAAAAAPbwMAAAEAAAAIcwIAAAFwAwAAeAAAAAoKAAAAAP///wAOAAAAAAAFcQMAABpBcGxvcmlzLkJhc2UuT2JqZWN0cy5Db2xvcgcAAAASRGF0YU9iamVjdCttUGFyZW50FURhdGFPYmplY3QrbUNvbnRhaW5lcgVtVHlwZQRtUkdCEG1UaGVtZUNvbG9ySW5kZXgMbUF1dG9VcGRhdGVkCW1Nb2RpZmllZAQCAAAAAAAfQXBsb3Jpcy5CYXNlLk9iamVjdHMuTGluZUZvcm1hdAMAAAAICAgBAQMAAAAJ0AIAAAoBAAAAAAAAAP////8AAQFyAwAAeAAAAAoKAAAAAD9pfgAFAAAAAAABcwMAAHgAAAAKCgEAAAD///8A/////wAAD3QDAAABAAAACHQCAAABdQMAAHgAAAAKCgAAAAAAAAAADQAAAAAAAXYDAAB4AAAACgoBAAAAAAAAAP////8AAQd3AwAAAAEAAAAEAAAABB1BcGxvcmlzLkJhc2UuT2JqZWN0cy5WYXJpYWJsZQMAAAAB6QMAAEwDAAABAAAAAAAAAAHqAwAATAMAAAAAAAAAAAAAAesDAABMAwAAAAAAAAAAAAAB7AMAAEwDAAAAAAAAAAAAAA94AwAAAQAAAAhOAgAAAXkDAAB4AAAACgoAAAAA////AA4AAAAAAAV6AwAAGkFwbG9yaXMuQmFzZS5PYmplY3RzLkNvbG9yBwAAABJEYXRhT2JqZWN0K21QYXJlbnQVRGF0YU9iamVjdCttQ29udGFpbmVyBW1UeXBlBG1SR0IQbVRoZW1lQ29sb3JJbmRleAxtQXV0b1VwZGF0ZWQJbU1vZGlmaWVkBAIAAAAAAB9BcGxvcmlzLkJhc2UuT2JqZWN0cy5MaW5lRm9ybWF0AwAAAAgICAEBAwAAAAnjAgAACgEAAAAAAAAA/////wABAXsDAAB4AAAACgoAAAAAcoSMAAYAAAAAAAF8AwAAeAAAAAoKAQAAAP///wD/////AAAPfQMAAAEAAAAIUwIAAAF+AwAAeAAAAAoKAAAAAAAAAAANAAAAAAABfwMAAHgAAAAKCgEAAAAAAAAA/////wABB4ADAAAAAQAAAAQAAAAEHUFwbG9yaXMuQmFzZS5PYmplY3RzLlZhcmlhYmxlAwAAAAHtAwAATAMAAAEAAAAAAAAAAe4DAABMAwAAAAAAAAAAAAAB7wMAAEwDAAAAAAAAAAAAAAHwAwAATAMAAAAAAAAAAAAAD4EDAAABAAAACFACAAABggMAAHgAAAAKCgAAAAD///8ADgAAAAAABYMDAAAaQXBsb3Jpcy5CYXNlLk9iamVjdHMuQ29sb3IHAAAAEkRhdGFPYmplY3QrbVBhcmVudBVEYXRhT2JqZWN0K21Db250YWluZXIFbVR5cGUEbVJHQhBtVGhlbWVDb2xvckluZGV4DG1BdXRvVXBkYXRlZAltTW9kaWZpZWQEAgAAAAAAH0FwbG9yaXMuQmFzZS5PYmplY3RzLkxpbmVGb3JtYXQDAAAACAgIAQEDAAAACfYCAAAKAQAAAAAAAAD/////AAEBhAMAAHgAAAAKCgAAAADtISUABwAAAAAAAYUDAAB4AAAACgoBAAAA////AP////8AAA+GAwAAAQAAAAhSAgAAAbMDAAAiAQAAClgCAAAB8QMAAI0BAAACAAAAAfIDAACOAQAAAQAAAAHzAwAAFQAAAJ7Pu0KGfD9DHlIYQ0A2CkMB9AMAAJABAAAAAAAAAACgQAAB9QMAACEAAADeECpD00uCQwH2AwAAoAAAAAAAAAAAAAAAAAAAAAAJ9wMAAAAAAAAJ+AMAAAAAAfkDAACpAAAAAAAAAAH6AwAAcgAAAAAAuEEAAEBBAfsDAAAVAAAAiy4eQ110f0M0Fr9Bo4suQRKDvj8G/AMAAAM0NSUKCf0DAAAJmQEAADQDAAD/////AQEKCf4DAAABAAoAAbQDAAAcAAAAAf8DAAAhAAAAns+1QmNZpkMBAAQAACEAAADtOXlDhnw8QwkBBAAACQIEAAAAAAAACgEDBAAAcgAAAAAAAAAAAAAAAQQEAAByAAAAAAAAAAAAAAAAAAAAAQUEAAAVAAAAAAAAAAAAAAAAAAAAAAAAAKQBAAD/////AQEKCQYEAAABAAoAB7UDAAAAAQAAAAIAAAAEGkFwbG9yaXMuQmFzZS5VSS5WaXN1YWxMaW5lAwAAAAoKB7YDAAAAAQAAAAMAAAAEFVN5c3RlbS5EcmF3aW5nLlBvaW50RgQAAAABBwQAACEAAADeECpD00uCQwEIBAAAIQAAAJ7Pr0LTS4JDAQkEAAAhAAAA7Tl8Q9NLgkMHtwMAAAABAAAAAwAAAAQXQXBsb3Jpcy5CYXNlLkFuY2hvck1vZGUDAAAAAQoEAACgAAAAAAAAAAELBAAAoAAAAAIAAAABDAQAAKAAAAAEAAAAAbgDAAAlAAAACdYCAAAAAAAAAAAAAAG5AwAAJgAAAAkNBAAAAgAAAAIAAAABugMAACIBAAAKWAIAAAEOBAAAjQEAAAIAAAABDwQAAI4BAAABAAAAARAEAAAVAAAAAJytQyI/X0MgUhhDSOfUQgERBAAAkAEAAAAAAAAAAKBAAAESBAAAIQAAAIiw00N6PIpDARMEAACgAAAAAAAAAAAAAAAAAAAAAAkUBAAAAAAAAAkVBAAAAAABFgQAAKkAAAAAAAAAARcEAAByAAAAAAC4QQAAQEEBGAQAABUAAAC66M1DXXSHQzQWv0Gjiy5BEoO+PwYZBAAAAzM1JQoJGgQAAAmZAQAANAMAAP////8BAQoJGwQAAAEACgABuwMAABwAAAABHAQAACEAAAAAHKxDY1mmQwEdBAAAIQAAABBF+0MiP1xDCR4EAAAJHwQAAAAAAAAKASAEAAByAAAAAAAAAAAAAAABIQQAAHIAAAAAAAAAAAAAAAAAAAABIgQAABUAAAAAAAAAAAAAAAAAAAAAAAAApAEAAP////8BAQoJIwQAAAEACgAHvAMAAAABAAAAAgAAAAQaQXBsb3Jpcy5CYXNlLlVJLlZpc3VhbExpbmUDAAAACgoHvQMAAAABAAAAAwAAAAQVU3lzdGVtLkRyYXdpbmcuUG9pbnRGBAAAAAEkBAAAIQAAAIiw00N6PIpDASUEAAAhAAAAAJyqQ3o8ikMBJgQAACEAAAAQxfxDejyKQwe+AwAAAAEAAAADAAAABBdBcGxvcmlzLkJhc2UuQW5jaG9yTW9kZQMAAAABJwQAAKAAAAAAAAAAASgEAACgAAAAAgAAAAEpBAAAoAAAAAQAAAABvwMAACUAAAAJ4gEAAAAAAAAAAAAAAcADAAAmAAAACSoEAAACAAAAAgAAAAHBAwAAIgEAAApYAgAAASsEAACNAQAAAgAAAAEsBAAAjgEAAAEAAAABLQQAABUAAACez7tC+BekQh5SGEMU4c5CAS4EAACQAQAAAAAAAAAAoEAAAS8EAAAhAAAA3hAqQ0HEBUMBMAQAAKAAAAAAAAAAAAAAAAAAAAAACTEEAAAAAAAACTIEAAAAAAEzBAAAqQAAAAAAAAABNAQAAHIAAAAAALhBAABAQQE1BAAAFQAAAIsuHkOLLgBDNBa/QaOLLkESg74/BjYEAAADMzUlCgk3BAAACZkBAAA0AwAA/////wEBCgk4BAAAAQAKAAHCAwAAHAAAAAE5BAAAIQAAAJ7PtUKGfDxDAToEAAAhAAAA7Tl5Q/gXnkIJOwQAAAk8BAAAAAAAAAoBPQQAAHIAAAAAAAAAAAAAAAE+BAAAcgAAAAAAAAAAAAAAAAAAAAE/BAAAFQAAAAAAAAAAAAAAAAAAAAAAAACkAQAA/////wEBCglABAAAAQAKAAfDAwAAAAEAAAACAAAABBpBcGxvcmlzLkJhc2UuVUkuVmlzdWFsTGluZQMAAAAKCgfEAwAAAAEAAAADAAAABBVTeXN0ZW0uRHJhd2luZy5Qb2ludEYEAAAAAUEEAAAhAAAA3hAqQ0HEBUMBQgQAACEAAACez69CQcQFQwFDBAAAIQAAAO05fENBxAVDB8UDAAAAAQAAAAMAAAAEF0FwbG9yaXMuQmFzZS5BbmNob3JNb2RlAwAAAAFEBAAAoAAAAAAAAAABRQQAAKAAAAACAAAAAUYEAACgAAAABAAAAAHGAwAAJQAAAAnpAgAAAAAAAAAAAAABxwMAACYAAAAJRwQAAAIAAAACAAAAAcgDAAAiAQAAClgCAAABSAQAAI0BAAACAAAAAUkEAACOAQAAAQAAAAFKBAAAFQAAAACcrUPtG1dCIFIYQyd4I0MBSwQAAJABAAAAAAAAAACgQAABTAQAACEAAACIsNNDD4MHQwFNBAAAoAAAAAAAAAAAAAAAAAAAAAAJTgQAAAAAAAAJTwQAAAAAAVAEAACpAAAAAAAAAAFRBAAAcgAAAAAAuEEAAEBBAVIEAAAVAAAAuujNQwAAAkM0Fr9Bo4suQRKDvj8GUwQAAAM1MyUKCVQEAAAJmQEAADQDAAD/////AQEKCVUEAAABAAoAAckDAAAcAAAAAVYEAAAhAAAAABysQyI/XEMBVwQAACEAAAAQRftD7RtLQglYBAAACVkEAAAAAAAACgFaBAAAcgAAAAAAAAAAAAAAAVsEAAByAAAAAAAAAAAAAAAAAAAAAVwEAAAVAAAAAAAAAAAAAAAAAAAAAAAAAKQBAAD/////AQEKCV0EAAABAAoAB8oDAAAAAQAAAAIAAAAEGkFwbG9yaXMuQmFzZS5VSS5WaXN1YWxMaW5lAwAAAAoKB8sDAAAAAQAAAAMAAAAEFVN5c3RlbS5EcmF3aW5nLlBvaW50RgQAAAABXgQAACEAAACIsNNDD4MHQwFfBAAAIQAAAACcqkMPgwdDAWAEAAAhAAAAEMX8Qw+DB0MHzAMAAAABAAAAAwAAAAQXQXBsb3Jpcy5CYXNlLkFuY2hvck1vZGUDAAAAAWEEAACgAAAAAAAAAAFiBAAAoAAAAAIAAAABYwQAAKAAAAAEAAAAAc0DAAAlAAAACeIBAAAAAAAAAAAAAAHOAwAAJgAAAAlkBAAAAgAAAAIAAAABzwMAACIBAAAKWAIAAAFlBAAAjQEAAAIAAAABZgQAAI4BAAABAAAAAWcEAAAVAAAAns+7QkcrlUEeUhhDTJplQgFoBAAAkAEAAAAAAAAAAKBAAAFpBAAAIQAAAN4QKkPKYj1CAWoEAACgAAAAAAAAAAAAAAAAAAAAAAlrBAAAAAAAAAlsBAAAAAABbQQAAKkAAAAAAAAAAW4EAAByAAAAAAC4QQAAQEEBbwQAABUAAACLLh5D0UUnQjQWv0Gjiy5BEoO+PwZwBAAAAzIwJQoJcQQAAAmZAQAANAMAAP////8BAQoJcgQAAAEACgAB0AMAABwAAAABcwQAACEAAACez7VC+BeeQgF0BAAAIQAAAO05eUOOVnpBCXUEAAAJdgQAAAAAAAAKAXcEAAByAAAAAAAAAAAAAAABeAQAAHIAAAAAAAAAAAAAAAAAAAABeQQAABUAAAAAAAAAAAAAAAAAAAAAAAAApAEAAP////8BAQoJegQAAAEACgAH0QMAAAABAAAAAgAAAAQaQXBsb3Jpcy5CYXNlLlVJLlZpc3VhbExpbmUDAAAACgoH0gMAAAABAAAAAwAAAAQVU3lzdGVtLkRyYXdpbmcuUG9pbnRGBAAAAAF7BAAAIQAAAN4QKkPKYj1CAXwEAAAhAAAAns+vQspiPUIBfQQAACEAAADtOXxDymI9QgfTAwAAAAEAAAADAAAABBdBcGxvcmlzLkJhc2UuQW5jaG9yTW9kZQMAAAABfgQAAKAAAAAAAAAAAX8EAACgAAAAAgAAAAGABAAAoAAAAAQAAAAB1AMAACUAAAAJ6QIAAAAAAAAAAAAAAdUDAAAmAAAACYEEAAACAAAAAgAAAAHWAwAAIgEAAApYAgAAAYIEAACNAQAAAgAAAAGDBAAAjgEAAAEAAAABhAQAABUAAAAAnK1DRyuVQSBSGEOUDOlBAYUEAACQAQAAAAAAAAAAoEAAAYYEAAAhAAAAiLDTQ8jYBEIBhwQAAKAAAAAAAAAAAAAAAAAAAAAACYgEAAAAAAAACYkEAAAAAAGKBAAAqQAAAAAAAAABiwQAAHIAAAAAALhBAABAQQGMBAAAFQAAALrozUNddOFBNBa/QaOLLkESg74/Bo0EAAADMTElCgmOBAAACZkBAAA0AwAA/////wEBCgmPBAAAAQAKAAHXAwAAHAAAAAGQBAAAIQAAAAAcrEPtG0tCAZEEAAAhAAAAEEX7Q45WekEJkgQAAAmTBAAAAAAAAAoBlAQAAHIAAAAAAAAAAAAAAAGVBAAAcgAAAAAAAAAAAAAAAAAAAAGWBAAAFQAAAAAAAAAAAAAAAAAAAAAAAACkAQAA/////wEBCgmXBAAAAQAKAAfYAwAAAAEAAAACAAAABBpBcGxvcmlzLkJhc2UuVUkuVmlzdWFsTGluZQMAAAAKCgfZAwAAAAEAAAADAAAABBVTeXN0ZW0uRHJhd2luZy5Qb2ludEYEAAAAAZgEAAAhAAAAiLDTQ8jYBEIBmQQAACEAAAAAnKpDyNgEQgGaBAAAIQAAABDF/EPI2ARCB9oDAAAAAQAAAAMAAAAEF0FwbG9yaXMuQmFzZS5BbmNob3JNb2RlAwAAAAGbBAAAoAAAAAAAAAABnAQAAKAAAAACAAAAAZ0EAACgAAAABAAAAAHbAwAAJQAAAAniAQAAAAAAAAAAAAAB3AMAACYAAAAJngQAAAIAAAACAAAAAfcDAAAjAAAACgoAAAAAAChBCXYAAAAJdwAAAAmfBAAAAAAJoAQAAAH4AwAAeAAAAAoKAAAAAD9pfgAFAAAAAAEB/QMAAK0AAAAJoQQAAAEAAAADAAAAAf4DAAB1AAAACaIEAAAKAQEEAABwAAAACgoAAABAPwmjBAAACaQEAAABAAAA/v///wAAAAABAAAAAAAAAAAAAAABAAAAAAAAAAAAAAECBAAAcQAAAAoKCaUEAAAJpgQAAAEAAAD+////AAAAAP////8BAAEGBAAAdQAAAAmnBAAACgcNBAAAAAEAAAAEAAAABBxBcGxvcmlzLkJhc2UuVUkuVmlzdWFsT2JqZWN0AwAAAAm0AwAACbMDAAAKCgEUBAAAIwAAAAoKAAAAAAAoQQl2AAAACXcAAAAJqAQAAAAACakEAAABFQQAAHgAAAAKCgAAAAA/aX4ABQAAAAABARoEAACtAAAACaoEAAABAAAAAwAAAAEbBAAAdQAAAAmrBAAACgEeBAAAcAAAAAoKAAAAQD8JrAQAAAmtBAAAAQAAAP7///8AAAAAAQAAAAAAAAAAAAAAAQAAAAAAAAAAAAABHwQAAHEAAAAKCgmuBAAACa8EAAABAAAA/v///wAAAAD/////AQABIwQAAHUAAAAJsAQAAAoHKgQAAAABAAAABAAAAAQcQXBsb3Jpcy5CYXNlLlVJLlZpc3VhbE9iamVjdAMAAAAJuwMAAAm6AwAACgoBMQQAACMAAAAKCgAAAAAAKEEJdgAAAAl3AAAACbEEAAAAAAmyBAAAATIEAAB4AAAACgoAAAAAcoSMAAYAAAAAAQE3BAAArQAAAAmzBAAAAQAAAAMAAAABOAQAAHUAAAAJtAQAAAoBOwQAAHAAAAAKCgAAAEA/CbUEAAAJtgQAAAEAAAD+////AAAAAAEAAAAAAAAAAAAAAAEAAAAAAAAAAAAAATwEAABxAAAACgoJtwQAAAm4BAAAAQAAAP7///8AAAAA/////wEAAUAEAAB1AAAACbkEAAAKB0cEAAAAAQAAAAQAAAAEHEFwbG9yaXMuQmFzZS5VSS5WaXN1YWxPYmplY3QDAAAACcIDAAAJwQMAAAoKAU4EAAAjAAAACgoAAAAAAChBCXYAAAAJdwAAAAm6BAAAAAAJuwQAAAFPBAAAeAAAAAoKAAAAAHKEjAAGAAAAAAEBVAQAAK0AAAAJvAQAAAEAAAADAAAAAVUEAAB1AAAACb0EAAAKAVgEAABwAAAACgoAAABAPwm+BAAACb8EAAABAAAA/v///wAAAAABAAAAAAAAAAAAAAABAAAAAAAAAAAAAAFZBAAAcQAAAAoKCcAEAAAJwQQAAAEAAAD+////AAAAAP////8BAAFdBAAAdQAAAAnCBAAACgdkBAAAAAEAAAAEAAAABBxBcGxvcmlzLkJhc2UuVUkuVmlzdWFsT2JqZWN0AwAAAAnJAwAACcgDAAAKCgFrBAAAIwAAAAoKAAAAAAAoQQl2AAAACXcAAAAJwwQAAAAACcQEAAABbAQAAHgAAAAKCgAAAADtISUABwAAAAABAXEEAACtAAAACcUEAAABAAAAAQAAAAFyBAAAdQAAAAnGBAAACgF1BAAAcAAAAAoKAAAAQD8JxwQAAAnIBAAAAQAAAP7///8AAAAAAQAAAAAAAAAAAAAAAQAAAAAAAAAAAAABdgQAAHEAAAAKCgnJBAAACcoEAAABAAAA/v///wAAAAD/////AQABegQAAHUAAAAJywQAAAoHgQQAAAABAAAABAAAAAQcQXBsb3Jpcy5CYXNlLlVJLlZpc3VhbE9iamVjdAMAAAAJ0AMAAAnPAwAACgoBiAQAACMAAAAKCgAAAAAAKEEJdgAAAAl3AAAACcwEAAAAAAnNBAAAAYkEAAB4AAAACgoAAAAA7SElAAcAAAAAAQGOBAAArQAAAAnOBAAAAQAAAAMAAAABjwQAAHUAAAAJzwQAAAoBkgQAAHAAAAAKCgAAAEA/CdAEAAAJ0QQAAAEAAAD+////AAAAAAEAAAAAAAAAAAAAAAEAAAAAAAAAAAAAAZMEAABxAAAACgoJ0gQAAAnTBAAAAQAAAP7///8AAAAA/////wEAAZcEAAB1AAAACdQEAAAKB54EAAAAAQAAAAQAAAAEHEFwbG9yaXMuQmFzZS5VSS5WaXN1YWxPYmplY3QDAAAACdcDAAAJ1gMAAAoKAZ8EAAB4AAAACgoAAAAA////AA4AAAAAAAGgBAAAeAAAAAoKAAAAAP///wAOAAAAAAEHoQQAAAABAAAABAAAAAQdQXBsb3Jpcy5CYXNlLk9iamVjdHMuVmFyaWFibGUDAAAAAdUEAABMAwAAAQAAAAAAAAAB1gQAAEwDAAAAAAAAAAAAAAHXBAAATAMAAAAAAAAAAAAAAdgEAABMAwAAAAAAAAAAAAAPogQAAAEAAAAIawIAAAWjBAAAGkFwbG9yaXMuQmFzZS5PYmplY3RzLkNvbG9yBwAAABJEYXRhT2JqZWN0K21QYXJlbnQVRGF0YU9iamVjdCttQ29udGFpbmVyBW1UeXBlBG1SR0IQbVRoZW1lQ29sb3JJbmRleAxtQXV0b1VwZGF0ZWQJbU1vZGlmaWVkBAIAAAAAAB9BcGxvcmlzLkJhc2UuT2JqZWN0cy5MaW5lRm9ybWF0AwAAAAgICAEBAwAAAAkBBAAACgAAAAD///8ADgAAAAAABaQEAAAaQXBsb3Jpcy5CYXNlLk9iamVjdHMuQ29sb3IHAAAAEkRhdGFPYmplY3QrbVBhcmVudBVEYXRhT2JqZWN0K21Db250YWluZXIFbVR5cGUEbVJHQhBtVGhlbWVDb2xvckluZGV4DG1BdXRvVXBkYXRlZAltTW9kaWZpZWQEAgAAAAAAH0FwbG9yaXMuQmFzZS5PYmplY3RzLkxpbmVGb3JtYXQDAAAACAgIAQEDAAAACQEEAAAKAQAAAAAAAAD/////AAEBpQQAAHgAAAAKCgAAAAA/aX4ABQAAAAAAAaYEAAB4AAAACgoBAAAA////AP////8AAA+nBAAAAQAAAAhUAgAAAagEAAB4AAAACgoAAAAA////AA4AAAAAAAGpBAAAeAAAAAoKAAAAAP///wAOAAAAAAEHqgQAAAABAAAABAAAAAQdQXBsb3Jpcy5CYXNlLk9iamVjdHMuVmFyaWFibGUDAAAAAdkEAABMAwAAAQAAAAAAAAAB2gQAAEwDAAAAAAAAAAAAAAHbBAAATAMAAAAAAAAAAAAAAdwEAABMAwAAAAAAAAAAAAAPqwQAAAEAAAAIlAIAAAWsBAAAGkFwbG9yaXMuQmFzZS5PYmplY3RzLkNvbG9yBwAAABJEYXRhT2JqZWN0K21QYXJlbnQVRGF0YU9iamVjdCttQ29udGFpbmVyBW1UeXBlBG1SR0IQbVRoZW1lQ29sb3JJbmRleAxtQXV0b1VwZGF0ZWQJbU1vZGlmaWVkBAIAAAAAAB9BcGxvcmlzLkJhc2UuT2JqZWN0cy5MaW5lRm9ybWF0AwAAAAgICAEBAwAAAAkeBAAACgAAAAD///8ADgAAAAAABa0EAAAaQXBsb3Jpcy5CYXNlLk9iamVjdHMuQ29sb3IHAAAAEkRhdGFPYmplY3QrbVBhcmVudBVEYXRhT2JqZWN0K21Db250YWluZXIFbVR5cGUEbVJHQhBtVGhlbWVDb2xvckluZGV4DG1BdXRvVXBkYXRlZAltTW9kaWZpZWQEAgAAAAAAH0FwbG9yaXMuQmFzZS5PYmplY3RzLkxpbmVGb3JtYXQDAAAACAgIAQEDAAAACR4EAAAKAQAAAAAAAAD/////AAEBrgQAAHgAAAAKCgAAAAA/aX4ABQAAAAAAAa8EAAB4AAAACgoBAAAA////AP////8AAA+wBAAAAQAAAAiDAgAAAbEEAAB4AAAACgoAAAAA////AA4AAAAAAAGyBAAAeAAAAAoKAAAAAP///wAOAAAAAAEHswQAAAABAAAABAAAAAQdQXBsb3Jpcy5CYXNlLk9iamVjdHMuVmFyaWFibGUDAAAAAd0EAABMAwAAAQAAAAAAAAAB3gQAAEwDAAAAAAAAAAAAAAHfBAAATAMAAAAAAAAAAAAAAeAEAABMAwAAAAAAAAAAAAAPtAQAAAEAAAAINQIAAAW1BAAAGkFwbG9yaXMuQmFzZS5PYmplY3RzLkNvbG9yBwAAABJEYXRhT2JqZWN0K21QYXJlbnQVRGF0YU9iamVjdCttQ29udGFpbmVyBW1UeXBlBG1SR0IQbVRoZW1lQ29sb3JJbmRleAxtQXV0b1VwZGF0ZWQJbU1vZGlmaWVkBAIAAAAAAB9BcGxvcmlzLkJhc2UuT2JqZWN0cy5MaW5lRm9ybWF0AwAAAAgICAEBAwAAAAk7BAAACgAAAAD///8ADgAAAAAABbYEAAAaQXBsb3Jpcy5CYXNlLk9iamVjdHMuQ29sb3IHAAAAEkRhdGFPYmplY3QrbVBhcmVudBVEYXRhT2JqZWN0K21Db250YWluZXIFbVR5cGUEbVJHQhBtVGhlbWVDb2xvckluZGV4DG1BdXRvVXBkYXRlZAltTW9kaWZpZWQEAgAAAAAAH0FwbG9yaXMuQmFzZS5PYmplY3RzLkxpbmVGb3JtYXQDAAAACAgIAQEDAAAACTsEAAAKAQAAAAAAAAD/////AAEBtwQAAHgAAAAKCgAAAAByhIwABgAAAAAAAbgEAAB4AAAACgoBAAAA////AP////8AAA+5BAAAAQAAAAgFAgAAAboEAAB4AAAACgoAAAAA////AA4AAAAAAAG7BAAAeAAAAAoKAAAAAP///wAOAAAAAAEHvAQAAAABAAAABAAAAAQdQXBsb3Jpcy5CYXNlLk9iamVjdHMuVmFyaWFibGUDAAAAAeEEAABMAwAAAQAAAAAAAAAB4gQAAEwDAAAAAAAAAAAAAAHjBAAATAMAAAAAAAAAAAAAAeQEAABMAwAAAAAAAAAAAAAPvQQAAAEAAAAIlQIAAAW+BAAAGkFwbG9yaXMuQmFzZS5PYmplY3RzLkNvbG9yBwAAABJEYXRhT2JqZWN0K21QYXJlbnQVRGF0YU9iamVjdCttQ29udGFpbmVyBW1UeXBlBG1SR0IQbVRoZW1lQ29sb3JJbmRleAxtQXV0b1VwZGF0ZWQJbU1vZGlmaWVkBAIAAAAAAB9BcGxvcmlzLkJhc2UuT2JqZWN0cy5MaW5lRm9ybWF0AwAAAAgICAEBAwAAAAlYBAAACgAAAAD///8ADgAAAAAABb8EAAAaQXBsb3Jpcy5CYXNlLk9iamVjdHMuQ29sb3IHAAAAEkRhdGFPYmplY3QrbVBhcmVudBVEYXRhT2JqZWN0K21Db250YWluZXIFbVR5cGUEbVJHQhBtVGhlbWVDb2xvckluZGV4DG1BdXRvVXBkYXRlZAltTW9kaWZpZWQEAgAAAAAAH0FwbG9yaXMuQmFzZS5PYmplY3RzLkxpbmVGb3JtYXQDAAAACAgIAQEDAAAACVgEAAAKAQAAAAAAAAD/////AAEBwAQAAHgAAAAKCgAAAAByhIwABgAAAAAAAcEEAAB4AAAACgoBAAAA////AP////8AAA/CBAAAAQAAAAiCAgAAAcMEAAB4AAAACgoAAAAA////AA4AAAAAAAHEBAAAeAAAAAoKAAAAAP///wAOAAAAAAEHxQQAAAABAAAABAAAAAQdQXBsb3Jpcy5CYXNlLk9iamVjdHMuVmFyaWFibGUDAAAAAeUEAABMAwAAAQAAAAAAAAAB5gQAAEwDAAAAAAAAAAAAAAHnBAAATAMAAAAAAAAAAAAAAegEAABMAwAAAAAAAAAAAAAPxgQAAAEAAAAISgIAAAXHBAAAGkFwbG9yaXMuQmFzZS5PYmplY3RzLkNvbG9yBwAAABJEYXRhT2JqZWN0K21QYXJlbnQVRGF0YU9iamVjdCttQ29udGFpbmVyBW1UeXBlBG1SR0IQbVRoZW1lQ29sb3JJbmRleAxtQXV0b1VwZGF0ZWQJbU1vZGlmaWVkBAIAAAAAAB9BcGxvcmlzLkJhc2UuT2JqZWN0cy5MaW5lRm9ybWF0AwAAAAgICAEBAwAAAAl1BAAACgAAAAD///8ADgAAAAAABcgEAAAaQXBsb3Jpcy5CYXNlLk9iamVjdHMuQ29sb3IHAAAAEkRhdGFPYmplY3QrbVBhcmVudBVEYXRhT2JqZWN0K21Db250YWluZXIFbVR5cGUEbVJHQhBtVGhlbWVDb2xvckluZGV4DG1BdXRvVXBkYXRlZAltTW9kaWZpZWQEAgAAAAAAH0FwbG9yaXMuQmFzZS5PYmplY3RzLkxpbmVGb3JtYXQDAAAACAgIAQEDAAAACXUEAAAKAQAAAAAAAAD/////AAEByQQAAHgAAAAKCgAAAADtISUABwAAAAAAAcoEAAB4AAAACgoBAAAA////AP////8AAA/LBAAAAQAAAAgVAgAAAcwEAAB4AAAACgoAAAAA////AA4AAAAAAAHNBAAAeAAAAAoKAAAAAP///wAOAAAAAAEHzgQAAAABAAAABAAAAAQdQXBsb3Jpcy5CYXNlLk9iamVjdHMuVmFyaWFibGUDAAAAAekEAABMAwAAAQAAAAAAAAAB6gQAAEwDAAAAAAAAAAAAAAHrBAAATAMAAAAAAAAAAAAAAewEAABMAwAAAAAAAAAAAAAPzwQAAAEAAAAIkwIAAAXQBAAAGkFwbG9yaXMuQmFzZS5PYmplY3RzLkNvbG9yBwAAABJEYXRhT2JqZWN0K21QYXJlbnQVRGF0YU9iamVjdCttQ29udGFpbmVyBW1UeXBlBG1SR0IQbVRoZW1lQ29sb3JJbmRleAxtQXV0b1VwZGF0ZWQJbU1vZGlmaWVkBAIAAAAAAB9BcGxvcmlzLkJhc2UuT2JqZWN0cy5MaW5lRm9ybWF0AwAAAAgICAEBAwAAAAmSBAAACgAAAAD///8ADgAAAAAABdEEAAAaQXBsb3Jpcy5CYXNlLk9iamVjdHMuQ29sb3IHAAAAEkRhdGFPYmplY3QrbVBhcmVudBVEYXRhT2JqZWN0K21Db250YWluZXIFbVR5cGUEbVJHQhBtVGhlbWVDb2xvckluZGV4DG1BdXRvVXBkYXRlZAltTW9kaWZpZWQEAgAAAAAAH0FwbG9yaXMuQmFzZS5PYmplY3RzLkxpbmVGb3JtYXQDAAAACAgIAQEDAAAACZIEAAAKAQAAAAAAAAD/////AAEB0gQAAHgAAAAKCgAAAADtISUABwAAAAAAAdMEAAB4AAAACgoBAAAA////AP////8AAA/UBAAAAQAAAAiEAgAACw=="/>
</p:tagLst>
</file>

<file path=ppt/tags/tag213.xml><?xml version="1.0" encoding="utf-8"?>
<p:tagLst xmlns:a="http://schemas.openxmlformats.org/drawingml/2006/main" xmlns:r="http://schemas.openxmlformats.org/officeDocument/2006/relationships" xmlns:p="http://schemas.openxmlformats.org/presentationml/2006/main">
  <p:tag name="APLORISTAG" val="Mz+GVVSsYoRG5+PN4.517"/>
</p:tagLst>
</file>

<file path=ppt/tags/tag214.xml><?xml version="1.0" encoding="utf-8"?>
<p:tagLst xmlns:a="http://schemas.openxmlformats.org/drawingml/2006/main" xmlns:r="http://schemas.openxmlformats.org/officeDocument/2006/relationships" xmlns:p="http://schemas.openxmlformats.org/presentationml/2006/main">
  <p:tag name="APLORISTAG" val="Mz+GVVSsYoRG5+PN4.643"/>
</p:tagLst>
</file>

<file path=ppt/tags/tag215.xml><?xml version="1.0" encoding="utf-8"?>
<p:tagLst xmlns:a="http://schemas.openxmlformats.org/drawingml/2006/main" xmlns:r="http://schemas.openxmlformats.org/officeDocument/2006/relationships" xmlns:p="http://schemas.openxmlformats.org/presentationml/2006/main">
  <p:tag name="APLORISTAG" val="Mz+GVVSsYoRG5+PN4.596"/>
</p:tagLst>
</file>

<file path=ppt/tags/tag216.xml><?xml version="1.0" encoding="utf-8"?>
<p:tagLst xmlns:a="http://schemas.openxmlformats.org/drawingml/2006/main" xmlns:r="http://schemas.openxmlformats.org/officeDocument/2006/relationships" xmlns:p="http://schemas.openxmlformats.org/presentationml/2006/main">
  <p:tag name="APLORISTAG" val="Mz+GVVSsYoRG5+PN4.644"/>
</p:tagLst>
</file>

<file path=ppt/tags/tag217.xml><?xml version="1.0" encoding="utf-8"?>
<p:tagLst xmlns:a="http://schemas.openxmlformats.org/drawingml/2006/main" xmlns:r="http://schemas.openxmlformats.org/officeDocument/2006/relationships" xmlns:p="http://schemas.openxmlformats.org/presentationml/2006/main">
  <p:tag name="APLORISTAG" val="Mz+GVVSsYoRG5+PN4.533"/>
</p:tagLst>
</file>

<file path=ppt/tags/tag218.xml><?xml version="1.0" encoding="utf-8"?>
<p:tagLst xmlns:a="http://schemas.openxmlformats.org/drawingml/2006/main" xmlns:r="http://schemas.openxmlformats.org/officeDocument/2006/relationships" xmlns:p="http://schemas.openxmlformats.org/presentationml/2006/main">
  <p:tag name="APLORISTAG" val="Mz+GVVSsYoRG5+PN4.753"/>
</p:tagLst>
</file>

<file path=ppt/tags/tag219.xml><?xml version="1.0" encoding="utf-8"?>
<p:tagLst xmlns:a="http://schemas.openxmlformats.org/drawingml/2006/main" xmlns:r="http://schemas.openxmlformats.org/officeDocument/2006/relationships" xmlns:p="http://schemas.openxmlformats.org/presentationml/2006/main">
  <p:tag name="APLORISTAG" val="Mz+GVVSsYoRG5+PN4.754"/>
</p:tagLst>
</file>

<file path=ppt/tags/tag22.xml><?xml version="1.0" encoding="utf-8"?>
<p:tagLst xmlns:a="http://schemas.openxmlformats.org/drawingml/2006/main" xmlns:r="http://schemas.openxmlformats.org/officeDocument/2006/relationships" xmlns:p="http://schemas.openxmlformats.org/presentationml/2006/main">
  <p:tag name="APLORISTAG" val="MX/IjfW661gLV+xOY.361"/>
</p:tagLst>
</file>

<file path=ppt/tags/tag220.xml><?xml version="1.0" encoding="utf-8"?>
<p:tagLst xmlns:a="http://schemas.openxmlformats.org/drawingml/2006/main" xmlns:r="http://schemas.openxmlformats.org/officeDocument/2006/relationships" xmlns:p="http://schemas.openxmlformats.org/presentationml/2006/main">
  <p:tag name="APLORISTAG" val="Mz+GVVSsYoRG5+PN4.755"/>
</p:tagLst>
</file>

<file path=ppt/tags/tag221.xml><?xml version="1.0" encoding="utf-8"?>
<p:tagLst xmlns:a="http://schemas.openxmlformats.org/drawingml/2006/main" xmlns:r="http://schemas.openxmlformats.org/officeDocument/2006/relationships" xmlns:p="http://schemas.openxmlformats.org/presentationml/2006/main">
  <p:tag name="APLORISTAG" val="Mz+GVVSsYoRG5+PN4.756"/>
</p:tagLst>
</file>

<file path=ppt/tags/tag222.xml><?xml version="1.0" encoding="utf-8"?>
<p:tagLst xmlns:a="http://schemas.openxmlformats.org/drawingml/2006/main" xmlns:r="http://schemas.openxmlformats.org/officeDocument/2006/relationships" xmlns:p="http://schemas.openxmlformats.org/presentationml/2006/main">
  <p:tag name="APLORISTAG" val="Mz+GVVSsYoRG5+PN4.757"/>
</p:tagLst>
</file>

<file path=ppt/tags/tag223.xml><?xml version="1.0" encoding="utf-8"?>
<p:tagLst xmlns:a="http://schemas.openxmlformats.org/drawingml/2006/main" xmlns:r="http://schemas.openxmlformats.org/officeDocument/2006/relationships" xmlns:p="http://schemas.openxmlformats.org/presentationml/2006/main">
  <p:tag name="APLORISTAG" val="Mz+GVVSsYoRG5+PN4.758"/>
</p:tagLst>
</file>

<file path=ppt/tags/tag224.xml><?xml version="1.0" encoding="utf-8"?>
<p:tagLst xmlns:a="http://schemas.openxmlformats.org/drawingml/2006/main" xmlns:r="http://schemas.openxmlformats.org/officeDocument/2006/relationships" xmlns:p="http://schemas.openxmlformats.org/presentationml/2006/main">
  <p:tag name="APLORISTAG" val="Mz+GVVSsYoRG5+PN4.759"/>
</p:tagLst>
</file>

<file path=ppt/tags/tag225.xml><?xml version="1.0" encoding="utf-8"?>
<p:tagLst xmlns:a="http://schemas.openxmlformats.org/drawingml/2006/main" xmlns:r="http://schemas.openxmlformats.org/officeDocument/2006/relationships" xmlns:p="http://schemas.openxmlformats.org/presentationml/2006/main">
  <p:tag name="APLORISTAG" val="Mz+GVVSsYoRG5+PN4.760"/>
</p:tagLst>
</file>

<file path=ppt/tags/tag226.xml><?xml version="1.0" encoding="utf-8"?>
<p:tagLst xmlns:a="http://schemas.openxmlformats.org/drawingml/2006/main" xmlns:r="http://schemas.openxmlformats.org/officeDocument/2006/relationships" xmlns:p="http://schemas.openxmlformats.org/presentationml/2006/main">
  <p:tag name="APLORISTAG" val="Mz+GVVSsYoRG5+PN4.761"/>
</p:tagLst>
</file>

<file path=ppt/tags/tag227.xml><?xml version="1.0" encoding="utf-8"?>
<p:tagLst xmlns:a="http://schemas.openxmlformats.org/drawingml/2006/main" xmlns:r="http://schemas.openxmlformats.org/officeDocument/2006/relationships" xmlns:p="http://schemas.openxmlformats.org/presentationml/2006/main">
  <p:tag name="APLORISTAG" val="Mz+GVVSsYoRG5+PN4.762"/>
</p:tagLst>
</file>

<file path=ppt/tags/tag228.xml><?xml version="1.0" encoding="utf-8"?>
<p:tagLst xmlns:a="http://schemas.openxmlformats.org/drawingml/2006/main" xmlns:r="http://schemas.openxmlformats.org/officeDocument/2006/relationships" xmlns:p="http://schemas.openxmlformats.org/presentationml/2006/main">
  <p:tag name="APLORISTAG" val="Mz+GVVSsYoRG5+PN4.763"/>
</p:tagLst>
</file>

<file path=ppt/tags/tag229.xml><?xml version="1.0" encoding="utf-8"?>
<p:tagLst xmlns:a="http://schemas.openxmlformats.org/drawingml/2006/main" xmlns:r="http://schemas.openxmlformats.org/officeDocument/2006/relationships" xmlns:p="http://schemas.openxmlformats.org/presentationml/2006/main">
  <p:tag name="APLORISTAG" val="Mz+GVVSsYoRG5+PN4.764"/>
</p:tagLst>
</file>

<file path=ppt/tags/tag23.xml><?xml version="1.0" encoding="utf-8"?>
<p:tagLst xmlns:a="http://schemas.openxmlformats.org/drawingml/2006/main" xmlns:r="http://schemas.openxmlformats.org/officeDocument/2006/relationships" xmlns:p="http://schemas.openxmlformats.org/presentationml/2006/main">
  <p:tag name="APLORISTAG" val="MX/IjfW661gLV+xOY.362"/>
</p:tagLst>
</file>

<file path=ppt/tags/tag230.xml><?xml version="1.0" encoding="utf-8"?>
<p:tagLst xmlns:a="http://schemas.openxmlformats.org/drawingml/2006/main" xmlns:r="http://schemas.openxmlformats.org/officeDocument/2006/relationships" xmlns:p="http://schemas.openxmlformats.org/presentationml/2006/main">
  <p:tag name="APLORISTAG" val="Mz+GVVSsYoRG5+PN4.765"/>
</p:tagLst>
</file>

<file path=ppt/tags/tag231.xml><?xml version="1.0" encoding="utf-8"?>
<p:tagLst xmlns:a="http://schemas.openxmlformats.org/drawingml/2006/main" xmlns:r="http://schemas.openxmlformats.org/officeDocument/2006/relationships" xmlns:p="http://schemas.openxmlformats.org/presentationml/2006/main">
  <p:tag name="APLORISTAG" val="Mz+GVVSsYoRG5+PN4.36"/>
</p:tagLst>
</file>

<file path=ppt/tags/tag232.xml><?xml version="1.0" encoding="utf-8"?>
<p:tagLst xmlns:a="http://schemas.openxmlformats.org/drawingml/2006/main" xmlns:r="http://schemas.openxmlformats.org/officeDocument/2006/relationships" xmlns:p="http://schemas.openxmlformats.org/presentationml/2006/main">
  <p:tag name="APLORISTAG" val="Mz+GVVSsYoRG5+PN4.41"/>
</p:tagLst>
</file>

<file path=ppt/tags/tag233.xml><?xml version="1.0" encoding="utf-8"?>
<p:tagLst xmlns:a="http://schemas.openxmlformats.org/drawingml/2006/main" xmlns:r="http://schemas.openxmlformats.org/officeDocument/2006/relationships" xmlns:p="http://schemas.openxmlformats.org/presentationml/2006/main">
  <p:tag name="APLORISTAG" val="Mz+GVVSsYoRG5+PN4.42"/>
</p:tagLst>
</file>

<file path=ppt/tags/tag234.xml><?xml version="1.0" encoding="utf-8"?>
<p:tagLst xmlns:a="http://schemas.openxmlformats.org/drawingml/2006/main" xmlns:r="http://schemas.openxmlformats.org/officeDocument/2006/relationships" xmlns:p="http://schemas.openxmlformats.org/presentationml/2006/main">
  <p:tag name="APLORISTAG" val="Mz+GVVSsYoRG5+PN4.39"/>
</p:tagLst>
</file>

<file path=ppt/tags/tag235.xml><?xml version="1.0" encoding="utf-8"?>
<p:tagLst xmlns:a="http://schemas.openxmlformats.org/drawingml/2006/main" xmlns:r="http://schemas.openxmlformats.org/officeDocument/2006/relationships" xmlns:p="http://schemas.openxmlformats.org/presentationml/2006/main">
  <p:tag name="APLORISTAG" val="Mz+GVVSsYoRG5+PN4.44"/>
</p:tagLst>
</file>

<file path=ppt/tags/tag236.xml><?xml version="1.0" encoding="utf-8"?>
<p:tagLst xmlns:a="http://schemas.openxmlformats.org/drawingml/2006/main" xmlns:r="http://schemas.openxmlformats.org/officeDocument/2006/relationships" xmlns:p="http://schemas.openxmlformats.org/presentationml/2006/main">
  <p:tag name="APLORISTAG" val="Mz+GVVSsYoRG5+PN4.37"/>
</p:tagLst>
</file>

<file path=ppt/tags/tag237.xml><?xml version="1.0" encoding="utf-8"?>
<p:tagLst xmlns:a="http://schemas.openxmlformats.org/drawingml/2006/main" xmlns:r="http://schemas.openxmlformats.org/officeDocument/2006/relationships" xmlns:p="http://schemas.openxmlformats.org/presentationml/2006/main">
  <p:tag name="APLORISTAG" val="Mz+GVVSsYoRG5+PN4.40"/>
</p:tagLst>
</file>

<file path=ppt/tags/tag238.xml><?xml version="1.0" encoding="utf-8"?>
<p:tagLst xmlns:a="http://schemas.openxmlformats.org/drawingml/2006/main" xmlns:r="http://schemas.openxmlformats.org/officeDocument/2006/relationships" xmlns:p="http://schemas.openxmlformats.org/presentationml/2006/main">
  <p:tag name="APLORISTAG" val="Mz+GVVSsYoRG5+PN4.45"/>
</p:tagLst>
</file>

<file path=ppt/tags/tag239.xml><?xml version="1.0" encoding="utf-8"?>
<p:tagLst xmlns:a="http://schemas.openxmlformats.org/drawingml/2006/main" xmlns:r="http://schemas.openxmlformats.org/officeDocument/2006/relationships" xmlns:p="http://schemas.openxmlformats.org/presentationml/2006/main">
  <p:tag name="APLORISTAG" val="Mz+GVVSsYoRG5+PN4.35"/>
</p:tagLst>
</file>

<file path=ppt/tags/tag24.xml><?xml version="1.0" encoding="utf-8"?>
<p:tagLst xmlns:a="http://schemas.openxmlformats.org/drawingml/2006/main" xmlns:r="http://schemas.openxmlformats.org/officeDocument/2006/relationships" xmlns:p="http://schemas.openxmlformats.org/presentationml/2006/main">
  <p:tag name="APLORISTAG" val="MX/IjfW661gLV+xOY.363"/>
</p:tagLst>
</file>

<file path=ppt/tags/tag240.xml><?xml version="1.0" encoding="utf-8"?>
<p:tagLst xmlns:a="http://schemas.openxmlformats.org/drawingml/2006/main" xmlns:r="http://schemas.openxmlformats.org/officeDocument/2006/relationships" xmlns:p="http://schemas.openxmlformats.org/presentationml/2006/main">
  <p:tag name="APLORISTAG" val="Mz+GVVSsYoRG5+PN4.38"/>
</p:tagLst>
</file>

<file path=ppt/tags/tag241.xml><?xml version="1.0" encoding="utf-8"?>
<p:tagLst xmlns:a="http://schemas.openxmlformats.org/drawingml/2006/main" xmlns:r="http://schemas.openxmlformats.org/officeDocument/2006/relationships" xmlns:p="http://schemas.openxmlformats.org/presentationml/2006/main">
  <p:tag name="APLORISTAG" val="Mz+GVVSsYoRG5+PN4.43"/>
</p:tagLst>
</file>

<file path=ppt/tags/tag242.xml><?xml version="1.0" encoding="utf-8"?>
<p:tagLst xmlns:a="http://schemas.openxmlformats.org/drawingml/2006/main" xmlns:r="http://schemas.openxmlformats.org/officeDocument/2006/relationships" xmlns:p="http://schemas.openxmlformats.org/presentationml/2006/main">
  <p:tag name="APLORISTAG" val="Mz+GVVSsYoRG5+PN4.338"/>
</p:tagLst>
</file>

<file path=ppt/tags/tag243.xml><?xml version="1.0" encoding="utf-8"?>
<p:tagLst xmlns:a="http://schemas.openxmlformats.org/drawingml/2006/main" xmlns:r="http://schemas.openxmlformats.org/officeDocument/2006/relationships" xmlns:p="http://schemas.openxmlformats.org/presentationml/2006/main">
  <p:tag name="APLORISTAG" val="Mz+GVVSsYoRG5+PN4.658"/>
</p:tagLst>
</file>

<file path=ppt/tags/tag244.xml><?xml version="1.0" encoding="utf-8"?>
<p:tagLst xmlns:a="http://schemas.openxmlformats.org/drawingml/2006/main" xmlns:r="http://schemas.openxmlformats.org/officeDocument/2006/relationships" xmlns:p="http://schemas.openxmlformats.org/presentationml/2006/main">
  <p:tag name="APLORISTAG" val="Mz+GVVSsYoRG5+PN4.586"/>
</p:tagLst>
</file>

<file path=ppt/tags/tag245.xml><?xml version="1.0" encoding="utf-8"?>
<p:tagLst xmlns:a="http://schemas.openxmlformats.org/drawingml/2006/main" xmlns:r="http://schemas.openxmlformats.org/officeDocument/2006/relationships" xmlns:p="http://schemas.openxmlformats.org/presentationml/2006/main">
  <p:tag name="APLORISTAG" val="Mz+GVVSsYoRG5+PN4.659"/>
</p:tagLst>
</file>

<file path=ppt/tags/tag246.xml><?xml version="1.0" encoding="utf-8"?>
<p:tagLst xmlns:a="http://schemas.openxmlformats.org/drawingml/2006/main" xmlns:r="http://schemas.openxmlformats.org/officeDocument/2006/relationships" xmlns:p="http://schemas.openxmlformats.org/presentationml/2006/main">
  <p:tag name="APLORISTAG" val="Mz+GVVSsYoRG5+PN4.660"/>
</p:tagLst>
</file>

<file path=ppt/tags/tag247.xml><?xml version="1.0" encoding="utf-8"?>
<p:tagLst xmlns:a="http://schemas.openxmlformats.org/drawingml/2006/main" xmlns:r="http://schemas.openxmlformats.org/officeDocument/2006/relationships" xmlns:p="http://schemas.openxmlformats.org/presentationml/2006/main">
  <p:tag name="APLORISTAG" val="Mz+GVVSsYoRG5+PN4.565"/>
</p:tagLst>
</file>

<file path=ppt/tags/tag248.xml><?xml version="1.0" encoding="utf-8"?>
<p:tagLst xmlns:a="http://schemas.openxmlformats.org/drawingml/2006/main" xmlns:r="http://schemas.openxmlformats.org/officeDocument/2006/relationships" xmlns:p="http://schemas.openxmlformats.org/presentationml/2006/main">
  <p:tag name="APLORISTAG" val="Mz+GVVSsYoRG5+PN4.661"/>
</p:tagLst>
</file>

<file path=ppt/tags/tag249.xml><?xml version="1.0" encoding="utf-8"?>
<p:tagLst xmlns:a="http://schemas.openxmlformats.org/drawingml/2006/main" xmlns:r="http://schemas.openxmlformats.org/officeDocument/2006/relationships" xmlns:p="http://schemas.openxmlformats.org/presentationml/2006/main">
  <p:tag name="APLORISTAG" val="Mz+GVVSsYoRG5+PN4.619"/>
</p:tagLst>
</file>

<file path=ppt/tags/tag25.xml><?xml version="1.0" encoding="utf-8"?>
<p:tagLst xmlns:a="http://schemas.openxmlformats.org/drawingml/2006/main" xmlns:r="http://schemas.openxmlformats.org/officeDocument/2006/relationships" xmlns:p="http://schemas.openxmlformats.org/presentationml/2006/main">
  <p:tag name="APLORISTAG" val="MX/IjfW661gLV+xOY.364"/>
</p:tagLst>
</file>

<file path=ppt/tags/tag250.xml><?xml version="1.0" encoding="utf-8"?>
<p:tagLst xmlns:a="http://schemas.openxmlformats.org/drawingml/2006/main" xmlns:r="http://schemas.openxmlformats.org/officeDocument/2006/relationships" xmlns:p="http://schemas.openxmlformats.org/presentationml/2006/main">
  <p:tag name="APLORISTAG" val="Mz+GVVSsYoRG5+PN4.590"/>
</p:tagLst>
</file>

<file path=ppt/tags/tag251.xml><?xml version="1.0" encoding="utf-8"?>
<p:tagLst xmlns:a="http://schemas.openxmlformats.org/drawingml/2006/main" xmlns:r="http://schemas.openxmlformats.org/officeDocument/2006/relationships" xmlns:p="http://schemas.openxmlformats.org/presentationml/2006/main">
  <p:tag name="APLORISTAG" val="Mz+GVVSsYoRG5+PN4.627"/>
</p:tagLst>
</file>

<file path=ppt/tags/tag252.xml><?xml version="1.0" encoding="utf-8"?>
<p:tagLst xmlns:a="http://schemas.openxmlformats.org/drawingml/2006/main" xmlns:r="http://schemas.openxmlformats.org/officeDocument/2006/relationships" xmlns:p="http://schemas.openxmlformats.org/presentationml/2006/main">
  <p:tag name="APLORISTAG" val="Mz+GVVSsYoRG5+PN4.592"/>
</p:tagLst>
</file>

<file path=ppt/tags/tag253.xml><?xml version="1.0" encoding="utf-8"?>
<p:tagLst xmlns:a="http://schemas.openxmlformats.org/drawingml/2006/main" xmlns:r="http://schemas.openxmlformats.org/officeDocument/2006/relationships" xmlns:p="http://schemas.openxmlformats.org/presentationml/2006/main">
  <p:tag name="APLORISTAG" val="Mz+GVVSsYoRG5+PN4.628"/>
</p:tagLst>
</file>

<file path=ppt/tags/tag254.xml><?xml version="1.0" encoding="utf-8"?>
<p:tagLst xmlns:a="http://schemas.openxmlformats.org/drawingml/2006/main" xmlns:r="http://schemas.openxmlformats.org/officeDocument/2006/relationships" xmlns:p="http://schemas.openxmlformats.org/presentationml/2006/main">
  <p:tag name="APLORISTAG" val="Mz+GVVSsYoRG5+PN4.594"/>
</p:tagLst>
</file>

<file path=ppt/tags/tag255.xml><?xml version="1.0" encoding="utf-8"?>
<p:tagLst xmlns:a="http://schemas.openxmlformats.org/drawingml/2006/main" xmlns:r="http://schemas.openxmlformats.org/officeDocument/2006/relationships" xmlns:p="http://schemas.openxmlformats.org/presentationml/2006/main">
  <p:tag name="APLORISTAG" val="Mz+GVVSsYoRG5+PN4.595"/>
</p:tagLst>
</file>

<file path=ppt/tags/tag256.xml><?xml version="1.0" encoding="utf-8"?>
<p:tagLst xmlns:a="http://schemas.openxmlformats.org/drawingml/2006/main" xmlns:r="http://schemas.openxmlformats.org/officeDocument/2006/relationships" xmlns:p="http://schemas.openxmlformats.org/presentationml/2006/main">
  <p:tag name="APLORISTAG" val="MMye9dfScROD87ZEs"/>
</p:tagLst>
</file>

<file path=ppt/tags/tag257.xml><?xml version="1.0" encoding="utf-8"?>
<p:tagLst xmlns:a="http://schemas.openxmlformats.org/drawingml/2006/main" xmlns:r="http://schemas.openxmlformats.org/officeDocument/2006/relationships" xmlns:p="http://schemas.openxmlformats.org/presentationml/2006/main">
  <p:tag name="APLORISTAG" val="MMye9dfScROD87ZEs.293"/>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AFFQAAABlTeXN0ZW0uRHJhd2luZy5SZWN0YW5nbGVGBAAAAAF4AXkFd2lkdGgGaGVpZ2h0AAAAAAsLCwsEAAAA//9/////f////3////9//wEWAAAAFQAAAP//f////3////9/////f/8AAAAAAAUXAAAALEFwbG9yaXMuQ2hhcnQuQXhpc0JyZWFrK0F4aXNCcmVha0Rpc3BsYXlNb2RlAQAAAAd2YWx1ZV9fAAgCAAAAAQAAAAEBAQoKCRgAAAAKCgAAAAAACRkAAAAKCRoAAAAAAAAACgUbAAAAGUFwbG9yaXMuQ2hhcnQuT3JpZW50YXRpb24BAAAAB3ZhbHVlX18ACAIAAAABAAAACRwAAAABHQAAABUAAADCwC5Cgmx5QZS2DkRVolpDAAQeAAAAC1N5c3RlbS5HdWlkCwAAAAJfYQJfYgJfYwJfZAJfZQJfZgJfZwJfaAJfaQJfagJfawAAAAAAAAAAAAAACAcHAgICAgICAgIAAAAAAAAAAAAAAAAAAAAAAAoKCR8AAAAACgoKAQAAAAAAAAD/////AAEBIAAAABUAAAAAACBBAAAgQcnVFURGF5VDRgRwQvrgO0OgWhxE0+OhQwUhAAAAFVN5c3RlbS5EcmF3aW5nLlBvaW50RgIAAAABeAF5AAALCwQAAAA75QtEbwVhQwYiAAAAEE15ZTlkZlNjUk9EODdaRXM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wsAuQh05akMBLwAAACEAAACgohlEHTlqQwkwAAAACTEAAAAJMgAAAAkzAAAAAAAAAAAAAAAAAAAACTQAAAAAAAAAAAAJNQAAAAkBAAAACQEAAAAJNgAAAAEHAAAABgAAAAkBAAAAATcAAAAnAAAAAAAAAM3MTD8AAAAIAQAJAQAAAAk4AAAACTkAAAABAAAAAAAAAAABAAAAAAAA8D8BmpmZmZmZuT8AAAAgQQEBCToAAAAKCTsAAAAJPAAAAAk9AAAAAT4AAAAhAAAAwsAuQh05akMBPwAAACEAAADCwC5Cgmx5QQ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BtExpCLgmSQ4wOM0NQqqlBCWUAAAAF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CQAAAAgBAAAAAgAAAAMAAAAEAAAABQAAAAYAAAAHAAAACAAAAAkAAAAFHAAAABpBcGxvcmlzLkJhc2UuVUkuVmlzdWFsUmVjdBQAAAALbVN0YXJ0UG9pbnQJbUVuZFBvaW50C21MaW5lRm9ybWF0C21GaWxsRm9ybWF0CW1Sb3RhdGlvbhJtUmVjdGFuZ2xlUHJvdmlkZXIMbVBhaW50T2Zmc2V0Em1QYWludFNpemVPdmVycmlkZQ5tRXh0cmFSb3RhdGlvbg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QEBAAEAAAAAAcCAAADABVTeXN0ZW0uRHJhd2luZy5Qb2ludEYEAAAAFVN5c3RlbS5EcmF3aW5nLlBvaW50RgQAAAAfQXBsb3Jpcy5CYXNlLk9iamVjdHMuTGluZUZvcm1hdAMAAAAfQXBsb3Jpcy5CYXNlLk9iamVjdHMuRmlsbEZvcm1hdAMAAAALKkFwbG9yaXMuQmFzZS5VSS5JUmVjdGFuZ2xlUG9zaXRpb25Qcm92aWRlcgMAAAAUU3lzdGVtLkRyYXdpbmcuU2l6ZUYEAAAAFFN5c3RlbS5EcmF3aW5nLlNpemVGBAAAAAsZU3lzdGVtLkRyYXdpbmcuUmVjdGFuZ2xlRgQAAAAICAEBCAEBD1N5c3RlbS5JbnRQdHJbXQEDAAAAAW4AAAAhAAAAwsAuQoJseUEBbwAAACEAAACgohlEHTlqQwlwAAAACXEAAAAAAAAACgVyAAAAFFN5c3RlbS5EcmF3aW5nLlNpemVGAgAAAAV3aWR0aAZoZWlnaHQAAAsLBAAAAAAAAAAAAAAAAXMAAAByAAAAAAAAAAAAAAAAAAAAAXQAAAAVAAAAAAAAAAAAAAAAAAAAAAAAABQAAAD/////AQEKCXUAAAABAAoADx8AAACROAAAAlBLAwQUAAYACAAAACEAeWJDn34BAAD4BQ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xFTJTsMwEL0j8Q+Rryhx2wNCqGkPFI5QifIBxp40UeNFHnf7eyZuQVCFlKqVuMSK7bdNMjMcb3SdrMBjZU3O+lmPJWCkVZWZ5+xt9pTesQSDMErU1kDOtoBsPLq+Gs62DjAhtMGclSG4e85RlqAFZtaBoZPCei0Cvfo5d0IuxBz4oNe75dKaACakoeFgo+EECrGsQ/K4oe2dE4Kz5GF3r5HKmXCurqQIZJQ3p7wVt+rErYw6MJfaoqgkKCuXmixlhJ94sab4vwh4qLHDWYvCPnpGyOgey8rhzT7CC9XeVwqSqfDhWWgKyjc1X1u/eLd2kXXXoUXtIA86D0JhCRB0ncU106Iyf9CPl5HHpX9hI02+SHyij8E/+Qj0YwOPz/NLEWmOBMewrQEvnHZHeky5FB7Ua/DUAxc38J37iA9pddOReH69f/bAJ2+XPI2DqbcOaVJ5OP0jfHZ8g04dEYEPFXT2/JcijbnTBQ+aHpo5qkC1aPM4t0cfAAAA//8DAFBLAwQUAAYACAAAACEAUHxOwfY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ySz0oDMRCH74LvEObezbaCiDTbiwi9idQHGJPZP+xuJiTTun17g6C4sNYek8x8882PbHfTOKgTxdSxN7AuSlDkLbvONwbeDs+rB1BJ0Dsc2JOBMyXYVbc321caUHJTaruQVKb4ZKAVCY9aJ9vSiKngQD6/1BxHlHyMjQ5oe2xIb8ryXsffDKhmTLV3BuLerUEdziFP/p/Ndd1ZemJ7HMnLwgg9r8hkjA2JgWnQHxz7d+a+yMKgl10217v8vaceSdChoLYcaRViTilKl3P90XFsX/J1+qq4JHR3vdB89aVwaBLyjtxlJQzh20jP/kD1CQAA//8DAFBLAwQUAAYACAAAACEAE/jtsPkAAABHAw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vJLNasMwEITvhb6D2Hst2/2hhMi5lEKubfoAQl5bJrYktNsfv31FQlMHgnsxPc4smvnY1XrzNfTiAyN13ikoshwEOuPrzrUK3nbPN48giLWrde8dKhiRYFNdX61fsNecHpHtAomU4kiBZQ4rKclYHDRlPqBLk8bHQXOSsZVBm71uUZZ5/iDjNAOqs0yxrRXEbX0LYjeG1Px3tm+azuCTN+8DOr5QITlxYQrUsUVWcJBHs8gSKMjLDHdLMhCPfVriCeKo5+rvF623OmL9yjFdeEoxtedgiiVhPn3ck0Xk33WcLJKHyexhyn+GKX82I8++f/UNAAD//wMAUEsDBBQABgAIAAAAIQCt96GT0QEAAAQDAAAPAAAAeGwvd29ya2Jvb2sueG1sjFJNj9MwEL0j8R8s31s7TtJdVU1WpR+iEkIrWHbPxnEba/0R2Q7JCvHfmSRkKXDhZI/HM2/em7e5641G36QPytkCJ0uKkbTCVcpeCvzl4bi4xShEbiuunZUFfpEB35Vv32w655+/OveMoIENBa5jbNaEBFFLw8PSNdJC5uy84RFCfyGh8ZJXoZYyGk0YpStiuLJ46rD2/9PDnc9KyL0TrZE2Tk281DzC+KFWTcDl5qy0fJwYId40H7mBuXuNkeYhHioVZVXgHELXyT8efNu8a5WGLFtRmmFSvrK894i30e2cARIh3CsRW7gUmA6/Bh0elezC74IhRP2TspXrCpzeUBD2ZQ4ZZRB2Y/JJVbEGxCQZvkxv76W61BHWwdJsBCBXCKOAgDSeyI7sto12XoU9jxzWNSh8AhYJRn6t4OJPVTLMeV3y2RmJPvEO/VXErorYUERmQMG1AB2GY+yeUUoBQjgrWu9hHTvI/FJE9vFDiOUGTtR6VeDvNzlLD/k+XbD8mC62+YEuklXKFqvsyPJsx1iWsx+zF0z/jxmMEt4Fd45L4QyZfAD+EUT2Qo52up3sVG5Mv956UZ/26Kj5BZY08YBZgM08GZkNXP4EAAD//wMAUEsDBBQABgAIAAAAIQDeySzhjAkAAN2AAAANAAAAeGwvc3R5bGVzLnhtbOxd227jNhB9L9B/ELToYyJRlmwrsF00u3VboC0WSAr0VbblWFhdDEneTbbov3eGFC3JsXUJ6a0TcB+ylj0cDg9nDm8iOfnxMQq1z36aBUk81cm1qWt+vExWQfww1f+6n1+NdS3LvXjlhUnsT/UnP9N/nH3/3STLn0L/buP7uQYq4myqb/J8e2MY2XLjR152nWz9GH5ZJ2nk5fCYPhjZNvW9VYaJotCwTHNoRF4Q60zDTbTsoiTy0k+77dUyibZeHiyCMMifqC5di5Y3vz3ESeotQjD1kdjekuumD8/UR8EyTbJknV+DOiNZr4Ol/9xK13AN0DSbxLtoHuWZtkx2cT7Vrf1XGvvltxVAOLR1jRX6fbICM8xr8wfd4Ilrkk5d8t27d1zYKLKaTdZJXOZIoHpoSW4+xcmXeI6/QZZgB4rNJtlX7bMXwjcEc1wmYZJqOVQHmEG/ib3IZxLvvTBYpAGKrb0oCJ/Y1xZ+QWuwkIsCwBO/NFgO7O8CpYq8XPyVZRXEK//RBxDGB7nde5sk8lDwWWY1vVznue3vns8vQRhqd16cPcPgmI70YTHV53OT/sMUJeCnFS0qYPYqeHs97VpUm3UbxZyiLbMDnxDL7Bj6hacfFOo08Hsd1OuZC/esQeq9Gbg1uEmNF/CL2QQYKvfTeI5OVHy+f9pCNMZApsyjqFyL9EPqPRHLqSQwaIazySJJV0DenJGQCdhXs0nor3Oo/jR42OD/ebKFv4skz4HpZpNV4D0ksRfCR4OnKD5AcZZ+GN4hwf+9LnUPkO8e1xUGAzZCPkDaw49QlOIj08geIIdaIrdMZJ1MpHnbbfg0B+VUNXsC/eXTLS15+fxTGDzEkV9N8DFNcn+Z05aNOkXNjorxp+04NF4lggaQ13dR9S9Cb9hS9X/uooWfzmnnoaxkDKTySaYLjC7MHoUPUEpD9Cl8FD4ilK/8R/mP8p/ztacqvlR8qfhS8QUDJjp4+9b9ecU/in8U/yj+UfzD5ufU/EYzHyp8FD4i7YXyH+U/yn/O199Q8aXiS8WXiq//qz+v+Efxj+IfxT+Kf9h8gppfbeZDhY/CR6S9eNFLVSqRyCtpCj2FXvEmawGEInFF4orE6zHx7VhSRZ+KPpHoU/6j/Ef5z/mmbFR8qfhS8XW++Pp2PS2Vkxr51nv5itsZtxvVnbBsX2xlS6ztvGhHrPa4Pr41FhYX2vfT7lMXe2Tplki6t/rU9tbB6b2N3JLqfltSvLLNt1fy5wrX4z5jj2+41TZJGnyFCMKTB5awA9dPde1L6m3v/UfYvktNMx7XB9uAK2XFAxOO7x0uygr8VNkPzO1hzMufLsdagPsVWQvgvyJr4cSM81iLu+U7eC0Z0jM72BpYq98Ci1Jr65sfuMey3e37pyKOWQohb4bjXPJgWYlG3OT/LAD7FQXef3grRYETbV5JUZAjG4nx+Gp0Y2PQWWedXvuQ/wl3w3Ap+lmtRvCo6B85woaibV3N5Ph3xEpqo7jPG4zFVpY5dZ/iy22kBew5C/lye7q4UC/UzkGvZzO2j8sBMXajm3rLJdJWHaUKAINHIB4W08iAo/P2CMTt432AOmZ1whBBsFcQt8PJ2/lXYi5vyy/CXOFxFnjbqTFce82BxDm7xiXrwUlS9CSq5h5lq8HjPpwnMV7KghRj1aMxXusdt5eFN79dGptLLwsfbV9kWSptA35sbBu4g9UB79TW0x6JBMcghDPURaLZz8sJ4RzzFgpjcfe4yMJU/LyVfYjF6Ud6M8h65iVlIvfL7XEQi/PNqzT+bJN9L0O+b0C/JXay+FTmRQZ0z5qB0z5fyyxVOz+9rXaDj+jehJvx8d6bKMxFt+h9CeBNUfNFdxwrfS1c3ek2pug/61obU9CFZVhKrpy1fHDS8n7lWcNDxOFY8SQMky/+SvsVTpBOwyD+BGfB04VkPBV+sQvCPIhxXRmw3gSrlY/n+eNAvYci6IrJUQRNsRxFQLZyFEE4SVGEwwY5imSBjf0eORbJAtuSBfZAFthwdrkcjAaywB7IAnsgC2xbFti2LLBtWWDbssC2ZYHtyALbkQW2IwtsRxbYjiywh7LAHsoCGy+JkcLZQ1lgD2WBPZIF9kgW2CNZYLsw2yOl1lzoZ0pRRExZJhFTnk0wqJRUOujLytEEF+vI0iQNcSINcSIN8UE/nJ6NReoVBpzSOBR5lvygmvqnr1dO//T1Kumfvl4R/dML4ocrAZWA6Z2/JYgfTlsK5S+InyWI34H798ZvIIjfQBC/gSB+A0H8bEH/swXxgzfyhfzPFsTPFsTPEcTPEcTPEcTPEcTPEcRvKIjfUBA/fD1chP+GgvgNBfEbCeI3EsTPrff5e/OvW+/q905PTEEDiClsQX1E94IiQBIRHyQH88n9LSCiIBJREIkoiAczj20Y/IkX1YV8Qr4+Aqb3mB1Own/0U3z9jKeohx296fEwBb1wl9j2aDyAdyaIjVOabP6/kzhGJhNnt13yGx6L1YVD7RhITNw+toZwID5EvJn4sIs4Tn4y8XEX8dFefNBBfITLzUz7qEl87I4dd2yb2GctxBuRLOQt7CMX8o2F5fLYphfyXeyxxqU9jegU+m2ckyz0s7t4T1Qtlx/t5eEVzCPrQ7xuC3nHLOWPricdymMflNkzbnQ10D8CMMc4YcTk3TY8qfx475puGz4o75p7/QQ+NheYJsBxeWFQW4VReeSKQr6tAqg8dlKZPDHbEB05xKErxyzBuDEAEFGUx1drC/lWRFEep6MK+dYCgLxFr6GmS49QFy2AonwZYeNWQFEeVyKYPW5rhaE89loL+9siGPGxSo8bt3oQypcR6TbVlwPOTBwklT0146t5pwEqEgwrFISvw3VIUCJEgI46JMBJeQYRvpLaIQFurOAJmpxiX4bSiQiskbbnQMo2g8ASZocEuPZWmGQ1+TU3ieBoiCfoUmhSUmNx3fKJRnifg7vnOmI1uTZPYOH7wNwkCmu5wxzeBVg9lvctUwxzvMr+Dm9i3r8dALGx8tfeLszv9z9O9fLzH/4q2EXggYXUx+BzklMVU738/DteCw01ALDDLu3fM7g8Hv7Xdmkw1f/5+Xbkfvh5bl2NzdvxlT3wnSvXuf1w5djvbz98mLumZb7/F8oRhXF2A/fRT/VNnm9vDIPeSO5l11GwTJMsWefXS7htOlmvg6VvZNvU91bZxvfzKDQs03QN14i8IMZN9MS+yUKQSovCFsbfld9N9coDMx+tN8Bs9pcWwqCt0R1mMvsPAAD//wMAUEsDBBQABgAIAAAAIQDnZXW41gAAALgBAAAjAAAAeGwvd29ya3NoZWV0cy9fcmVscy9zaGVldDEueG1sLnJlbHOskMlqAzEMQO+F/oPRPdZMDqGUeHIJhVxD+gHC1ix0vGC5afL3dSiFDAR66VHb05O2u4uf1ZmzTDEYaHUDioONbgqDgffT2+oFlBQKjuYY2MCVBXbd89P2yDOVOiTjlERVShADYynpFVHsyJ5Ex8ShVvqYPZUa5gET2Q8aGNdNs8F8z4BuwVQHZyAfXAvqdE1189/s2PeT5X20n55DebACz37eZ/qqx1Uq5YGLAa3R/eTkrt7q2gv42Gn9n042+puuLIx+k62u/7tp4OLf3TcAAAD//wMAUEsDBBQABgAIAAAAIQAX82sSbAYAAL8UAAAYAAAAeGwvd29ya3NoZWV0cy9zaGVldDIueG1slFjbbuM2EH0v0H8Q9B6Zd1JG7GJ9vyVddNvdZ0VWEmFty5WUy7bov3coWZZIqottAiT24eGQnBkejeb2l/fjwXtN8iLNTiMfB8j3klOc7dPT08j/4/fFjfK9ooxO++iQnZKR/y0p/F/GP/90+5blX4vnJCk9sHAqRv5zWZ6Hg0ERPyfHqAiyc3KCkccsP0YlfM2fBsU5T6J9Nel4GBCExOAYpSe/tjDMf8RG9viYxsksi1+OyamsjeTJISph/8Vzei4aa8f4R8wdo/zry/kmzo5nMPGQHtLyW2XU947xcP10yvLo4QDnfscsihvb1RfH/DGN86zIHssAzA3qjbpnDgfhACyNb/cpnEC73cuTx5H/AQ/vMfMH49vKQZ/T5K3ofPbK7LxLHstpcjgAmfmeDsBDln3VzPV+5COwWSSHJNau8CL495pc2JhAEP+8LEP0GoPrIt3PzYKLKmgfc+8hKpJpdviS7stnyA5Ijn3yGL0cyt+yt1WSPj2XgMJeKocM999mSRFDWPRmmoPMojIa3+bZmwfxxbCPc6SzBQ9h3vg21ugHDY98BoZgagHw6xiz28Er7C2+cCZXDhiuZk0dZOYgcwdZOMjSQVYOsnaQjYNsHWTnIHcOct9FBuCmq690zHp8peEqFDqKXT41+V4VG4h842Q9PvKr6Ff+m9QA/L06HZk+n9YMIywmY+YyiMmYuwxqMhYuw4r90mVw08bKZQiTsXYZ0mRsXIYyGVuXEZqMncvAllPveijYtHJfU3gnMrh1qxF0iE03SaqgS60E9cXSwyNfdA1Z3p/UFFldOhYQHgrKlFKMKkypmt+0C9e3ruarik8DwTHGXGAlBCZcCoc/6/JJwChDUiIZYiQ5YtLhz7t8FiAuZMgxxYpxxTDwrf0vunwUYK4I5ggjzHCopLLYyy6bBIRiQiUlhGNOMHU2s+rSwXiIhAipxDgUkjNuGV9bbCmYRFwpQjkJGbbYG4utCOdcKhRSigRRdup12TRAzAyUs/Ndl4+D2hkkFJgJxJgbprsuXwUYUx4iIqgIsVCUO26/r/lhlQbgGRRySplQnIeKStme1chWSMRutjZZqmFL/ol1fSdXzlX+HWTmIHMHWTjI0kFWDrJ2kI2DbB1k10UMP8hePyw13CvtugbrPAqqW87F9ZbrYZhXFQ+1tF+RVtuxJZnTPo7l9Vkfx5LNeR/Hyt5FD4dYuri8cMAJ1+cRsYRx1WfHEqh1DwdbMr3p4ZA2Zysfbvs41oNp18P5L6UOe2Ko2hJID0MMu5pPrIhNLhwd+NcxXDpGQ+PHfIpMbbrlzJkxHgYCGT/E0ZS5MUEGwlg8DJ0JC2MCbFhZJ1oaBFjRisHKGEcBso6wNsZ5II0TIPcIm/87YWtM0EJnp4BN4G2uGXce60Kvc4kb8atwS/2odX8mLekqfy40c6G5Cy1caOlCKxdau9DGhbYutHOhOxe6NyDTdVYprG8KgRopfinK7Fi/rMDd8StdFG31U732wIDSLyO1MDZQeIWmF4jAy00rPJbIzRoSLNKSrCjNe0ltOlQ7WPSRqK2FvSQr+Ve9JFsNe0nWNdv0kqxE3/aSrAu9a0gQsaufaPtUMcOqy9zOjfhuWEEZrzemLo8hrFoHrUhNcD1KoEBpd2CRpg1JG30dcygzmYTKBX4RUwhjR4lmzYxGfCnGEqpMqAYFl1BXWX6f23zGJNRHUGgiTpFkYeuTS1pctl3bVwEjjIdQS0ExqxAibuG7tFcgGIpxAtUv1KiSc2Fl58rki0BSqGJDJThBgiEC1a+VFmtzBrwcgHnQfMyh+EVQYTszNuYMK6u33x3dNaP1q0g718wZXXd2cuaSE3PdhLBqp7rFUbcfjkn+VDVDCi/OXnSDgkLkr2inA6N1wcbFEEq5Hhzrlg3WI4PrFGihnKOn5C7Kn9JT4R2gZQPdkEDCgz2v+yX1F2jnVJL1kJWgYbV6QXMsgXYICoD8mGVl8wUW0DY/JeXL2cvyFDosVb9r5J+zvMyjtATpA/yvDAYOs3MKjxN444DwkhAuInT3yjR2B8Bs8l7uirL6773kMO9vSAXINopvPogJuuH6DxES3UhJ8EROUQhlwj9NH+z4/mNNsGMUD5L3OKmafqpu+oGb34cfd5+9u2wP/TVQ319PyUc4ZvX5yyfYcPVRexe2Wf+tNjt4a1qP438B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A42JKRGBQAAEw4AABgAAAB4bC93b3Jrc2hlZXRzL3NoZWV0MS54bWykV1uP2kYYfa/U/2D5fWHu9iAgysKSRUrUqGmTZ2MGsGJjansXNlX/e8/4QvCwjYjKg8d4js+c7zb+ZvzmlKXesynKJN9PfDogvmf2cb5O9tuJ/+cfi7vQ98oq2q+jNN+bif9iSv/N9Ndfxse8+FrujKk8MOzLib+rqsNoOCzjncmicpAfzB4zm7zIogp/i+2wPBQmWtcvZemQEaKGWZTs/YZhVNzCkW82SWzmefyUmX3VkBQmjSroL3fJoezYTuub+NZFdIStnZ4LifNm5sxHxZW+LImLvMw31SDOs2Ej7dpKPdQ9O7P4iugVZ2VR8fXpcAfiA4xbJWlSvdTm+l4Wj5bbfV5EqxQROVERxRcqo2v623WCaTpeJ/CtTQivMJuJ/5aOlsIfTsd15D4n5lhe3HtVtPpkUhNXZo0E8j2bGKs8/2qBSzwiYCxrgGWM4ip5NjOTphP/HQW8/KtexN5jieF5jcv7br1FnUwfC28VlWaWp1+SdbXDokjatdlET2n1/WE4CDkjnDJ5nvw9Pz6aZLur8IqAx6zjRuuXuSlj5JJVCgVxnmI5XL0ssRUBd0enxrB2NToAZVm9WOdjemXKapFYTt+Ln8oqzzpZLV1DxFoijMeGKBgoJYiyAls2hmK7kY63dBhbOkYG1OGjWOxGPvijthNjy0fVWddP8MCYmgdjp4tdRKJz2+3CoKImxNgJC68c9xMCg5YPYyeQ/x8+hKzWh7HTpy8T5PYM0S0TVTz8HobLPO68V1dKk6h1vcyjKpqOi/zoYc/DguUhsjsyHYHSZruyNRjbybd2tsbgcYmnz1PBxsNnVFvcQu4bCEeIzhge9DGzluZHmHnLgww98wje53l4DSP6mMVrGNnHvHsNo/qYx9cwjl3LFgP3f9ccnnmGcPHZz7Dd9TOVZz/bWfj50niuz0R1LO4bDNN1GMggFCoMJEMNcx5o5YRl1qC5XeJ5SgZccqlDTTRlApucC5+3cNXBSSApoUJREWquAzcQLpwzxZXEK1wRJh30wkEDWyvmijKtuXSj48ABJpAumcRPceH45dGBC0qIViRkYYALd924bOFBZ2kYwI+h4FyFhAYXqdsLHyLzg/DZWSd8gjjhazDc1pYNCOWhFowLmM+5kKGTxrMWHrZwhA/WECkQD0mFdrJ13sK75JBKa4qkkBYshaR9MQ8uHMFTATIp0EIyRL0PXzhwpYgICEc2cYJEUW4AHbiULEAiyUBTTgP8+uyPDlwAxoCjWggqgsDJ7GUDF50jJZWMUaQoDSgiSP+j/lCjPwignXX2OccH9w2E0zogdCAokkvbYgqlxg78cOfonDUviOYFBJzCeo0C4SFqhbtmzVs46/KDMRkQxoJQI5uR+H2nPbhwTrAJEERaIYSUOPBFD45WAimkQySGQgjh7yv173ovWPWEci2RfLZH0q6cxx5cD0IZMkSchpKwgDF1xY8W0Xpc8NpcPUCJExpyoVCDGjvJ5QtNITa9XvPtOkRb8yEqtsm+9FKzweZLBvhCF023Vt9X+aF+is5ilVdos7p/OxwqDL5t2BN9b5PnVfcH3Zzl/WSqp4OXFwmavPqcMPEPeVEVUVLh84jn33JMpPNDAvlMoxQDprGp4FRUJfH1BGhTs43il/aE4BWjZD3xi+W6bmHNqXpfVtMxRu+pAOff2NHhNE7v3qp7cifthamA3KES6H0ws5sb+afr4DM0m85R6tX2PYvioTnFpj5Ihc0BYzrOTqOP7z97H/I1mlO0xb/tzUe4oL7/8gnG1Le20Ya85lqLHR6749z0XwAAAP//AwBQSwMEFAAGAAgAAAAhAKsZ+QdgAgAAdwQAABsAAAB4bC9kcmF3aW5ncy92bWxEcmF3aW5nMS52bWyMVE1v2zAMvfdXCOohFwf+wJq2qm2g6NDbNmDttmOh2EqsVhINi3Gc/vpRtps2GzDMQGyJfPx4j0TywRpGP+dFX/Bd54SvGmWlX1pddeBhg8sKrOit4WczEP4FhM1GV0pMn2PI8B8haqjUexFL7TSIrYhjK6uf1jyMff3oNC/PWA7CN7JVRh5gh6wXasCCq1pj8Aa3rq1sTxysligLnvI4JIhPMpR5PyXEQ6uYrgv+NCT0PGGWZJxVAF3t9asqeJaukiQa35xRjpbqBgxVbSU2BbdJlJgZMeFO3smgphapIHbwotgzaOfxYCi51ai6sT9GDYV8bNvJWiuHI114KTiGshU4pyoM3Ra8o9NM6gOLI6WPdHyaZBecTXHnJxynFhYteI0anJBrD2aH6oaYWdlttVsatUGxumrxZjYgtGJ1Qfe9rrERafaJzo3S2wZFek3n16V2tRpEGrL02uu1NhoPotF1rdyN9bDcd7JdjsUFhsAF22hjKjDQFfx8Q49KA2USSaGFmgjLHcKbiAFM8yF09g4PEw4Kkmg17Bm4Sba1r3adouFOch01/kNPB04dh4C0WWsY2CxP6LjWQXHSaCkNitDMItRjea37N1wII7feOhFUW5R5TN6xrbgXc9LxOog7Ewb8mbaTfVs/U+rHcaxfAadVYfkgvkCvfmls7pQxfqQXrA+0kn9bb13VQDe2xJKIra4ilkbsImJZxC4vx891Hg/iA45y3RKPexKzvJfGq9H/ZhnJDeI77Ms0OMJhtt3RjlhXJsE8n4P04XZkRdicSI8bTDrQv035GwAA//8DAFBLAwQUAAYACAAAACEAMmzf3O4CAADYCAAAFAAAAHhsL3NoYXJlZFN0cmluZ3MueG1snFbfbxoxDH6v1P/BuqdWGr2u6qZtAioEq1ZpHWjQTXsMOR9nKZewxEfHfz+HHy26Ky3tW4g/25/tzznaV/9KAwv0gZztJO/PzhNAq11GdtZJ7ibXrU8JBFY2U8ZZ7CRLDMlV9/ioHQKD+NrQSQrm+Zc0DbrAUoUzN0crltz5UrH89LM0zD2qLBSIXJr04vz8Y1oqsgloV1nuJB8uEqgs/a2wv764/Jx024G6be5eK10ZXsI9cQFKqwxL0qCyBQUhCR7D3NlAUzLEhKGdcredRteNe2VMi6lEGHmXY4iFKgNjVnkOvRjF+bpPb5slsglomoiRdCzGSW/RsoT7hsoIvb34AXnU7Dy4TVKhnq6yxxp6WUmWAnslkDoZob1wgevXv0jHkjBQJhRAQm9uVmg4IatNFccISmqOI+TwLp6dJsUoZ2R9dloPO0Bl3+68rfKt2fvOeeH8VBv6BWEON3YtKxkiDPNceuDhpH8zPIUU1ogJ6sI642bLHcBk2Ch0V1au4jcoa8hFzD4yqAJCmKOmfNnI87tQDFOUbckwaE9yhKWrPDCxQRDj6hfZIBcVS2FX9ZlMtsibR1AdM+ZqpYMx+oV0pbEGW3svzxX5hvmr9c6YMirpVlk1w3is54gyXe1Pw/3OZuhnXmWVSEt2S4TXpPCwVVvdN+Jv125SyR6IdOuAa5GGFfka6FFWN+40RwA/MaDyuqijHkjIWgnhUnQzwLnyvKr9ZPzaKeaV1XFoklLJG3fQPK8ffXri06D4+BrQAuHOUmMSo2pqSL+Dy9ZSqozLr6ZugfVII0+LOBDruCV705rLC0h8sNtrXDaELlaEDuXxPHo3/R7kJquRZ73Fhbxce3B7+nCo3y6Tl3wmTr4H9QaMHx7/HZXWQb2Zx8YIf2Aln4VGwAEF9RR8jEZSiR7rwcelMgaOjyb3DqJmGit8S1nru/Iz3ID+PAXaRrlsRbMg10J8NthL2GbM9bQODNoAp/LPpPsfAAD//wMAUEsDBBQABgAIAAAAIQDZZieJkQEAAC8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TU8bMRCG70j9D5bvxEuKUBV5jRC04lDUiAR6nnpnsxZee+UZlqS/vt6sQjb0UKm3+Xj9+vF49PW29aLHRC6GUl7MCikw2Fi5sCnl0/rb+RcpiCFU4GPAUu6Q5LX5dKaXKXaY2CGJbBGolA1zt1CKbIMt0Cy3Q+7UMbXAOU0bFevaWbyL9rXFwGpeFFcKt4yhwuq8ezeUo+Oi5/81raId+Oh5vesysNE3XeedBc6vNA/OpkixZvEA1gWO1IivW4teq6lMZ84V2tfkeGcKraapXlnweJuvMDV4Qq2OBX2PMIxvCS6R0T0verQckyD3Ow9wLsUvIBzAStlDchA4Aw6yMdnHviNO5mdML9QgMmmVBWNxH06109hdmvlekINT4WAwguTGKeLasUf6US8h8b+I9wwj74hz0/mYHN0BwxTyHXcVWxSP8CY+Kk6APiB8d+GFnrp1zIfwMOLTol41kLDKv3LoHwv6Pk83+cHktoGwweqg+bsxrMbzuP/m4nJWfC7yX09qWh033fwBAAD//wMAUEsDBBQABgAIAAAAIQBNF+YM/gAAAHUBAAAQAAAAeGwvY29tbWVudHMxLnhtbFSQzWrDMBCE74W+g9h7I8eHkhZLIZdAoYdC0wdQ7XUs0I/RboPTp++6jgsFITSfRjOLmv0Ug7pgIZ+Tge2mAoWpzZ1PZwMfp+PDDhSxS50LOaGBKxLs7f1d0+YYMTEpCUhkYGAen7WmdsDoaJNHTHLT5xIdiyxnTWNB19GAyDHouqoedXQ+gW3cFw+50HrQttF/6Nbz6ontWqoK9gYONajF9tIZqCSHcRJTkfUm26fk0Le6uGDgCUS0OeSifOpwQnmx286wHHPixXRyQ45uhr2LPlwXWs9A/yayfcfikVSH1BY/snwaNVo6tfTppV7fJhbwb/ZVkf0BAAD//wMAUEsDBBQABgAIAAAAIQBfv+tVNAEAABI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V9LwzAUxd8Fv0PJe5umhTFC24HKEHEgOFF8C8ldF2z+kES7fnuzbtbKfLycc3+cc2+1Oqgu+QLnpdE1IlmOEtDcCKnbGr1s1+kSJT4wLVhnNNRoAI9WzfVVxS3lxsGTMxZckOCTSNKeclujfQiWYuz5HhTzWXToKO6MUyzE0bXYMv7BWsBFni+wgsAECwwfgamdiOiMFHxC2k/XjQDBMXSgQAePSUbwrzeAU/7fhVGZOZUMg42dznHnbMFP4uQ+eDkZ+77P+nKMEfMT/LZ5fB6rplIfb8UBNZXglDtgwbimwvMhHq5jPmzijXcSxM3QPBjNwp7p5N64CACpK3zpisSxAFXnzSRmoqcGP9JreXu3XaOmyMkizUlKym1BaLGkZfF+TPEXEINdfLH5BgAA//8DAFBLAQItABQABgAIAAAAIQB5YkOffgEAAPgFAAATAAAAAAAAAAAAAAAAAAAAAABbQ29udGVudF9UeXBlc10ueG1sUEsBAi0AFAAGAAgAAAAhAFB8TsH2AAAATAIAAAsAAAAAAAAAAAAAAAAAtwMAAF9yZWxzLy5yZWxzUEsBAi0AFAAGAAgAAAAhABP47bD5AAAARwMAABoAAAAAAAAAAAAAAAAA3gYAAHhsL19yZWxzL3dvcmtib29rLnhtbC5yZWxzUEsBAi0AFAAGAAgAAAAhAK33oZPRAQAABAMAAA8AAAAAAAAAAAAAAAAAFwkAAHhsL3dvcmtib29rLnhtbFBLAQItABQABgAIAAAAIQDeySzhjAkAAN2AAAANAAAAAAAAAAAAAAAAABULAAB4bC9zdHlsZXMueG1sUEsBAi0AFAAGAAgAAAAhAOdldbjWAAAAuAEAACMAAAAAAAAAAAAAAAAAzBQAAHhsL3dvcmtzaGVldHMvX3JlbHMvc2hlZXQxLnhtbC5yZWxzUEsBAi0AFAAGAAgAAAAhABfzaxJsBgAAvxQAABgAAAAAAAAAAAAAAAAA4xUAAHhsL3dvcmtzaGVldHMvc2hlZXQyLnhtbFBLAQItABQABgAIAAAAIQD7YqVtlAYAAKcbAAATAAAAAAAAAAAAAAAAAIUcAAB4bC90aGVtZS90aGVtZTEueG1sUEsBAi0AFAAGAAgAAAAhAA42JKRGBQAAEw4AABgAAAAAAAAAAAAAAAAASiMAAHhsL3dvcmtzaGVldHMvc2hlZXQxLnhtbFBLAQItABQABgAIAAAAIQCrGfkHYAIAAHcEAAAbAAAAAAAAAAAAAAAAAMYoAAB4bC9kcmF3aW5ncy92bWxEcmF3aW5nMS52bWxQSwECLQAUAAYACAAAACEAMmzf3O4CAADYCAAAFAAAAAAAAAAAAAAAAABfKwAAeGwvc2hhcmVkU3RyaW5ncy54bWxQSwECLQAUAAYACAAAACEA2WYniZEBAAAvAwAAEAAAAAAAAAAAAAAAAAB/LgAAZG9jUHJvcHMvYXBwLnhtbFBLAQItABQABgAIAAAAIQBNF+YM/gAAAHUBAAAQAAAAAAAAAAAAAAAAAEYxAAB4bC9jb21tZW50czEueG1sUEsBAi0AFAAGAAgAAAAhAF+/61U0AQAAEgIAABEAAAAAAAAAAAAAAAAAcjIAAGRvY1Byb3BzL2NvcmUueG1sUEsFBgAAAAAOAA4AngMAAN00AAAAAAUj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2AAAABUFyaWFsBncAAAAGK21uLWVhCXgAAAABAAl5AAAAByQAAAAAAQAAABEAAAAEFFN5c3RlbS5EcmF3aW5nLkNvbG9yBAAAAAV6AAAAFFN5c3RlbS5EcmF3aW5nLkNvbG9yBAAAAAV2YWx1ZQVzdGF0ZQprbm93bkNvbG9yBG5hbWUAAAABCQcHBAAAAAAAAAAAAAAAAAAAAAoBewAAAHoAAAAAAAD//////wIAAAAKAXwAAAB6AAAA//////////8CAAAACgF9AAAAegAAAE5BIv//////AgAAAAoBfgAAAHoAAADe3Nv//////wIAAAAKAX8AAAB6AAAAfmk///////8CAAAACgGAAAAAegAAAIyEcv//////AgAAAAoBgQAAAHoAAAAlIe3//////wIAAAAKAYIAAAB6AAAANDtG//////8CAAAACgGDAAAAegAAAHSYw///////AgAAAAoBhAAAAHoAAAAelPf//////wIAAAAKAYUAAAB6AAAAHpT3//////8CAAAACgGGAAAAegAAACUh7f//////AgAAAAoBhwAAAHoAAAAAAAD//////wIAAAAKAYgAAAB6AAAA//////////8CAAAACgGJAAAAegAAAE5BIv//////AgAAAAoBigAAAHoAAADe3Nv//////wIAAAAKBCUAAACYAVN5c3RlbS5Db2xsZWN0aW9ucy5HZW5lcmljLkxpc3RgMVtbQXBsb3Jpcy5CYXNlLk9iamVjdHMuRGF0YU9iamVjdCwgQXBsb3Jpcy5CYXNlLCBWZXJzaW9uPTQuMC4wLjE0ODYsIEN1bHR1cmU9bmV1dHJhbCwgUHVibGljS2V5VG9rZW49MTZmYzEzYTIyNmMwZTk1MV1dAwAAAAZfaXRlbXMFX3NpemUIX3ZlcnNpb24EAAAhQXBsb3Jpcy5CYXNlLk9iamVjdHMuRGF0YU9iamVjdFtdAwAAAAgICYsAAAANAAAADQAAAAQmAAAAlQFTeXN0ZW0uQ29sbGVjdGlvbnMuR2VuZXJpYy5MaXN0YDFbW0FwbG9yaXMuQmFzZS5VSS5WaXN1YWxPYmplY3QsIEFwbG9yaXMuQmFzZSwgVmVyc2lvbj00LjAuMC4xNDg2LCBDdWx0dXJlPW5ldXRyYWwsIFB1YmxpY0tleVRva2VuPTE2ZmMxM2EyMjZjMGU5NTFdXQMAAAAGX2l0ZW1zBV9zaXplCF92ZXJzaW9uBAAAHkFwbG9yaXMuQmFzZS5VSS5WaXN1YWxPYmplY3RbXQMAAAAICAmMAAAAAQAAAAEAAAAFKAAAAJsBQXBsb3Jpcy5CYXNlLk9iamVjdHMuRGF0YU9iamVjdENvbGxlY3Rpb25gMVtbQXBsb3Jpcy5DaGFydC5WYWx1ZUxpbmU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AuMC4xNDg2LCBDdWx0dXJlPW5ldXRyYWwsIFB1YmxpY0tleVRva2VuPTE2ZmMxM2EyMjZjMGU5NTFdXQMAAACRAVN5c3RlbS5Db2xsZWN0aW9ucy5HZW5lcmljLkxpc3RgMVtbQXBsb3Jpcy5DaGFydC5WYWx1ZUxpbm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jQAAAAmOAAAACQYAAAAJAQAAAAmPAAAABSkAAACbAUFwbG9yaXMuQmFzZS5PYmplY3RzLkRhdGFPYmplY3RDb2xsZWN0aW9uYDFbW0FwbG9yaXMuQ2hhcnQuQXhpc0JyZWFr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wLjAuMTQ4NiwgQ3VsdHVyZT1uZXV0cmFsLCBQdWJsaWNLZXlUb2tlbj0xNmZjMTNhMjI2YzBlOTUxXV0DAAAAkQFTeXN0ZW0uQ29sbGVjdGlvbnMuR2VuZXJpYy5MaXN0YDFbW0FwbG9yaXMuQ2hhcnQuQXhpc0JyZWF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AAAAAJkQAAAAkGAAAACQEAAAAJkg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aAAAAAMAAAAJaQAAAAlqAAAACWsAAAABAAAAAAoKCWwAAAAAAAAACgAAAAAAAAAABS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gAAAADAAAACWkAAAAJagAAAAlrAAAAAQAAAAAKBpMAAAABJQlsAAAAAQAAAAoAAAAAAAAAAAUtAAAAmgFBcGxvcmlzLkJhc2UuT2JqZWN0cy5EYXRhT2JqZWN0Q29sbGVjdGlvbmAxW1tBcGxvcmlzLkNoYXJ0LlRpY2tNYXJr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AuMC4xNDg2LCBDdWx0dXJlPW5ldXRyYWwsIFB1YmxpY0tleVRva2VuPTE2ZmMxM2EyMjZjMGU5NTFdXQMAAACQAVN5c3RlbS5Db2xsZWN0aW9ucy5HZW5lcmljLkxpc3RgMVtbQXBsb3Jpcy5DaGFydC5UaWNrTWFy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UAAAACZUAAAAJBgAAAAkBAAAACZYAAAAFMA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XAAAAIQAAAMLALkIdOWpDAZgAAAAhAAAAoKIZRB05akMJmQAAALgBAAD/////AQEKCZoAAAABAAoABzEAAAAAAQAAAAUAAAAEFVN5c3RlbS5EcmF3aW5nLlBvaW50RgQAAAABmwAAACEAAACgYhpEHTlqQwGcAAAAIQAAAMLALkJg4ohDAZ0AAAAhAAAArI6kQ2DiiEMBngAAACEAAACgohlEYOKIQwGfAAAAIQAAAKBiGkQdOW9DBzIAAAAAAQAAAAUAAAAEF0FwbG9yaXMuQmFzZS5BbmNob3JNb2RlAwAAAAWgAAAAF0FwbG9yaXMuQmFzZS5BbmNob3JNb2RlAQAAAAd2YWx1ZV9fAAgDAAAABAAAAAGhAAAAoAAAAAUAAAABogAAAKAAAAADAAAAAaMAAACgAAAABgAAAAGkAAAAoAAAAAUAAAAPMwAAAAUAAAABAAAAAAEFNAAAABVBcGxvcmlzLkJhc2UuVUkuTGFiZWwcAAAAD21BbmNob3JQb3NpdGlvbgttQW5jaG9yTW9kZQ9tQWRkSW5uZXJNYXJnaW4WbU9mZnNldERpcmVjdGlvbkFuY2hvchdtT2Zmc2V0T3J0aG9nb25hbEFuY2hvcgttVGV4dEZvcm1hdAltUm90YXRpb24KbUJhY2tDb2xvcg1tVXNlQmFja0NvbG9yDm1Vc2V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BAQEAAEDAwEAAAAABwIAAAMA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MAAAABpQAAACEAAACgYhpEHTlqQwGmAAAAoAAAAAQAAAAAAAAAAAAAAAAJpwAAAAAAAAAJqAAAAAAABakAAAAqQXBsb3Jpcy5CYXNlLlVJLkxhYmVsK0xpbmVBbGlnbm1lbnRPcHRpb25zAQAAAAd2YWx1ZV9fAAgDAAAAAAAAAAGqAAAAcgAAAAAAAAAAAAAAAasAAAAVAAAAAAAAAAAAAAAAAAAAAAAAAAAAAAAGrAAAAA1DYXRlZ29yeSBheGlzCgmtAAAACawAAADkAgAA/////wABCgmuAAAAAQAKAQE1AAAAJQAAAAmvAAAABgAAAAYAAAABNgAAACYAAAAJsAAAAAIAAAACAAAAATgAAAAoAAAACgmxAAAACbIAAAAJBwAAAAkBAAAACbMAAAABOQAAACkAAAAKCbQAAAAJtQAAAAkHAAAACQEAAAAJtg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oAAAAAwAAAAlpAAAACWoAAAAJawAAAAEAAAAACgmTAAAACWwAAAAAAAAACgAAAAAAAAAABT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gAAAADAAAACWkAAAAJagAAAAlrAAAAAQAAAAAKBrcAAAABJQlsAAAAAAAAAAoAAAAAAAAAAAU8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BAAAAAQloAAAAAwAAAAlpAAAACWoAAAAJawAAAAEAAAAACgmTAAAACWwAAAABAAAACgAAAAAAAAAAAT0AAAAtAAAACgm4AAAACbkAAAAJBwAAAAkBAAAACboAAAABQAAAADAAAAABuwAAACEAAADCwC5CHTlqQwG8AAAAIQAAAMLALkKCbHlBCb0AAAC4AQAA/////wEBCgm+AAAAAQAKAAdBAAAAAAEAAAAFAAAABBVTeXN0ZW0uRHJhd2luZy5Qb2ludEYEAAAAAb8AAAAhAAAAwsAuQrAmIkEBwAAAACEAAAAyYSVBHTlqQwHBAAAAIQAAADJhJUHlz/lCAcIAAAAhAAAAMmElQYJseUEBwwAAACEAAAAyYSVBsCYiQQdCAAAAAAEAAAAFAAAABBdBcGxvcmlzLkJhc2UuQW5jaG9yTW9kZQMAAAABxAAAAKAAAAABAAAAAcUAAACgAAAACAAAAAHGAAAAoAAAAAIAAAABxwAAAKAAAAAGAAAAAcgAAACgAAAABwAAAA9DAAAABQAAAAEAAAAAAQFEAAAANAAAAAHJAAAAIQAAAMLALkKwJiJBAcoAAACgAAAAAQAAAAAAAAAAAAAAAAnLAAAAAAAAAAnMAAAAAAABzQAAAKkAAAAAAAAAAc4AAAByAAAAAAAAAAAAAAABzwAAABUAAAAAAAAAAAAAAAAAAAAAAAAAAAAAAAbQAAAAClZhbHVlIGF4aXMKCdEAAAAJ0AAAAOQCAAD/////AAEKCdIAAAABAAoBAUUAAAAlAAAACdMAAAAHAAAABwAAAAFGAAAAJgAAAAnUAAAAAgAAAAIAAAAHRwAAAAABAAAAAAAAAAQuQXBsb3Jpcy5DaGFydC5Db2x1bW5PcmllbnRlZENoYXJ0K1VudXNlZFNlcmllcwIAAAAESA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1QAAAAMAAADyAAAAAUkAAAAlAAAACdYAAAADAAAAVwAAAAFKAAAAJgAAAAnXAAAAAAAAAAAAAAAESw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dgAAAAAAAAAAAAAAAFMAAAAJQAAAAnZAAAAAAAAAAAAAAABTQAAACYAAAAJ1wAAAAAAAAAAAAAABE4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doAAAAAAAAAAAAAAAFPAAAAJQAAAAnZAAAAAAAAAAAAAAABUAAAACYAAAAJ1wAAAAAAAAAAAAAABFE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bAAAACAAAACgAAAABUgAAACUAAAAJ3AAAAAgAAAAYAAAAAVMAAAAmAAAACdcAAAAAAAAAAAAAAARU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3QAAAAAAAAAAAAAAAVUAAAAlAAAACdkAAAAAAAAAAAAAAAFWAAAAJgAAAAnXAAAAAAAAAAAAAAAEVw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d4AAAAAAAAAAAAAAAFYAAAAJQAAAAnZAAAAAAAAAAAAAAABWQAAACYAAAAJ1wAAAAAAAAAAAAAABFo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fAAAAAAAAAAAAAAABWwAAACUAAAAJ2QAAAAAAAAAAAAAAAVwAAAAmAAAACdcAAAAAAAAAAAAAAARd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gAAAAAAAAAAAAAAABXgAAACUAAAAJ2QAAAAAAAAAAAAAAAV8AAAAmAAAACdcAAAAAAAAAAAAAAARg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eEAAAAAAAAAAAAAAAFhAAAAJQAAAAnZAAAAAAAAAAAAAAABYgAAACYAAAAJ1wAAAAAAAAAAAAAABWMAAACtAUFwbG9yaXMuQmFzZS5PYmplY3RzLkRhdGFPYmplY3RDb2xsZWN0aW9uYDFbW0FwbG9yaXMuQ2hhcnQuQ29sdW1uT3JpZW50ZWRMZWdlbmR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qwFBcGxvcmlzLkJhc2UuT2JqZWN0cy5Tb3J0YWJsZUNvbGxlY3Rpb25gMVtbQXBsb3Jpcy5DaGFydC5Db2x1bW5PcmllbnRlZExlZ2VuZEVsZW1lbnQsIEFwbG9yaXMuQ2hhcnQsIFZlcnNpb249NC4wLjAuMTQ4NiwgQ3VsdHVyZT1uZXV0cmFsLCBQdWJsaWNLZXlUb2tlbj0xNmZjMTNhMjI2YzBlOTUxXV0DAAAAowFTeXN0ZW0uQ29sbGVjdGlvbnMuR2VuZXJpYy5MaXN0YDFbW0FwbG9yaXMuQ2hhcnQuQ29sdW1uT3JpZW50ZWRMZWdlbmR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eIAAAAJ4wAAAAkUAAAACQEAAAAJ5AAAAAFlAAAAHAAAAAHlAAAAIQAAAG0TGkIuCZJDAeYAAAAhAAAAZ5NZQ9OjnEMJ5wAAAAnoAAAAAAAAAAoB6QAAAHIAAAAAAAAAAAAAAAHqAAAAcgAAAAAAAAAAAAAAAAAAAAHrAAAAFQAAAAAAAAAAAAAAAAAAAAAAAACkAQAA/////wEBCgnsAAAAAQAKAAFmAAAAJQAAAAntAAAAAQAAAAEAAAABZwAAACYAAAAJ7gAAAAEAAAABAAAABXA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7wAAAAnwAAAAAQAAAP7///8BAAAAAQAAAAEAAAABAAAAAQAAAAEAAAAAAAEFcQ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xAAAACfIAAAABAAAAAAAAAAAAAAAAAAAAAAEFdQAAAB9BcGxvcmlzLkJhc2UuT2JqZWN0cy5QZXJzSWREYXRhAgAAAANtSWQLbUN1c3RvbURhdGEHAggDAAAACfMAAAAKBXgAAAAaQXBsb3Jpcy5CYXNlLk9iamVjdHMuQ29sb3IHAAAAEkRhdGFPYmplY3QrbVBhcmVudBVEYXRhT2JqZWN0K21Db250YWluZXIFbVR5cGUEbVJHQhBtVGhlbWVDb2xvckluZGV4DG1BdXRvVXBkYXRlZAltTW9kaWZpZWQCAgAAAAAACAgIAQEDAAAACgoAAAAAAAAAAA0AAAAAAQF5AAAAeAAAAAoKAQAAAAAAAAD/////AAEHiwAAAAABAAAAEAAAAAQfQXBsb3Jpcy5CYXNlLk9iamVjdHMuRGF0YU9iamVjdAMAAAAJCQAAAAkKAAAACQsAAAAJDAAAAAkQAAAACREAAAAJDQAAAAkOAAAACQ8AAAAJBwAAAAkGAAAACRgAAAAJFAAAAA0DB4wAAAAAAQAAAAQAAAAEHEFwbG9yaXMuQmFzZS5VSS5WaXN1YWxPYmplY3QDAAAACRwAAAANAwSNAAAAkQFTeXN0ZW0uQ29sbGVjdGlvbnMuR2VuZXJpYy5MaXN0YDFbW0FwbG9yaXMuQ2hhcnQuVmFsdWVMaW5lLCBBcGxvcmlzLkNoYXJ0LCBWZXJzaW9uPTQuMC4wLjE0ODYsIEN1bHR1cmU9bmV1dHJhbCwgUHVibGljS2V5VG9rZW49MTZmYzEzYTIyNmMwZTk1MV1dAwAAAAZfaXRlbXMFX3NpemUIX3ZlcnNpb24EAAAZQXBsb3Jpcy5DaGFydC5WYWx1ZUxpbmVbXQIAAAAICAn0AAAAAAAAAAAAAAABjgAAACUAAAAJ2QAAAAAAAAAAAAAAAY8AAAAmAAAACdcAAAAAAAAAAAAAAASQAAAAkQFTeXN0ZW0uQ29sbGVjdGlvbnMuR2VuZXJpYy5MaXN0YDFbW0FwbG9yaXMuQ2hhcnQuQXhpc0JyZWFrLCBBcGxvcmlzLkNoYXJ0LCBWZXJzaW9uPTQuMC4wLjE0ODYsIEN1bHR1cmU9bmV1dHJhbCwgUHVibGljS2V5VG9rZW49MTZmYzEzYTIyNmMwZTk1MV1dAwAAAAZfaXRlbXMFX3NpemUIX3ZlcnNpb24EAAAZQXBsb3Jpcy5DaGFydC5BeGlzQnJlYWtbXQIAAAAICAn1AAAAAAAAAAAAAAABkQAAACUAAAAJ2QAAAAAAAAAAAAAAAZIAAAAmAAAACdcAAAAAAAAAAAAAAASUAAAAkAFTeXN0ZW0uQ29sbGVjdGlvbnMuR2VuZXJpYy5MaXN0YDFbW0FwbG9yaXMuQ2hhcnQuVGlja01hcmssIEFwbG9yaXMuQ2hhcnQsIFZlcnNpb249NC4wLjAuMTQ4NiwgQ3VsdHVyZT1uZXV0cmFsLCBQdWJsaWNLZXlUb2tlbj0xNmZjMTNhMjI2YzBlOTUxXV0DAAAABl9pdGVtcwVfc2l6ZQhfdmVyc2lvbgQAABhBcGxvcmlzLkNoYXJ0LlRpY2tNYXJrW10CAAAACAgJ9gAAAAAAAAAAAAAAAZUAAAAlAAAACdkAAAAAAAAAAAAAAAGWAAAAJgAAAAnXAAAAAAAAAAAAAAABmQAAAHAAAAAKCgAAAEA/CfcAAAAJ+AAAAAEAAAD+////AAAAAAEAAAAAAAAAAAAAAAEAAAAAAAAAAAAAAZoAAAB1AAAACfkAAAAKBac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2AAAACXcAAAAJ+gAAAAEACfsAAAABqAAAAHgAAAAKCgEAAAAAAAAA/////wABBK0AAACWAVN5c3RlbS5Db2xsZWN0aW9ucy5HZW5lcmljLkxpc3RgMVtbQXBsb3Jpcy5CYXNlLk9iamVjdHMuVmFyaWFibGUsIEFwbG9yaXMuQmFzZSwgVmVyc2lvbj00LjAuMC4xNDg2LCBDdWx0dXJlPW5ldXRyYWwsIFB1YmxpY0tleVRva2VuPTE2ZmMxM2EyMjZjMGU5NTFdXQMAAAAGX2l0ZW1zBV9zaXplCF92ZXJzaW9uBAAAH0FwbG9yaXMuQmFzZS5PYmplY3RzLlZhcmlhYmxlW10DAAAACAgJ/AAAAAAAAAAAAAAAAa4AAAB1AAAACf0AAAAKB68AAAAAAQAAAAgAAAAEH0FwbG9yaXMuQmFzZS5PYmplY3RzLkRhdGFPYmplY3QDAAAACSoAAAAJKwAAAAksAAAACS0AAAAJKAAAAAkpAAAACgoHsAAAAAABAAAABAAAAAQcQXBsb3Jpcy5CYXNlLlVJLlZpc3VhbE9iamVjdAMAAAAJMAAAAAk0AAAACgoBsQAAAI0AAAAJ9AAAAAAAAAAAAAAAAbIAAAAlAAAACdkAAAAAAAAAAAAAAAGzAAAAJgAAAAnXAAAAAAAAAAAAAAABtAAAAJAAAAAJ9QAAAAAAAAAAAAAAAbUAAAAlAAAACdkAAAAAAAAAAAAAAAG2AAAAJgAAAAnXAAAAAAAAAAAAAAABuAAAAJQAAAAJ/gAAAAsAAAAhAAAAAbkAAAAlAAAACf8AAAALAAAAIQAAAAG6AAAAJgAAAAnXAAAAAAAAAAAAAAABvQAAAHAAAAAKCgAAAEA/CQABAAAJAQEAAAEAAAD+////AAAAAAEAAAAAAAAAAAAAAAEAAAAAAAAAAAAAAb4AAAB1AAAACQIBAAAKBcs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2AAAACXcAAAAJAwEAAAEACQQBAAABzAAAAHgAAAAKCgEAAAAAAAAA/////wABAdEAAACtAAAACfwAAAAAAAAAAAAAAAHSAAAAdQAAAAkFAQAACgfTAAAAAAEAAAAIAAAABB9BcGxvcmlzLkJhc2UuT2JqZWN0cy5EYXRhT2JqZWN0AwAAAAk6AAAACTsAAAAJPAAAAAk9AAAACTgAAAAJOQAAAAkGAQAACgfUAAAAAAEAAAAEAAAABBxBcGxvcmlzLkJhc2UuVUkuVmlzdWFsT2JqZWN0AwAAAAlAAAAACUQAAAAKCgfVAAAAAAEAAAAgAAAABB1BcGxvcmlzLkNoYXJ0LkNoYXJ0RGF0YVNlcmllcwIAAAAJBwEAAAkIAQAACQkBAAANHQfWAAAAAAEAAAAgAAAABB9BcGxvcmlzLkJhc2UuT2JqZWN0cy5EYXRhT2JqZWN0AwAAAAkHAQAACQgBAAAJCQEAAA0dB9cAAAAAAQAAAAAAAAAEHEFwbG9yaXMuQmFzZS5VSS5WaXN1YWxPYmplY3QDAAAAB9gAAAAAAQAAAAAAAAAEIkFwbG9yaXMuQ2hhcnQuQW5ub3RhdGlvbkRhdGFTZXJpZXMCAAAAB9kAAAAAAQAAAAAAAAAEH0FwbG9yaXMuQmFzZS5PYmplY3RzLkRhdGFPYmplY3QDAAAAB9oAAAAAAQAAAAAAAAAEHUFwbG9yaXMuQ2hhcnQuQW5ub3RhdGlvbkdyb3VwAgAAAAfbAAAAAAEAAAAQAAAABBxBcGxvcmlzLkNoYXJ0LkNoYXJ0RGF0YUdyb3VwAgAAAAkKAQAACQsBAAAJDAEAAAkNAQAACQ4BAAAJDwEAAAkQAQAACREBAAANCAfcAAAAAAEAAAAQAAAABB9BcGxvcmlzLkJhc2UuT2JqZWN0cy5EYXRhT2JqZWN0AwAAAAkKAQAACQ0BAAAJDgEAAAkMAQAACQ8BAAAJEAEAAAkLAQAACREBAAANCAfdAAAAAAEAAAAAAAAABBZBcGxvcmlzLkNoYXJ0LkRlbHRhQmFyAgAAAAfeAAAAAAEAAAAAAAAABBlBcGxvcmlzLkNoYXJ0LkRlbHRhQnJpZGdlAgAAAAffAAAAAAEAAAAAAAAABBlBcGxvcmlzLkNoYXJ0Lkdyb3d0aEFycm93AgAAAAfgAAAAAAEAAAAAAAAABCBBcGxvcmlzLkNoYXJ0LldhdGVyZmFsbENvbm5lY3RvcgIAAAAH4QAAAAABAAAAAAAAAAQeQXBsb3Jpcy5DaGFydC5FbGVtZW50Q29ubmVjdG9yAgAAAATiAAAAowFTeXN0ZW0uQ29sbGVjdGlvbnMuR2VuZXJpYy5MaXN0YDFbW0FwbG9yaXMuQ2hhcnQuQ29sdW1uT3JpZW50ZWRMZWdlbmRFbGVtZW50LCBBcGxvcmlzLkNoYXJ0LCBWZXJzaW9uPTQuMC4wLjE0ODYsIEN1bHR1cmU9bmV1dHJhbCwgUHVibGljS2V5VG9rZW49MTZmYzEzYTIyNmMwZTk1MV1dAwAAAAZfaXRlbXMFX3NpemUIX3ZlcnNpb24EAAArQXBsb3Jpcy5DaGFydC5Db2x1bW5PcmllbnRlZExlZ2VuZEVsZW1lbnRbXQIAAAAICAkSAQAAAwAAAIgAAAAB4wAAACUAAAAJEwEAAAMAAAADAAAAAeQAAAAmAAAACRQBAAAAAAAAAAAAAAHnAAAAcAAAAAoKAAAAAAAJFQEAAAkWAQAAAQAAAP7///8BAAAAAQAAAAEAAAABAAAAAQAAAAEAAAAAAAEB6AAAAHEAAAAKCgkXAQAACRgBAAABAAAAAAAAAAAAAAAAAAAAAAEB7AAAAHUAAAAJGQEAAAoH7QAAAAABAAAABAAAAAQfQXBsb3Jpcy5CYXNlLk9iamVjdHMuRGF0YU9iamVjdAMAAAAJYwAAAA0DB+4AAAAAAQAAAAQAAAAEHEFwbG9yaXMuQmFzZS5VSS5WaXN1YWxPYmplY3QDAAAACWUAAAANAwHvAAAAeAAAAAoKAAAAAAAAAAANAAAAAAEB8AAAAHgAAAAKCgEAAAAAAAAA/////wABAfEAAAB4AAAACgoBAAAA////AP////8AAQHyAAAAeAAAAAoKAQAAAAAAAAD/////AAEP8wAAAAEAAAAIAAAAAAf0AAAAAAEAAAAAAAAABBdBcGxvcmlzLkNoYXJ0LlZhbHVlTGluZQIAAAAH9QAAAAABAAAAAAAAAAQXQXBsb3Jpcy5DaGFydC5BeGlzQnJlYWsCAAAAB/YAAAAAAQAAAAAAAAAEFkFwbG9yaXMuQ2hhcnQuVGlja01hcmsCAAAABfcAAAAaQXBsb3Jpcy5CYXNlLk9iamVjdHMuQ29sb3IHAAAAEkRhdGFPYmplY3QrbVBhcmVudBVEYXRhT2JqZWN0K21Db250YWluZXIFbVR5cGUEbVJHQhBtVGhlbWVDb2xvckluZGV4DG1BdXRvVXBkYXRlZAltTW9kaWZpZWQEAgAAAAAAH0FwbG9yaXMuQmFzZS5PYmplY3RzLkxpbmVGb3JtYXQDAAAACAgIAQEDAAAACZkAAAAKAAAAAAAAAAANAAAAAAAF+AAAABpBcGxvcmlzLkJhc2UuT2JqZWN0cy5Db2xvcgcAAAASRGF0YU9iamVjdCttUGFyZW50FURhdGFPYmplY3QrbUNvbnRhaW5lcgVtVHlwZQRtUkdCEG1UaGVtZUNvbG9ySW5kZXgMbUF1dG9VcGRhdGVkCW1Nb2RpZmllZAQCAAAAAAAfQXBsb3Jpcy5CYXNlLk9iamVjdHMuTGluZUZvcm1hdAMAAAAICAgBAQMAAAAJmQAAAAoBAAAAAAAAAP////8AAQ/5AAAAAQAAAAghAgAAAfoAAAB4AAAACgoAAAAAAAAAAA0AAAAAAQH7AAAAeAAAAAoKAQAAAAAAAAD/////AAEH/AAAAAABAAAAAAAAAAQdQXBsb3Jpcy5CYXNlLk9iamVjdHMuVmFyaWFibGUDAAAAD/0AAAABAAAACAAAAAAH/gAAAAABAAAAEAAAAAQWQXBsb3Jpcy5DaGFydC5UaWNrTWFyawIAAAAJGgEAAAkbAQAACRwBAAAJHQEAAAkeAQAACR8BAAAJIAEAAAkhAQAACSIBAAAJIwEAAAkkAQAADQUH/wAAAAABAAAAEAAAAAQfQXBsb3Jpcy5CYXNlLk9iamVjdHMuRGF0YU9iamVjdAMAAAAJGgEAAAkbAQAACRwBAAAJHQEAAAkeAQAACR8BAAAJIAEAAAkhAQAACSIBAAAJIwEAAAkkAQAADQUFAAEAABpBcGxvcmlzLkJhc2UuT2JqZWN0cy5Db2xvcgcAAAASRGF0YU9iamVjdCttUGFyZW50FURhdGFPYmplY3QrbUNvbnRhaW5lcgVtVHlwZQRtUkdCEG1UaGVtZUNvbG9ySW5kZXgMbUF1dG9VcGRhdGVkCW1Nb2RpZmllZAQCAAAAAAAfQXBsb3Jpcy5CYXNlLk9iamVjdHMuTGluZUZvcm1hdAMAAAAICAgBAQMAAAAJvQAAAAoAAAAAAAAAAA0AAAAAAAUBAQAAGkFwbG9yaXMuQmFzZS5PYmplY3RzLkNvbG9yBwAAABJEYXRhT2JqZWN0K21QYXJlbnQVRGF0YU9iamVjdCttQ29udGFpbmVyBW1UeXBlBG1SR0IQbVRoZW1lQ29sb3JJbmRleAxtQXV0b1VwZGF0ZWQJbU1vZGlmaWVkBAIAAAAAAB9BcGxvcmlzLkJhc2UuT2JqZWN0cy5MaW5lRm9ybWF0AwAAAAgICAEBAwAAAAm9AAAACgEAAAAAAAAA/////wABDwIBAAABAAAACCACAAABAwEAAHgAAAAKCgAAAAAAAAAADQAAAAABAQQBAAB4AAAACgoBAAAAAAAAAP////8AAQ8FAQAAAQAAAAgAAAAABQYB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gAAAADAAAACWkAAAAJagAAAAlrAAAAAQAAAAAKCZMAAAAJbAAAAAEAAAAKAAAAAAAAAAAFBwE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AuMC4xNDg2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ASUBAAATAAAAAAAAAAIAAAD/////CQcAAAAJJgEAAAYnAQAABUFncmVlCgoAAAAAAAAAAAAAAAAKCgAJKAEAAAkpAQAACSoBAAAAAAAAAAAAAAAAAAAAAAAAAAAJKwEAAAkBAAAACQEAAAAJLAEAAAEIAQAABwEAAAkBAAAAAS0BAAATAAAAAAAAAAMAAAD/////CQcAAAAJLgEAAAYvAQAAB05ldXRyYWwKCgAAAAAAAAAAAAAAAAoKAAkwAQAACTEBAAAJMgEAAAAAAAAAAQAAAAAAAAAAAAAAAAkzAQAACQEAAAAJAQAAAAk0AQAAAQkBAAAHAQAACQEAAAABNQEAABMAAAAAAAAABAAAAP////8JBwAAAAk2AQAABjcBAAAIRGlzYWdyZWUKCgAAAAAAAAAAAAAAAAoKAAk4AQAACTkBAAAJOgEAAAAAAAAAAgAAAAAAAAAAAAAAAAk7AQAACQEAAAAJAQAAAAk8AQAABQoB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GPQEAAAVUb3RhbAAFPgEAAB5BcGxvcmlzLkNoYXJ0LkNoYXJ0R3JvdXBBbmNob3IBAAAAB3ZhbHVlX18ACAIAAAAAAAAACgAAAAABAAAAAQAAAAk/AQAACUABAAAJQQEAAAoJBwAAAAlCAQAACQEAAAAJAQAAAAlDAQAAAQsBAAAKAQAACQEAAAAGRAEAAAVUb3RhbAABRQEAAD4BAAAAAAAACgEAAAABAAAAAQAAAAlGAQAACUcBAAAJSAEAAAoJBwAAAAlJAQAACQEAAAAJAQAAAAlKAQAAAQwBAAAKAQAACQEAAAAGSwEAABFTbWFsbCANClR3byB5ZWFycwABTAEAAD4BAAAAAAAACgAAAAABAAAAAQAAAAlNAQAACU4BAAAJTwEAAAoJBwAAAAlQAQAACQEAAAAJAQAAAAlRAQAAAQ0BAAAKAQAACQEAAAAGUgEAABVNaWQtTGFyZ2UgDQpUd28gWWVhcnMAAVMBAAA+AQAAAAAAAAoAAAAAAQAAAAEAAAAJVAEAAAlVAQAACVYBAAAKCQcAAAAJVwEAAAkBAAAACQEAAAAJWAEAAAEOAQAACgEAAAkBAAAABlkBAAAYU21hbGwgDQo0LVllYXIgDQpQdWJsaWNzAAFaAQAAPgEAAAAAAAAKAAAAAAEAAAABAAAACVsBAAAJXAEAAAldAQAACgkHAAAACV4BAAAJAQAAAAkBAAAACV8BAAABDwEAAAoBAAAJAQAAAAZgAQAAHE1pZC1MYXJnZSANCjQtWWVhciANClB1YmxpY3MAAWEBAAA+AQAAAAAAAAoAAAAAAQAAAAEAAAAJYgEAAAljAQAACWQBAAAKCQcAAAAJZQEAAAkBAAAACQEAAAAJZgEAAAEQAQAACgEAAAkBAAAABmcBAAAZU21hbGwgDQo0LVllYXIgDQpQcml2YXRlcwABaAEAAD4BAAAAAAAACgAAAAABAAAAAQAAAAlpAQAACWoBAAAJawEAAAoJBwAAAAlsAQAACQEAAAAJAQAAAAltAQAAAREBAAAKAQAACQEAAAAGbgEAAB1NaWQtTGFyZ2UgDQo0LVllYXIgDQpQcml2YXRlcwABbwEAAD4BAAAAAAAACgAAAAABAAAAAQAAAAlwAQAACXEBAAAJcgEAAAoJBwAAAAlzAQAACQEAAAAJAQAAAAl0AQAABxIBAAAAAQAAAAQAAAAEKUFwbG9yaXMuQ2hhcnQuQ29sdW1uT3JpZW50ZWRMZWdlbmRFbGVtZW50AgAAAAl1AQAACXYBAAAJdwEAAAoHEwEAAAABAAAABAAAAAQfQXBsb3Jpcy5CYXNlLk9iamVjdHMuRGF0YU9iamVjdAMAAAAJdQEAAAl2AQAACXcBAAAKBxQBAAAAAQAAAAAAAAAEHEFwbG9yaXMuQmFzZS5VSS5WaXN1YWxPYmplY3QDAAAAARUBAAB4AAAACgoAAAAAAAAAAA0AAAAAAQEWAQAAeAAAAAoKAQAAAAAAAAD/////AAEBFwEAAHgAAAAKCgEAAAD///8A/////wABARgBAAB4AAAACgoBAAAAAAAAAP////8AAQ8ZAQAAAQAAAAgAAAAABRoBAAAWQXBsb3Jpcy5DaGFydC5UaWNrTWFyaw0AAAALbVZpc3VhbExpbmUJbUdyaWRMaW5lBm1MYWJlbAVtQXhpcwhtVmlzaWJsZQltUG9zaXRpb24LbVN0YXJ0UG9pbnQJbUVuZFBvaW50DG1IYXNHcmlkTGluZRhEYXRhT2JqZWN0K21DaGlsZE9iamVjdHMSRGF0YU9iamVjdCttUGFyZW50FURhdGFPYmplY3QrbUNvbnRhaW5lchlEYXRhT2JqZWN0K21WaXN1YWxPYmplY3RzBAQEBAAABAQAAwQEAxpBcGxvcmlzLkJhc2UuVUkuVmlzdWFsTGluZQMAAAAaQXBsb3Jpcy5CYXNlLlVJLlZpc3VhbExpbmUDAAAAFUFwbG9yaXMuQmFzZS5VSS5MYWJlbAMAAAASQXBsb3Jpcy5DaGFydC5BeGlzAgAAAAEGFVN5c3RlbS5EcmF3aW5nLlBvaW50RgQAAAAVU3lzdGVtLkRyYXdpbmcuUG9pbnRG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l4AQAACgl5AQAACQcAAAABAAAAAAAAAAABegEAACEAAADCwC5CHTlqQwF7AQAAIQAAAMLAHkIdOWpDAAl8AQAACQcAAAAJAQAAAAl9AQAAARsBAAAaAQAACX4BAAAKCX8BAAAJBwAAAAGamZmZmZm5PwGAAQAAIQAAAMLALkIVXFRDAYEBAAAhAAAAwsAeQhVcVEMACYIBAAAJBwAAAAkBAAAACYMBAAABHAEAABoBAAAJhAEAAAoJhQEAAAkHAAAAAZqZmZmZmck/AYYBAAAhAAAAwsAuQgx/PkMBhwEAACEAAADCwB5CDH8+QwAJiAEAAAkHAAAACQEAAAAJiQEAAAEdAQAAGgEAAAmKAQAACgmLAQAACQcAAAABMzMzMzMz0z8BjAEAACEAAADCwC5CBKIoQwGNAQAAIQAAAMLAHkIEoihDAAmOAQAACQcAAAAJAQAAAAmPAQAAAR4BAAAaAQAACZABAAAKCZEBAAAJBwAAAAGamZmZmZnZPwGSAQAAIQAAAMLALkL7xBJDAZMBAAAhAAAAwsAeQvvEEkMACZQBAAAJBwAAAAkBAAAACZUBAAABHwEAABoBAAAJlgEAAAoJlwEAAAkHAAAAAQAAAAAAAOA/AZgBAAAhAAAAwsAuQuXP+UIBmQEAACEAAADCwB5C5c/5QgAJmgEAAAkHAAAACQEAAAAJmwEAAAEgAQAAGgEAAAmcAQAACgmdAQAACQcAAAABMzMzMzMz4z8BngEAACEAAADCwC5C1BXOQgGfAQAAIQAAAMLAHkLUFc5CAAmgAQAACQcAAAAJAQAAAAmhAQAAASEBAAAaAQAACaIBAAAKCaMBAAAJBwAAAAFmZmZmZmbmPwGkAQAAIQAAAMLALkLDW6JCAaUBAAAhAAAAwsAeQsNbokIACaYBAAAJBwAAAAkBAAAACacBAAABIgEAABoBAAAJqAEAAAoJqQEAAAkHAAAAAZqZmZmZmek/AaoBAAAhAAAAwsAuQmRDbUIBqwEAACEAAADCwB5CZENtQgAJrAEAAAkHAAAACQEAAAAJrQEAAAEjAQAAGgEAAAmuAQAACgmvAQAACQcAAAABzczMzMzM7D8BsAEAACEAAADCwC5CQs8VQgGxAQAAIQAAAMLAHkJCzxVCAAmyAQAACQcAAAAJAQAAAAmzAQAAASQBAAAaAQAACbQBAAAKCbUBAAAJBwAAAAEAAAAAAADwPwG2AQAAIQAAAMLALkKCbHlBAbcBAAAhAAAAwsAeQoJseUEACbgBAAAJBwAAAAkBAAAACbkBAAAFJgEAAKIBQXBsb3Jpcy5CYXNlLk9iamVjdHMuRGF0YU9iamVjdENvbGxlY3Rpb25gMVtbQXBsb3Jpcy5DaGFydC5DaGFydERhdGF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C4wLjE0ODYsIEN1bHR1cmU9bmV1dHJhbCwgUHVibGljS2V5VG9rZW49MTZmYzEzYTIyNmMwZTk1MV1dAwAAAJgBU3lzdGVtLkNvbGxlY3Rpb25zLkdlbmVyaWMuTGlzdGAxW1tBcGxvcmlzLkNoYXJ0LkNoYXJ0RGF0YU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ugEAAAm7AQAACQcBAAAJAQAAAAm8AQAABSgBAAAcQXBsb3Jpcy5DaGFydC5Db25uZWN0ZWRMYWJlbCQAAAAObUNvbm5lY3RvckxpbmUQbVpPcmRlckNvbm5lY3Rvcg5tQ29ubmVjdG9yTW9kZRltQW5nbGVkQ29ubmVjdG9yRGlyZWN0aW9uEG1Db25uZWN0b3JUYXJnZXQZbUNvbm5lY3RvclRhcmdldEFyZWFTaGFwZRptQ29ubmVjdG9yRGlzcGxheVRocmVzaG9sZBNtQ29ubmVjdEFuY2hvclBvaW5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QEAAAABAAE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gAAAApYAgAABb0BAAArQXBsb3Jpcy5DaGFydC5Db25uZWN0ZWRMYWJlbCtlQ29ubmVjdG9yTW9kZQEAAAAHdmFsdWVfXwAIAgAAAAEAAAAFvgEAADZBcGxvcmlzLkNoYXJ0LkNvbm5lY3RlZExhYmVsK2VBbmdsZWRDb25uZWN0b3JEaXJlY3Rpb24BAAAAB3ZhbHVlX18ACAIAAAAAAAAAAb8BAAAVAAAAXYANRBl2GEMAkgZCCIadQgXAAQAALUFwbG9yaXMuQ2hhcnQuQ29ubmVjdGVkTGFiZWwrZVRhcmdldEFyZWFTaGFwZQEAAAAHdmFsdWVfXwAIAgAAAAAAAAAAABBBAQHBAQAAIQAAAH3pF0Sb1z9DAcIBAACgAAAABAAAAAAAAAAAAAAAAAnDAQAAAAAAAAnEAQAAAAABxQEAAKkAAAAAAAAAAcYBAAByAAAAAADgQQAAYEEBxwEAABUAAAAAAAAAAAAAAAAAAAAAAAAAXrrZPwknAQAACgnIAQAABskBAAAAIAMAAP////8AAQoJygEAAAEACgEHKQEAAAABAAAAAgAAAAQVU3lzdGVtLkRyYXdpbmcuUG9pbnRGBAAAAAHLAQAAIQAAAH3pF0Sb1z9DAcwBAAAhAAAAwsAaQiulDUMHKgEAAAABAAAAAgAAAAQXQXBsb3Jpcy5CYXNlLkFuY2hvck1vZGUDAAAAAc0BAACgAAAABAAAAAHOAQAAoAAAAAIAAAABKwEAACUAAAAJzwEAAAEAAAABAAAAASwBAAAmAAAACdABAAABAAAAAwAAAAEuAQAAJgEAAAoJ0QEAAAnSAQAACQgBAAAJAQAAAAnTAQAAATABAAAoAQAAClgCAAAB1AEAAL0BAAABAAAAAdUBAAC+AQAAAAAAAAHWAQAAFQAAAF2ADUTOQx9CAJIGQktK1UIB1wEAAMABAAAAAAAAAAAQQQEB2AEAACEAAAB96RdEDEe6QgHZAQAAoAAAAAQAAAAAAAAAAAAAAAAJ2gEAAAAAAAAJ2wEAAAAAAdwBAACpAAAAAAAAAAHdAQAAcgAAAAAAAAAAAAAAAd4BAAAVAAAAAAAAAAAAAAAAAAAAAAAAAAAAAAAJLwEAAAoJ3wEAAAnJAQAAIAMAAP////8AAQoJ4AEAAAEACgEHMQEAAAABAAAAAgAAAAQVU3lzdGVtLkRyYXdpbmcuUG9pbnRGBAAAAAHhAQAAIQAAAH3pF0QMR7pCAeIBAAAhAAAAwsAaQpmDB0IHMgEAAAABAAAAAgAAAAQXQXBsb3Jpcy5CYXNlLkFuY2hvck1vZGUDAAAAAeMBAACgAAAABAAAAAHkAQAAoAAAAAIAAAABMwEAACUAAAAJ5QEAAAEAAAABAAAAATQBAAAmAAAACeYBAAABAAAAAQAAAAE2AQAAJgEAAAoJ5wEAAAnoAQAACQkBAAAJAQAAAAnpAQAAATgBAAAoAQAAClgCAAAB6gEAAL0BAAABAAAAAesBAAC+AQAAAAAAAAHsAQAAFQAAAF2ADURBtpRBAJIGQraic0EB7QEAAMABAAAAAAAAAAAQQQEB7gEAACEAAAB96RdE7p7RQQHvAQAAoAAAAAQAAAAAAAAAAAAAAAAJ8AEAAAAAAAAJ8QEAAAAAAfIBAACpAAAAAAAAAAHzAQAAcgAAAAAAAAAAAAAAAfQBAAAVAAAAAAAAAAAAAAAAAAAAAAAAAAAAAAAJNwEAAAoJ9QEAAAnJAQAAIAMAAP////8AAQoJ9gEAAAEACgEHOQEAAAABAAAAAgAAAAQVU3lzdGVtLkRyYXdpbmcuUG9pbnRGBAAAAAH3AQAAIQAAAH3pF0TuntFBAfgBAAAhAAAAwsAaQm0diUEHOgEAAAABAAAAAgAAAAQXQXBsb3Jpcy5CYXNlLkFuY2hvck1vZGUDAAAAAfkBAACgAAAABAAAAAH6AQAAoAAAAAIAAAABOwEAACUAAAAJ+wEAAAEAAAABAAAAATwBAAAmAAAACfwBAAABAAAAAQAAAA8/AQAAAQAAAAgAAAAAB0ABAAAAAQAAAAEAAAAEFUFwbG9yaXMuQmFzZS5VSS5MYWJlbAMAAAAJ/QEAAAFBAQAANAAAAAH+AQAAIQAAAPjNlkIdOW9DAf8BAACgAAAAAwAAAAAAAAAAAAAAAAkAAgAAAAAAAAkBAgAAAAABAgIAAKkAAAAAAAAAAQMCAAByAAAAAADIQQAAQEEBBAIAABUAAAC66HpCRRdvQ9ehzUGjiy5BEoO+Pwk9AQAACgkFAgAACckBAAAgAwAA/////wEBCgkGAgAAAQAKAAFCAQAAJQAAAAnZAAAAAAAAAAAAAAABQwEAACYAAAAJBwIAAAIAAAAKAAAAD0YBAAABAAAACAAAAAAHRwEAAAABAAAAAQAAAAQVQXBsb3Jpcy5CYXNlLlVJLkxhYmVsAwAAAAkIAgAAAUgBAAA0AAAAAQkCAAAhAAAAKkJKQx05b0MBCgIAAKAAAAADAAAAAAAAAAAAAAAACQsCAAAAAAAACQwCAAAAAAENAgAAqQAAAAAAAAABDgIAAHIAAAAAAMhBAABAQQEPAgAAFQAAAEYXPUNFF29D16HNQaOLLkESg74/CUQBAAAKCRACAAAJyQEAACADAAD/////AQEKCRECAAABAAoAAUkBAAAlAAAACRICAAAAAAAAAAAAAAFKAQAAJgAAAAkTAgAAAgAAAAIAAAAPTQEAAAEAAAAIAAAAAAdOAQAAAAEAAAABAAAABBVBcGxvcmlzLkJhc2UuVUkuTGFiZWwDAAAACRQCAAABTwEAADQAAAABFQIAACEAAADg14RDHTlvQwEWAgAAoAAAAAMAAAAAAAAAAAAAAAAJFwIAAAAAAAAJGAIAAAAAARkCAACpAAAAAAAAAAEaAgAAcgAAAAAAVEIAAMhBARsCAAAVAAAAAABwQ0UXb0NgokxCdNG1QRKDvj8JSwEAAAoJHAIAAAnJAQAAIAMAAP////8BAQoJHQIAAAEACgABUAEAACUAAAAJHgIAAAAAAAAAAAAAAVEBAAAmAAAACR8CAAACAAAAAgAAAA9UAQAAAQAAAAgAAAAAB1UBAAAAAQAAAAEAAAAEFUFwbG9yaXMuQmFzZS5VSS5MYWJlbAMAAAAJIAIAAAFWAQAANAAAAAEhAgAAIQAAAKyOpEMdOW9DASICAACgAAAAAwAAAAAAAAAAAAAAAAkjAgAAAAAAAAkkAgAAAAABJQIAAKkAAAAAAAAAASYCAAByAAAAAABcQgAAyEEBJwIAABUAAAAXXZdDRRdvQzHoU0J00bVBEoO+PwlSAQAACgkoAgAACckBAAAgAwAA/////wEBCgkpAgAAAQAKAAFXAQAAJQAAAAkqAgAAAAAAAAAAAAABWAEAACYAAAAJKwIAAAIAAAACAAAAD1sBAAABAAAACAAAAAAHXAEAAAABAAAAAQAAAAQVQXBsb3Jpcy5CYXNlLlVJLkxhYmVsAwAAAAksAgAAAV0BAAA0AAAAAS0CAAAhAAAAeEXEQx05b0MBLgIAAKAAAAADAAAAAAAAAAAAAAAACS8CAAAAAAAACTACAAAAAAExAgAAqQAAAAAAAAABMgIAAHIAAAAAABRCAAAYQgEzAgAAFQAAANFFu0NFF29D1HMSQosuCkISg74/CVkBAAAKCTQCAAAJyQEAACADAAD/////AQEKCTUCAAABAAoAAV4BAAAlAAAACSoCAAAAAAAAAAAAAAFfAQAAJgAAAAk2AgAAAgAAAAIAAAAPYgEAAAEAAAAIAAAAAAdjAQAAAAEAAAABAAAABBVBcGxvcmlzLkJhc2UuVUkuTGFiZWwDAAAACTcCAAABZAEAADQAAAABOAIAACEAAABD/ONDHTlvQwE5AgAAoAAAAAMAAAAAAAAAAAAAAAAJOgIAAAAAAAAJOwIAAAAAATwCAACpAAAAAAAAAAE9AgAAcgAAAAAAXEIAABhCAT4CAAAVAAAAo4vWQ0UXb0Mx6FNCiy4KQhKDvj8JYAEAAAoJPwIAAAnJAQAAIAMAAP////8BAQoJQAIAAAEACgABZQEAACUAAAAJHgIAAAAAAAAAAAAAAWYBAAAmAAAACUECAAACAAAAAgAAAA9pAQAAAQAAAAgAAAAAB2oBAAAAAQAAAAEAAAAEFUFwbG9yaXMuQmFzZS5VSS5MYWJlbAMAAAAJQgIAAAFrAQAANAAAAAFDAgAAIQAAAIfZAUQdOW9DAUQCAACgAAAAAwAAAAAAAAAAAAAAAAlFAgAAAAAAAAlGAgAAAAABRwIAAKkAAAAAAAAAAUgCAAByAAAAAAAkQgAAGEIBSQIAABUAAACji/lDRRdvQ3f/IEKLLgpCEoO+PwlnAQAACglKAgAACckBAAAgAwAA/////wEBCglLAgAAAQAKAAFsAQAAJQAAAAkeAgAAAAAAAAAAAAABbQEAACYAAAAJTAIAAAIAAAACAAAAD3ABAAABAAAACAAAAAAHcQEAAAABAAAAAQAAAAQVQXBsb3Jpcy5CYXNlLlVJLkxhYmVsAwAAAAlNAgAAAXIBAAA0AAAAAU4CAAAhAAAA7bQRRB05b0MBTwIAAKAAAAADAAAAAAAAAAAAAAAACVACAAAAAAAACVECAAAAAAFSAgAAqQAAAAAAAAABUwIAAHIAAAAAAFxCAAAYQgFUAgAAFQAAAEYXC0RFF29DMehTQosuCkISg74/CW4BAAAKCVUCAAAJyQEAACADAAD/////AQEKCVYCAAABAAoAAXMBAAAlAAAACVcCAAAAAAAAAAAAAAF0AQAAJgAAAAlYAgAAAgAAAAIAAAAFdQEAAClBcGxvcmlzLkNoYXJ0LkNvbHVtbk9yaWVudGVkTGVnZW5kRWxlbWVudA0AAAAHbUxlZ2VuZAttRGF0YVNlcmllcxRMZWdlbmRFbGVtZW50K21MYWJlbBhMZWdlbmRFbGVtZW50K21SZWN0YW5nbGUTTGVnZW5kRWxlbWVudCttTGluZRVMZWdlbmRFbGVtZW50K21DaXJjbGUVTGVnZW5kRWxlbWVudCttTWFya2VyFExlZ2VuZEVsZW1lbnQrbUluZGV4HUxlZ2VuZEVsZW1lbnQrbUxhYmVsUG9zaXRpb25zGERhdGFPYmplY3QrbUNoaWxkT2JqZWN0cxJEYXRhT2JqZWN0K21QYXJlbnQVRGF0YU9iamVjdCttQ29udGFpbmVyGURhdGFPYmplY3QrbVZpc3VhbE9iamVjdHMEBAQEBAQEAAQDBAQDIkFwbG9yaXMuQ2hhcnQuQ29sdW1uT3JpZW50ZWRMZWdlbmQCAAAAHUFwbG9yaXMuQ2hhcnQuQ2hhcnREYXRhU2VyaWVzAgAAABVBcGxvcmlzLkJhc2UuVUkuTGFiZWwDAAAAGkFwbG9yaXMuQmFzZS5VSS5WaXN1YWxSZWN0AwAAABpBcGxvcmlzLkJhc2UuVUkuVmlzdWFsTGluZQMAAAAdQXBsb3Jpcy5CYXNlLlVJLlZpc3VhbEVsbGlwc2UDAAAAGkFwbG9yaXMuQ2hhcnQuVmlzdWFsTWFya2VyAgAAAAgXU3lzdGVtLkRyYXdpbmcuUG9pbnRGW10E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FAAAAAkHAQAACVkCAAAJWgIAAAoKCgAAAAAKCVsCAAAJFAAAAAkBAAAACVwCAAABdgEAAHUBAAAJFAAAAAkIAQAACV0CAAAJXgIAAAoKCgEAAAAKCV8CAAAJFAAAAAkBAAAACWACAAABdwEAAHUBAAAJFAAAAAkJAQAACWECAAAJYgIAAAoKCgIAAAAKCWMCAAAJFAAAAAkBAAAACWQCAAABeAEAADAAAAABZQIAACEAAADCwC5CHTlqQwFmAgAAIQAAAMLAHkIdOWpDCWcCAADMAQAA/////wEBCgloAgAAAQAKAAF5AQAANAAAAAFpAgAAIQAAAMLAGEIdOWpDAWoCAACgAAAAAgAAAAAAAAAAAAAAAAlrAgAAAAAAAAlsAgAAAAABbQIAAKkAAAAAAAAAAW4CAAByAAAAAACAQQAAQEEBbwIAABUAAACji65BRRdlQ3otjEGjiy5BEoO+PwZwAgAAAjAlCglxAgAACckBAADQAgAA/////wEBCglyAgAAAQAKAAF8AQAAJQAAAAnZAAAAAAAAAAAAAAABfQEAACYAAAAJcwIAAAIAAAACAAAAAX4BAAAwAAAAAXQCAAAhAAAAwsAuQhVcVEMBdQIAACEAAADCwB5CFVxUQwl2AgAAzAEAAP////8BAQoJdwIAAAEACgABfwEAADQAAAABeAIAACEAAADCwBhCFVxUQwF5AgAAoAAAAAIAAAAAAAAAAAAAAAAJegIAAAAAAAAJewIAAAAAAXwCAACpAAAAAAAAAAF9AgAAcgAAAAAAuEEAAEBBAX4CAAAVAAAA0UV3QdFFT0M0Fr9Bo4suQRKDvj8GfwIAAAMxMCUKCYACAAAJyQEAANACAAD/////AQEKCYECAAABAAoAAYIBAAAlAAAACdkAAAAAAAAAAAAAAAGDAQAAJgAAAAmCAgAAAgAAAAIAAAABhAEAADAAAAABgwIAACEAAADCwC5CDH8+QwGEAgAAIQAAAMLAHkIMfz5DCYUCAADMAQAA/////wEBCgmGAgAAAQAKAAGFAQAANAAAAAGHAgAAIQAAAMLAGEIMfz5DAYgCAACgAAAAAgAAAAAAAAAAAAAAAAmJAgAAAAAAAAmKAgAAAAABiwIAAKkAAAAAAAAAAYwCAAByAAAAAAC4QQAAQEEBjQIAABUAAADRRXdBXXQ5QzQWv0Gjiy5BEoO+PwaOAgAAAzIwJQoJjwIAAAnJAQAA0AIAAP////8BAQoJkAIAAAEACgABiAEAACUAAAAJ2QAAAAAAAAAAAAAAAYkBAAAmAAAACZECAAACAAAAAgAAAAGKAQAAMAAAAAGSAgAAIQAAAMLALkIEoihDAZMCAAAhAAAAwsAeQgSiKEMJlAIAAMwBAAD/////AQEKCZUCAAABAAoAAYsBAAA0AAAAAZYCAAAhAAAAwsAYQgSiKEMBlwIAAKAAAAACAAAAAAAAAAAAAAAACZgCAAAAAAAACZkCAAAAAAGaAgAAqQAAAAAAAAABmwIAAHIAAAAAALhBAABAQQGcAgAAFQAAANFFd0EuuiJDNBa/QaOLLkESg74/Bp0CAAADMzAlCgmeAgAACckBAADQAgAA/////wEBCgmfAgAAAQAKAAGOAQAAJQAAAAnZAAAAAAAAAAAAAAABjwEAACYAAAAJoAIAAAIAAAACAAAAAZABAAAwAAAAAaECAAAhAAAAwsAuQvvEEkMBogIAACEAAADCwB5C+8QSQwmjAgAAzAEAAP////8BAQoJpAIAAAEACgABkQEAADQAAAABpQIAACEAAADCwBhC+8QSQwGmAgAAoAAAAAIAAAAAAAAAAAAAAAAJpwIAAAAAAAAJqAIAAAAAAakCAACpAAAAAAAAAAGqAgAAcgAAAAAAuEEAAEBBAasCAAAVAAAA0UV3QbroDEM0Fr9Bo4suQRKDvj8GrAIAAAM0MCUKCa0CAAAJyQEAANACAAD/////AQEKCa4CAAABAAoAAZQBAAAlAAAACdkAAAAAAAAAAAAAAAGVAQAAJgAAAAmvAgAAAgAAAAIAAAABlgEAADAAAAABsAIAACEAAADCwC5C5c/5QgGxAgAAIQAAAMLAHkLlz/lCCbICAADMAQAA/////wEBCgmzAgAAAQAKAAGXAQAANAAAAAG0AgAAIQAAAMLAGELlz/lCAbUCAACgAAAAAgAAAAAAAAAAAAAAAAm2AgAAAAAAAAm3AgAAAAABuAIAAKkAAAAAAAAAAbkCAAByAAAAAAC4QQAAQEEBugIAABUAAADRRXdBiy7uQjQWv0Gjiy5BEoO+Pwa7AgAAAzUwJQoJvAIAAAnJAQAA0AIAAP////8BAQoJvQIAAAEACgABmgEAACUAAAAJ2QAAAAAAAAAAAAAAAZsBAAAmAAAACb4CAAACAAAAAgAAAAGcAQAAMAAAAAG/AgAAIQAAAMLALkLUFc5CAcACAAAhAAAAwsAeQtQVzkIJwQIAAMwBAAD/////AQEKCcICAAABAAoAAZ0BAAA0AAAAAcMCAAAhAAAAwsAYQtQVzkIBxAIAAKAAAAACAAAAAAAAAAAAAAAACcUCAAAAAAAACcYCAAAAAAHHAgAAqQAAAAAAAAAByAIAAHIAAAAAALhBAABAQQHJAgAAFQAAANFFd0Gji8JCNBa/QaOLLkESg74/BsoCAAADNjAlCgnLAgAACckBAADQAgAA/////wEBCgnMAgAAAQAKAAGgAQAAJQAAAAnZAAAAAAAAAAAAAAABoQEAACYAAAAJzQIAAAIAAAACAAAAAaIBAAAwAAAAAc4CAAAhAAAAwsAuQsNbokIBzwIAACEAAADCwB5Cw1uiQgnQAgAAzAEAAP////8BAQoJ0QIAAAEACgABowEAADQAAAAB0gIAACEAAADCwBhCw1uiQgHTAgAAoAAAAAIAAAAAAAAAAAAAAAAJ1AIAAAAAAAAJ1QIAAAAAAdYCAACpAAAAAAAAAAHXAgAAcgAAAAAAuEEAAEBBAdgCAAAVAAAA0UV3QbrolkI0Fr9Bo4suQRKDvj8G2QIAAAM3MCUKCdoCAAAJyQEAANACAAD/////AQEKCdsCAAABAAoAAaYBAAAlAAAACdkAAAAAAAAAAAAAAAGnAQAAJgAAAAncAgAAAgAAAAIAAAABqAEAADAAAAAB3QIAACEAAADCwC5CZENtQgHeAgAAIQAAAMLAHkJkQ21CCd8CAADMAQAA/////wEBCgngAgAAAQAKAAGpAQAANAAAAAHhAgAAIQAAAMLAGEJkQ21CAeICAACgAAAAAgAAAAAAAAAAAAAAAAnjAgAAAAAAAAnkAgAAAAAB5QIAAKkAAAAAAAAAAeYCAAByAAAAAAC4QQAAQEEB5wIAABUAAADRRXdBo4tWQjQWv0Gjiy5BEoO+PwboAgAAAzgwJQoJ6QIAAAnJAQAA0AIAAP////8BAQoJ6gIAAAEACgABrAEAACUAAAAJ2QAAAAAAAAAAAAAAAa0BAAAmAAAACesCAAACAAAAAgAAAAGuAQAAMAAAAAHsAgAAIQAAAMLALkJCzxVCAe0CAAAhAAAAwsAeQkLPFUIJ7gIAAMwBAAD/////AQEKCe8CAAABAAoAAa8BAAA0AAAAAfACAAAhAAAAwsAYQkLPFUIB8QIAAKAAAAACAAAAAAAAAAAAAAAACfICAAAAAAAACfMCAAAAAAH0AgAAqQAAAAAAAAAB9QIAAHIAAAAAALhBAABAQQH2AgAAFQAAANFFd0Gji/5BNBa/QaOLLkESg74/BvcCAAADOTAlCgn4AgAACckBAADQAgAA/////wEBCgn5AgAAAQAKAAGyAQAAJQAAAAnZAAAAAAAAAAAAAAABswEAACYAAAAJ+gIAAAIAAAACAAAAAbQBAAAwAAAAAfsCAAAhAAAAwsAuQoJseUEB/AIAACEAAADCwB5Cgmx5QQn9AgAAzAEAAP////8BAQoJ/gIAAAEACgABtQEAADQAAAAB/wIAACEAAADCwBhCgmx5QQEAAwAAoAAAAAIAAAAAAAAAAAAAAAAJAQMAAAAAAAAJAgMAAAAAAQMDAACpAAAAAAAAAAEEAwAAcgAAAAAA6EEAAEBBAQUDAAAVAAAAAAAgQQAAIEEcuepBo4suQRKDvj8GBgMAAAQxMDAlCgkHAwAACckBAADQAgAA/////wEBCgkIAwAAAQAKAAG4AQAAJQAAAAnZAAAAAAAAAAAAAAABuQEAACYAAAAJCQMAAAIAAAACAAAABLoBAACYAVN5c3RlbS5Db2xsZWN0aW9ucy5HZW5lcmljLkxpc3RgMVtbQXBsb3Jpcy5DaGFydC5DaGFydERhdGFFbGVtZW50LCBBcGxvcmlzLkNoYXJ0LCBWZXJzaW9uPTQuMC4wLjE0ODYsIEN1bHR1cmU9bmV1dHJhbCwgUHVibGljS2V5VG9rZW49MTZmYzEzYTIyNmMwZTk1MV1dAwAAAAZfaXRlbXMFX3NpemUIX3ZlcnNpb24EAAAgQXBsb3Jpcy5DaGFydC5DaGFydERhdGFFbGVtZW50W10CAAAACAgJCgMAAAgAAAAoAAAAAbsBAAAlAAAACQsDAAAIAAAAGAAAAAG8AQAAJgAAAAnXAAAAAAAAAAAAAAAFww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cBAAAKAAAAAABAQQl2AAAACXcAAAAJDAMAAAEACQ0DAAABxAEAAHgAAAAKCgAAAAD///8ADgAAAAABAcgBAACtAAAACQ4DAAABAAAAAQAAAAHKAQAAdQAAAAkPAwAACgfPAQAAAAEAAAAEAAAABB9BcGxvcmlzLkJhc2UuT2JqZWN0cy5EYXRhT2JqZWN0AwAAAAkmAQAADQMH0AEAAAABAAAABAAAAAQcQXBsb3Jpcy5CYXNlLlVJLlZpc3VhbE9iamVjdAMAAAAJKAEAAA0DAdEBAAC6AQAACRADAAAIAAAAHAAAAAHSAQAAJQAAAAkRAwAACAAAABAAAAAB0wEAACYAAAAJEgMAAAAAAAAAAAAABdo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IAQAACgAAAAAAQEEJdgAAAAl3AAAACRMDAAABAAkUAwAAAdsBAAB4AAAACgoBAAAAAAAAAP////8AAQHfAQAArQAAAAkVAwAAAQAAAAEAAAAB4AEAAHUAAAAJFgMAAAoH5QEAAAABAAAABAAAAAQfQXBsb3Jpcy5CYXNlLk9iamVjdHMuRGF0YU9iamVjdAMAAAAJLgEAAA0DB+YBAAAAAQAAAAQAAAAEHEFwbG9yaXMuQmFzZS5VSS5WaXN1YWxPYmplY3QDAAAACTABAAANAwHnAQAAugEAAAkXAwAACAAAABwAAAAB6AEAACUAAAAJGAMAAAgAAAAQAAAAAekBAAAmAAAACRIDAAAAAAAAAAAAAAXw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CQEAAAoAAAAAAEBBCXYAAAAJdwAAAAkZAwAAAQAJGgMAAAHxAQAAeAAAAAoKAQAAAAAAAAD/////AAEB9QEAAK0AAAAJGwMAAAEAAAABAAAAAfYBAAB1AAAACRwDAAAKB/sBAAAAAQAAAAQAAAAEH0FwbG9yaXMuQmFzZS5PYmplY3RzLkRhdGFPYmplY3QDAAAACTYBAAANAwf8AQAAAAEAAAAEAAAABBxBcGxvcmlzLkJhc2UuVUkuVmlzdWFsT2JqZWN0AwAAAAk4AQAADQMB/QEAADQAAAABHQMAACEAAAD4zZZCgmxJQQEeAwAAoAAAAAEAAAAAAAAAAAAAAAAJHwMAAAAAAAAJIAMAAAAAASEDAACpAAAAAAAAAAEiAwAAcgAAAAAAAEIAAEBBASMDAAAVAAAAAAAAAAAAAAAAAAAAAAAAABKDvj8GJAMAAAU4Ni4yJQoJJQMAAAkkAwAANAMAAP////8AAQoJJgMAAAEACgABAAIAACMAAAAKCgAAAAAAKEEJdgAAAAl3AAAACScDAAAAAAkoAwAAAQECAAB4AAAACgoAAAAA////AA4AAAAAAQEFAgAArQAAAAkpAwAAAQAAAAEAAAABBgIAAHUAAAAJKgMAAAoHBwIAAAABAAAABAAAAAQcQXBsb3Jpcy5CYXNlLlVJLlZpc3VhbE9iamVjdAMAAAAJQQEAAAn9AQAACgoBCAIAADQAAAABKwMAACEAAAAqQkpDgmxJQQEsAwAAoAAAAAEAAAAAAAAAAAAAAAAJLQMAAAAAAAAJLgMAAAAAAS8DAACpAAAAAAAAAAEwAwAAcgAAAAAAAEIAAEBBATEDAAAVAAAAAAAAAAAAAAAAAAAAAAAAABKDvj8JJAMAAAoJMgMAAAkkAwAANAMAAP////8AAQoJMwMAAAEACgABCwIAACMAAAAKCgAAAAAAKEEJdgAAAAl3AAAACTQDAAAAAAk1AwAAAQwCAAB4AAAACgoAAAAA////AA4AAAAAAQEQAgAArQAAAAk2AwAAAQAAAAEAAAABEQIAAHUAAAAJNwMAAAoHEgIAAAABAAAAAAAAAAQfQXBsb3Jpcy5CYXNlLk9iamVjdHMuRGF0YU9iamVjdAMAAAAHEwIAAAABAAAABAAAAAQcQXBsb3Jpcy5CYXNlLlVJLlZpc3VhbE9iamVjdAMAAAAJSAEAAAkIAgAACgoBFAIAADQAAAABOAMAACEAAADg14RDgmxJQQE5AwAAoAAAAAEAAAAAAAAAAAAAAAAJOgMAAAAAAAAJOwMAAAAAATwDAACpAAAAAAAAAAE9AwAAcgAAAAAAAEIAAEBBAT4DAAAVAAAAAAAAAAAAAAAAAAAAAAAAABKDvj8GPwMAAAU5MC45JQoJQAMAAAk/AwAANAMAAP////8AAQoJQQMAAAEACgABFwIAACMAAAAKCgAAAAAAKEEJdgAAAAl3AAAACUIDAAAAAAlDAwAAARgCAAB4AAAACgoAAAAA////AA4AAAAAAQEcAgAArQAAAAlEAwAAAQAAAAEAAAABHQIAAHUAAAAJRQMAAAoHHgIAAAABAAAAAAAAAAQfQXBsb3Jpcy5CYXNlLk9iamVjdHMuRGF0YU9iamVjdAMAAAAHHwIAAAABAAAABAAAAAQcQXBsb3Jpcy5CYXNlLlVJLlZpc3VhbE9iamVjdAMAAAAJTwEAAAkUAgAACgoBIAIAADQAAAABRgMAACEAAACsjqRDgmxJQQFHAwAAoAAAAAEAAAAAAAAAAAAAAAAJSAMAAAAAAAAJSQMAAAAAAUoDAACpAAAAAAAAAAFLAwAAcgAAAAAAAEIAAEBBAUwDAAAVAAAAAAAAAAAAAAAAAAAAAAAAABKDvj8GTQMAAAU4OS4xJQoJTgMAAAlNAwAANAMAAP////8AAQoJTwMAAAEACgABIwIAACMAAAAKCgAAAAAAKEEJdgAAAAl3AAAACVADAAAAAAlRAwAAASQCAAB4AAAACgoAAAAA////AA4AAAAAAQEoAgAArQAAAAlSAwAAAQAAAAEAAAABKQIAAHUAAAAJUwMAAAoHKgIAAAABAAAAAAAAAAQfQXBsb3Jpcy5CYXNlLk9iamVjdHMuRGF0YU9iamVjdAMAAAAHKwIAAAABAAAABAAAAAQcQXBsb3Jpcy5CYXNlLlVJLlZpc3VhbE9iamVjdAMAAAAJVgEAAAkgAgAACgoBLAIAADQAAAABVAMAACEAAAB4RcRDgmxJQQFVAwAAoAAAAAEAAAAAAAAAAAAAAAAJVgMAAAAAAAAJVwMAAAAAAVgDAACpAAAAAAAAAAFZAwAAcgAAAAAAAEIAAEBBAVoDAAAVAAAAAAAAAAAAAAAAAAAAAAAAABKDvj8GWwMAAAU4NS4wJQoJXAMAAAlbAwAANAMAAP////8AAQoJXQMAAAEACgABLwIAACMAAAAKCgAAAAAAKEEJdgAAAAl3AAAACV4DAAAAAAlfAwAAATACAAB4AAAACgoAAAAA////AA4AAAAAAQE0AgAArQAAAAlgAwAAAQAAAAEAAAABNQIAAHUAAAAJYQMAAAoHNgIAAAABAAAABAAAAAQcQXBsb3Jpcy5CYXNlLlVJLlZpc3VhbE9iamVjdAMAAAAJXQEAAAksAgAACgoBNwIAADQAAAABYgMAACEAAABD/ONDgmxJQQFjAwAAoAAAAAEAAAAAAAAAAAAAAAAJZAMAAAAAAAAJZQMAAAAAAWYDAACpAAAAAAAAAAFnAwAAcgAAAAAAAEIAAEBBAWgDAAAVAAAAAAAAAAAAAAAAAAAAAAAAABKDvj8GaQMAAAU4NS43JQoJagMAAAlpAwAANAMAAP////8AAQoJawMAAAEACgABOgIAACMAAAAKCgAAAAAAKEEJdgAAAAl3AAAACWwDAAAAAAltAwAAATsCAAB4AAAACgoAAAAA////AA4AAAAAAQE/AgAArQAAAAluAwAAAQAAAAEAAAABQAIAAHUAAAAJbwMAAAoHQQIAAAABAAAABAAAAAQcQXBsb3Jpcy5CYXNlLlVJLlZpc3VhbE9iamVjdAMAAAAJZAEAAAk3AgAACgoBQgIAADQAAAABcAMAACEAAACH2QFEgmxJQQFxAwAAoAAAAAEAAAAAAAAAAAAAAAAJcgMAAAAAAAAJcwMAAAAAAXQDAACpAAAAAAAAAAF1AwAAcgAAAAAAAEIAAEBBAXYDAAAVAAAAAAAAAAAAAAAAAAAAAAAAABKDvj8GdwMAAAU4MS4wJQoJeAMAAAl3AwAANAMAAP////8AAQoJeQMAAAEACgABRQIAACMAAAAKCgAAAAAAKEEJdgAAAAl3AAAACXoDAAAAAAl7AwAAAUYCAAB4AAAACgoAAAAA////AA4AAAAAAQFKAgAArQAAAAl8AwAAAQAAAAEAAAABSwIAAHUAAAAJfQMAAAoHTAIAAAABAAAABAAAAAQcQXBsb3Jpcy5CYXNlLlVJLlZpc3VhbE9iamVjdAMAAAAJawEAAAlCAgAACgoBTQIAADQAAAABfgMAACEAAADttBFEgmxJQQF/AwAAoAAAAAEAAAAAAAAAAAAAAAAJgAMAAAAAAAAJgQMAAAAAAYIDAACpAAAAAAAAAAGDAwAAcgAAAAAAAAAAAAAAAYQDAAAVAAAAAAAAAAAAAAAAAAAAAAAAAAAAAAAJdwMAAAoJhQMAAAl3AwAANAMAAP////8AAQoJhgMAAAEACgABUAIAACMAAAAKCgAAAAAAKEEJdgAAAAl3AAAACYcDAAAAAAmIAwAAAVECAAB4AAAACgoAAAAA////AA4AAAAAAQFVAgAArQAAAAmJAwAAAQAAAAEAAAABVgIAAHUAAAAJigMAAAoHVwIAAAABAAAAAAAAAAQfQXBsb3Jpcy5CYXNlLk9iamVjdHMuRGF0YU9iamVjdAMAAAAHWAIAAAABAAAABAAAAAQcQXBsb3Jpcy5CYXNlLlVJLlZpc3VhbE9iamVjdAMAAAAJcgEAAAlNAgAACgoBWQIAADQAAAABiwMAACEAAADeEGhCLomUQwGMAwAAoAAAAAUAAAAAAAAAAAAAAAAJjQMAAAAAAAAJjgMAAAAAAY8DAACpAAAAAAAAAAGQAwAAcgAAAAAA8EEAAEBBAZEDAAAVAAAAXXRhQumilEPu/vFBo4suQRKDvj8JJwEAAAoJkgMAAAnJAQAAhAMAAP////8BAQoJkwMAAAEACgABWgIAABwAAAABlAMAACEAAABtEy5CLomUQwGVAwAAIQAAAN4QXELcSJpDCZYDAAAJlwMAAAAAAAAKAZgDAAByAAAAAAAAAAAAAAABmQMAAHIAAAAAAAAAAAAAAAAAAAABmgMAABUAAAAAAAAAAAAAAAAAAAAAAAAAmAMAAP////8BAQoJmwMAAAEACgABWwIAACUAAAAJnAMAAAAAAAAAAAAAAVwCAAAmAAAACZ0DAAACAAAAAgAAAAFdAgAANAAAAAGeAwAAIQAAAAdv20IuiZRDAZ8DAACgAAAABQAAAAAAAAAAAAAAAAmgAwAAAAAAAAmhAwAAAAABogMAAKkAAAAAAAAAAaMDAAByAAAAAAAUQgAAQEEBpAMAABUAAAAXXdhC6aKUQ9RzEkKjiy5BEoO+PwkvAQAACgmlAwAACckBAACEAwAA/////wEBCgmmAwAAAQAKAAFeAgAAHAAAAAGnAwAAIQAAAE9wvkIuiZRDAagDAAAhAAAAB2/VQtxImkMJqQMAAAmqAwAAAAAAAAoBqwMAAHIAAAAAAAAAAAAAAAGsAwAAcgAAAAAAAAAAAAAAAAAAAAGtAwAAFQAAAAAAAAAAAAAAAAAAAAAAAACYAwAA/////wEBCgmuAwAAAQAKAAFfAgAAJQAAAAmcAwAAAAAAAAAAAAABYAIAACYAAAAJrwMAAAIAAAACAAAAAWECAAA0AAAAAbADAAAhAAAA58cnQy6JlEMBsQMAAKAAAAAFAAAAAAAAAAAAAAAACbIDAAAAAAAACbMDAAAAAAG0AwAAqQAAAAAAAAABtQMAAHIAAAAAADhCAABAQQG2AwAAFQAAABddJkPpopRDAi4zQqOLLkESg74/CTcBAAAKCbcDAAAJyQEAAIQDAAD/////AQEKCbgDAAABAAoAAWICAAAcAAAAAbkDAAAhAAAAi0gZQy6JlEMBugMAACEAAADnxyRD3EiaQwm7AwAACbwDAAAAAAAACgG9AwAAcgAAAAAAAAAAAAAAAb4DAAByAAAAAAAAAAAAAAAAAAAAAb8DAAAVAAAAAAAAAAAAAAAAAAAAAAAAAJgDAAD/////AQEKCcADAAABAAoAAWMCAAAlAAAACZwDAAAAAAAAAAAAAAFkAgAAJgAAAAnBAwAAAgAAAAIAAAABZwIAAHAAAAAKCgAAAEA/CcIDAAAJwwMAAAEAAAD+////AAAAAAEAAAAAAAAAAAAAAAEAAAAAAAAAAAAAAWgCAAB1AAAACcQDAAAKAWsCAAAjAAAACgoAAAAAAChBCXYAAAAJdwAAAAnFAwAAAAAJxgMAAAFsAgAAeAAAAAoKAAAAAP///wAOAAAAAAEBcQIAAK0AAAAJxwMAAAEAAAABAAAAAXICAAB1AAAACcgDAAAKB3MCAAAAAQAAAAQAAAAEHEFwbG9yaXMuQmFzZS5VSS5WaXN1YWxPYmplY3QDAAAACXgBAAAJeQEAAAoKAXYCAABwAAAACgoAAABAPwnJAwAACcoDAAABAAAA/v///wAAAAABAAAAAAAAAAAAAAABAAAAAAAAAAAAAAF3AgAAdQAAAAnLAwAACgF6AgAAIwAAAAoKAAAAAAAoQQl2AAAACXcAAAAJzAMAAAAACc0DAAABewIAAHgAAAAKCgAAAAD///8ADgAAAAABAYACAACtAAAACc4DAAABAAAAAwAAAAGBAgAAdQAAAAnPAwAACgeCAgAAAAEAAAAEAAAABBxBcGxvcmlzLkJhc2UuVUkuVmlzdWFsT2JqZWN0AwAAAAl+AQAACX8BAAAKCgGFAgAAcAAAAAoKAAAAQD8J0AMAAAnRAwAAAQAAAP7///8AAAAAAQAAAAAAAAAAAAAAAQAAAAAAAAAAAAABhgIAAHUAAAAJ0gMAAAoBiQIAACMAAAAKCgAAAAAAKEEJdgAAAAl3AAAACdMDAAAAAAnUAwAAAYoCAAB4AAAACgoAAAAA////AA4AAAAAAQGPAgAArQAAAAnVAwAAAQAAAAMAAAABkAIAAHUAAAAJ1gMAAAoHkQIAAAABAAAABAAAAAQcQXBsb3Jpcy5CYXNlLlVJLlZpc3VhbE9iamVjdAMAAAAJhAEAAAmFAQAACgoBlAIAAHAAAAAKCgAAAEA/CdcDAAAJ2AMAAAEAAAD+////AAAAAAEAAAAAAAAAAAAAAAEAAAAAAAAAAAAAAZUCAAB1AAAACdkDAAAKAZgCAAAjAAAACgoAAAAAAChBCXYAAAAJdwAAAAnaAwAAAAAJ2wMAAAGZAgAAeAAAAAoKAAAAAP///wAOAAAAAAEBngIAAK0AAAAJ3AMAAAEAAAADAAAAAZ8CAAB1AAAACd0DAAAKB6ACAAAAAQAAAAQAAAAEHEFwbG9yaXMuQmFzZS5VSS5WaXN1YWxPYmplY3QDAAAACYoBAAAJiwEAAAoKAaMCAABwAAAACgoAAABAPwneAwAACd8DAAABAAAA/v///wAAAAABAAAAAAAAAAAAAAABAAAAAAAAAAAAAAGkAgAAdQAAAAngAwAACgGnAgAAIwAAAAoKAAAAAAAoQQl2AAAACXcAAAAJ4QMAAAAACeIDAAABqAIAAHgAAAAKCgAAAAD///8ADgAAAAABAa0CAACtAAAACeMDAAABAAAAAwAAAAGuAgAAdQAAAAnkAwAACgevAgAAAAEAAAAEAAAABBxBcGxvcmlzLkJhc2UuVUkuVmlzdWFsT2JqZWN0AwAAAAmQAQAACZEBAAAKCgGyAgAAcAAAAAoKAAAAQD8J5QMAAAnmAwAAAQAAAP7///8AAAAAAQAAAAAAAAAAAAAAAQAAAAAAAAAAAAABswIAAHUAAAAJ5wMAAAoBtgIAACMAAAAKCgAAAAAAKEEJdgAAAAl3AAAACegDAAAAAAnpAwAAAbcCAAB4AAAACgoAAAAA////AA4AAAAAAQG8AgAArQAAAAnqAwAAAQAAAAMAAAABvQIAAHUAAAAJ6wMAAAoHvgIAAAABAAAABAAAAAQcQXBsb3Jpcy5CYXNlLlVJLlZpc3VhbE9iamVjdAMAAAAJlgEAAAmXAQAACgoBwQIAAHAAAAAKCgAAAEA/CewDAAAJ7QMAAAEAAAD+////AAAAAAEAAAAAAAAAAAAAAAEAAAAAAAAAAAAAAcICAAB1AAAACe4DAAAKAcUCAAAjAAAACgoAAAAAAChBCXYAAAAJdwAAAAnvAwAAAAAJ8AMAAAHGAgAAeAAAAAoKAAAAAP///wAOAAAAAAEBywIAAK0AAAAJ8QMAAAEAAAADAAAAAcwCAAB1AAAACfIDAAAKB80CAAAAAQAAAAQAAAAEHEFwbG9yaXMuQmFzZS5VSS5WaXN1YWxPYmplY3QDAAAACZwBAAAJnQEAAAoKAdACAABwAAAACgoAAABAPwnzAwAACfQDAAABAAAA/v///wAAAAABAAAAAAAAAAAAAAABAAAAAAAAAAAAAAHRAgAAdQAAAAn1AwAACgHUAgAAIwAAAAoKAAAAAAAoQQl2AAAACXcAAAAJ9gMAAAAACfcDAAAB1QIAAHgAAAAKCgAAAAD///8ADgAAAAABAdoCAACtAAAACfgDAAABAAAAAwAAAAHbAgAAdQAAAAn5AwAACgfcAgAAAAEAAAAEAAAABBxBcGxvcmlzLkJhc2UuVUkuVmlzdWFsT2JqZWN0AwAAAAmiAQAACaMBAAAKCgHfAgAAcAAAAAoKAAAAQD8J+gMAAAn7AwAAAQAAAP7///8AAAAAAQAAAAAAAAAAAAAAAQAAAAAAAAAAAAAB4AIAAHUAAAAJ/AMAAAoB4wIAACMAAAAKCgAAAAAAKEEJdgAAAAl3AAAACf0DAAAAAAn+AwAAAeQCAAB4AAAACgoAAAAA////AA4AAAAAAQHpAgAArQAAAAn/AwAAAQAAAAMAAAAB6gIAAHUAAAAJAAQAAAoH6wIAAAABAAAABAAAAAQcQXBsb3Jpcy5CYXNlLlVJLlZpc3VhbE9iamVjdAMAAAAJqAEAAAmpAQAACgoB7gIAAHAAAAAKCgAAAEA/CQEEAAAJAgQAAAEAAAD+////AAAAAAEAAAAAAAAAAAAAAAEAAAAAAAAAAAAAAe8CAAB1AAAACQMEAAAKAfICAAAjAAAACgoAAAAAAChBCXYAAAAJdwAAAAkEBAAAAAAJBQQAAAHzAgAAeAAAAAoKAAAAAP///wAOAAAAAAEB+AIAAK0AAAAJBgQAAAEAAAADAAAAAfkCAAB1AAAACQcEAAAKB/oCAAAAAQAAAAQAAAAEHEFwbG9yaXMuQmFzZS5VSS5WaXN1YWxPYmplY3QDAAAACa4BAAAJrwEAAAoKAf0CAABwAAAACgoAAABAPwkIBAAACQkEAAABAAAA/v///wAAAAABAAAAAAAAAAAAAAABAAAAAAAAAAAAAAH+AgAAdQAAAAkKBAAACgEBAwAAIwAAAAoKAAAAAAAoQQl2AAAACXcAAAAJCwQAAAAACQwEAAABAgMAAHgAAAAKCgAAAAD///8ADgAAAAABAQcDAACtAAAACQ0EAAABAAAAAwAAAAEIAwAAdQAAAAkOBAAACgcJAwAAAAEAAAAEAAAABBxBcGxvcmlzLkJhc2UuVUkuVmlzdWFsT2JqZWN0AwAAAAm0AQAACbUBAAAKCgcKAwAAAAEAAAAQAAAABB5BcGxvcmlzLkNoYXJ0LkNoYXJ0RGF0YUVsZW1lbnQCAAAACQ8EAAAJEAQAAAkRBAAACRIEAAAJEwQAAAkUBAAACRUEAAAJFgQAAA0IBwsDAAAAAQAAABAAAAAEH0FwbG9yaXMuQmFzZS5PYmplY3RzLkRhdGFPYmplY3QDAAAACQ8EAAAJEgQAAAkTBAAACREEAAAJFAQAAAkVBAAACRAEAAAJFgQAAA0IAQwDAAB4AAAACgoAAAAAAAAAAA0AAAAAAQENAwAAeAAAAAoKAQAAAAAAAAD/////AAEHDgMAAAABAAAABAAAAAQdQXBsb3Jpcy5CYXNlLk9iamVjdHMuVmFyaWFibGUDAAAABRcEAAAdQXBsb3Jpcy5CYXNlLk9iamVjdHMuVmFyaWFibGUCAAAABk51bWJlcghQb3NpdGlvbgAACAgDAAAAAQAAAAAAAAABGAQAABcEAAAAAAAAAAAAAAEZBAAAFwQAAAAAAAAAAAAAARoEAAAXBAAAAAAAAAAAAAAPDwMAAAEAAAAIAAAAAAcQAwAAAAEAAAAQAAAABB5BcGxvcmlzLkNoYXJ0LkNoYXJ0RGF0YUVsZW1lbnQCAAAACRsEAAAJHAQAAAkdBAAACR4EAAAJHwQAAAkgBAAACSEEAAAJIgQAAA0IBxEDAAAAAQAAABAAAAAEH0FwbG9yaXMuQmFzZS5PYmplY3RzLkRhdGFPYmplY3QDAAAACRsEAAAJHgQAAAkfBAAACR0EAAAJIAQAAAkhBAAACRwEAAAJIgQAAA0IBxIDAAAAAQAAAAAAAAAEHEFwbG9yaXMuQmFzZS5VSS5WaXN1YWxPYmplY3QDAAAAARMDAAB4AAAACgoAAAAAAAAAAA0AAAAAAQEUAwAAeAAAAAoKAQAAAAAAAAD/////AAEHFQMAAAABAAAABAAAAAQdQXBsb3Jpcy5CYXNlLk9iamVjdHMuVmFyaWFibGUDAAAAASMEAAAXBAAAAQAAAAAAAAABJAQAABcEAAAAAAAAAAAAAAElBAAAFwQAAAAAAAAAAAAAASYEAAAXBAAAAAAAAAAAAAAPFgMAAAEAAAAIAAAAAAcXAwAAAAEAAAAQAAAABB5BcGxvcmlzLkNoYXJ0LkNoYXJ0RGF0YUVsZW1lbnQCAAAACScEAAAJKAQAAAkpBAAACSoEAAAJKwQAAAksBAAACS0EAAAJLgQAAA0IBxgDAAAAAQAAABAAAAAEH0FwbG9yaXMuQmFzZS5PYmplY3RzLkRhdGFPYmplY3QDAAAACScEAAAJKgQAAAkrBAAACSkEAAAJLAQAAAktBAAACSgEAAAJLgQAAA0IARkDAAB4AAAACgoAAAAAAAAAAA0AAAAAAQEaAwAAeAAAAAoKAQAAAAAAAAD/////AAEHGwMAAAABAAAABAAAAAQdQXBsb3Jpcy5CYXNlLk9iamVjdHMuVmFyaWFibGUDAAAAAS8EAAAXBAAAAQAAAAAAAAABMAQAABcEAAAAAAAAAAAAAAExBAAAFwQAAAAAAAAAAAAAATIEAAAXBAAAAAAAAAAAAAAPHAMAAAEAAAAIAAAAAAUf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KAQAACgAAAAAAQEEJdgAAAAl3AAAACTMEAAABAAk0BAAAASADAAB4AAAACgoAAAAA////AA4AAAAAAQElAwAArQAAAAk1BAAAAAAAAA8AAAABJgMAAHUAAAAJNgQAAAoBJwMAAHgAAAAKCgAAAAAAAAAADQAAAAAAASgDAAB4AAAACgoAAAAAAAAAAA0AAAAAAQcpAwAAAAEAAAAEAAAABB1BcGxvcmlzLkJhc2UuT2JqZWN0cy5WYXJpYWJsZQMAAAABNwQAABcEAAABAAAAAAAAAAE4BAAAFwQAAAAAAAAAAAAAATkEAAAXBAAAAAAAAAAAAAABOgQAABcEAAAAAAAAAAAAAA8qAwAAAQAAAAhSAQAABS0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sBAAAKAAAAAABAQQl2AAAACXcAAAAJOwQAAAEACTwEAAABLgMAAHgAAAAKCgAAAAD///8ADgAAAAABATIDAACtAAAACT0EAAAAAAAAAgAAAAEzAwAAdQAAAAk+BAAACgE0AwAAeAAAAAoKAAAAAAAAAAANAAAAAAABNQMAAHgAAAAKCgAAAAAAAAAADQAAAAABBzYDAAAAAQAAAAQAAAAEHUFwbG9yaXMuQmFzZS5PYmplY3RzLlZhcmlhYmxlAwAAAAE/BAAAFwQAAAEAAAAAAAAAAUAEAAAXBAAAAAAAAAAAAAABQQQAABcEAAAAAAAAAAAAAAFCBAAAFwQAAAAAAAAAAAAADzcDAAABAAAACNEBAAAFOg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DAEAAAoAAAAAAEBBCXYAAAAJdwAAAAlDBAAAAQAJRAQAAAE7AwAAeAAAAAoKAAAAAP///wAOAAAAAAEBQAMAAK0AAAAJRQQAAAAAAAAQAAAAAUEDAAB1AAAACUYEAAAKAUIDAAB4AAAACgoAAAAAAAAAAA0AAAAAAAFDAwAAeAAAAAoKAAAAAAAAAAANAAAAAAEHRAMAAAABAAAABAAAAAQdQXBsb3Jpcy5CYXNlLk9iamVjdHMuVmFyaWFibGUDAAAAAUcEAAAXBAAAAQAAAAAAAAABSAQAABcEAAAAAAAAAAAAAAFJBAAAFwQAAAAAAAAAAAAAAUoEAAAXBAAAAAAAAAAAAAAPRQMAAAEAAAAITQEAAAVI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NAQAACgAAAAAAQEEJdgAAAAl3AAAACUsEAAABAAlMBAAAAUkDAAB4AAAACgoAAAAA////AA4AAAAAAQFOAwAArQAAAAlNBAAAAAAAAA0AAAABTwMAAHUAAAAJTgQAAAoBUAMAAHgAAAAKCgAAAAAAAAAADQAAAAAAAVEDAAB4AAAACgoAAAAAAAAAAA0AAAAAAQdSAwAAAAEAAAAEAAAABB1BcGxvcmlzLkJhc2UuT2JqZWN0cy5WYXJpYWJsZQMAAAABTwQAABcEAAABAAAAAAAAAAFQBAAAFwQAAAAAAAAAAAAAAVEEAAAXBAAAAAAAAAAAAAABUgQAABcEAAAAAAAAAAAAAA9TAwAAAQAAAAjFAAAABVY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4BAAAKAAAAAABAQQl2AAAACXcAAAAJUwQAAAEACVQEAAABVwMAAHgAAAAKCgAAAAD///8ADgAAAAABAVwDAACtAAAACVUEAAAAAAAADwAAAAFdAwAAdQAAAAlWBAAACgFeAwAAeAAAAAoKAAAAAAAAAAANAAAAAAABXwMAAHgAAAAKCgAAAAAAAAAADQAAAAABB2ADAAAAAQAAAAQAAAAEHUFwbG9yaXMuQmFzZS5PYmplY3RzLlZhcmlhYmxlAwAAAAFXBAAAFwQAAAEAAAAAAAAAAVgEAAAXBAAAAAAAAAAAAAABWQQAABcEAAAAAAAAAAAAAAFaBAAAFwQAAAAAAAAAAAAAD2EDAAABAAAACMQAAAAFZA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DwEAAAoAAAAAAEBBCXYAAAAJdwAAAAlbBAAAAQAJXAQAAAFlAwAAeAAAAAoKAAAAAP///wAOAAAAAAEBagMAAK0AAAAJXQQAAAAAAAAPAAAAAWsDAAB1AAAACV4EAAAKAWwDAAB4AAAACgoAAAAAAAAAAA0AAAAAAAFtAwAAeAAAAAoKAAAAAAAAAAANAAAAAAEHbgMAAAABAAAABAAAAAQdQXBsb3Jpcy5CYXNlLk9iamVjdHMuVmFyaWFibGUDAAAAAV8EAAAXBAAAAQAAAAAAAAABYAQAABcEAAAAAAAAAAAAAAFhBAAAFwQAAAAAAAAAAAAAAWIEAAAXBAAAAAAAAAAAAAAPbwMAAAEAAAAITAEAAAVy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QAQAACgAAAAAAQEEJdgAAAAl3AAAACWMEAAABAAlkBAAAAXMDAAB4AAAACgoAAAAA////AA4AAAAAAQF4AwAArQAAAAllBAAAAAAAAA8AAAABeQMAAHUAAAAJZgQAAAoBegMAAHgAAAAKCgAAAAAAAAAADQAAAAAAAXsDAAB4AAAACgoAAAAAAAAAAA0AAAAAAQd8AwAAAAEAAAAEAAAABB1BcGxvcmlzLkJhc2UuT2JqZWN0cy5WYXJpYWJsZQMAAAABZwQAABcEAAABAAAAAAAAAAFoBAAAFwQAAAAAAAAAAAAAAWkEAAAXBAAAAAAAAAAAAAABagQAABcEAAAAAAAAAAAAAA99AwAAAQAAAAhOAQAABYA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REBAAAKAAAAAABAQQl2AAAACXcAAAAJawQAAAEACWwEAAABgQMAAHgAAAAKCgEAAAAAAAAA/////wABAYUDAACtAAAACW0EAAAAAAAAAgAAAAGGAwAAdQAAAAluBAAACgGHAwAAeAAAAAoKAAAAAAAAAAANAAAAAAABiAMAAHgAAAAKCgAAAAAAAAAADQAAAAABB4kDAAAAAQAAAAQAAAAEHUFwbG9yaXMuQmFzZS5PYmplY3RzLlZhcmlhYmxlAwAAAAFvBAAAFwQAAAEAAAAAAAAAAXAEAAAXBAAAAAAAAAAAAAABcQQAABcEAAAAAAAAAAAAAAFyBAAAFwQAAAAAAAAAAAAAD4oDAAABAAAACA8CAAABjQMAACMAAAAKCgAAAAAAKEEJdgAAAAl3AAAACXMEAAAAAAl0BAAAAY4DAAB4AAAACgoBAAAAAAAAAP////8AAQGSAwAArQAAAAl1BAAAAQAAAAEAAAABkwMAAHUAAAAJdgQAAAoBlgMAAHAAAAAKCgAAAEA/CXcEAAAJeAQAAAEAAAD+////AAAAAAEAAAAAAAAAAAAAAAEAAAAAAAAAAAAAAZcDAABxAAAACgoJeQQAAAl6BAAAAQAAAP7///8AAAAA/////wEAAZsDAAB1AAAACXsEAAAKB5wDAAAAAQAAAAAAAAAEH0FwbG9yaXMuQmFzZS5PYmplY3RzLkRhdGFPYmplY3QDAAAAB50DAAAAAQAAAAQAAAAEHEFwbG9yaXMuQmFzZS5VSS5WaXN1YWxPYmplY3QDAAAACVkCAAAJWgIAAAoKAaADAAAjAAAACgoAAAAAAChBCXYAAAAJdwAAAAl8BAAAAAAJfQQAAAGhAwAAeAAAAAoKAQAAAAAAAAD/////AAEBpQMAAK0AAAAJfgQAAAEAAAABAAAAAaYDAAB1AAAACX8EAAAKAakDAABwAAAACgoAAABAPwmABAAACYEEAAABAAAA/v///wAAAAABAAAAAAAAAAAAAAABAAAAAAAAAAAAAAGqAwAAcQAAAAoKCYIEAAAJgwQAAAEAAAD+////AAAAAP////8BAAGuAwAAdQAAAAmEBAAACgevAwAAAAEAAAAEAAAABBxBcGxvcmlzLkJhc2UuVUkuVmlzdWFsT2JqZWN0AwAAAAldAgAACV4CAAAKCgGyAwAAIwAAAAoKAAAAAAAoQQl2AAAACXcAAAAJhQQAAAAACYYEAAABswMAAHgAAAAKCgEAAAAAAAAA/////wABAbcDAACtAAAACYcEAAABAAAAAQAAAAG4AwAAdQAAAAmIBAAACgG7AwAAcAAAAAoKAAAAQD8JiQQAAAmKBAAAAQAAAP7///8AAAAAAQAAAAAAAAAAAAAAAQAAAAAAAAAAAAABvAMAAHEAAAAKCgmLBAAACYwEAAABAAAA/v///wAAAAD/////AQABwAMAAHUAAAAJjQQAAAoHwQMAAAABAAAABAAAAAQcQXBsb3Jpcy5CYXNlLlVJLlZpc3VhbE9iamVjdAMAAAAJYQIAAAliAgAACgoBwgMAAHgAAAAKCgAAAAAAAAAADQAAAAAABcMDAAAaQXBsb3Jpcy5CYXNlLk9iamVjdHMuQ29sb3IHAAAAEkRhdGFPYmplY3QrbVBhcmVudBVEYXRhT2JqZWN0K21Db250YWluZXIFbVR5cGUEbVJHQhBtVGhlbWVDb2xvckluZGV4DG1BdXRvVXBkYXRlZAltTW9kaWZpZWQEAgAAAAAAH0FwbG9yaXMuQmFzZS5PYmplY3RzLkxpbmVGb3JtYXQDAAAACAgIAQEDAAAACWcCAAAKAQAAAAAAAAD/////AAEPxAMAAAEAAAAIIwIAAAHFAwAAeAAAAAoKAAAAAAAAAAANAAAAAAABxgMAAHgAAAAKCgAAAAAAAAAADQAAAAABB8cDAAAAAQAAAAQAAAAEHUFwbG9yaXMuQmFzZS5PYmplY3RzLlZhcmlhYmxlAwAAAAGOBAAAFwQAAAEAAAAAAAAAAY8EAAAXBAAAAAAAAAAAAAABkAQAABcEAAAAAAAAAAAAAAGRBAAAFwQAAAAAAAAAAAAAD8gDAAABAAAACCYAAAAByQMAAHgAAAAKCgAAAAAAAAAADQAAAAAABcoDAAAaQXBsb3Jpcy5CYXNlLk9iamVjdHMuQ29sb3IHAAAAEkRhdGFPYmplY3QrbVBhcmVudBVEYXRhT2JqZWN0K21Db250YWluZXIFbVR5cGUEbVJHQhBtVGhlbWVDb2xvckluZGV4DG1BdXRvVXBkYXRlZAltTW9kaWZpZWQEAgAAAAAAH0FwbG9yaXMuQmFzZS5PYmplY3RzLkxpbmVGb3JtYXQDAAAACAgIAQEDAAAACXYCAAAKAQAAAAAAAAD/////AAEPywMAAAEAAAAIJQIAAAHMAwAAeAAAAAoKAAAAAAAAAAANAAAAAAABzQMAAHgAAAAKCgAAAAAAAAAADQAAAAABB84DAAAAAQAAAAQAAAAEHUFwbG9yaXMuQmFzZS5PYmplY3RzLlZhcmlhYmxlAwAAAAGSBAAAFwQAAAEAAAAAAAAAAZMEAAAXBAAAAAAAAAAAAAABlAQAABcEAAAAAAAAAAAAAAGVBAAAFwQAAAAAAAAAAAAAD88DAAABAAAACCMAAAAB0AMAAHgAAAAKCgAAAAAAAAAADQAAAAAABdEDAAAaQXBsb3Jpcy5CYXNlLk9iamVjdHMuQ29sb3IHAAAAEkRhdGFPYmplY3QrbVBhcmVudBVEYXRhT2JqZWN0K21Db250YWluZXIFbVR5cGUEbVJHQhBtVGhlbWVDb2xvckluZGV4DG1BdXRvVXBkYXRlZAltTW9kaWZpZWQEAgAAAAAAH0FwbG9yaXMuQmFzZS5PYmplY3RzLkxpbmVGb3JtYXQDAAAACAgIAQEDAAAACYUCAAAKAQAAAAAAAAD/////AAEP0gMAAAEAAAAIKAIAAAHTAwAAeAAAAAoKAAAAAAAAAAANAAAAAAAB1AMAAHgAAAAKCgAAAAAAAAAADQAAAAABB9UDAAAAAQAAAAQAAAAEHUFwbG9yaXMuQmFzZS5PYmplY3RzLlZhcmlhYmxlAwAAAAGWBAAAFwQAAAEAAAAAAAAAAZcEAAAXBAAAAAAAAAAAAAABmAQAABcEAAAAAAAAAAAAAAGZBAAAFwQAAAAAAAAAAAAAD9YDAAABAAAACCsAAAAB1wMAAHgAAAAKCgAAAAAAAAAADQAAAAAABdgDAAAaQXBsb3Jpcy5CYXNlLk9iamVjdHMuQ29sb3IHAAAAEkRhdGFPYmplY3QrbVBhcmVudBVEYXRhT2JqZWN0K21Db250YWluZXIFbVR5cGUEbVJHQhBtVGhlbWVDb2xvckluZGV4DG1BdXRvVXBkYXRlZAltTW9kaWZpZWQEAgAAAAAAH0FwbG9yaXMuQmFzZS5PYmplY3RzLkxpbmVGb3JtYXQDAAAACAgIAQEDAAAACZQCAAAKAQAAAAAAAAD/////AAEP2QMAAAEAAAAIJgIAAAHaAwAAeAAAAAoKAAAAAAAAAAANAAAAAAAB2wMAAHgAAAAKCgAAAAAAAAAADQAAAAABB9wDAAAAAQAAAAQAAAAEHUFwbG9yaXMuQmFzZS5PYmplY3RzLlZhcmlhYmxlAwAAAAGaBAAAFwQAAAEAAAAAAAAAAZsEAAAXBAAAAAAAAAAAAAABnAQAABcEAAAAAAAAAAAAAAGdBAAAFwQAAAAAAAAAAAAAD90DAAABAAAACCoAAAAB3gMAAHgAAAAKCgAAAAAAAAAADQAAAAAABd8DAAAaQXBsb3Jpcy5CYXNlLk9iamVjdHMuQ29sb3IHAAAAEkRhdGFPYmplY3QrbVBhcmVudBVEYXRhT2JqZWN0K21Db250YWluZXIFbVR5cGUEbVJHQhBtVGhlbWVDb2xvckluZGV4DG1BdXRvVXBkYXRlZAltTW9kaWZpZWQEAgAAAAAAH0FwbG9yaXMuQmFzZS5PYmplY3RzLkxpbmVGb3JtYXQDAAAACAgIAQEDAAAACaMCAAAKAQAAAAAAAAD/////AAEP4AMAAAEAAAAIJwIAAAHhAwAAeAAAAAoKAAAAAAAAAAANAAAAAAAB4gMAAHgAAAAKCgAAAAAAAAAADQAAAAABB+MDAAAAAQAAAAQAAAAEHUFwbG9yaXMuQmFzZS5PYmplY3RzLlZhcmlhYmxlAwAAAAGeBAAAFwQAAAEAAAAAAAAAAZ8EAAAXBAAAAAAAAAAAAAABoAQAABcEAAAAAAAAAAAAAAGhBAAAFwQAAAAAAAAAAAAAD+QDAAABAAAACCcAAAAB5QMAAHgAAAAKCgAAAAAAAAAADQAAAAAABeYDAAAaQXBsb3Jpcy5CYXNlLk9iamVjdHMuQ29sb3IHAAAAEkRhdGFPYmplY3QrbVBhcmVudBVEYXRhT2JqZWN0K21Db250YWluZXIFbVR5cGUEbVJHQhBtVGhlbWVDb2xvckluZGV4DG1BdXRvVXBkYXRlZAltTW9kaWZpZWQEAgAAAAAAH0FwbG9yaXMuQmFzZS5PYmplY3RzLkxpbmVGb3JtYXQDAAAACAgIAQEDAAAACbICAAAKAQAAAAAAAAD/////AAEP5wMAAAEAAAAIIgIAAAHoAwAAeAAAAAoKAAAAAAAAAAANAAAAAAAB6QMAAHgAAAAKCgAAAAAAAAAADQAAAAABB+oDAAAAAQAAAAQAAAAEHUFwbG9yaXMuQmFzZS5PYmplY3RzLlZhcmlhYmxlAwAAAAGiBAAAFwQAAAEAAAAAAAAAAaMEAAAXBAAAAAAAAAAAAAABpAQAABcEAAAAAAAAAAAAAAGlBAAAFwQAAAAAAAAAAAAAD+sDAAABAAAACCkAAAAB7AMAAHgAAAAKCgAAAAAAAAAADQAAAAAABe0DAAAaQXBsb3Jpcy5CYXNlLk9iamVjdHMuQ29sb3IHAAAAEkRhdGFPYmplY3QrbVBhcmVudBVEYXRhT2JqZWN0K21Db250YWluZXIFbVR5cGUEbVJHQhBtVGhlbWVDb2xvckluZGV4DG1BdXRvVXBkYXRlZAltTW9kaWZpZWQEAgAAAAAAH0FwbG9yaXMuQmFzZS5PYmplY3RzLkxpbmVGb3JtYXQDAAAACAgIAQEDAAAACcECAAAKAQAAAAAAAAD/////AAEP7gMAAAEAAAAIJAIAAAHvAwAAeAAAAAoKAAAAAAAAAAANAAAAAAAB8AMAAHgAAAAKCgAAAAAAAAAADQAAAAABB/EDAAAAAQAAAAQAAAAEHUFwbG9yaXMuQmFzZS5PYmplY3RzLlZhcmlhYmxlAwAAAAGmBAAAFwQAAAEAAAAAAAAAAacEAAAXBAAAAAAAAAAAAAABqAQAABcEAAAAAAAAAAAAAAGpBAAAFwQAAAAAAAAAAAAAD/IDAAABAAAACCgAAAAB8wMAAHgAAAAKCgAAAAAAAAAADQAAAAAABfQDAAAaQXBsb3Jpcy5CYXNlLk9iamVjdHMuQ29sb3IHAAAAEkRhdGFPYmplY3QrbVBhcmVudBVEYXRhT2JqZWN0K21Db250YWluZXIFbVR5cGUEbVJHQhBtVGhlbWVDb2xvckluZGV4DG1BdXRvVXBkYXRlZAltTW9kaWZpZWQEAgAAAAAAH0FwbG9yaXMuQmFzZS5PYmplY3RzLkxpbmVGb3JtYXQDAAAACAgIAQEDAAAACdACAAAKAQAAAAAAAAD/////AAEP9QMAAAEAAAAILAIAAAH2AwAAeAAAAAoKAAAAAAAAAAANAAAAAAAB9wMAAHgAAAAKCgAAAAAAAAAADQAAAAABB/gDAAAAAQAAAAQAAAAEHUFwbG9yaXMuQmFzZS5PYmplY3RzLlZhcmlhYmxlAwAAAAGqBAAAFwQAAAEAAAAAAAAAAasEAAAXBAAAAAAAAAAAAAABrAQAABcEAAAAAAAAAAAAAAGtBAAAFwQAAAAAAAAAAAAAD/kDAAABAAAACCwAAAAB+gMAAHgAAAAKCgAAAAAAAAAADQAAAAAABfsDAAAaQXBsb3Jpcy5CYXNlLk9iamVjdHMuQ29sb3IHAAAAEkRhdGFPYmplY3QrbVBhcmVudBVEYXRhT2JqZWN0K21Db250YWluZXIFbVR5cGUEbVJHQhBtVGhlbWVDb2xvckluZGV4DG1BdXRvVXBkYXRlZAltTW9kaWZpZWQEAgAAAAAAH0FwbG9yaXMuQmFzZS5PYmplY3RzLkxpbmVGb3JtYXQDAAAACAgIAQEDAAAACd8CAAAKAQAAAAAAAAD/////AAEP/AMAAAEAAAAIKgIAAAH9AwAAeAAAAAoKAAAAAAAAAAANAAAAAAAB/gMAAHgAAAAKCgAAAAAAAAAADQAAAAABB/8DAAAAAQAAAAQAAAAEHUFwbG9yaXMuQmFzZS5PYmplY3RzLlZhcmlhYmxlAwAAAAGuBAAAFwQAAAEAAAAAAAAAAa8EAAAXBAAAAAAAAAAAAAABsAQAABcEAAAAAAAAAAAAAAGxBAAAFwQAAAAAAAAAAAAADwAEAAABAAAACC0AAAABAQQAAHgAAAAKCgAAAAAAAAAADQAAAAAABQIEAAAaQXBsb3Jpcy5CYXNlLk9iamVjdHMuQ29sb3IHAAAAEkRhdGFPYmplY3QrbVBhcmVudBVEYXRhT2JqZWN0K21Db250YWluZXIFbVR5cGUEbVJHQhBtVGhlbWVDb2xvckluZGV4DG1BdXRvVXBkYXRlZAltTW9kaWZpZWQEAgAAAAAAH0FwbG9yaXMuQmFzZS5PYmplY3RzLkxpbmVGb3JtYXQDAAAACAgIAQEDAAAACe4CAAAKAQAAAAAAAAD/////AAEPAwQAAAEAAAAIKwIAAAEEBAAAeAAAAAoKAAAAAAAAAAANAAAAAAABBQQAAHgAAAAKCgAAAAAAAAAADQAAAAABBwYEAAAAAQAAAAQAAAAEHUFwbG9yaXMuQmFzZS5PYmplY3RzLlZhcmlhYmxlAwAAAAGyBAAAFwQAAAEAAAAAAAAAAbMEAAAXBAAAAAAAAAAAAAABtAQAABcEAAAAAAAAAAAAAAG1BAAAFwQAAAAAAAAAAAAADwcEAAABAAAACCUAAAABCAQAAHgAAAAKCgAAAAAAAAAADQAAAAAABQkEAAAaQXBsb3Jpcy5CYXNlLk9iamVjdHMuQ29sb3IHAAAAEkRhdGFPYmplY3QrbVBhcmVudBVEYXRhT2JqZWN0K21Db250YWluZXIFbVR5cGUEbVJHQhBtVGhlbWVDb2xvckluZGV4DG1BdXRvVXBkYXRlZAltTW9kaWZpZWQEAgAAAAAAH0FwbG9yaXMuQmFzZS5PYmplY3RzLkxpbmVGb3JtYXQDAAAACAgIAQEDAAAACf0CAAAKAQAAAAAAAAD/////AAEPCgQAAAEAAAAIKQIAAAELBAAAeAAAAAoKAAAAAAAAAAANAAAAAAABDAQAAHgAAAAKCgAAAAAAAAAADQAAAAABBw0EAAAAAQAAAAQAAAAEHUFwbG9yaXMuQmFzZS5PYmplY3RzLlZhcmlhYmxlAwAAAAG2BAAAFwQAAAEAAAAAAAAAAbcEAAAXBAAAAAAAAAAAAAABuAQAABcEAAAAAAAAAAAAAAG5BAAAFwQAAAAAAAAAAAAADw4EAAABAAAACCQAAAAFDwQ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m6BAAACbsEAAAKCbwEAAAKCQcBAAAIBu4gWieaGes/CgAAAAAJvQQAAAm+BAAAAAAAAAAJvwQAAAkHAQAACQEAAAAJwAQAAAEQBAAADwQAAAnBBAAACcIEAAAKCcMEAAAKCQcBAAAIBqi4pVFdodY/CgEAAAAJxAQAAAnFBAAAAAAAAAAJxgQAAAkHAQAACQEAAAAJxwQAAAERBAAADwQAAAnIBAAACckEAAAKCcoEAAAKCQcBAAAIBs92OQk/rtM/CgIAAAAJywQAAAnMBAAAAAAAAAAJzQQAAAkHAQAACQEAAAAJzgQAAAESBAAADwQAAAnPBAAACdAEAAAKCdEEAAAKCQcBAAAIBoraCdHqSdU/CgMAAAAJ0gQAAAnTBAAAAAAAAAAJ1AQAAAkHAQAACQEAAAAJ1QQAAAETBAAADwQAAAnWBAAACdcEAAAKCdgEAAAKCQcBAAAIBi1wdjU229A/CgQAAAAJ2QQAAAnaBAAAAAAAAAAJ2wQAAAkHAQAACQEAAAAJ3AQAAAEUBAAADwQAAAndBAAACd4EAAAKCd8EAAAKCQcBAAAIBvF8L3wHk9U/CgUAAAAJ4AQAAAnhBAAAAAAAAAAJ4gQAAAkHAQAACQEAAAAJ4wQAAAEVBAAADwQAAAnkBAAACeUEAAAKCeYEAAAKCQcBAAAIBhF3CaQDP9o/CgYAAAAJ5wQAAAnoBAAAAAAAAAAJ6QQAAAkHAQAACQEAAAAJ6gQAAAEWBAAADwQAAAnrBAAACewEAAAKCe0EAAAKCQcBAAAIBkmiFKzgz9g/CgcAAAAJ7gQAAAnvBAAAAAAAAAAJ8AQAAAkHAQAACQEAAAAJ8QQAAAEbBAAADwQAAAnyBAAACfMEAAAKCfQEAAAKCQgBAAAIBv6sy9rcyME/CgAAAAAJ9QQAAAn2BAAAAAAAAAAJ9wQAAAkIAQAACQEAAAAJ+AQAAAEcBAAADwQAAAn5BAAACfoEAAAKCfsEAAAKCQgBAAAIBsavlmZkH+E/CgEAAAAJ/AQAAAn9BAAAAAAAAAAJ/gQAAAkIAQAACQEAAAAJ/wQAAAEdBAAADwQAAAkABQAACQEFAAAKCQIFAAAKCQgBAAAIBu7rWRXIPOI/CgIAAAAJAwUAAAkEBQAAAAAAAAAJBQUAAAkIAQAACQEAAAAJBgUAAAEeBAAADwQAAAkHBQAACQgFAAAKCQkFAAAKCQgBAAAIBh+1bGePK+E/CgMAAAAJCgUAAAkLBQAAAAAAAAAJDAUAAAkIAQAACQEAAAAJDQUAAAEfBAAADwQAAAkOBQAACQ8FAAAKCRAFAAAKCQgBAAAIBh2sIM2SIuU/CgQAAAAJEQUAAAkSBQAAAAAAAAAJEwUAAAkIAQAACQEAAAAJFAUAAAEgBAAADwQAAAkVBQAACRYFAAAKCRcFAAAKCQgBAAAIBn8+B8w4sOE/CgUAAAAJGAUAAAkZBQAAAAAAAAAJGgUAAAkIAQAACQEAAAAJGwUAAAEhBAAADwQAAAkcBQAACR0FAAAKCR4FAAAKCQgBAAAIBk4GlN/Qcd8/CgYAAAAJHwUAAAkgBQAAAAAAAAAJIQUAAAkIAQAACQEAAAAJIgUAAAEiBAAADwQAAAkjBQAACSQFAAAKCSUFAAAKCQgBAAAIBt+CnsqyfOA/CgcAAAAJJgUAAAknBQAAAAAAAAAJKAUAAAkIAQAACQEAAAAJKQUAAAEnBAAADwQAAAkqBQAACSsFAAAKCSwFAAAKCQkBAAAIBtb3vHyoC40/CgAAAAAJLQUAAAkuBQAAAAAAAAAJLwUAAAkJAQAACQEAAAAJMAUAAAEoBAAADwQAAAkxBQAACTIFAAAKCTMFAAAKCQkBAAAIBmWgs4Rnf7w/CgEAAAAJNAUAAAk1BQAAAAAAAAAJNgUAAAkJAQAACQEAAAAJNwUAAAEpBAAADwQAAAk4BQAACTkFAAAKCToFAAAKCQkBAAAIBkbFSjDDYL8/CgIAAAAJOwUAAAk8BQAAAAAAAAAJPQUAAAkJAQAACQEAAAAJPgUAAAEqBAAADwQAAAk/BQAACUAFAAAKCUEFAAAKCQkBAAAIBpN2OcDsvcA/CgMAAAAJQgUAAAlDBQAAAAAAAAAJRAUAAAkJAQAACQEAAAAJRQUAAAErBAAADwQAAAlGBQAACUcFAAAKCUgFAAAKCQkBAAAIBmzeIMGQfrM/CgQAAAAJSQUAAAlKBQAAAAAAAAAJSwUAAAkJAQAACQEAAAAJTAUAAAEsBAAADwQAAAlNBQAACU4FAAAKCU8FAAAKCQkBAAAIBn8YCK8bMrw/CgUAAAAJUAUAAAlRBQAAAAAAAAAJUgUAAAkJAQAACQEAAAAJUwUAAAEtBAAADwQAAAlUBQAACVUFAAAKCVYFAAAKCQkBAAAIBgwKivGtPLk/CgYAAAAJVwUAAAlYBQAAAAAAAAAJWQUAAAkJAQAACQEAAAAJWgUAAAEuBAAADwQAAAlbBQAACVwFAAAKCV0FAAAKCQkBAAAIBmNfufrm2rg/CgcAAAAJXgUAAAlfBQAAAAAAAAAJYAUAAAkJAQAACQEAAAAJYQUAAAEzBAAAeAAAAAoKAAAAAAAAAAANAAAAAAEBNAQAAHgAAAAKCgEAAAAAAAAA/////wABBzUEAAAAAQAAAAQAAAAEHUFwbG9yaXMuQmFzZS5PYmplY3RzLlZhcmlhYmxlAwAAAAFiBQAAFwQAAAAAAAAAAAAAAWMFAAAXBAAAAAAAAAAAAAABZAUAABcEAAAAAAAAAAAAAAFlBQAAFwQAAAAAAAAAAAAADzYEAAABAAAACAAAAAABOwQAAHgAAAAKCgAAAAAAAAAADQAAAAABATwEAAB4AAAACgoBAAAAAAAAAP////8AAQc9BAAAAAEAAAAEAAAABB1BcGxvcmlzLkJhc2UuT2JqZWN0cy5WYXJpYWJsZQMAAAABZgUAABcEAAAAAAAAAAAAAAFnBQAAFwQAAAAAAAAAAAAAAWgFAAAXBAAAAAAAAAAAAAABaQUAABcEAAAAAAAAAAAAAA8+BAAAAQAAAAgAAAAAAUMEAAB4AAAACgoAAAAAAAAAAA0AAAAAAQFEBAAAeAAAAAoKAQAAAAAAAAD/////AAEHRQQAAAABAAAABAAAAAQdQXBsb3Jpcy5CYXNlLk9iamVjdHMuVmFyaWFibGUDAAAAAWoFAAAXBAAAAAAAAAAAAAABawUAABcEAAAAAAAAAAAAAAFsBQAAFwQAAAAAAAAAAAAAAW0FAAAXBAAAAAAAAAAAAAAPRgQAAAEAAAAIAAAAAAFLBAAAeAAAAAoKAAAAAAAAAAANAAAAAAEBTAQAAHgAAAAKCgEAAAAAAAAA/////wABB00EAAAAAQAAAAQAAAAEHUFwbG9yaXMuQmFzZS5PYmplY3RzLlZhcmlhYmxlAwAAAAFuBQAAFwQAAAAAAAAAAAAAAW8FAAAXBAAAAAAAAAAAAAABcAUAABcEAAAAAAAAAAAAAAFxBQAAFwQAAAAAAAAAAAAAD04EAAABAAAACAAAAAABUwQAAHgAAAAKCgAAAAAAAAAADQAAAAABAVQEAAB4AAAACgoBAAAAAAAAAP////8AAQdVBAAAAAEAAAAEAAAABB1BcGxvcmlzLkJhc2UuT2JqZWN0cy5WYXJpYWJsZQMAAAABcgUAABcEAAAAAAAAAAAAAAFzBQAAFwQAAAAAAAAAAAAAAXQFAAAXBAAAAAAAAAAAAAABdQUAABcEAAAAAAAAAAAAAA9WBAAAAQAAAAgAAAAAAVsEAAB4AAAACgoAAAAAAAAAAA0AAAAAAQFcBAAAeAAAAAoKAQAAAAAAAAD/////AAEHXQQAAAABAAAABAAAAAQdQXBsb3Jpcy5CYXNlLk9iamVjdHMuVmFyaWFibGUDAAAAAXYFAAAXBAAAAAAAAAAAAAABdwUAABcEAAAAAAAAAAAAAAF4BQAAFwQAAAAAAAAAAAAAAXkFAAAXBAAAAAAAAAAAAAAPXgQAAAEAAAAIAAAAAAFjBAAAeAAAAAoKAAAAAAAAAAANAAAAAAEBZAQAAHgAAAAKCgEAAAAAAAAA/////wABB2UEAAAAAQAAAAQAAAAEHUFwbG9yaXMuQmFzZS5PYmplY3RzLlZhcmlhYmxlAwAAAAF6BQAAFwQAAAAAAAAAAAAAAXsFAAAXBAAAAAAAAAAAAAABfAUAABcEAAAAAAAAAAAAAAF9BQAAFwQAAAAAAAAAAAAAD2YEAAABAAAACAAAAAABawQAAHgAAAAKCgAAAAAAAAAADQAAAAABAWwEAAB4AAAACgoBAAAAAAAAAP////8AAQdtBAAAAAEAAAAEAAAABB1BcGxvcmlzLkJhc2UuT2JqZWN0cy5WYXJpYWJsZQMAAAABfgUAABcEAAAAAAAAAAAAAAF/BQAAFwQAAAAAAAAAAAAAAYAFAAAXBAAAAAAAAAAAAAABgQUAABcEAAAAAAAAAAAAAA9uBAAAAQAAAAgAAAAAAXMEAAB4AAAACgoAAAAAAAAAAA0AAAAAAAF0BAAAeAAAAAoKAQAAAAAAAAD/////AAEHdQQAAAABAAAABAAAAAQdQXBsb3Jpcy5CYXNlLk9iamVjdHMuVmFyaWFibGUDAAAAAYIFAAAXBAAAAQAAAAAAAAABgwUAABcEAAAAAAAAAAAAAAGEBQAAFwQAAAAAAAAAAAAAAYUFAAAXBAAAAAAAAAAAAAAPdgQAAAEAAAAIoAEAAAF3BAAAeAAAAAoKAAAAAP///wAOAAAAAAAFeAQAABpBcGxvcmlzLkJhc2UuT2JqZWN0cy5Db2xvcgcAAAASRGF0YU9iamVjdCttUGFyZW50FURhdGFPYmplY3QrbUNvbnRhaW5lcgVtVHlwZQRtUkdCEG1UaGVtZUNvbG9ySW5kZXgMbUF1dG9VcGRhdGVkCW1Nb2RpZmllZAQCAAAAAAAfQXBsb3Jpcy5CYXNlLk9iamVjdHMuTGluZUZvcm1hdAMAAAAICAgBAQMAAAAJlgMAAAoBAAAAAAAAAP////8AAQF5BAAAeAAAAAoKAAAAAD9pfgAFAAAAAAABegQAAHgAAAAKCgEAAAD///8A/////wAAD3sEAAABAAAACKIBAAABfAQAAHgAAAAKCgAAAAAAAAAADQAAAAAAAX0EAAB4AAAACgoBAAAAAAAAAP////8AAQd+BAAAAAEAAAAEAAAABB1BcGxvcmlzLkJhc2UuT2JqZWN0cy5WYXJpYWJsZQMAAAABhgUAABcEAAABAAAAAAAAAAGHBQAAFwQAAAAAAAAAAAAAAYgFAAAXBAAAAAAAAAAAAAABiQUAABcEAAAAAAAAAAAAAA9/BAAAAQAAAAieAQAAAYAEAAB4AAAACgoAAAAA////AA4AAAAAAAWBBAAAGkFwbG9yaXMuQmFzZS5PYmplY3RzLkNvbG9yBwAAABJEYXRhT2JqZWN0K21QYXJlbnQVRGF0YU9iamVjdCttQ29udGFpbmVyBW1UeXBlBG1SR0IQbVRoZW1lQ29sb3JJbmRleAxtQXV0b1VwZGF0ZWQJbU1vZGlmaWVkBAIAAAAAAB9BcGxvcmlzLkJhc2UuT2JqZWN0cy5MaW5lRm9ybWF0AwAAAAgICAEBAwAAAAmpAwAACgEAAAAAAAAA/////wABAYIEAAB4AAAACgoAAAAAcoSMAAYAAAAAAAGDBAAAeAAAAAoKAQAAAP///wD/////AAAPhAQAAAEAAAAIowEAAAGFBAAAeAAAAAoKAAAAAAAAAAANAAAAAAABhgQAAHgAAAAKCgEAAAAAAAAA/////wABB4cEAAAAAQAAAAQAAAAEHUFwbG9yaXMuQmFzZS5PYmplY3RzLlZhcmlhYmxlAwAAAAGKBQAAFwQAAAEAAAAAAAAAAYsFAAAXBAAAAAAAAAAAAAABjAUAABcEAAAAAAAAAAAAAAGNBQAAFwQAAAAAAAAAAAAAD4gEAAABAAAACJ8BAAABiQQAAHgAAAAKCgAAAAD///8ADgAAAAAABYoEAAAaQXBsb3Jpcy5CYXNlLk9iamVjdHMuQ29sb3IHAAAAEkRhdGFPYmplY3QrbVBhcmVudBVEYXRhT2JqZWN0K21Db250YWluZXIFbVR5cGUEbVJHQhBtVGhlbWVDb2xvckluZGV4DG1BdXRvVXBkYXRlZAltTW9kaWZpZWQEAgAAAAAAH0FwbG9yaXMuQmFzZS5PYmplY3RzLkxpbmVGb3JtYXQDAAAACAgIAQEDAAAACbsDAAAKAQAAAAAAAAD/////AAEBiwQAAHgAAAAKCgAAAADtISUABwAAAAAAAYwEAAB4AAAACgoBAAAA////AP////8AAA+NBAAAAQAAAAihAQAAAboEAAAoAQAAClgCAAABjgUAAL0BAAACAAAAAY8FAAC+AQAAAQAAAAGQBQAAFQAAAPRSakLlRFBC+JEGQuQnM0MBkQUAAMABAAAAAAAAAACgQAABkgUAACEAAAD4zZZCK6UNQwGTBQAAoAAAAAAAAAAAAAAAAAAAAAAJlAUAAAAAAAAJlQUAAAAAAZYFAACpAAAAAAAAAAGXBQAAcgAAAAAAuEEAAEBBAZgFAAAVAAAAo4t+QhddCEM0Fr9Bo4suQRKDvj8GmQUAAAM4NSUKCZoFAAAJyQEAADQDAAD/////AQEKCZsFAAABAAoBAbsEAAAcAAAAAZwFAAAhAAAA9FJeQh05akMBnQUAACEAAAB2cr5C5UREQgmeBQAACZ8FAAAAAAAACgGgBQAAcgAAAAAAAAAAAAAAAaEFAAByAAAAAAAAAAAAAAAAAAAAAaIFAAAVAAAAAAAAAAAAAAAAAAAAAAAAAKQBAAD/////AQEKCaMFAAABAAoAB7wEAAAAAQAAAAIAAAAEGkFwbG9yaXMuQmFzZS5VSS5WaXN1YWxMaW5lAwAAAAoKB70EAAAAAQAAAAMAAAAEFVN5c3RlbS5EcmF3aW5nLlBvaW50RgQAAAABpAUAACEAAAD4zZZCK6UNQwGlBQAAIQAAAPRSUkIrpQ1DAaYFAAAhAAAAdnLEQiulDUMHvgQAAAABAAAAAwAAAAQXQXBsb3Jpcy5CYXNlLkFuY2hvck1vZGUDAAAAAacFAACgAAAAAAAAAAGoBQAAoAAAAAIAAAABqQUAAKAAAAAEAAAAAb8EAAAlAAAACdkAAAAAAAAAAAAAAAHABAAAJgAAAAmqBQAAAgAAAA4AAAABwQQAACgBAAAKWAIAAAGrBQAAvQEAAAIAAAABrAUAAL4BAAABAAAAAa0FAAAVAAAA6285QxHqH0P4kQZCGJ6OQgGuBQAAwAEAAAAAAAAAAKBAAAGvBQAAIQAAACpCSkOXkUNDAbAFAACgAAAAAAAAAAAAAAAAAAAAAAmxBQAAAAAAAAmyBQAAAAABswUAAKkAAAAAAAAAAbQFAAByAAAAAAC4QQAAQEEBtQUAABUAAAAAAD5DAAA+QzQWv0Gjiy5BEoO+Pwa2BQAAAzM1JQoJtwUAAAnJAQAANAMAAP////8BAQoJuAUAAAEACgEBwgQAABwAAAABuQUAACEAAADrbzZDHTlqQwG6BQAAIQAAAGkUXkMR6hxDCbsFAAAJvAUAAAAAAAAKAb0FAAByAAAAAAAAAAAAAAABvgUAAHIAAAAAAAAAAAAAAAAAAAABvwUAABUAAAAAAAAAAAAAAAAAAAAAAAAApAEAAP////8BAQoJwAUAAAEACgAHwwQAAAABAAAAAgAAAAQaQXBsb3Jpcy5CYXNlLlVJLlZpc3VhbExpbmUDAAAACgoHxAQAAAABAAAAAwAAAAQVU3lzdGVtLkRyYXdpbmcuUG9pbnRGBAAAAAHBBQAAIQAAACpCSkOXkUNDAcIFAAAhAAAA628zQ5eRQ0MBwwUAACEAAABpFGFDl5FDQwfFBAAAAAEAAAADAAAABBdBcGxvcmlzLkJhc2UuQW5jaG9yTW9kZQMAAAABxAUAAKAAAAAAAAAAAcUFAACgAAAAAgAAAAHGBQAAoAAAAAQAAAABxgQAACUAAAAJEgIAAAAAAAAAAAAAAccEAAAmAAAACccFAAACAAAAAgAAAAHIBAAAKAEAAApYAgAAAcgFAAC9AQAAAgAAAAHJBQAAvgEAAAEAAAABygUAABUAAACB3XhDq/0pQ/yRBkLI7XRCAcsFAADAAQAAAAAAAAAAoEAAAcwFAAAhAAAA4NeEQ2SbSEMBzQUAAKAAAAAAAAAAAAAAAAAAAAAACc4FAAAAAAAACc8FAAAAAAHQBQAAqQAAAAAAAAAB0QUAAHIAAAAAALhBAABAQQHSBQAAFQAAAOiifUNddENDNBa/QaOLLkESg74/BtMFAAADMzElCgnUBQAACckBAAA0AwAA/////wEBCgnVBQAAAQAKAQHJBAAAHAAAAAHWBQAAIQAAAIHddUMdOWpDAdcFAAAhAAAAAMGOQ6v9JkMJ2AUAAAnZBQAAAAAAAAoB2gUAAHIAAAAAAAAAAAAAAAHbBQAAcgAAAAAAAAAAAAAAAAAAAAHcBQAAFQAAAAAAAAAAAAAAAAAAAAAAAACkAQAA/////wEBCgndBQAAAQAKAAfKBAAAAAEAAAACAAAABBpBcGxvcmlzLkJhc2UuVUkuVmlzdWFsTGluZQMAAAAKCgfLBAAAAAEAAAADAAAABBVTeXN0ZW0uRHJhd2luZy5Qb2ludEYEAAAAAd4FAAAhAAAA4NeEQ2SbSEMB3wUAACEAAACB3XJDZJtIQwHgBQAAIQAAAABBkENkm0hDB8wEAAAAAQAAAAMAAAAEF0FwbG9yaXMuQmFzZS5BbmNob3JNb2RlAwAAAAHhBQAAoAAAAAAAAAAB4gUAAKAAAAACAAAAAeMFAACgAAAABAAAAAHNBAAAJQAAAAkeAgAAAAAAAAAAAAABzgQAACYAAAAJ5AUAAAIAAAACAAAAAc8EAAAoAQAAClgCAAAB5QUAAL0BAAACAAAAAeYFAAC+AQAAAQAAAAHnBQAAFQAAAIwlnENWfyRDAJIGQo5zhUIB6AUAAMABAAAAAAAAAACgQAAB6QUAACEAAACsjqRDOtxFQwHqBQAAoAAAAAAAAAAAAAAAAAAAAAAJ6wUAAAAAAAAJ7AUAAAAAAe0FAACpAAAAAAAAAAHuBQAAcgAAAAAAuEEAAEBBAe8FAAAVAAAA6aKeQy66QEM0Fr9Bo4suQRKDvj8G8AUAAAMzMyUKCfEFAAAJyQEAADQDAAD/////AQEKCfIFAAABAAoBAdAEAAAcAAAAAfMFAAAhAAAAjKWaQx05akMB9AUAACEAAADMd65DVn8hQwn1BQAACfYFAAAAAAAACgH3BQAAcgAAAAAAAAAAAAAAAfgFAAByAAAAAAAAAAAAAAAAAAAAAfkFAAAVAAAAAAAAAAAAAAAAAAAAAAAAAKQBAAD/////AQEKCfoFAAABAAoAB9EEAAAAAQAAAAIAAAAEGkFwbG9yaXMuQmFzZS5VSS5WaXN1YWxMaW5lAwAAAAoKB9IEAAAAAQAAAAMAAAAEFVN5c3RlbS5EcmF3aW5nLlBvaW50RgQAAAAB+wUAACEAAACsjqRDOtxFQwH8BQAAIQAAAIwlmUM63EVDAf0FAAAhAAAAzPevQzrcRUMH0wQAAAABAAAAAwAAAAQXQXBsb3Jpcy5CYXNlLkFuY2hvck1vZGUDAAAAAf4FAACgAAAAAAAAAAH/BQAAoAAAAAIAAAABAAYAAKAAAAAEAAAAAdQEAAAlAAAACSoCAAAAAAAAAAAAAAHVBAAAJgAAAAkBBgAAAgAAAAIAAAAB1gQAACgBAAAKWAIAAAECBgAAvQEAAAIAAAABAwYAAL4BAAABAAAAAQQGAAAVAAAAWNy7Q6ujM0MAkgZCyFVOQgEFBgAAwAEAAAAAAAAAAKBAAAEGBgAAIQAAAHhFxENkbk1DAQcGAACgAAAAAAAAAAAAAAAAAAAAAAkIBgAAAAAAAAkJBgAAAAABCgYAAKkAAAAAAAAAAQsGAAByAAAAAAC4QQAAQEEBDAYAABUAAABddL5DAABIQzQWv0Gjiy5BEoO+PwYNBgAAAzI2JQoJDgYAAAnJAQAANAMAAP////8BAQoJDwYAAAEACgEB1wQAABwAAAABEAYAACEAAABYXLpDHTlqQwERBgAAIQAAAJguzkOrozBDCRIGAAAJEwYAAAAAAAAKARQGAAByAAAAAAAAAAAAAAABFQYAAHIAAAAAAAAAAAAAAAAAAAABFgYAABUAAAAAAAAAAAAAAAAAAAAAAAAApAEAAP////8BAQoJFwYAAAEACgAH2AQAAAABAAAAAgAAAAQaQXBsb3Jpcy5CYXNlLlVJLlZpc3VhbExpbmUDAAAACgoH2QQAAAABAAAAAwAAAAQVU3lzdGVtLkRyYXdpbmcuUG9pbnRGBAAAAAEYBgAAIQAAAHhFxENkbk1DARkGAAAhAAAAWNy4Q2RuTUMBGgYAACEAAACYrs9DZG5NQwfaBAAAAAEAAAADAAAABBdBcGxvcmlzLkJhc2UuQW5jaG9yTW9kZQMAAAABGwYAAKAAAAAAAAAAARwGAACgAAAAAgAAAAEdBgAAoAAAAAQAAAAB2wQAACUAAAAJKgIAAAAAAAAAAAAAAdwEAAAmAAAACR4GAAACAAAAAgAAAAHdBAAAKAEAAApYAgAAAR8GAAC9AQAAAgAAAAEgBgAAvgEAAAEAAAABIQYAABUAAAAjk9tDk4UjQwCSBkIUZ4dCASIGAADAAQAAAAAAAAAAoEAAASMGAAAhAAAAQ/zjQ1hfRUMBJAYAAKAAAAAAAAAAAAAAAAAAAAAACSUGAAAAAAAACSYGAAAAAAEnBgAAqQAAAAAAAAABKAYAAHIAAAAAALhBAABAQQEpBgAAFQAAAHTR3UN00T9DNBa/QaOLLkESg74/BioGAAADMzQlCgkrBgAACckBAAA0AwAA/////wEBCgksBgAAAQAKAQHeBAAAHAAAAAEtBgAAIQAAACMT2kMdOWpDAS4GAAAhAAAAY+XtQ5OFIEMJLwYAAAkwBgAAAAAAAAoBMQYAAHIAAAAAAAAAAAAAAAEyBgAAcgAAAAAAAAAAAAAAAAAAAAEzBgAAFQAAAAAAAAAAAAAAAAAAAAAAAACkAQAA/////wEBCgk0BgAAAQAKAAffBAAAAAEAAAACAAAABBpBcGxvcmlzLkJhc2UuVUkuVmlzdWFsTGluZQMAAAAKCgfgBAAAAAEAAAADAAAABBVTeXN0ZW0uRHJhd2luZy5Qb2ludEYEAAAAATUGAAAhAAAAQ/zjQ1hfRUMBNgYAACEAAAAjk9hDWF9FQwE3BgAAIQAAAGNl70NYX0VDB+EEAAAAAQAAAAMAAAAEF0FwbG9yaXMuQmFzZS5BbmNob3JNb2RlAwAAAAE4BgAAoAAAAAAAAAABOQYAAKAAAAACAAAAAToGAACgAAAABAAAAAHiBAAAJQAAAAkeAgAAAAAAAAAAAAAB4wQAACYAAAAJOwYAAAIAAAACAAAAAeQEAAAoAQAAClgCAAABPAYAAL0BAAACAAAAAT0GAAC+AQAAAQAAAAE+BgAAFQAAAO5J+0PmjxNDAJIGQm5Sp0IBPwYAAMABAAAAAAAAAACgQAABQAYAACEAAACH2QFEgmQ9QwFBBgAAoAAAAAAAAAAAAAAAAAAAAAAJQgYAAAAAAAAJQwYAAAAAAUQGAACpAAAAAAAAAAFFBgAAcgAAAAAAuEEAAEBBAUYGAAAVAAAA6KL9Q+iiN0M0Fr9Bo4suQRKDvj8GRwYAAAM0MSUKCUgGAAAJyQEAADQDAAD/////AQEKCUkGAAABAAoBAeUEAAAcAAAAAUoGAAAhAAAA7sn5Qx05akMBSwYAACEAAAAXzgZE5o8QQwlMBgAACU0GAAAAAAAACgFOBgAAcgAAAAAAAAAAAAAAAU8GAAByAAAAAAAAAAAAAAAAAAAAAVAGAAAVAAAAAAAAAAAAAAAAAAAAAAAAAKQBAAD/////AQEKCVEGAAABAAoAB+YEAAAAAQAAAAIAAAAEGkFwbG9yaXMuQmFzZS5VSS5WaXN1YWxMaW5lAwAAAAoKB+cEAAAAAQAAAAMAAAAEFVN5c3RlbS5EcmF3aW5nLlBvaW50RgQAAAABUgYAACEAAACH2QFEgmQ9QwFTBgAAIQAAAO5J+EOCZD1DAVQGAAAhAAAAF44HRIJkPUMH6AQAAAABAAAAAwAAAAQXQXBsb3Jpcy5CYXNlLkFuY2hvck1vZGUDAAAAAVUGAACgAAAAAAAAAAFWBgAAoAAAAAIAAAABVwYAAKAAAAAEAAAAAekEAAAlAAAACR4CAAAAAAAAAAAAAAHqBAAAJgAAAAlYBgAAAgAAAAIAAAAB6wQAACgBAAAKWAIAAAFZBgAAvQEAAAIAAAABWgYAAL4BAAABAAAAAVsGAAAVAAAAXYANRBl2GEMAkgZCCIadQgFcBgAAwAEAAAAAAAAAAKBAAAFdBgAAIQAAAO20EUSb1z9DAV4GAACgAAAAAAAAAAAAAAAAAAAAAAlfBgAAAAAAAAlgBgAAAAABYQYAAKkAAAAAAAAAAWIGAAByAAAAAAC4QQAAQEEBYwYAABUAAAAuug5EF106QzQWv0Gjiy5BEoO+PwZkBgAAAzM5JQoJZQYAAAnJAQAANAMAAP////8BAQoJZgYAAAEACgEB7AQAABwAAAABZwYAACEAAABdwAxEHTlqQwFoBgAAIQAAAH2pFkQZdhVDCWkGAAAJagYAAAAAAAAKAWsGAAByAAAAAAAAAAAAAAABbAYAAHIAAAAAAAAAAAAAAAAAAAABbQYAABUAAAAAAAAAAAAAAAAAAAAAAAAApAEAAP////8BAQoJbgYAAAEACgAH7QQAAAABAAAAAgAAAAQaQXBsb3Jpcy5CYXNlLlVJLlZpc3VhbExpbmUDAAAACgoH7gQAAAABAAAAAwAAAAQVU3lzdGVtLkRyYXdpbmcuUG9pbnRGBAAAAAFvBgAAIQAAAO20EUSb1z9DAXAGAAAhAAAAXQAMRJvXP0MBcQYAACEAAAB9aRdEm9c/QwfvBAAAAAEAAAADAAAABBdBcGxvcmlzLkJhc2UuQW5jaG9yTW9kZQMAAAABcgYAAKAAAAAAAAAAAXMGAACgAAAAAgAAAAF0BgAAoAAAAAQAAAAB8AQAACUAAAAJVwIAAAAAAAAAAAAAAfEEAAAmAAAACXUGAAACAAAAAgAAAAHyBAAAKAEAAApYAgAAAXYGAAC9AQAAAgAAAAF3BgAAvgEAAAEAAAABeAYAABUAAAD0UmpCmYStQfiRBkIxBcNBAXkGAADAAQAAAAAAAAAAoEAAAXoGAAAhAAAA+M2WQpmDB0IBewYAAKAAAAAAAAAAAAAAAAAAAAAACXwGAAAAAAAACX0GAAAAAAF+BgAAqQAAAAAAAAABfwYAAHIAAAAAALhBAABAQQGABgAAFQAAAKOLfkJddOFBNBa/QaOLLkESg74/BoEGAAADMTQlCgmCBgAACckBAAA0AwAA/////wEBCgmDBgAAAQAKAQHzBAAAHAAAAAGEBgAAIQAAAPRSXkLlRERCAYUGAAAhAAAAdnK+QpmElUEJhgYAAAmHBgAAAAAAAAoBiAYAAHIAAAAAAAAAAAAAAAGJBgAAcgAAAAAAAAAAAAAAAAAAAAGKBgAAFQAAAAAAAAAAAAAAAAAAAAAAAACkAQAA/////wEBCgmLBgAAAQAKAAf0BAAAAAEAAAACAAAABBpBcGxvcmlzLkJhc2UuVUkuVmlzdWFsTGluZQMAAAAKCgf1BAAAAAEAAAADAAAABBVTeXN0ZW0uRHJhd2luZy5Qb2ludEYEAAAAAYwGAAAhAAAA+M2WQpmDB0IBjQYAACEAAAD0UlJCmYMHQgGOBgAAIQAAAHZyxEKZgwdCB/YEAAAAAQAAAAMAAAAEF0FwbG9yaXMuQmFzZS5BbmNob3JNb2RlAwAAAAGPBgAAoAAAAAAAAAABkAYAAKAAAAACAAAAAZEGAACgAAAABAAAAAH3BAAAJQAAAAmSBgAAAAAAAAAAAAAB+AQAACYAAAAJkwYAAAIAAAAGAAAAAfkEAAAoAQAAClgCAAABlAYAAL0BAAACAAAAAZUGAAC+AQAAAQAAAAGWBgAAFQAAAOtvOUNhtStC+JEGQnL53UIBlwYAAMABAAAAAAAAAACgQAABmAYAACEAAAAqQkpDadfEQgGZBgAAoAAAAAAAAAAAAAAAAAAAAAAJmgYAAAAAAAAJmwYAAAAAAZwGAACpAAAAAAAAAAGdBgAAcgAAAAAAuEEAAEBBAZ4GAAAVAAAAAAA+Q110uUI0Fr9Bo4suQRKDvj8GnwYAAAM1NCUKCaAGAAAJyQEAADQDAAD/////AQEKCaEGAAABAAoBAfoEAAAcAAAAAaIGAAAhAAAA6282QxHqHEMBowYAACEAAABpFF5DYbUfQgmkBgAACaUGAAAAAAAACgGmBgAAcgAAAAAAAAAAAAAAAacGAAByAAAAAAAAAAAAAAAAAAAAAagGAAAVAAAAAAAAAAAAAAAAAAAAAAAAAKQBAAD/////AQEKCakGAAABAAoAB/sEAAAAAQAAAAIAAAAEGkFwbG9yaXMuQmFzZS5VSS5WaXN1YWxMaW5lAwAAAAoKB/wEAAAAAQAAAAMAAAAEFVN5c3RlbS5EcmF3aW5nLlBvaW50RgQAAAABqgYAACEAAAAqQkpDadfEQgGrBgAAIQAAAOtvM0Np18RCAawGAAAhAAAAaRRhQ2nXxEIH/QQAAAABAAAAAwAAAAQXQXBsb3Jpcy5CYXNlLkFuY2hvck1vZGUDAAAAAa0GAACgAAAAAAAAAAGuBgAAoAAAAAIAAAABrwYAAKAAAAAEAAAAAf4EAAAlAAAACRICAAAAAAAAAAAAAAH/BAAAJgAAAAmwBgAAAgAAAAIAAAABAAUAACgBAAAKWAIAAAGxBgAAvQEAAAIAAAABsgYAAL4BAAABAAAAAbMGAAAVAAAAgd14Q1CMNUL8kQZCLjXtQgG0BgAAwAEAAAAAAAAAAKBAAAG1BgAAIQAAAODXhEO/YNFCAbYGAACgAAAAAAAAAAAAAAAAAAAAAAm3BgAAAAAAAAm4BgAAAAABuQYAAKkAAAAAAAAAAboGAAByAAAAAAC4QQAAQEEBuwYAABUAAADoon1Diy7GQjQWv0Gjiy5BEoO+Pwa8BgAAAzU3JQoJvQYAAAnJAQAANAMAAP////8BAQoJvgYAAAEACgEBAQUAABwAAAABvwYAACEAAACB3XVDq/0mQwHABgAAIQAAAADBjkNQjClCCcEGAAAJwgYAAAAAAAAKAcMGAAByAAAAAAAAAAAAAAABxAYAAHIAAAAAAAAAAAAAAAAAAAABxQYAABUAAAAAAAAAAAAAAAAAAAAAAAAApAEAAP////8BAQoJxgYAAAEACgAHAgUAAAABAAAAAgAAAAQaQXBsb3Jpcy5CYXNlLlVJLlZpc3VhbExpbmUDAAAACgoHAwUAAAABAAAAAwAAAAQVU3lzdGVtLkRyYXdpbmcuUG9pbnRGBAAAAAHHBgAAIQAAAODXhEO/YNFCAcgGAAAhAAAAgd1yQ79g0UIByQYAACEAAAAAQZBDv2DRQgcEBQAAAAEAAAADAAAABBdBcGxvcmlzLkJhc2UuQW5jaG9yTW9kZQMAAAABygYAAKAAAAAAAAAAAcsGAACgAAAAAgAAAAHMBgAAoAAAAAQAAAABBQUAACUAAAAJHgIAAAAAAAAAAAAAAQYFAAAmAAAACc0GAAACAAAAAgAAAAEHBQAAKAEAAApYAgAAAc4GAAC9AQAAAgAAAAHPBgAAvgEAAAEAAAAB0AYAABUAAACMJZxD6708QgCSBkK2n95CAdEGAADAAQAAAAAAAAAAoEAAAdIGAAAhAAAArI6kQ9GuzUIB0wYAAKAAAAAAAAAAAAAAAAAAAAAACdQGAAAAAAAACdUGAAAAAAHWBgAAqQAAAAAAAAAB1wYAAHIAAAAAALhBAABAQQHYBgAAFQAAAOminkOji8JCNBa/QaOLLkESg74/BtkGAAADNTQlCgnaBgAACckBAAA0AwAA/////wEBCgnbBgAAAQAKAQEIBQAAHAAAAAHcBgAAIQAAAIylmkNWfyFDAd0GAAAhAAAAzHeuQ+u9MEIJ3gYAAAnfBgAAAAAAAAoB4AYAAHIAAAAAAAAAAAAAAAHhBgAAcgAAAAAAAAAAAAAAAAAAAAHiBgAAFQAAAAAAAAAAAAAAAAAAAAAAAACkAQAA/////wEBCgnjBgAAAQAKAAcJBQAAAAEAAAACAAAABBpBcGxvcmlzLkJhc2UuVUkuVmlzdWFsTGluZQMAAAAKCgcKBQAAAAEAAAADAAAABBVTeXN0ZW0uRHJhd2luZy5Qb2ludEYEAAAAAeQGAAAhAAAArI6kQ9GuzUIB5QYAACEAAACMJZlD0a7NQgHmBgAAIQAAAMz3r0PRrs1CBwsFAAAAAQAAAAMAAAAEF0FwbG9yaXMuQmFzZS5BbmNob3JNb2RlAwAAAAHnBgAAoAAAAAAAAAAB6AYAAKAAAAACAAAAAekGAACgAAAABAAAAAEMBQAAJQAAAAmSBgAAAAAAAAAAAAABDQUAACYAAAAJ6gYAAAIAAAACAAAAAQ4FAAAoAQAAClgCAAAB6wYAAL0BAAACAAAAAewGAAC+AQAAAQAAAAHtBgAAFQAAAFjcu0Ow8wxCAJIGQr9mCkMB7gYAAMABAAAAAAAAAACgQAAB7wYAACEAAAB4RcRDl+DQQgHwBgAAoAAAAAAAAAAAAAAAAAAAAAAJ8QYAAAAAAAAJ8gYAAAAAAfMGAACpAAAAAAAAAAH0BgAAcgAAAAAAuEEAAEBBAfUGAAAVAAAAXXS+Q4suxkI0Fr9Bo4suQRKDvj8G9gYAAAM2NiUKCfcGAAAJyQEAADQDAAD/////AQEKCfgGAAABAAoBAQ8FAAAcAAAAAfkGAAAhAAAAWFy6Q6ujMEMB+gYAACEAAACYLs5DsPMAQgn7BgAACfwGAAAAAAAACgH9BgAAcgAAAAAAAAAAAAAAAf4GAAByAAAAAAAAAAAAAAAAAAAAAf8GAAAVAAAAAAAAAAAAAAAAAAAAAAAAAKQBAAD/////AQEKCQAHAAABAAoABxAFAAAAAQAAAAIAAAAEGkFwbG9yaXMuQmFzZS5VSS5WaXN1YWxMaW5lAwAAAAoKBxEFAAAAAQAAAAMAAAAEFVN5c3RlbS5EcmF3aW5nLlBvaW50RgQAAAABAQcAACEAAAB4RcRDl+DQQgECBwAAIQAAAFjcuEOX4NBCAQMHAAAhAAAAmK7PQ5fg0EIHEgUAAAABAAAAAwAAAAQXQXBsb3Jpcy5CYXNlLkFuY2hvck1vZGUDAAAAAQQHAACgAAAAAAAAAAEFBwAAoAAAAAIAAAABBgcAAKAAAAAEAAAAARMFAAAlAAAACZIGAAAAAAAAAAAAAAEUBQAAJgAAAAkHBwAAAgAAAAIAAAABFQUAACgBAAAKWAIAAAEIBwAAvQEAAAIAAAABCQcAAL4BAAABAAAAAQoHAAAVAAAAI5PbQ1OtKkIAkgZCfLTlQgELBwAAwAEAAAAAAAAAAKBAAAEMBwAAIQAAAEP840PoMMhCAQ0HAACgAAAAAAAAAAAAAAAAAAAAAAkOBwAAAAAAAAkPBwAAAAABEAcAAKkAAAAAAAAAAREHAAByAAAAAAC4QQAAQEEBEgcAABUAAAB00d1DRhe9QjQWv0Gjiy5BEoO+PwYTBwAAAzU1JQoJFAcAAAnJAQAANAMAAP////8BAQoJFQcAAAEACgEBFgUAABwAAAABFgcAACEAAAAjE9pDk4UgQwEXBwAAIQAAAGPl7UNTrR5CCRgHAAAJGQcAAAAAAAAKARoHAAByAAAAAAAAAAAAAAABGwcAAHIAAAAAAAAAAAAAAAAAAAABHAcAABUAAAAAAAAAAAAAAAAAAAAAAAAApAEAAP////8BAQoJHQcAAAEACgAHFwUAAAABAAAAAgAAAAQaQXBsb3Jpcy5CYXNlLlVJLlZpc3VhbExpbmUDAAAACgoHGAUAAAABAAAAAwAAAAQVU3lzdGVtLkRyYXdpbmcuUG9pbnRGBAAAAAEeBwAAIQAAAEP840PoMMhCAR8HAAAhAAAAI5PYQ+gwyEIBIAcAACEAAABjZe9D6DDIQgcZBQAAAAEAAAADAAAABBdBcGxvcmlzLkJhc2UuQW5jaG9yTW9kZQMAAAABIQcAAKAAAAAAAAAAASIHAACgAAAAAgAAAAEjBwAAoAAAAAQAAAABGgUAACUAAAAJHgIAAAAAAAAAAAAAARsFAAAmAAAACSQHAAACAAAAAgAAAAEcBQAAKAEAAApYAgAAASUHAAC9AQAAAgAAAAEmBwAAvgEAAAEAAAABJwcAABUAAADuSftD1JEgQgCSBkLi1spCASgHAADAAQAAAAAAAAAAoEAAASkHAAAhAAAAh9kBRFu0tUIBKgcAAKAAAAAAAAAAAAAAAAAAAAAACSsHAAAAAAAACSwHAAAAAAEtBwAAqQAAAAAAAAABLgcAAHIAAAAAALhBAABAQQEvBwAAFQAAAOii/UO66KpCNBa/QaOLLkESg74/BjAHAAADNDklCgkxBwAACckBAAA0AwAA/////wEBCgkyBwAAAQAKAQEdBQAAHAAAAAEzBwAAIQAAAO7J+UPmjxBDATQHAAAhAAAAF84GRNSRFEIJNQcAAAk2BwAAAAAAAAoBNwcAAHIAAAAAAAAAAAAAAAE4BwAAcgAAAAAAAAAAAAAAAAAAAAE5BwAAFQAAAAAAAAAAAAAAAAAAAAAAAACkAQAA/////wEBCgk6BwAAAQAKAAceBQAAAAEAAAACAAAABBpBcGxvcmlzLkJhc2UuVUkuVmlzdWFsTGluZQMAAAAKCgcfBQAAAAEAAAADAAAABBVTeXN0ZW0uRHJhd2luZy5Qb2ludEYEAAAAATsHAAAhAAAAh9kBRFu0tUIBPAcAACEAAADuSfhDW7S1QgE9BwAAIQAAABeOB0RbtLVCByAFAAAAAQAAAAMAAAAEF0FwbG9yaXMuQmFzZS5BbmNob3JNb2RlAwAAAAE+BwAAoAAAAAAAAAABPwcAAKAAAAACAAAAAUAHAACgAAAABAAAAAEhBQAAJQAAAAkeAgAAAAAAAAAAAAABIgUAACYAAAAJQQcAAAIAAAACAAAAASMFAAAoAQAAClgCAAABQgcAAL0BAAACAAAAAUMHAAC+AQAAAQAAAAFEBwAAFQAAAF2ADUTOQx9CAJIGQktK1UIBRQcAAMABAAAAAAAAAACgQAABRgcAACEAAADttBFEDEe6QgFHBwAAoAAAAAAAAAAAAAAAAAAAAAAJSAcAAAAAAAAJSQcAAAAAAUoHAACpAAAAAAAAAAFLBwAAcgAAAAAAuEEAAEBBAUwHAAAVAAAALroORKOLrkI0Fr9Bo4suQRKDvj8GTQcAAAM1MiUKCU4HAAAJyQEAADQDAAD/////AQEKCU8HAAABAAoBASQFAAAcAAAAAVAHAAAhAAAAXcAMRBl2FUMBUQcAACEAAAB9qRZEzkMTQglSBwAACVMHAAAAAAAACgFUBwAAcgAAAAAAAAAAAAAAAVUHAAByAAAAAAAAAAAAAAAAAAAAAVYHAAAVAAAAAAAAAAAAAAAAAAAAAAAAAKQBAAD/////AQEKCVcHAAABAAoAByUFAAAAAQAAAAIAAAAEGkFwbG9yaXMuQmFzZS5VSS5WaXN1YWxMaW5lAwAAAAoKByYFAAAAAQAAAAMAAAAEFVN5c3RlbS5EcmF3aW5nLlBvaW50RgQAAAABWAcAACEAAADttBFEDEe6QgFZBwAAIQAAAF0ADEQMR7pCAVoHAAAhAAAAfWkXRAxHukIHJwUAAAABAAAAAwAAAAQXQXBsb3Jpcy5CYXNlLkFuY2hvck1vZGUDAAAAAVsHAACgAAAAAAAAAAFcBwAAoAAAAAIAAAABXQcAAKAAAAAEAAAAASgFAAAlAAAACVcCAAAAAAAAAAAAAAEpBQAAJgAAAAleBwAAAgAAAAIAAAABKgUAACgBAAAKWAIAAAFfBwAAvQEAAAIAAAABYAcAAL4BAAABAAAAAWEHAAAVAAAA9FJqQm0diUH4kQZCAAAAAAFiBwAAwAEAAAAAAAAAAKBAAAFjBwAAIQAAAPjNlkJtHYlBAWQHAACgAAAAAAAAAAAAAAAAAAAAAAllBwAAAAAAAAlmBwAAAQABZwcAAKkAAAAAAAAAAWgHAAByAAAAAACAQQAAQEEBaQcAABUAAAAuuoRCRhc9QXotjEGjiy5BEoO+PwZqBwAAAjElCglrBwAACckBAAA0AwAA/////wEBCglsBwAAAQAKAQErBQAAHAAAAAFtBwAAIQAAAPRSXkKZhJVBAW4HAAAhAAAAdnK+QoJseUEJbwcAAAlwBwAAAAAAAAoBcQcAAHIAAAAAAAAAAAAAAAFyBwAAcgAAAAAAAAAAAAAAAAAAAAFzBwAAFQAAAAAAAAAAAAAAAAAAAAAAAACkAQAA/////wEBCgl0BwAAAQAKAAcsBQAAAAEAAAACAAAABBpBcGxvcmlzLkJhc2UuVUkuVmlzdWFsTGluZQMAAAAKCgctBQAAAAEAAAADAAAABBVTeXN0ZW0uRHJhd2luZy5Qb2ludEYEAAAAAXUHAAAhAAAA+M2WQm0diUEBdgcAACEAAAD0UlJCbR2JQQF3BwAAIQAAAHZyxEJtHYlBBy4FAAAAAQAAAAMAAAAEF0FwbG9yaXMuQmFzZS5BbmNob3JNb2RlAwAAAAF4BwAAoAAAAAAAAAABeQcAAKAAAAACAAAAAXoHAACgAAAABAAAAAEvBQAAJQAAAAmSBgAAAAAAAAAAAAABMAUAACYAAAAJewcAAAIAAAAGAAAAATEFAAAoAQAAClgCAAABfAcAAL0BAAACAAAAAX0HAAC+AQAAAQAAAAF+BwAAFQAAAOtvOUNBtpRB+JEGQoG0kkEBfwcAAMABAAAAAAAAAACgQAABgAcAACEAAAAqQkpDghDeQQGBBwAAoAAAAAAAAAAAAAAAAAAAAAAJggcAAAAAAAAJgwcAAAAAAYQHAACpAAAAAAAAAAGFBwAAcgAAAAAAuEEAAEBBAYYHAAAVAAAAAAA+Q3TRtUE0Fr9Bo4suQRKDvj8GhwcAAAMxMSUKCYgHAAAJyQEAADQDAAD/////AQEKCYkHAAABAAoBATIFAAAcAAAAAYoHAAAhAAAA6282Q2G1H0IBiwcAACEAAABpFF5Dgmx5QQmMBwAACY0HAAAAAAAACgGOBwAAcgAAAAAAAAAAAAAAAY8HAAByAAAAAAAAAAAAAAAAAAAAAZAHAAAVAAAAAAAAAAAAAAAAAAAAAAAAAKQBAAD/////AQEKCZEHAAABAAoABzMFAAAAAQAAAAIAAAAEGkFwbG9yaXMuQmFzZS5VSS5WaXN1YWxMaW5lAwAAAAoKBzQFAAAAAQAAAAMAAAAEFVN5c3RlbS5EcmF3aW5nLlBvaW50RgQAAAABkgcAACEAAAAqQkpDghDeQQGTBwAAIQAAAOtvM0OCEN5BAZQHAAAhAAAAaRRhQ4IQ3kEHNQUAAAABAAAAAwAAAAQXQXBsb3Jpcy5CYXNlLkFuY2hvck1vZGUDAAAAAZUHAACgAAAAAAAAAAGWBwAAoAAAAAIAAAABlwcAAKAAAAAEAAAAATYFAAAlAAAACRICAAAAAAAAAAAAAAE3BQAAJgAAAAmYBwAAAgAAAAIAAAABOAUAACgBAAAKWAIAAAGZBwAAvQEAAAIAAAABmgcAAL4BAAABAAAAAZsHAAAVAAAAgd14Q0G2lEH8kQZCX2KmQQGcBwAAwAEAAAAAAAAAAKBAAAGdBwAAIQAAAODXhENw5+dBAZ4HAACgAAAAAAAAAAAAAAAAAAAAAAmfBwAAAAAAAAmgBwAAAAABoQcAAKkAAAAAAAAAAaIHAAByAAAAAAC4QQAAQEEBowcAABUAAADoon1DRhe9QTQWv0Gjiy5BEoO+PwakBwAAAzEyJQoJpQcAAAnJAQAANAMAAP////8BAQoJpgcAAAEACgEBOQUAABwAAAABpwcAACEAAACB3XVDUIwpQgGoBwAAIQAAAADBjkOCbHlBCakHAAAJqgcAAAAAAAAKAasHAAByAAAAAAAAAAAAAAABrAcAAHIAAAAAAAAAAAAAAAAAAAABrQcAABUAAAAAAAAAAAAAAAAAAAAAAAAApAEAAP////8BAQoJrgcAAAEACgAHOgUAAAABAAAAAgAAAAQaQXBsb3Jpcy5CYXNlLlVJLlZpc3VhbExpbmUDAAAACgoHOwUAAAABAAAAAwAAAAQVU3lzdGVtLkRyYXdpbmcuUG9pbnRGBAAAAAGvBwAAIQAAAODXhENw5+dBAbAHAAAhAAAAgd1yQ3Dn50EBsQcAACEAAAAAQZBDcOfnQQc8BQAAAAEAAAADAAAABBdBcGxvcmlzLkJhc2UuQW5jaG9yTW9kZQMAAAABsgcAAKAAAAAAAAAAAbMHAACgAAAAAgAAAAG0BwAAoAAAAAQAAAABPQUAACUAAAAJHgIAAAAAAAAAAAAAAT4FAAAmAAAACbUHAAACAAAAAgAAAAE/BQAAKAEAAApYAgAAAbYHAAC9AQAAAgAAAAG3BwAAvgEAAAEAAAABuAcAABUAAACMJZxDQbaUQQCSBkKVxbRBAbkHAADAAQAAAAAAAAAAoEAAAboHAAAhAAAArI6kQwwZ70EBuwcAAKAAAAAAAAAAAAAAAAAAAAAACbwHAAAAAAAACb0HAAAAAAG+BwAAqQAAAAAAAAABvwcAAHIAAAAAALhBAABAQQHABwAAFQAAAOminkMXXcRBNBa/QaOLLkESg74/BsEHAAADMTMlCgnCBwAACckBAAA0AwAA/////wEBCgnDBwAAAQAKAQFABQAAHAAAAAHEBwAAIQAAAIylmkPrvTBCAcUHAAAhAAAAzHeuQ4JseUEJxgcAAAnHBwAAAAAAAAoByAcAAHIAAAAAAAAAAAAAAAHJBwAAcgAAAAAAAAAAAAAAAAAAAAHKBwAAFQAAAAAAAAAAAAAAAAAAAAAAAACkAQAA/////wEBCgnLBwAAAQAKAAdBBQAAAAEAAAACAAAABBpBcGxvcmlzLkJhc2UuVUkuVmlzdWFsTGluZQMAAAAKCgdCBQAAAAEAAAADAAAABBVTeXN0ZW0uRHJhd2luZy5Qb2ludEYEAAAAAcwHAAAhAAAArI6kQwwZ70EBzQcAACEAAACMJZlDDBnvQQHOBwAAIQAAAMz3r0MMGe9BB0MFAAAAAQAAAAMAAAAEF0FwbG9yaXMuQmFzZS5BbmNob3JNb2RlAwAAAAHPBwAAoAAAAAAAAAAB0AcAAKAAAAACAAAAAdEHAACgAAAABAAAAAFEBQAAJQAAAAmSBgAAAAAAAAAAAAABRQUAACYAAAAJ0gcAAAIAAAACAAAAAUYFAAAoAQAAClgCAAAB0wcAAL0BAAACAAAAAdQHAAC+AQAAAQAAAAHVBwAAFQAAAFjcu0NBtpRBAJIGQj5iKkEB1gcAAMABAAAAAAAAAACgQAAB1wcAACEAAAB4RcRD0E6/QQHYBwAAoAAAAAAAAAAAAAAAAAAAAAAJ2QcAAAAAAAAJ2gcAAAAAAdsHAACpAAAAAAAAAAHcBwAAcgAAAAAAgEEAAEBBAd0HAAAVAAAAdNG/Q110kUF6LYxBo4suQRKDvj8G3gcAAAI4JQoJ3wcAAAnJAQAANAMAAP////8BAQoJ4AcAAAEACgEBRwUAABwAAAAB4QcAACEAAABYXLpDsPMAQgHiBwAAIQAAAJguzkOCbHlBCeMHAAAJ5AcAAAAAAAAKAeUHAAByAAAAAAAAAAAAAAAB5gcAAHIAAAAAAAAAAAAAAAAAAAAB5wcAABUAAAAAAAAAAAAAAAAAAAAAAAAApAEAAP////8BAQoJ6AcAAAEACgAHSAUAAAABAAAAAgAAAAQaQXBsb3Jpcy5CYXNlLlVJLlZpc3VhbExpbmUDAAAACgoHSQUAAAABAAAAAwAAAAQVU3lzdGVtLkRyYXdpbmcuUG9pbnRGBAAAAAHpBwAAIQAAAHhFxEPQTr9BAeoHAAAhAAAAWNy4Q9BOv0EB6wcAACEAAACYrs9D0E6/QQdKBQAAAAEAAAADAAAABBdBcGxvcmlzLkJhc2UuQW5jaG9yTW9kZQMAAAAB7AcAAKAAAAAAAAAAAe0HAACgAAAAAgAAAAHuBwAAoAAAAAQAAAABSwUAACUAAAAJkgYAAAAAAAAAAAAAAUwFAAAmAAAACe8HAAACAAAAAgAAAAFNBQAAKAEAAApYAgAAAfAHAAC9AQAAAgAAAAHxBwAAvgEAAAEAAAAB8gcAABUAAAAjk9tDQbaUQQCSBkJlpJBBAfMHAADAAQAAAAAAAAAAoEAAAfQHAAAhAAAAQ/zjQ3QI3UEB9QcAAKAAAAAAAAAAAAAAAAAAAAAACfYHAAAAAAAACfcHAAAAAAH4BwAAqQAAAAAAAAAB+QcAAHIAAAAAALhBAABAQQH6BwAAFQAAAHTR3UOji65BNBa/QaOLLkESg74/BvsHAAADMTElCgn8BwAACckBAAA0AwAA/////wEBCgn9BwAAAQAKAQFOBQAAHAAAAAH+BwAAIQAAACMT2kNTrR5CAf8HAAAhAAAAY+XtQ4JseUEJAAgAAAkBCAAAAAAAAAoBAggAAHIAAAAAAAAAAAAAAAEDCAAAcgAAAAAAAAAAAAAAAAAAAAEECAAAFQAAAAAAAAAAAAAAAAAAAAAAAACkAQAA/////wEBCgkFCAAAAQAKAAdPBQAAAAEAAAACAAAABBpBcGxvcmlzLkJhc2UuVUkuVmlzdWFsTGluZQMAAAAKCgdQBQAAAAEAAAADAAAABBVTeXN0ZW0uRHJhd2luZy5Qb2ludEYEAAAAAQYIAAAhAAAAQ/zjQ3QI3UEBBwgAACEAAAAjk9hDdAjdQQEICAAAIQAAAGNl70N0CN1BB1EFAAAAAQAAAAMAAAAEF0FwbG9yaXMuQmFzZS5BbmNob3JNb2RlAwAAAAEJCAAAoAAAAAAAAAABCggAAKAAAAACAAAAAQsIAACgAAAABAAAAAFSBQAAJQAAAAkeAgAAAAAAAAAAAAABUwUAACYAAAAJDAgAAAIAAAACAAAAAVQFAAAoAQAAClgCAAABDQgAAL0BAAACAAAAAQ4IAAC+AQAAAQAAAAEPCAAAFQAAAO5J+0NBtpRBAJIGQs7aeEEBEAgAAMABAAAAAAAAAACgQAABEQgAACEAAACH2QFE9OzSQQESCAAAoAAAAAAAAAAAAAAAAAAAAAAJEwgAAAAAAAAJFAgAAAAAARUIAACpAAAAAAAAAAEWCAAAcgAAAAAAuEEAAEBBARcIAAAVAAAA6KL9Q9FFp0E0Fr9Bo4suQRKDvj8GGAgAAAMxMCUKCRkIAAAJyQEAADQDAAD/////AQEKCRoIAAABAAoBAVUFAAAcAAAAARsIAAAhAAAA7sn5Q9SRFEIBHAgAACEAAAAXzgZEgmx5QQkdCAAACR4IAAAAAAAACgEfCAAAcgAAAAAAAAAAAAAAASAIAAByAAAAAAAAAAAAAAAAAAAAASEIAAAVAAAAAAAAAAAAAAAAAAAAAAAAAKQBAAD/////AQEKCSIIAAABAAoAB1YFAAAAAQAAAAIAAAAEGkFwbG9yaXMuQmFzZS5VSS5WaXN1YWxMaW5lAwAAAAoKB1cFAAAAAQAAAAMAAAAEFVN5c3RlbS5EcmF3aW5nLlBvaW50RgQAAAABIwgAACEAAACH2QFE9OzSQQEkCAAAIQAAAO5J+EP07NJBASUIAAAhAAAAF44HRPTs0kEHWAUAAAABAAAAAwAAAAQXQXBsb3Jpcy5CYXNlLkFuY2hvck1vZGUDAAAAASYIAACgAAAAAAAAAAEnCAAAoAAAAAIAAAABKAgAAKAAAAAEAAAAAVkFAAAlAAAACR4CAAAAAAAAAAAAAAFaBQAAJgAAAAkpCAAAAgAAAAIAAAABWwUAACgBAAAKWAIAAAEqCAAAvQEAAAIAAAABKwgAAL4BAAABAAAAASwIAAAVAAAAXYANREG2lEEAkgZCtqJzQQEtCAAAwAEAAAAAAAAAAKBAAAEuCAAAIQAAAO20EUTuntFBAS8IAACgAAAAAAAAAAAAAAAAAAAAAAkwCAAAAAAAAAkxCAAAAAABMggAAKkAAAAAAAAAATMIAAByAAAAAAC4QQAAQEEBNAgAABUAAAAuug5E0UWnQTQWv0Gjiy5BEoO+PwY1CAAAAzEwJQoJNggAAAnJAQAANAMAAP////8BAQoJNwgAAAEACgEBXAUAABwAAAABOAgAACEAAABdwAxEzkMTQgE5CAAAIQAAAH2pFkSCbHlBCToIAAAJOwgAAAAAAAAKATwIAAByAAAAAAAAAAAAAAABPQgAAHIAAAAAAAAAAAAAAAAAAAABPggAABUAAAAAAAAAAAAAAAAAAAAAAAAApAEAAP////8BAQoJPwgAAAEACgAHXQUAAAABAAAAAgAAAAQaQXBsb3Jpcy5CYXNlLlVJLlZpc3VhbExpbmUDAAAACgoHXgUAAAABAAAAAwAAAAQVU3lzdGVtLkRyYXdpbmcuUG9pbnRGBAAAAAFACAAAIQAAAO20EUTuntFBAUEIAAAhAAAAXQAMRO6e0UEBQggAACEAAAB9aRdE7p7RQQdfBQAAAAEAAAADAAAABBdBcGxvcmlzLkJhc2UuQW5jaG9yTW9kZQMAAAABQwgAAKAAAAAAAAAAAUQIAACgAAAAAgAAAAFFCAAAoAAAAAQAAAABYAUAACUAAAAJVwIAAAAAAAAAAAAAAWEFAAAmAAAACUYIAAACAAAAAgAAAAGUBQAAIwAAAAoKAAAAAAAoQQl2AAAACXcAAAAJRwgAAAAACUgIAAABlQUAAHgAAAAKCgAAAAA/aX4ABQAAAAABAZoFAACtAAAACUkIAAABAAAAAwAAAAGbBQAAdQAAAAlKCAAACgGeBQAAcAAAAAoKAAAAQD8JSwgAAAlMCAAAAQAAAP7///8AAAAAAQAAAAAAAAAAAAAAAQAAAAAAAAAAAAABnwUAAHEAAAAKCglNCAAACU4IAAABAAAA/v///wAAAAD/////AQABowUAAHUAAAAJTwgAAAoHqgUAAAABAAAABAAAAAQcQXBsb3Jpcy5CYXNlLlVJLlZpc3VhbE9iamVjdAMAAAAJuwQAAAm6BAAACgoBsQUAACMAAAAKCgAAAAAAKEEJdgAAAAl3AAAACVAIAAAAAAlRCAAAAbIFAAB4AAAACgoAAAAAP2l+AAUAAAAAAQG3BQAArQAAAAlSCAAAAQAAAAMAAAABuAUAAHUAAAAJUwgAAAoBuwUAAHAAAAAKCgAAAEA/CVQIAAAJVQgAAAEAAAD+////AAAAAAEAAAAAAAAAAAAAAAEAAAAAAAAAAAAAAbwFAABxAAAACgoJVggAAAlXCAAAAQAAAP7///8AAAAA/////wEAAcAFAAB1AAAACVgIAAAKB8cFAAAAAQAAAAQAAAAEHEFwbG9yaXMuQmFzZS5VSS5WaXN1YWxPYmplY3QDAAAACcIEAAAJwQQAAAoKAc4FAAAjAAAACgoAAAAAAChBCXYAAAAJdwAAAAlZCAAAAAAJWggAAAHPBQAAeAAAAAoKAAAAAD9pfgAFAAAAAAEB1AUAAK0AAAAJWwgAAAEAAAADAAAAAdUFAAB1AAAACVwIAAAKAdgFAABwAAAACgoAAABAPwldCAAACV4IAAABAAAA/v///wAAAAABAAAAAAAAAAAAAAABAAAAAAAAAAAAAAHZBQAAcQAAAAoKCV8IAAAJYAgAAAEAAAD+////AAAAAP////8BAAHdBQAAdQAAAAlhCAAACgfkBQAAAAEAAAAEAAAABBxBcGxvcmlzLkJhc2UuVUkuVmlzdWFsT2JqZWN0AwAAAAnJBAAACcgEAAAKCgHrBQAAIwAAAAoKAAAAAAAoQQl2AAAACXcAAAAJYggAAAAACWMIAAAB7AUAAHgAAAAKCgAAAAA/aX4ABQAAAAABAfEFAACtAAAACWQIAAABAAAAAwAAAAHyBQAAdQAAAAllCAAACgH1BQAAcAAAAAoKAAAAQD8JZggAAAlnCAAAAQAAAP7///8AAAAAAQAAAAAAAAAAAAAAAQAAAAAAAAAAAAAB9gUAAHEAAAAKCgloCAAACWkIAAABAAAA/v///wAAAAD/////AQAB+gUAAHUAAAAJaggAAAoHAQYAAAABAAAABAAAAAQcQXBsb3Jpcy5CYXNlLlVJLlZpc3VhbE9iamVjdAMAAAAJ0AQAAAnPBAAACgoBCAYAACMAAAAKCgAAAAAAKEEJdgAAAAl3AAAACWsIAAAAAAlsCAAAAQkGAAB4AAAACgoAAAAAP2l+AAUAAAAAAQEOBgAArQAAAAltCAAAAQAAAAMAAAABDwYAAHUAAAAJbggAAAoBEgYAAHAAAAAKCgAAAEA/CW8IAAAJcAgAAAEAAAD+////AAAAAAEAAAAAAAAAAAAAAAEAAAAAAAAAAAAAARMGAABxAAAACgoJcQgAAAlyCAAAAQAAAP7///8AAAAA/////wEAARcGAAB1AAAACXMIAAAKBx4GAAAAAQAAAAQAAAAEHEFwbG9yaXMuQmFzZS5VSS5WaXN1YWxPYmplY3QDAAAACdcEAAAJ1gQAAAoKASUGAAAjAAAACgoAAAAAAChBCXYAAAAJdwAAAAl0CAAAAAAJdQgAAAEmBgAAeAAAAAoKAAAAAD9pfgAFAAAAAAEBKwYAAK0AAAAJdggAAAEAAAADAAAAASwGAAB1AAAACXcIAAAKAS8GAABwAAAACgoAAABAPwl4CAAACXkIAAABAAAA/v///wAAAAABAAAAAAAAAAAAAAABAAAAAAAAAAAAAAEwBgAAcQAAAAoKCXoIAAAJewgAAAEAAAD+////AAAAAP////8BAAE0BgAAdQAAAAl8CAAACgc7BgAAAAEAAAAEAAAABBxBcGxvcmlzLkJhc2UuVUkuVmlzdWFsT2JqZWN0AwAAAAneBAAACd0EAAAKCgFCBgAAIwAAAAoKAAAAAAAoQQl2AAAACXcAAAAJfQgAAAAACX4IAAABQwYAAHgAAAAKCgAAAAA/aX4ABQAAAAABAUgGAACtAAAACX8IAAABAAAAAwAAAAFJBgAAdQAAAAmACAAACgFMBgAAcAAAAAoKAAAAQD8JgQgAAAmCCAAAAQAAAP7///8AAAAAAQAAAAAAAAAAAAAAAQAAAAAAAAAAAAABTQYAAHEAAAAKCgmDCAAACYQIAAABAAAA/v///wAAAAD/////AQABUQYAAHUAAAAJhQgAAAoHWAYAAAABAAAABAAAAAQcQXBsb3Jpcy5CYXNlLlVJLlZpc3VhbE9iamVjdAMAAAAJ5QQAAAnkBAAACgoBXwYAACMAAAAKCgAAAAAAKEEJdgAAAAl3AAAACYYIAAAAAAmHCAAAAWAGAAB4AAAACgoAAAAAP2l+AAUAAAAAAQFlBgAArQAAAAmICAAAAQAAAAMAAAABZgYAAHUAAAAJiQgAAAoBaQYAAHAAAAAKCgAAAEA/CYoIAAAJiwgAAAEAAAD+////AAAAAAEAAAAAAAAAAAAAAAEAAAAAAAAAAAAAAWoGAABxAAAACgoJjAgAAAmNCAAAAQAAAP7///8AAAAA/////wEAAW4GAAB1AAAACY4IAAAKB3UGAAAAAQAAAAQAAAAEHEFwbG9yaXMuQmFzZS5VSS5WaXN1YWxPYmplY3QDAAAACewEAAAJ6wQAAAoKAXwGAAAjAAAACgoAAAAAAChBCXYAAAAJdwAAAAmPCAAAAAAJkAgAAAF9BgAAeAAAAAoKAAAAAHKEjAAGAAAAAAEBggYAAK0AAAAJkQgAAAEAAAADAAAAAYMGAAB1AAAACZIIAAAKAYYGAABwAAAACgoAAABAPwmTCAAACZQIAAABAAAA/v///wAAAAABAAAAAAAAAAAAAAABAAAAAAAAAAAAAAGHBgAAcQAAAAoKCZUIAAAJlggAAAEAAAD+////AAAAAP////8BAAGLBgAAdQAAAAmXCAAACgeSBgAAAAEAAAAAAAAABB9BcGxvcmlzLkJhc2UuT2JqZWN0cy5EYXRhT2JqZWN0AwAAAAeTBgAAAAEAAAAEAAAABBxBcGxvcmlzLkJhc2UuVUkuVmlzdWFsT2JqZWN0AwAAAAnzBAAACfIEAAAKCgGaBgAAIwAAAAoKAAAAAAAoQQl2AAAACXcAAAAJmAgAAAAACZkIAAABmwYAAHgAAAAKCgAAAAByhIwABgAAAAABAaAGAACtAAAACZoIAAABAAAAAwAAAAGhBgAAdQAAAAmbCAAACgGkBgAAcAAAAAoKAAAAQD8JnAgAAAmdCAAAAQAAAP7///8AAAAAAQAAAAAAAAAAAAAAAQAAAAAAAAAAAAABpQYAAHEAAAAKCgmeCAAACZ8IAAABAAAA/v///wAAAAD/////AQABqQYAAHUAAAAJoAgAAAoHsAYAAAABAAAABAAAAAQcQXBsb3Jpcy5CYXNlLlVJLlZpc3VhbE9iamVjdAMAAAAJ+gQAAAn5BAAACgoBtwYAACMAAAAKCgAAAAAAKEEJdgAAAAl3AAAACaEIAAAAAAmiCAAAAbgGAAB4AAAACgoAAAAAcoSMAAYAAAAAAQG9BgAArQAAAAmjCAAAAQAAAAMAAAABvgYAAHUAAAAJpAgAAAoBwQYAAHAAAAAKCgAAAEA/CaUIAAAJpggAAAEAAAD+////AAAAAAEAAAAAAAAAAAAAAAEAAAAAAAAAAAAAAcIGAABxAAAACgoJpwgAAAmoCAAAAQAAAP7///8AAAAA/////wEAAcYGAAB1AAAACakIAAAKB80GAAAAAQAAAAQAAAAEHEFwbG9yaXMuQmFzZS5VSS5WaXN1YWxPYmplY3QDAAAACQEFAAAJAAUAAAoKAdQGAAAjAAAACgoAAAAAAChBCXYAAAAJdwAAAAmqCAAAAAAJqwgAAAHVBgAAeAAAAAoKAAAAAHKEjAAGAAAAAAEB2gYAAK0AAAAJrAgAAAEAAAADAAAAAdsGAAB1AAAACa0IAAAKAd4GAABwAAAACgoAAABAPwmuCAAACa8IAAABAAAA/v///wAAAAABAAAAAAAAAAAAAAABAAAAAAAAAAAAAAHfBgAAcQAAAAoKCbAIAAAJsQgAAAEAAAD+////AAAAAP////8BAAHjBgAAdQAAAAmyCAAACgfqBgAAAAEAAAAEAAAABBxBcGxvcmlzLkJhc2UuVUkuVmlzdWFsT2JqZWN0AwAAAAkIBQAACQcFAAAKCgHxBgAAIwAAAAoKAAAAAAAoQQl2AAAACXcAAAAJswgAAAAACbQIAAAB8gYAAHgAAAAKCgAAAAByhIwABgAAAAABAfcGAACtAAAACbUIAAABAAAAAwAAAAH4BgAAdQAAAAm2CAAACgH7BgAAcAAAAAoKAAAAQD8JtwgAAAm4CAAAAQAAAP7///8AAAAAAQAAAAAAAAAAAAAAAQAAAAAAAAAAAAAB/AYAAHEAAAAKCgm5CAAACboIAAABAAAA/v///wAAAAD/////AQABAAcAAHUAAAAJuwgAAAoHBwcAAAABAAAABAAAAAQcQXBsb3Jpcy5CYXNlLlVJLlZpc3VhbE9iamVjdAMAAAAJDwUAAAkOBQAACgoBDgcAACMAAAAKCgAAAAAAKEEJdgAAAAl3AAAACbwIAAAAAAm9CAAAAQ8HAAB4AAAACgoAAAAAcoSMAAYAAAAAAQEUBwAArQAAAAm+CAAAAQAAAAMAAAABFQcAAHUAAAAJvwgAAAoBGAcAAHAAAAAKCgAAAEA/CcAIAAAJwQgAAAEAAAD+////AAAAAAEAAAAAAAAAAAAAAAEAAAAAAAAAAAAAARkHAABxAAAACgoJwggAAAnDCAAAAQAAAP7///8AAAAA/////wEAAR0HAAB1AAAACcQIAAAKByQHAAAAAQAAAAQAAAAEHEFwbG9yaXMuQmFzZS5VSS5WaXN1YWxPYmplY3QDAAAACRYFAAAJFQUAAAoKASsHAAAjAAAACgoAAAAAAChBCXYAAAAJdwAAAAnFCAAAAAAJxggAAAEsBwAAeAAAAAoKAAAAAHKEjAAGAAAAAAEBMQcAAK0AAAAJxwgAAAEAAAADAAAAATIHAAB1AAAACcgIAAAKATUHAABwAAAACgoAAABAPwnJCAAACcoIAAABAAAA/v///wAAAAABAAAAAAAAAAAAAAABAAAAAAAAAAAAAAE2BwAAcQAAAAoKCcsIAAAJzAgAAAEAAAD+////AAAAAP////8BAAE6BwAAdQAAAAnNCAAACgdBBwAAAAEAAAAEAAAABBxBcGxvcmlzLkJhc2UuVUkuVmlzdWFsT2JqZWN0AwAAAAkdBQAACRwFAAAKCgFIBwAAIwAAAAoKAAAAAAAoQQl2AAAACXcAAAAJzggAAAAACc8IAAABSQcAAHgAAAAKCgAAAAByhIwABgAAAAABAU4HAACtAAAACdAIAAABAAAAAwAAAAFPBwAAdQAAAAnRCAAACgFSBwAAcAAAAAoKAAAAQD8J0ggAAAnTCAAAAQAAAP7///8AAAAAAQAAAAAAAAAAAAAAAQAAAAAAAAAAAAABUwcAAHEAAAAKCgnUCAAACdUIAAABAAAA/v///wAAAAD/////AQABVwcAAHUAAAAJ1ggAAAoHXgcAAAABAAAABAAAAAQcQXBsb3Jpcy5CYXNlLlVJLlZpc3VhbE9iamVjdAMAAAAJJAUAAAkjBQAACgoBZQcAACMAAAAKCgAAAAAAKEEJdgAAAAl3AAAACdcIAAAAAAnYCAAAAWYHAAB4AAAACgoAAAAA7SElAAcAAAAAAAFrBwAArQAAAAnZCAAAAQAAAAMAAAABbAcAAHUAAAAJ2ggAAAoBbwcAAHAAAAAKCgAAAEA/CdsIAAAJ3AgAAAEAAAD+////AAAAAAEAAAAAAAAAAAAAAAEAAAAAAAAAAAAAAXAHAABxAAAACgoJ3QgAAAneCAAAAQAAAP7///8AAAAA/////wEAAXQHAAB1AAAACd8IAAAKB3sHAAAAAQAAAAQAAAAEHEFwbG9yaXMuQmFzZS5VSS5WaXN1YWxPYmplY3QDAAAACSsFAAAJKgUAAAoKAYIHAAAjAAAACgoAAAAAAChBCXYAAAAJdwAAAAngCAAAAAAJ4QgAAAGDBwAAeAAAAAoKAAAAAO0hJQAHAAAAAAEBiAcAAK0AAAAJ4ggAAAEAAAADAAAAAYkHAAB1AAAACeMIAAAKAYwHAABwAAAACgoAAABAPwnkCAAACeUIAAABAAAA/v///wAAAAABAAAAAAAAAAAAAAABAAAAAAAAAAAAAAGNBwAAcQAAAAoKCeYIAAAJ5wgAAAEAAAD+////AAAAAP////8BAAGRBwAAdQAAAAnoCAAACgeYBwAAAAEAAAAEAAAABBxBcGxvcmlzLkJhc2UuVUkuVmlzdWFsT2JqZWN0AwAAAAkyBQAACTEFAAAKCgGfBwAAIwAAAAoKAAAAAAAoQQl2AAAACXcAAAAJ6QgAAAAACeoIAAABoAcAAHgAAAAKCgAAAADtISUABwAAAAABAaUHAACtAAAACesIAAABAAAAAQAAAAGmBwAAdQAAAAnsCAAACgGpBwAAcAAAAAoKAAAAQD8J7QgAAAnuCAAAAQAAAP7///8AAAAAAQAAAAAAAAAAAAAAAQAAAAAAAAAAAAABqgcAAHEAAAAKCgnvCAAACfAIAAABAAAA/v///wAAAAD/////AQABrgcAAHUAAAAJ8QgAAAoHtQcAAAABAAAABAAAAAQcQXBsb3Jpcy5CYXNlLlVJLlZpc3VhbE9iamVjdAMAAAAJOQUAAAk4BQAACgoBvAcAACMAAAAKCgAAAAAAKEEJdgAAAAl3AAAACfIIAAAAAAnzCAAAAb0HAAB4AAAACgoAAAAA7SElAAcAAAAAAQHCBwAArQAAAAn0CAAAAQAAAAMAAAABwwcAAHUAAAAJ9QgAAAoBxgcAAHAAAAAKCgAAAEA/CfYIAAAJ9wgAAAEAAAD+////AAAAAAEAAAAAAAAAAAAAAAEAAAAAAAAAAAAAAccHAABxAAAACgoJ+AgAAAn5CAAAAQAAAP7///8AAAAA/////wEAAcsHAAB1AAAACfoIAAAKB9IHAAAAAQAAAAQAAAAEHEFwbG9yaXMuQmFzZS5VSS5WaXN1YWxPYmplY3QDAAAACUAFAAAJPwUAAAoKAdkHAAAjAAAACgoAAAAAAChBCXYAAAAJdwAAAAn7CAAAAAAJ/AgAAAHaBwAAeAAAAAoKAAAAAO0hJQAHAAAAAAEB3wcAAK0AAAAJ/QgAAAEAAAADAAAAAeAHAAB1AAAACf4IAAAKAeMHAABwAAAACgoAAABAPwn/CAAACQAJAAABAAAA/v///wAAAAABAAAAAAAAAAAAAAABAAAAAAAAAAAAAAHkBwAAcQAAAAoKCQEJAAAJAgkAAAEAAAD+////AAAAAP////8BAAHoBwAAdQAAAAkDCQAACgfvBwAAAAEAAAAEAAAABBxBcGxvcmlzLkJhc2UuVUkuVmlzdWFsT2JqZWN0AwAAAAlHBQAACUYFAAAKCgH2BwAAIwAAAAoKAAAAAAAoQQl2AAAACXcAAAAJBAkAAAAACQUJAAAB9wcAAHgAAAAKCgAAAADtISUABwAAAAABAfwHAACtAAAACQYJAAABAAAAAwAAAAH9BwAAdQAAAAkHCQAACgEACAAAcAAAAAoKAAAAQD8JCAkAAAkJCQAAAQAAAP7///8AAAAAAQAAAAAAAAAAAAAAAQAAAAAAAAAAAAABAQgAAHEAAAAKCgkKCQAACQsJAAABAAAA/v///wAAAAD/////AQABBQgAAHUAAAAJDAkAAAoHDAgAAAABAAAABAAAAAQcQXBsb3Jpcy5CYXNlLlVJLlZpc3VhbE9iamVjdAMAAAAJTgUAAAlNBQAACgoBEwgAACMAAAAKCgAAAAAAKEEJdgAAAAl3AAAACQ0JAAAAAAkOCQAAARQIAAB4AAAACgoAAAAA7SElAAcAAAAAAQEZCAAArQAAAAkPCQAAAQAAAAMAAAABGggAAHUAAAAJEAkAAAoBHQgAAHAAAAAKCgAAAEA/CREJAAAJEgkAAAEAAAD+////AAAAAAEAAAAAAAAAAAAAAAEAAAAAAAAAAAAAAR4IAABxAAAACgoJEwkAAAkUCQAAAQAAAP7///8AAAAA/////wEAASIIAAB1AAAACRUJAAAKBykIAAAAAQAAAAQAAAAEHEFwbG9yaXMuQmFzZS5VSS5WaXN1YWxPYmplY3QDAAAACVUFAAAJVAUAAAoKATAIAAAjAAAACgoAAAAAAChBCXYAAAAJdwAAAAkWCQAAAAAJFwkAAAExCAAAeAAAAAoKAAAAAO0hJQAHAAAAAAEBNggAAK0AAAAJGAkAAAEAAAADAAAAATcIAAB1AAAACRkJAAAKAToIAABwAAAACgoAAABAPwkaCQAACRsJAAABAAAA/v///wAAAAABAAAAAAAAAAAAAAABAAAAAAAAAAAAAAE7CAAAcQAAAAoKCRwJAAAJHQkAAAEAAAD+////AAAAAP////8BAAE/CAAAdQAAAAkeCQAACgdGCAAAAAEAAAAEAAAABBxBcGxvcmlzLkJhc2UuVUkuVmlzdWFsT2JqZWN0AwAAAAlcBQAACVsFAAAKCgFHCAAAeAAAAAoKAAAAAP///wAOAAAAAAABSAgAAHgAAAAKCgAAAAD///8ADgAAAAABB0kIAAAAAQAAAAQAAAAEHUFwbG9yaXMuQmFzZS5PYmplY3RzLlZhcmlhYmxlAwAAAAEfCQAAFwQAAAEAAAAAAAAAASAJAAAXBAAAAAAAAAAAAAABIQkAABcEAAAAAAAAAAAAAAEiCQAAFwQAAAAAAAAAAAAAD0oIAAABAAAACNcBAAAFSwgAABpBcGxvcmlzLkJhc2UuT2JqZWN0cy5Db2xvcgcAAAASRGF0YU9iamVjdCttUGFyZW50FURhdGFPYmplY3QrbUNvbnRhaW5lcgVtVHlwZQRtUkdCEG1UaGVtZUNvbG9ySW5kZXgMbUF1dG9VcGRhdGVkCW1Nb2RpZmllZAQCAAAAAAAfQXBsb3Jpcy5CYXNlLk9iamVjdHMuTGluZUZvcm1hdAMAAAAICAgBAQMAAAAJngUAAAoAAAAA////AA4AAAAAAAVMCAAAGkFwbG9yaXMuQmFzZS5PYmplY3RzLkNvbG9yBwAAABJEYXRhT2JqZWN0K21QYXJlbnQVRGF0YU9iamVjdCttQ29udGFpbmVyBW1UeXBlBG1SR0IQbVRoZW1lQ29sb3JJbmRleAxtQXV0b1VwZGF0ZWQJbU1vZGlmaWVkBAIAAAAAAB9BcGxvcmlzLkJhc2UuT2JqZWN0cy5MaW5lRm9ybWF0AwAAAAgICAEBAwAAAAmeBQAACgEAAAAAAAAA/////wABAU0IAAB4AAAACgoAAAAAP2l+AAUAAAAAAAFOCAAAeAAAAAoKAQAAAP///wD/////AAAPTwgAAAEAAAAIwwEAAAFQCAAAeAAAAAoKAAAAAP///wAOAAAAAAABUQgAAHgAAAAKCgAAAAD///8ADgAAAAABB1IIAAAAAQAAAAQAAAAEHUFwbG9yaXMuQmFzZS5PYmplY3RzLlZhcmlhYmxlAwAAAAEjCQAAFwQAAAEAAAAAAAAAASQJAAAXBAAAAAAAAAAAAAABJQkAABcEAAAAAAAAAAAAAAEmCQAAFwQAAAAAAAAAAAAAD1MIAAABAAAACNQBAAAFVAgAABpBcGxvcmlzLkJhc2UuT2JqZWN0cy5Db2xvcgcAAAASRGF0YU9iamVjdCttUGFyZW50FURhdGFPYmplY3QrbUNvbnRhaW5lcgVtVHlwZQRtUkdCEG1UaGVtZUNvbG9ySW5kZXgMbUF1dG9VcGRhdGVkCW1Nb2RpZmllZAQCAAAAAAAfQXBsb3Jpcy5CYXNlLk9iamVjdHMuTGluZUZvcm1hdAMAAAAICAgBAQMAAAAJuwUAAAoAAAAA////AA4AAAAAAAVVCAAAGkFwbG9yaXMuQmFzZS5PYmplY3RzLkNvbG9yBwAAABJEYXRhT2JqZWN0K21QYXJlbnQVRGF0YU9iamVjdCttQ29udGFpbmVyBW1UeXBlBG1SR0IQbVRoZW1lQ29sb3JJbmRleAxtQXV0b1VwZGF0ZWQJbU1vZGlmaWVkBAIAAAAAAB9BcGxvcmlzLkJhc2UuT2JqZWN0cy5MaW5lRm9ybWF0AwAAAAgICAEBAwAAAAm7BQAACgEAAAAAAAAA/////wABAVYIAAB4AAAACgoAAAAAP2l+AAUAAAAAAAFXCAAAeAAAAAoKAQAAAP///wD/////AAAPWAgAAAEAAAAIwgEAAAFZCAAAeAAAAAoKAAAAAP///wAOAAAAAAABWggAAHgAAAAKCgAAAAD///8ADgAAAAABB1sIAAAAAQAAAAQAAAAEHUFwbG9yaXMuQmFzZS5PYmplY3RzLlZhcmlhYmxlAwAAAAEnCQAAFwQAAAEAAAAAAAAAASgJAAAXBAAAAAAAAAAAAAABKQkAABcEAAAAAAAAAAAAAAEqCQAAFwQAAAAAAAAAAAAAD1wIAAABAAAACFcBAAAFXQgAABpBcGxvcmlzLkJhc2UuT2JqZWN0cy5Db2xvcgcAAAASRGF0YU9iamVjdCttUGFyZW50FURhdGFPYmplY3QrbUNvbnRhaW5lcgVtVHlwZQRtUkdCEG1UaGVtZUNvbG9ySW5kZXgMbUF1dG9VcGRhdGVkCW1Nb2RpZmllZAQCAAAAAAAfQXBsb3Jpcy5CYXNlLk9iamVjdHMuTGluZUZvcm1hdAMAAAAICAgBAQMAAAAJ2AUAAAoAAAAA////AA4AAAAAAAVeCAAAGkFwbG9yaXMuQmFzZS5PYmplY3RzLkNvbG9yBwAAABJEYXRhT2JqZWN0K21QYXJlbnQVRGF0YU9iamVjdCttQ29udGFpbmVyBW1UeXBlBG1SR0IQbVRoZW1lQ29sb3JJbmRleAxtQXV0b1VwZGF0ZWQJbU1vZGlmaWVkBAIAAAAAAB9BcGxvcmlzLkJhc2UuT2JqZWN0cy5MaW5lRm9ybWF0AwAAAAgICAEBAwAAAAnYBQAACgEAAAAAAAAA/////wABAV8IAAB4AAAACgoAAAAAP2l+AAUAAAAAAAFgCAAAeAAAAAoKAQAAAP///wD/////AAAPYQgAAAEAAAAIOwEAAAFiCAAAeAAAAAoKAAAAAP///wAOAAAAAAABYwgAAHgAAAAKCgAAAAD///8ADgAAAAABB2QIAAAAAQAAAAQAAAAEHUFwbG9yaXMuQmFzZS5PYmplY3RzLlZhcmlhYmxlAwAAAAErCQAAFwQAAAEAAAAAAAAAASwJAAAXBAAAAAAAAAAAAAABLQkAABcEAAAAAAAAAAAAAAEuCQAAFwQAAAAAAAAAAAAAD2UIAAABAAAACGcBAAAFZggAABpBcGxvcmlzLkJhc2UuT2JqZWN0cy5Db2xvcgcAAAASRGF0YU9iamVjdCttUGFyZW50FURhdGFPYmplY3QrbUNvbnRhaW5lcgVtVHlwZQRtUkdCEG1UaGVtZUNvbG9ySW5kZXgMbUF1dG9VcGRhdGVkCW1Nb2RpZmllZAQCAAAAAAAfQXBsb3Jpcy5CYXNlLk9iamVjdHMuTGluZUZvcm1hdAMAAAAICAgBAQMAAAAJ9QUAAAoAAAAA////AA4AAAAAAAVnCAAAGkFwbG9yaXMuQmFzZS5PYmplY3RzLkNvbG9yBwAAABJEYXRhT2JqZWN0K21QYXJlbnQVRGF0YU9iamVjdCttQ29udGFpbmVyBW1UeXBlBG1SR0IQbVRoZW1lQ29sb3JJbmRleAxtQXV0b1VwZGF0ZWQJbU1vZGlmaWVkBAIAAAAAAB9BcGxvcmlzLkJhc2UuT2JqZWN0cy5MaW5lRm9ybWF0AwAAAAgICAEBAwAAAAn1BQAACgEAAAAAAAAA/////wABAWgIAAB4AAAACgoAAAAAP2l+AAUAAAAAAAFpCAAAeAAAAAoKAQAAAP///wD/////AAAPaggAAAEAAAAIPgEAAAFrCAAAeAAAAAoKAAAAAP///wAOAAAAAAABbAgAAHgAAAAKCgAAAAD///8ADgAAAAABB20IAAAAAQAAAAQAAAAEHUFwbG9yaXMuQmFzZS5PYmplY3RzLlZhcmlhYmxlAwAAAAEvCQAAFwQAAAEAAAAAAAAAATAJAAAXBAAAAAAAAAAAAAABMQkAABcEAAAAAAAAAAAAAAEyCQAAFwQAAAAAAAAAAAAAD24IAAABAAAACGgBAAAFbwgAABpBcGxvcmlzLkJhc2UuT2JqZWN0cy5Db2xvcgcAAAASRGF0YU9iamVjdCttUGFyZW50FURhdGFPYmplY3QrbUNvbnRhaW5lcgVtVHlwZQRtUkdCEG1UaGVtZUNvbG9ySW5kZXgMbUF1dG9VcGRhdGVkCW1Nb2RpZmllZAQCAAAAAAAfQXBsb3Jpcy5CYXNlLk9iamVjdHMuTGluZUZvcm1hdAMAAAAICAgBAQMAAAAJEgYAAAoAAAAA////AA4AAAAAAAVwCAAAGkFwbG9yaXMuQmFzZS5PYmplY3RzLkNvbG9yBwAAABJEYXRhT2JqZWN0K21QYXJlbnQVRGF0YU9iamVjdCttQ29udGFpbmVyBW1UeXBlBG1SR0IQbVRoZW1lQ29sb3JJbmRleAxtQXV0b1VwZGF0ZWQJbU1vZGlmaWVkBAIAAAAAAB9BcGxvcmlzLkJhc2UuT2JqZWN0cy5MaW5lRm9ybWF0AwAAAAgICAEBAwAAAAkSBgAACgEAAAAAAAAA/////wABAXEIAAB4AAAACgoAAAAAP2l+AAUAAAAAAAFyCAAAeAAAAAoKAQAAAP///wD/////AAAPcwgAAAEAAAAINwEAAAF0CAAAeAAAAAoKAAAAAP///wAOAAAAAAABdQgAAHgAAAAKCgAAAAD///8ADgAAAAABB3YIAAAAAQAAAAQAAAAEHUFwbG9yaXMuQmFzZS5PYmplY3RzLlZhcmlhYmxlAwAAAAEzCQAAFwQAAAEAAAAAAAAAATQJAAAXBAAAAAAAAAAAAAABNQkAABcEAAAAAAAAAAAAAAE2CQAAFwQAAAAAAAAAAAAAD3cIAAABAAAACFMBAAAFeAgAABpBcGxvcmlzLkJhc2UuT2JqZWN0cy5Db2xvcgcAAAASRGF0YU9iamVjdCttUGFyZW50FURhdGFPYmplY3QrbUNvbnRhaW5lcgVtVHlwZQRtUkdCEG1UaGVtZUNvbG9ySW5kZXgMbUF1dG9VcGRhdGVkCW1Nb2RpZmllZAQCAAAAAAAfQXBsb3Jpcy5CYXNlLk9iamVjdHMuTGluZUZvcm1hdAMAAAAICAgBAQMAAAAJLwYAAAoAAAAA////AA4AAAAAAAV5CAAAGkFwbG9yaXMuQmFzZS5PYmplY3RzLkNvbG9yBwAAABJEYXRhT2JqZWN0K21QYXJlbnQVRGF0YU9iamVjdCttQ29udGFpbmVyBW1UeXBlBG1SR0IQbVRoZW1lQ29sb3JJbmRleAxtQXV0b1VwZGF0ZWQJbU1vZGlmaWVkBAIAAAAAAB9BcGxvcmlzLkJhc2UuT2JqZWN0cy5MaW5lRm9ybWF0AwAAAAgICAEBAwAAAAkvBgAACgEAAAAAAAAA/////wABAXoIAAB4AAAACgoAAAAAP2l+AAUAAAAAAAF7CAAAeAAAAAoKAQAAAP///wD/////AAAPfAgAAAEAAAAIOQEAAAF9CAAAeAAAAAoKAAAAAP///wAOAAAAAAABfggAAHgAAAAKCgAAAAD///8ADgAAAAABB38IAAAAAQAAAAQAAAAEHUFwbG9yaXMuQmFzZS5PYmplY3RzLlZhcmlhYmxlAwAAAAE3CQAAFwQAAAEAAAAAAAAAATgJAAAXBAAAAAAAAAAAAAABOQkAABcEAAAAAAAAAAAAAAE6CQAAFwQAAAAAAAAAAAAAD4AIAAABAAAACGEBAAAFgQgAABpBcGxvcmlzLkJhc2UuT2JqZWN0cy5Db2xvcgcAAAASRGF0YU9iamVjdCttUGFyZW50FURhdGFPYmplY3QrbUNvbnRhaW5lcgVtVHlwZQRtUkdCEG1UaGVtZUNvbG9ySW5kZXgMbUF1dG9VcGRhdGVkCW1Nb2RpZmllZAQCAAAAAAAfQXBsb3Jpcy5CYXNlLk9iamVjdHMuTGluZUZvcm1hdAMAAAAICAgBAQMAAAAJTAYAAAoAAAAA////AA4AAAAAAAWCCAAAGkFwbG9yaXMuQmFzZS5PYmplY3RzLkNvbG9yBwAAABJEYXRhT2JqZWN0K21QYXJlbnQVRGF0YU9iamVjdCttQ29udGFpbmVyBW1UeXBlBG1SR0IQbVRoZW1lQ29sb3JJbmRleAxtQXV0b1VwZGF0ZWQJbU1vZGlmaWVkBAIAAAAAAB9BcGxvcmlzLkJhc2UuT2JqZWN0cy5MaW5lRm9ybWF0AwAAAAgICAEBAwAAAAlMBgAACgEAAAAAAAAA/////wABAYMIAAB4AAAACgoAAAAAP2l+AAUAAAAAAAGECAAAeAAAAAoKAQAAAP///wD/////AAAPhQgAAAEAAAAIOgEAAAGGCAAAeAAAAAoKAAAAAP///wAOAAAAAAABhwgAAHgAAAAKCgAAAAD///8ADgAAAAABB4gIAAAAAQAAAAQAAAAEHUFwbG9yaXMuQmFzZS5PYmplY3RzLlZhcmlhYmxlAwAAAAE7CQAAFwQAAAEAAAAAAAAAATwJAAAXBAAAAAAAAAAAAAABPQkAABcEAAAAAAAAAAAAAAE+CQAAFwQAAAAAAAAAAAAAD4kIAAABAAAACBECAAAFiggAABpBcGxvcmlzLkJhc2UuT2JqZWN0cy5Db2xvcgcAAAASRGF0YU9iamVjdCttUGFyZW50FURhdGFPYmplY3QrbUNvbnRhaW5lcgVtVHlwZQRtUkdCEG1UaGVtZUNvbG9ySW5kZXgMbUF1dG9VcGRhdGVkCW1Nb2RpZmllZAQCAAAAAAAfQXBsb3Jpcy5CYXNlLk9iamVjdHMuTGluZUZvcm1hdAMAAAAICAgBAQMAAAAJaQYAAAoAAAAA////AA4AAAAAAAWLCAAAGkFwbG9yaXMuQmFzZS5PYmplY3RzLkNvbG9yBwAAABJEYXRhT2JqZWN0K21QYXJlbnQVRGF0YU9iamVjdCttQ29udGFpbmVyBW1UeXBlBG1SR0IQbVRoZW1lQ29sb3JJbmRleAxtQXV0b1VwZGF0ZWQJbU1vZGlmaWVkBAIAAAAAAB9BcGxvcmlzLkJhc2UuT2JqZWN0cy5MaW5lRm9ybWF0AwAAAAgICAEBAwAAAAlpBgAACgEAAAAAAAAA/////wABAYwIAAB4AAAACgoAAAAAP2l+AAUAAAAAAAGNCAAAeAAAAAoKAQAAAP///wD/////AAAPjggAAAEAAAAIAQIAAAGPCAAAeAAAAAoKAAAAAP///wAOAAAAAAABkAgAAHgAAAAKCgAAAAD///8ADgAAAAABB5EIAAAAAQAAAAQAAAAEHUFwbG9yaXMuQmFzZS5PYmplY3RzLlZhcmlhYmxlAwAAAAE/CQAAFwQAAAEAAAAAAAAAAUAJAAAXBAAAAAAAAAAAAAABQQkAABcEAAAAAAAAAAAAAAFCCQAAFwQAAAAAAAAAAAAAD5IIAAABAAAACNUBAAAFkwgAABpBcGxvcmlzLkJhc2UuT2JqZWN0cy5Db2xvcgcAAAASRGF0YU9iamVjdCttUGFyZW50FURhdGFPYmplY3QrbUNvbnRhaW5lcgVtVHlwZQRtUkdCEG1UaGVtZUNvbG9ySW5kZXgMbUF1dG9VcGRhdGVkCW1Nb2RpZmllZAQCAAAAAAAfQXBsb3Jpcy5CYXNlLk9iamVjdHMuTGluZUZvcm1hdAMAAAAICAgBAQMAAAAJhgYAAAoAAAAA////AA4AAAAAAAWUCAAAGkFwbG9yaXMuQmFzZS5PYmplY3RzLkNvbG9yBwAAABJEYXRhT2JqZWN0K21QYXJlbnQVRGF0YU9iamVjdCttQ29udGFpbmVyBW1UeXBlBG1SR0IQbVRoZW1lQ29sb3JJbmRleAxtQXV0b1VwZGF0ZWQJbU1vZGlmaWVkBAIAAAAAAB9BcGxvcmlzLkJhc2UuT2JqZWN0cy5MaW5lRm9ybWF0AwAAAAgICAEBAwAAAAmGBgAACgEAAAAAAAAA/////wABAZUIAAB4AAAACgoAAAAAcoSMAAYAAAAAAAGWCAAAeAAAAAoKAQAAAP///wD/////AAAPlwgAAAEAAAAIvwEAAAGYCAAAeAAAAAoKAAAAAP///wAOAAAAAAABmQgAAHgAAAAKCgAAAAD///8ADgAAAAABB5oIAAAAAQAAAAQAAAAEHUFwbG9yaXMuQmFzZS5PYmplY3RzLlZhcmlhYmxlAwAAAAFDCQAAFwQAAAEAAAAAAAAAAUQJAAAXBAAAAAAAAAAAAAABRQkAABcEAAAAAAAAAAAAAAFGCQAAFwQAAAAAAAAAAAAAD5sIAAABAAAACNMBAAAFnAgAABpBcGxvcmlzLkJhc2UuT2JqZWN0cy5Db2xvcgcAAAASRGF0YU9iamVjdCttUGFyZW50FURhdGFPYmplY3QrbUNvbnRhaW5lcgVtVHlwZQRtUkdCEG1UaGVtZUNvbG9ySW5kZXgMbUF1dG9VcGRhdGVkCW1Nb2RpZmllZAQCAAAAAAAfQXBsb3Jpcy5CYXNlLk9iamVjdHMuTGluZUZvcm1hdAMAAAAICAgBAQMAAAAJpAYAAAoAAAAA////AA4AAAAAAAWdCAAAGkFwbG9yaXMuQmFzZS5PYmplY3RzLkNvbG9yBwAAABJEYXRhT2JqZWN0K21QYXJlbnQVRGF0YU9iamVjdCttQ29udGFpbmVyBW1UeXBlBG1SR0IQbVRoZW1lQ29sb3JJbmRleAxtQXV0b1VwZGF0ZWQJbU1vZGlmaWVkBAIAAAAAAB9BcGxvcmlzLkJhc2UuT2JqZWN0cy5MaW5lRm9ybWF0AwAAAAgICAEBAwAAAAmkBgAACgEAAAAAAAAA/////wABAZ4IAAB4AAAACgoAAAAAcoSMAAYAAAAAAAGfCAAAeAAAAAoKAQAAAP///wD/////AAAPoAgAAAEAAAAIvgEAAAGhCAAAeAAAAAoKAAAAAP///wAOAAAAAAABoggAAHgAAAAKCgAAAAD///8ADgAAAAABB6MIAAAAAQAAAAQAAAAEHUFwbG9yaXMuQmFzZS5PYmplY3RzLlZhcmlhYmxlAwAAAAFHCQAAFwQAAAEAAAAAAAAAAUgJAAAXBAAAAAAAAAAAAAABSQkAABcEAAAAAAAAAAAAAAFKCQAAFwQAAAAAAAAAAAAAD6QIAAABAAAACGMBAAAFpQgAABpBcGxvcmlzLkJhc2UuT2JqZWN0cy5Db2xvcgcAAAASRGF0YU9iamVjdCttUGFyZW50FURhdGFPYmplY3QrbUNvbnRhaW5lcgVtVHlwZQRtUkdCEG1UaGVtZUNvbG9ySW5kZXgMbUF1dG9VcGRhdGVkCW1Nb2RpZmllZAQCAAAAAAAfQXBsb3Jpcy5CYXNlLk9iamVjdHMuTGluZUZvcm1hdAMAAAAICAgBAQMAAAAJwQYAAAoAAAAA////AA4AAAAAAAWmCAAAGkFwbG9yaXMuQmFzZS5PYmplY3RzLkNvbG9yBwAAABJEYXRhT2JqZWN0K21QYXJlbnQVRGF0YU9iamVjdCttQ29udGFpbmVyBW1UeXBlBG1SR0IQbVRoZW1lQ29sb3JJbmRleAxtQXV0b1VwZGF0ZWQJbU1vZGlmaWVkBAIAAAAAAB9BcGxvcmlzLkJhc2UuT2JqZWN0cy5MaW5lRm9ybWF0AwAAAAgICAEBAwAAAAnBBgAACgEAAAAAAAAA/////wABAacIAAB4AAAACgoAAAAAcoSMAAYAAAAAAAGoCAAAeAAAAAoKAQAAAP///wD/////AAAPqQgAAAEAAAAIKwEAAAGqCAAAeAAAAAoKAAAAAP///wAOAAAAAAABqwgAAHgAAAAKCgAAAAD///8ADgAAAAABB6wIAAAAAQAAAAQAAAAEHUFwbG9yaXMuQmFzZS5PYmplY3RzLlZhcmlhYmxlAwAAAAFLCQAAFwQAAAEAAAAAAAAAAUwJAAAXBAAAAAAAAAAAAAABTQkAABcEAAAAAAAAAAAAAAFOCQAAFwQAAAAAAAAAAAAAD60IAAABAAAACFwBAAAFrggAABpBcGxvcmlzLkJhc2UuT2JqZWN0cy5Db2xvcgcAAAASRGF0YU9iamVjdCttUGFyZW50FURhdGFPYmplY3QrbUNvbnRhaW5lcgVtVHlwZQRtUkdCEG1UaGVtZUNvbG9ySW5kZXgMbUF1dG9VcGRhdGVkCW1Nb2RpZmllZAQCAAAAAAAfQXBsb3Jpcy5CYXNlLk9iamVjdHMuTGluZUZvcm1hdAMAAAAICAgBAQMAAAAJ3gYAAAoAAAAA////AA4AAAAAAAWvCAAAGkFwbG9yaXMuQmFzZS5PYmplY3RzLkNvbG9yBwAAABJEYXRhT2JqZWN0K21QYXJlbnQVRGF0YU9iamVjdCttQ29udGFpbmVyBW1UeXBlBG1SR0IQbVRoZW1lQ29sb3JJbmRleAxtQXV0b1VwZGF0ZWQJbU1vZGlmaWVkBAIAAAAAAB9BcGxvcmlzLkJhc2UuT2JqZWN0cy5MaW5lRm9ybWF0AwAAAAgICAEBAwAAAAneBgAACgEAAAAAAAAA/////wABAbAIAAB4AAAACgoAAAAAcoSMAAYAAAAAAAGxCAAAeAAAAAoKAQAAAP///wD/////AAAPsggAAAEAAAAIKQEAAAGzCAAAeAAAAAoKAAAAAP///wAOAAAAAAABtAgAAHgAAAAKCgAAAAD///8ADgAAAAABB7UIAAAAAQAAAAQAAAAEHUFwbG9yaXMuQmFzZS5PYmplY3RzLlZhcmlhYmxlAwAAAAFPCQAAFwQAAAEAAAAAAAAAAVAJAAAXBAAAAAAAAAAAAAABUQkAABcEAAAAAAAAAAAAAAFSCQAAFwQAAAAAAAAAAAAAD7YIAAABAAAACF8BAAAFtwgAABpBcGxvcmlzLkJhc2UuT2JqZWN0cy5Db2xvcgcAAAASRGF0YU9iamVjdCttUGFyZW50FURhdGFPYmplY3QrbUNvbnRhaW5lcgVtVHlwZQRtUkdCEG1UaGVtZUNvbG9ySW5kZXgMbUF1dG9VcGRhdGVkCW1Nb2RpZmllZAQCAAAAAAAfQXBsb3Jpcy5CYXNlLk9iamVjdHMuTGluZUZvcm1hdAMAAAAICAgBAQMAAAAJ+wYAAAoAAAAA////AA4AAAAAAAW4CAAAGkFwbG9yaXMuQmFzZS5PYmplY3RzLkNvbG9yBwAAABJEYXRhT2JqZWN0K21QYXJlbnQVRGF0YU9iamVjdCttQ29udGFpbmVyBW1UeXBlBG1SR0IQbVRoZW1lQ29sb3JJbmRleAxtQXV0b1VwZGF0ZWQJbU1vZGlmaWVkBAIAAAAAAB9BcGxvcmlzLkJhc2UuT2JqZWN0cy5MaW5lRm9ybWF0AwAAAAgICAEBAwAAAAn7BgAACgEAAAAAAAAA/////wABAbkIAAB4AAAACgoAAAAAcoSMAAYAAAAAAAG6CAAAeAAAAAoKAQAAAP///wD/////AAAPuwgAAAEAAAAILAEAAAG8CAAAeAAAAAoKAAAAAP///wAOAAAAAAABvQgAAHgAAAAKCgAAAAD///8ADgAAAAABB74IAAAAAQAAAAQAAAAEHUFwbG9yaXMuQmFzZS5PYmplY3RzLlZhcmlhYmxlAwAAAAFTCQAAFwQAAAEAAAAAAAAAAVQJAAAXBAAAAAAAAAAAAAABVQkAABcEAAAAAAAAAAAAAAFWCQAAFwQAAAAAAAAAAAAAD78IAAABAAAACGABAAAFwAgAABpBcGxvcmlzLkJhc2UuT2JqZWN0cy5Db2xvcgcAAAASRGF0YU9iamVjdCttUGFyZW50FURhdGFPYmplY3QrbUNvbnRhaW5lcgVtVHlwZQRtUkdCEG1UaGVtZUNvbG9ySW5kZXgMbUF1dG9VcGRhdGVkCW1Nb2RpZmllZAQCAAAAAAAfQXBsb3Jpcy5CYXNlLk9iamVjdHMuTGluZUZvcm1hdAMAAAAICAgBAQMAAAAJGAcAAAoAAAAA////AA4AAAAAAAXBCAAAGkFwbG9yaXMuQmFzZS5PYmplY3RzLkNvbG9yBwAAABJEYXRhT2JqZWN0K21QYXJlbnQVRGF0YU9iamVjdCttQ29udGFpbmVyBW1UeXBlBG1SR0IQbVRoZW1lQ29sb3JJbmRleAxtQXV0b1VwZGF0ZWQJbU1vZGlmaWVkBAIAAAAAAB9BcGxvcmlzLkJhc2UuT2JqZWN0cy5MaW5lRm9ybWF0AwAAAAgICAEBAwAAAAkYBwAACgEAAAAAAAAA/////wABAcIIAAB4AAAACgoAAAAAcoSMAAYAAAAAAAHDCAAAeAAAAAoKAQAAAP///wD/////AAAPxAgAAAEAAAAIKAEAAAHFCAAAeAAAAAoKAAAAAP///wAOAAAAAAABxggAAHgAAAAKCgAAAAD///8ADgAAAAABB8cIAAAAAQAAAAQAAAAEHUFwbG9yaXMuQmFzZS5PYmplY3RzLlZhcmlhYmxlAwAAAAFXCQAAFwQAAAEAAAAAAAAAAVgJAAAXBAAAAAAAAAAAAAABWQkAABcEAAAAAAAAAAAAAAFaCQAAFwQAAAAAAAAAAAAAD8gIAAABAAAACFYBAAAFyQgAABpBcGxvcmlzLkJhc2UuT2JqZWN0cy5Db2xvcgcAAAASRGF0YU9iamVjdCttUGFyZW50FURhdGFPYmplY3QrbUNvbnRhaW5lcgVtVHlwZQRtUkdCEG1UaGVtZUNvbG9ySW5kZXgMbUF1dG9VcGRhdGVkCW1Nb2RpZmllZAQCAAAAAAAfQXBsb3Jpcy5CYXNlLk9iamVjdHMuTGluZUZvcm1hdAMAAAAICAgBAQMAAAAJNQcAAAoAAAAA////AA4AAAAAAAXKCAAAGkFwbG9yaXMuQmFzZS5PYmplY3RzLkNvbG9yBwAAABJEYXRhT2JqZWN0K21QYXJlbnQVRGF0YU9iamVjdCttQ29udGFpbmVyBW1UeXBlBG1SR0IQbVRoZW1lQ29sb3JJbmRleAxtQXV0b1VwZGF0ZWQJbU1vZGlmaWVkBAIAAAAAAB9BcGxvcmlzLkJhc2UuT2JqZWN0cy5MaW5lRm9ybWF0AwAAAAgICAEBAwAAAAk1BwAACgEAAAAAAAAA/////wABAcsIAAB4AAAACgoAAAAAcoSMAAYAAAAAAAHMCAAAeAAAAAoKAQAAAP///wD/////AAAPzQgAAAEAAAAIJQEAAAHOCAAAeAAAAAoKAAAAAP///wAOAAAAAAABzwgAAHgAAAAKCgAAAAD///8ADgAAAAABB9AIAAAAAQAAAAQAAAAEHUFwbG9yaXMuQmFzZS5PYmplY3RzLlZhcmlhYmxlAwAAAAFbCQAAFwQAAAEAAAAAAAAAAVwJAAAXBAAAAAAAAAAAAAABXQkAABcEAAAAAAAAAAAAAAFeCQAAFwQAAAAAAAAAAAAAD9EIAAABAAAACBACAAAF0ggAABpBcGxvcmlzLkJhc2UuT2JqZWN0cy5Db2xvcgcAAAASRGF0YU9iamVjdCttUGFyZW50FURhdGFPYmplY3QrbUNvbnRhaW5lcgVtVHlwZQRtUkdCEG1UaGVtZUNvbG9ySW5kZXgMbUF1dG9VcGRhdGVkCW1Nb2RpZmllZAQCAAAAAAAfQXBsb3Jpcy5CYXNlLk9iamVjdHMuTGluZUZvcm1hdAMAAAAICAgBAQMAAAAJUgcAAAoAAAAA////AA4AAAAAAAXTCAAAGkFwbG9yaXMuQmFzZS5PYmplY3RzLkNvbG9yBwAAABJEYXRhT2JqZWN0K21QYXJlbnQVRGF0YU9iamVjdCttQ29udGFpbmVyBW1UeXBlBG1SR0IQbVRoZW1lQ29sb3JJbmRleAxtQXV0b1VwZGF0ZWQJbU1vZGlmaWVkBAIAAAAAAB9BcGxvcmlzLkJhc2UuT2JqZWN0cy5MaW5lRm9ybWF0AwAAAAgICAEBAwAAAAlSBwAACgEAAAAAAAAA/////wABAdQIAAB4AAAACgoAAAAAcoSMAAYAAAAAAAHVCAAAeAAAAAoKAQAAAP///wD/////AAAP1ggAAAEAAAAI/wEAAAHXCAAAeAAAAAoKAAAAAP///wAOAAAAAAAB2AgAAHgAAAAKCgAAAAD///8ADgAAAAABB9kIAAAAAQAAAAQAAAAEHUFwbG9yaXMuQmFzZS5PYmplY3RzLlZhcmlhYmxlAwAAAAFfCQAAFwQAAAEAAAAAAAAAAWAJAAAXBAAAAAAAAAAAAAABYQkAABcEAAAAAAAAAAAAAAFiCQAAFwQAAAAAAAAAAAAAD9oIAAABAAAACNIBAAAF2wgAABpBcGxvcmlzLkJhc2UuT2JqZWN0cy5Db2xvcgcAAAASRGF0YU9iamVjdCttUGFyZW50FURhdGFPYmplY3QrbUNvbnRhaW5lcgVtVHlwZQRtUkdCEG1UaGVtZUNvbG9ySW5kZXgMbUF1dG9VcGRhdGVkCW1Nb2RpZmllZAQCAAAAAAAfQXBsb3Jpcy5CYXNlLk9iamVjdHMuTGluZUZvcm1hdAMAAAAICAgBAQMAAAAJbwcAAAoAAAAA////AA4AAAAAAAXcCAAAGkFwbG9yaXMuQmFzZS5PYmplY3RzLkNvbG9yBwAAABJEYXRhT2JqZWN0K21QYXJlbnQVRGF0YU9iamVjdCttQ29udGFpbmVyBW1UeXBlBG1SR0IQbVRoZW1lQ29sb3JJbmRleAxtQXV0b1VwZGF0ZWQJbU1vZGlmaWVkBAIAAAAAAB9BcGxvcmlzLkJhc2UuT2JqZWN0cy5MaW5lRm9ybWF0AwAAAAgICAEBAwAAAAlvBwAACgEAAAAAAAAA/////wABAd0IAAB4AAAACgoAAAAA7SElAAcAAAAAAAHeCAAAeAAAAAoKAQAAAP///wD/////AAAP3wgAAAEAAAAIwAEAAAHgCAAAeAAAAAoKAAAAAP///wAOAAAAAAAB4QgAAHgAAAAKCgAAAAD///8ADgAAAAABB+IIAAAAAQAAAAQAAAAEHUFwbG9yaXMuQmFzZS5PYmplY3RzLlZhcmlhYmxlAwAAAAFjCQAAFwQAAAEAAAAAAAAAAWQJAAAXBAAAAAAAAAAAAAABZQkAABcEAAAAAAAAAAAAAAFmCQAAFwQAAAAAAAAAAAAAD+MIAAABAAAACNYBAAAF5AgAABpBcGxvcmlzLkJhc2UuT2JqZWN0cy5Db2xvcgcAAAASRGF0YU9iamVjdCttUGFyZW50FURhdGFPYmplY3QrbUNvbnRhaW5lcgVtVHlwZQRtUkdCEG1UaGVtZUNvbG9ySW5kZXgMbUF1dG9VcGRhdGVkCW1Nb2RpZmllZAQCAAAAAAAfQXBsb3Jpcy5CYXNlLk9iamVjdHMuTGluZUZvcm1hdAMAAAAICAgBAQMAAAAJjAcAAAoAAAAA////AA4AAAAAAAXlCAAAGkFwbG9yaXMuQmFzZS5PYmplY3RzLkNvbG9yBwAAABJEYXRhT2JqZWN0K21QYXJlbnQVRGF0YU9iamVjdCttQ29udGFpbmVyBW1UeXBlBG1SR0IQbVRoZW1lQ29sb3JJbmRleAxtQXV0b1VwZGF0ZWQJbU1vZGlmaWVkBAIAAAAAAB9BcGxvcmlzLkJhc2UuT2JqZWN0cy5MaW5lRm9ybWF0AwAAAAgICAEBAwAAAAmMBwAACgEAAAAAAAAA/////wABAeYIAAB4AAAACgoAAAAA7SElAAcAAAAAAAHnCAAAeAAAAAoKAQAAAP///wD/////AAAP6AgAAAEAAAAIwQEAAAHpCAAAeAAAAAoKAAAAAP///wAOAAAAAAAB6ggAAHgAAAAKCgAAAAD///8ADgAAAAABB+sIAAAAAQAAAAQAAAAEHUFwbG9yaXMuQmFzZS5PYmplY3RzLlZhcmlhYmxlAwAAAAFnCQAAFwQAAAEAAAAAAAAAAWgJAAAXBAAAAAAAAAAAAAABaQkAABcEAAAAAAAAAAAAAAFqCQAAFwQAAAAAAAAAAAAAD+wIAAABAAAACGYBAAAF7QgAABpBcGxvcmlzLkJhc2UuT2JqZWN0cy5Db2xvcgcAAAASRGF0YU9iamVjdCttUGFyZW50FURhdGFPYmplY3QrbUNvbnRhaW5lcgVtVHlwZQRtUkdCEG1UaGVtZUNvbG9ySW5kZXgMbUF1dG9VcGRhdGVkCW1Nb2RpZmllZAQCAAAAAAAfQXBsb3Jpcy5CYXNlLk9iamVjdHMuTGluZUZvcm1hdAMAAAAICAgBAQMAAAAJqQcAAAoAAAAA////AA4AAAAAAAXuCAAAGkFwbG9yaXMuQmFzZS5PYmplY3RzLkNvbG9yBwAAABJEYXRhT2JqZWN0K21QYXJlbnQVRGF0YU9iamVjdCttQ29udGFpbmVyBW1UeXBlBG1SR0IQbVRoZW1lQ29sb3JJbmRleAxtQXV0b1VwZGF0ZWQJbU1vZGlmaWVkBAIAAAAAAB9BcGxvcmlzLkJhc2UuT2JqZWN0cy5MaW5lRm9ybWF0AwAAAAgICAEBAwAAAAmpBwAACgEAAAAAAAAA/////wABAe8IAAB4AAAACgoAAAAA7SElAAcAAAAAAAHwCAAAeAAAAAoKAQAAAP///wD/////AAAP8QgAAAEAAAAINAEAAAHyCAAAeAAAAAoKAAAAAP///wAOAAAAAAAB8wgAAHgAAAAKCgAAAAD///8ADgAAAAABB/QIAAAAAQAAAAQAAAAEHUFwbG9yaXMuQmFzZS5PYmplY3RzLlZhcmlhYmxlAwAAAAFrCQAAFwQAAAEAAAAAAAAAAWwJAAAXBAAAAAAAAAAAAAABbQkAABcEAAAAAAAAAAAAAAFuCQAAFwQAAAAAAAAAAAAAD/UIAAABAAAACFQBAAAF9ggAABpBcGxvcmlzLkJhc2UuT2JqZWN0cy5Db2xvcgcAAAASRGF0YU9iamVjdCttUGFyZW50FURhdGFPYmplY3QrbUNvbnRhaW5lcgVtVHlwZQRtUkdCEG1UaGVtZUNvbG9ySW5kZXgMbUF1dG9VcGRhdGVkCW1Nb2RpZmllZAQCAAAAAAAfQXBsb3Jpcy5CYXNlLk9iamVjdHMuTGluZUZvcm1hdAMAAAAICAgBAQMAAAAJxgcAAAoAAAAA////AA4AAAAAAAX3CAAAGkFwbG9yaXMuQmFzZS5PYmplY3RzLkNvbG9yBwAAABJEYXRhT2JqZWN0K21QYXJlbnQVRGF0YU9iamVjdCttQ29udGFpbmVyBW1UeXBlBG1SR0IQbVRoZW1lQ29sb3JJbmRleAxtQXV0b1VwZGF0ZWQJbU1vZGlmaWVkBAIAAAAAAB9BcGxvcmlzLkJhc2UuT2JqZWN0cy5MaW5lRm9ybWF0AwAAAAgICAEBAwAAAAnGBwAACgEAAAAAAAAA/////wABAfgIAAB4AAAACgoAAAAA7SElAAcAAAAAAAH5CAAAeAAAAAoKAQAAAP///wD/////AAAP+ggAAAEAAAAIMgEAAAH7CAAAeAAAAAoKAAAAAP///wAOAAAAAAAB/AgAAHgAAAAKCgAAAAD///8ADgAAAAABB/0IAAAAAQAAAAQAAAAEHUFwbG9yaXMuQmFzZS5PYmplY3RzLlZhcmlhYmxlAwAAAAFvCQAAFwQAAAEAAAAAAAAAAXAJAAAXBAAAAAAAAAAAAAABcQkAABcEAAAAAAAAAAAAAAFyCQAAFwQAAAAAAAAAAAAAD/4IAAABAAAACGkBAAAF/wgAABpBcGxvcmlzLkJhc2UuT2JqZWN0cy5Db2xvcgcAAAASRGF0YU9iamVjdCttUGFyZW50FURhdGFPYmplY3QrbUNvbnRhaW5lcgVtVHlwZQRtUkdCEG1UaGVtZUNvbG9ySW5kZXgMbUF1dG9VcGRhdGVkCW1Nb2RpZmllZAQCAAAAAAAfQXBsb3Jpcy5CYXNlLk9iamVjdHMuTGluZUZvcm1hdAMAAAAICAgBAQMAAAAJ4wcAAAoAAAAA////AA4AAAAAAAUACQAAGkFwbG9yaXMuQmFzZS5PYmplY3RzLkNvbG9yBwAAABJEYXRhT2JqZWN0K21QYXJlbnQVRGF0YU9iamVjdCttQ29udGFpbmVyBW1UeXBlBG1SR0IQbVRoZW1lQ29sb3JJbmRleAxtQXV0b1VwZGF0ZWQJbU1vZGlmaWVkBAIAAAAAAB9BcGxvcmlzLkJhc2UuT2JqZWN0cy5MaW5lRm9ybWF0AwAAAAgICAEBAwAAAAnjBwAACgEAAAAAAAAA/////wABAQEJAAB4AAAACgoAAAAA7SElAAcAAAAAAAECCQAAeAAAAAoKAQAAAP///wD/////AAAPAwkAAAEAAAAINQEAAAEECQAAeAAAAAoKAAAAAP///wAOAAAAAAABBQkAAHgAAAAKCgAAAAD///8ADgAAAAABBwYJAAAAAQAAAAQAAAAEHUFwbG9yaXMuQmFzZS5PYmplY3RzLlZhcmlhYmxlAwAAAAFzCQAAFwQAAAEAAAAAAAAAAXQJAAAXBAAAAAAAAAAAAAABdQkAABcEAAAAAAAAAAAAAAF2CQAAFwQAAAAAAAAAAAAADwcJAAABAAAACGoBAAAFCAkAABpBcGxvcmlzLkJhc2UuT2JqZWN0cy5Db2xvcgcAAAASRGF0YU9iamVjdCttUGFyZW50FURhdGFPYmplY3QrbUNvbnRhaW5lcgVtVHlwZQRtUkdCEG1UaGVtZUNvbG9ySW5kZXgMbUF1dG9VcGRhdGVkCW1Nb2RpZmllZAQCAAAAAAAfQXBsb3Jpcy5CYXNlLk9iamVjdHMuTGluZUZvcm1hdAMAAAAICAgBAQMAAAAJAAgAAAoAAAAA////AA4AAAAAAAUJCQAAGkFwbG9yaXMuQmFzZS5PYmplY3RzLkNvbG9yBwAAABJEYXRhT2JqZWN0K21QYXJlbnQVRGF0YU9iamVjdCttQ29udGFpbmVyBW1UeXBlBG1SR0IQbVRoZW1lQ29sb3JJbmRleAxtQXV0b1VwZGF0ZWQJbU1vZGlmaWVkBAIAAAAAAB9BcGxvcmlzLkJhc2UuT2JqZWN0cy5MaW5lRm9ybWF0AwAAAAgICAEBAwAAAAkACAAACgEAAAAAAAAA/////wABAQoJAAB4AAAACgoAAAAA7SElAAcAAAAAAAELCQAAeAAAAAoKAQAAAP///wD/////AAAPDAkAAAEAAAAIMQEAAAENCQAAeAAAAAoKAAAAAP///wAOAAAAAAABDgkAAHgAAAAKCgAAAAD///8ADgAAAAABBw8JAAAAAQAAAAQAAAAEHUFwbG9yaXMuQmFzZS5PYmplY3RzLlZhcmlhYmxlAwAAAAF3CQAAFwQAAAEAAAAAAAAAAXgJAAAXBAAAAAAAAAAAAAABeQkAABcEAAAAAAAAAAAAAAF6CQAAFwQAAAAAAAAAAAAADxAJAAABAAAACGwBAAAFEQkAABpBcGxvcmlzLkJhc2UuT2JqZWN0cy5Db2xvcgcAAAASRGF0YU9iamVjdCttUGFyZW50FURhdGFPYmplY3QrbUNvbnRhaW5lcgVtVHlwZQRtUkdCEG1UaGVtZUNvbG9ySW5kZXgMbUF1dG9VcGRhdGVkCW1Nb2RpZmllZAQCAAAAAAAfQXBsb3Jpcy5CYXNlLk9iamVjdHMuTGluZUZvcm1hdAMAAAAICAgBAQMAAAAJHQgAAAoAAAAA////AA4AAAAAAAUSCQAAGkFwbG9yaXMuQmFzZS5PYmplY3RzLkNvbG9yBwAAABJEYXRhT2JqZWN0K21QYXJlbnQVRGF0YU9iamVjdCttQ29udGFpbmVyBW1UeXBlBG1SR0IQbVRoZW1lQ29sb3JJbmRleAxtQXV0b1VwZGF0ZWQJbU1vZGlmaWVkBAIAAAAAAB9BcGxvcmlzLkJhc2UuT2JqZWN0cy5MaW5lRm9ybWF0AwAAAAgICAEBAwAAAAkdCAAACgEAAAAAAAAA/////wABARMJAAB4AAAACgoAAAAA7SElAAcAAAAAAAEUCQAAeAAAAAoKAQAAAP///wD/////AAAPFQkAAAEAAAAILgEAAAEWCQAAeAAAAAoKAAAAAP///wAOAAAAAAABFwkAAHgAAAAKCgAAAAD///8ADgAAAAABBxgJAAAAAQAAAAQAAAAEHUFwbG9yaXMuQmFzZS5PYmplY3RzLlZhcmlhYmxlAwAAAAF7CQAAFwQAAAEAAAAAAAAAAXwJAAAXBAAAAAAAAAAAAAABfQkAABcEAAAAAAAAAAAAAAF+CQAAFwQAAAAAAAAAAAAADxkJAAABAAAACBICAAAFGgkAABpBcGxvcmlzLkJhc2UuT2JqZWN0cy5Db2xvcgcAAAASRGF0YU9iamVjdCttUGFyZW50FURhdGFPYmplY3QrbUNvbnRhaW5lcgVtVHlwZQRtUkdCEG1UaGVtZUNvbG9ySW5kZXgMbUF1dG9VcGRhdGVkCW1Nb2RpZmllZAQCAAAAAAAfQXBsb3Jpcy5CYXNlLk9iamVjdHMuTGluZUZvcm1hdAMAAAAICAgBAQMAAAAJOggAAAoAAAAA////AA4AAAAAAAUbCQAAGkFwbG9yaXMuQmFzZS5PYmplY3RzLkNvbG9yBwAAABJEYXRhT2JqZWN0K21QYXJlbnQVRGF0YU9iamVjdCttQ29udGFpbmVyBW1UeXBlBG1SR0IQbVRoZW1lQ29sb3JJbmRleAxtQXV0b1VwZGF0ZWQJbU1vZGlmaWVkBAIAAAAAAB9BcGxvcmlzLkJhc2UuT2JqZWN0cy5MaW5lRm9ybWF0AwAAAAgICAEBAwAAAAk6CAAACgEAAAAAAAAA/////wABARwJAAB4AAAACgoAAAAA7SElAAcAAAAAAAEdCQAAeAAAAAoKAQAAAP///wD/////AAAPHgkAAAEAAAAIAAIAAAs="/>
</p:tagLst>
</file>

<file path=ppt/tags/tag258.xml><?xml version="1.0" encoding="utf-8"?>
<p:tagLst xmlns:a="http://schemas.openxmlformats.org/drawingml/2006/main" xmlns:r="http://schemas.openxmlformats.org/officeDocument/2006/relationships" xmlns:p="http://schemas.openxmlformats.org/presentationml/2006/main">
  <p:tag name="APLORISTAG" val="MMye9dfScROD87ZEs.296"/>
</p:tagLst>
</file>

<file path=ppt/tags/tag259.xml><?xml version="1.0" encoding="utf-8"?>
<p:tagLst xmlns:a="http://schemas.openxmlformats.org/drawingml/2006/main" xmlns:r="http://schemas.openxmlformats.org/officeDocument/2006/relationships" xmlns:p="http://schemas.openxmlformats.org/presentationml/2006/main">
  <p:tag name="APLORISTAG" val="MMye9dfScROD87ZEs.511"/>
</p:tagLst>
</file>

<file path=ppt/tags/tag26.xml><?xml version="1.0" encoding="utf-8"?>
<p:tagLst xmlns:a="http://schemas.openxmlformats.org/drawingml/2006/main" xmlns:r="http://schemas.openxmlformats.org/officeDocument/2006/relationships" xmlns:p="http://schemas.openxmlformats.org/presentationml/2006/main">
  <p:tag name="APLORISTAG" val="MX/IjfW661gLV+xOY.365"/>
</p:tagLst>
</file>

<file path=ppt/tags/tag260.xml><?xml version="1.0" encoding="utf-8"?>
<p:tagLst xmlns:a="http://schemas.openxmlformats.org/drawingml/2006/main" xmlns:r="http://schemas.openxmlformats.org/officeDocument/2006/relationships" xmlns:p="http://schemas.openxmlformats.org/presentationml/2006/main">
  <p:tag name="APLORISTAG" val="MMye9dfScROD87ZEs.446"/>
</p:tagLst>
</file>

<file path=ppt/tags/tag261.xml><?xml version="1.0" encoding="utf-8"?>
<p:tagLst xmlns:a="http://schemas.openxmlformats.org/drawingml/2006/main" xmlns:r="http://schemas.openxmlformats.org/officeDocument/2006/relationships" xmlns:p="http://schemas.openxmlformats.org/presentationml/2006/main">
  <p:tag name="APLORISTAG" val="MMye9dfScROD87ZEs.297"/>
</p:tagLst>
</file>

<file path=ppt/tags/tag262.xml><?xml version="1.0" encoding="utf-8"?>
<p:tagLst xmlns:a="http://schemas.openxmlformats.org/drawingml/2006/main" xmlns:r="http://schemas.openxmlformats.org/officeDocument/2006/relationships" xmlns:p="http://schemas.openxmlformats.org/presentationml/2006/main">
  <p:tag name="APLORISTAG" val="MMye9dfScROD87ZEs.447"/>
</p:tagLst>
</file>

<file path=ppt/tags/tag263.xml><?xml version="1.0" encoding="utf-8"?>
<p:tagLst xmlns:a="http://schemas.openxmlformats.org/drawingml/2006/main" xmlns:r="http://schemas.openxmlformats.org/officeDocument/2006/relationships" xmlns:p="http://schemas.openxmlformats.org/presentationml/2006/main">
  <p:tag name="APLORISTAG" val="MMye9dfScROD87ZEs.299"/>
</p:tagLst>
</file>

<file path=ppt/tags/tag264.xml><?xml version="1.0" encoding="utf-8"?>
<p:tagLst xmlns:a="http://schemas.openxmlformats.org/drawingml/2006/main" xmlns:r="http://schemas.openxmlformats.org/officeDocument/2006/relationships" xmlns:p="http://schemas.openxmlformats.org/presentationml/2006/main">
  <p:tag name="APLORISTAG" val="MMye9dfScROD87ZEs.300"/>
</p:tagLst>
</file>

<file path=ppt/tags/tag265.xml><?xml version="1.0" encoding="utf-8"?>
<p:tagLst xmlns:a="http://schemas.openxmlformats.org/drawingml/2006/main" xmlns:r="http://schemas.openxmlformats.org/officeDocument/2006/relationships" xmlns:p="http://schemas.openxmlformats.org/presentationml/2006/main">
  <p:tag name="APLORISTAG" val="MMye9dfScROD87ZEs.448"/>
</p:tagLst>
</file>

<file path=ppt/tags/tag266.xml><?xml version="1.0" encoding="utf-8"?>
<p:tagLst xmlns:a="http://schemas.openxmlformats.org/drawingml/2006/main" xmlns:r="http://schemas.openxmlformats.org/officeDocument/2006/relationships" xmlns:p="http://schemas.openxmlformats.org/presentationml/2006/main">
  <p:tag name="APLORISTAG" val="MMye9dfScROD87ZEs.449"/>
</p:tagLst>
</file>

<file path=ppt/tags/tag267.xml><?xml version="1.0" encoding="utf-8"?>
<p:tagLst xmlns:a="http://schemas.openxmlformats.org/drawingml/2006/main" xmlns:r="http://schemas.openxmlformats.org/officeDocument/2006/relationships" xmlns:p="http://schemas.openxmlformats.org/presentationml/2006/main">
  <p:tag name="APLORISTAG" val="MMye9dfScROD87ZEs.302"/>
</p:tagLst>
</file>

<file path=ppt/tags/tag268.xml><?xml version="1.0" encoding="utf-8"?>
<p:tagLst xmlns:a="http://schemas.openxmlformats.org/drawingml/2006/main" xmlns:r="http://schemas.openxmlformats.org/officeDocument/2006/relationships" xmlns:p="http://schemas.openxmlformats.org/presentationml/2006/main">
  <p:tag name="APLORISTAG" val="MMye9dfScROD87ZEs.512"/>
</p:tagLst>
</file>

<file path=ppt/tags/tag269.xml><?xml version="1.0" encoding="utf-8"?>
<p:tagLst xmlns:a="http://schemas.openxmlformats.org/drawingml/2006/main" xmlns:r="http://schemas.openxmlformats.org/officeDocument/2006/relationships" xmlns:p="http://schemas.openxmlformats.org/presentationml/2006/main">
  <p:tag name="APLORISTAG" val="MMye9dfScROD87ZEs.309"/>
</p:tagLst>
</file>

<file path=ppt/tags/tag27.xml><?xml version="1.0" encoding="utf-8"?>
<p:tagLst xmlns:a="http://schemas.openxmlformats.org/drawingml/2006/main" xmlns:r="http://schemas.openxmlformats.org/officeDocument/2006/relationships" xmlns:p="http://schemas.openxmlformats.org/presentationml/2006/main">
  <p:tag name="APLORISTAG" val="MX/IjfW661gLV+xOY.35"/>
</p:tagLst>
</file>

<file path=ppt/tags/tag270.xml><?xml version="1.0" encoding="utf-8"?>
<p:tagLst xmlns:a="http://schemas.openxmlformats.org/drawingml/2006/main" xmlns:r="http://schemas.openxmlformats.org/officeDocument/2006/relationships" xmlns:p="http://schemas.openxmlformats.org/presentationml/2006/main">
  <p:tag name="APLORISTAG" val="MMye9dfScROD87ZEs.306"/>
</p:tagLst>
</file>

<file path=ppt/tags/tag271.xml><?xml version="1.0" encoding="utf-8"?>
<p:tagLst xmlns:a="http://schemas.openxmlformats.org/drawingml/2006/main" xmlns:r="http://schemas.openxmlformats.org/officeDocument/2006/relationships" xmlns:p="http://schemas.openxmlformats.org/presentationml/2006/main">
  <p:tag name="APLORISTAG" val="MMye9dfScROD87ZEs.305"/>
</p:tagLst>
</file>

<file path=ppt/tags/tag272.xml><?xml version="1.0" encoding="utf-8"?>
<p:tagLst xmlns:a="http://schemas.openxmlformats.org/drawingml/2006/main" xmlns:r="http://schemas.openxmlformats.org/officeDocument/2006/relationships" xmlns:p="http://schemas.openxmlformats.org/presentationml/2006/main">
  <p:tag name="APLORISTAG" val="MMye9dfScROD87ZEs.308"/>
</p:tagLst>
</file>

<file path=ppt/tags/tag273.xml><?xml version="1.0" encoding="utf-8"?>
<p:tagLst xmlns:a="http://schemas.openxmlformats.org/drawingml/2006/main" xmlns:r="http://schemas.openxmlformats.org/officeDocument/2006/relationships" xmlns:p="http://schemas.openxmlformats.org/presentationml/2006/main">
  <p:tag name="APLORISTAG" val="MMye9dfScROD87ZEs.311"/>
</p:tagLst>
</file>

<file path=ppt/tags/tag274.xml><?xml version="1.0" encoding="utf-8"?>
<p:tagLst xmlns:a="http://schemas.openxmlformats.org/drawingml/2006/main" xmlns:r="http://schemas.openxmlformats.org/officeDocument/2006/relationships" xmlns:p="http://schemas.openxmlformats.org/presentationml/2006/main">
  <p:tag name="APLORISTAG" val="MMye9dfScROD87ZEs.318"/>
</p:tagLst>
</file>

<file path=ppt/tags/tag275.xml><?xml version="1.0" encoding="utf-8"?>
<p:tagLst xmlns:a="http://schemas.openxmlformats.org/drawingml/2006/main" xmlns:r="http://schemas.openxmlformats.org/officeDocument/2006/relationships" xmlns:p="http://schemas.openxmlformats.org/presentationml/2006/main">
  <p:tag name="APLORISTAG" val="MMye9dfScROD87ZEs.450"/>
</p:tagLst>
</file>

<file path=ppt/tags/tag276.xml><?xml version="1.0" encoding="utf-8"?>
<p:tagLst xmlns:a="http://schemas.openxmlformats.org/drawingml/2006/main" xmlns:r="http://schemas.openxmlformats.org/officeDocument/2006/relationships" xmlns:p="http://schemas.openxmlformats.org/presentationml/2006/main">
  <p:tag name="APLORISTAG" val="MMye9dfScROD87ZEs.313"/>
</p:tagLst>
</file>

<file path=ppt/tags/tag277.xml><?xml version="1.0" encoding="utf-8"?>
<p:tagLst xmlns:a="http://schemas.openxmlformats.org/drawingml/2006/main" xmlns:r="http://schemas.openxmlformats.org/officeDocument/2006/relationships" xmlns:p="http://schemas.openxmlformats.org/presentationml/2006/main">
  <p:tag name="APLORISTAG" val="MMye9dfScROD87ZEs.315"/>
</p:tagLst>
</file>

<file path=ppt/tags/tag278.xml><?xml version="1.0" encoding="utf-8"?>
<p:tagLst xmlns:a="http://schemas.openxmlformats.org/drawingml/2006/main" xmlns:r="http://schemas.openxmlformats.org/officeDocument/2006/relationships" xmlns:p="http://schemas.openxmlformats.org/presentationml/2006/main">
  <p:tag name="APLORISTAG" val="MMye9dfScROD87ZEs.314"/>
</p:tagLst>
</file>

<file path=ppt/tags/tag279.xml><?xml version="1.0" encoding="utf-8"?>
<p:tagLst xmlns:a="http://schemas.openxmlformats.org/drawingml/2006/main" xmlns:r="http://schemas.openxmlformats.org/officeDocument/2006/relationships" xmlns:p="http://schemas.openxmlformats.org/presentationml/2006/main">
  <p:tag name="APLORISTAG" val="MMye9dfScROD87ZEs.513"/>
</p:tagLst>
</file>

<file path=ppt/tags/tag28.xml><?xml version="1.0" encoding="utf-8"?>
<p:tagLst xmlns:a="http://schemas.openxmlformats.org/drawingml/2006/main" xmlns:r="http://schemas.openxmlformats.org/officeDocument/2006/relationships" xmlns:p="http://schemas.openxmlformats.org/presentationml/2006/main">
  <p:tag name="APLORISTAG" val="MX/IjfW661gLV+xOY.38"/>
</p:tagLst>
</file>

<file path=ppt/tags/tag280.xml><?xml version="1.0" encoding="utf-8"?>
<p:tagLst xmlns:a="http://schemas.openxmlformats.org/drawingml/2006/main" xmlns:r="http://schemas.openxmlformats.org/officeDocument/2006/relationships" xmlns:p="http://schemas.openxmlformats.org/presentationml/2006/main">
  <p:tag name="APLORISTAG" val="MMye9dfScROD87ZEs.451"/>
</p:tagLst>
</file>

<file path=ppt/tags/tag281.xml><?xml version="1.0" encoding="utf-8"?>
<p:tagLst xmlns:a="http://schemas.openxmlformats.org/drawingml/2006/main" xmlns:r="http://schemas.openxmlformats.org/officeDocument/2006/relationships" xmlns:p="http://schemas.openxmlformats.org/presentationml/2006/main">
  <p:tag name="APLORISTAG" val="MMye9dfScROD87ZEs.544"/>
</p:tagLst>
</file>

<file path=ppt/tags/tag282.xml><?xml version="1.0" encoding="utf-8"?>
<p:tagLst xmlns:a="http://schemas.openxmlformats.org/drawingml/2006/main" xmlns:r="http://schemas.openxmlformats.org/officeDocument/2006/relationships" xmlns:p="http://schemas.openxmlformats.org/presentationml/2006/main">
  <p:tag name="APLORISTAG" val="MMye9dfScROD87ZEs.545"/>
</p:tagLst>
</file>

<file path=ppt/tags/tag283.xml><?xml version="1.0" encoding="utf-8"?>
<p:tagLst xmlns:a="http://schemas.openxmlformats.org/drawingml/2006/main" xmlns:r="http://schemas.openxmlformats.org/officeDocument/2006/relationships" xmlns:p="http://schemas.openxmlformats.org/presentationml/2006/main">
  <p:tag name="APLORISTAG" val="MMye9dfScROD87ZEs.546"/>
</p:tagLst>
</file>

<file path=ppt/tags/tag284.xml><?xml version="1.0" encoding="utf-8"?>
<p:tagLst xmlns:a="http://schemas.openxmlformats.org/drawingml/2006/main" xmlns:r="http://schemas.openxmlformats.org/officeDocument/2006/relationships" xmlns:p="http://schemas.openxmlformats.org/presentationml/2006/main">
  <p:tag name="APLORISTAG" val="MMye9dfScROD87ZEs.547"/>
</p:tagLst>
</file>

<file path=ppt/tags/tag285.xml><?xml version="1.0" encoding="utf-8"?>
<p:tagLst xmlns:a="http://schemas.openxmlformats.org/drawingml/2006/main" xmlns:r="http://schemas.openxmlformats.org/officeDocument/2006/relationships" xmlns:p="http://schemas.openxmlformats.org/presentationml/2006/main">
  <p:tag name="APLORISTAG" val="MMye9dfScROD87ZEs.548"/>
</p:tagLst>
</file>

<file path=ppt/tags/tag286.xml><?xml version="1.0" encoding="utf-8"?>
<p:tagLst xmlns:a="http://schemas.openxmlformats.org/drawingml/2006/main" xmlns:r="http://schemas.openxmlformats.org/officeDocument/2006/relationships" xmlns:p="http://schemas.openxmlformats.org/presentationml/2006/main">
  <p:tag name="APLORISTAG" val="MMye9dfScROD87ZEs.549"/>
</p:tagLst>
</file>

<file path=ppt/tags/tag287.xml><?xml version="1.0" encoding="utf-8"?>
<p:tagLst xmlns:a="http://schemas.openxmlformats.org/drawingml/2006/main" xmlns:r="http://schemas.openxmlformats.org/officeDocument/2006/relationships" xmlns:p="http://schemas.openxmlformats.org/presentationml/2006/main">
  <p:tag name="APLORISTAG" val="MMye9dfScROD87ZEs.550"/>
</p:tagLst>
</file>

<file path=ppt/tags/tag288.xml><?xml version="1.0" encoding="utf-8"?>
<p:tagLst xmlns:a="http://schemas.openxmlformats.org/drawingml/2006/main" xmlns:r="http://schemas.openxmlformats.org/officeDocument/2006/relationships" xmlns:p="http://schemas.openxmlformats.org/presentationml/2006/main">
  <p:tag name="APLORISTAG" val="MMye9dfScROD87ZEs.551"/>
</p:tagLst>
</file>

<file path=ppt/tags/tag289.xml><?xml version="1.0" encoding="utf-8"?>
<p:tagLst xmlns:a="http://schemas.openxmlformats.org/drawingml/2006/main" xmlns:r="http://schemas.openxmlformats.org/officeDocument/2006/relationships" xmlns:p="http://schemas.openxmlformats.org/presentationml/2006/main">
  <p:tag name="APLORISTAG" val="MMye9dfScROD87ZEs.552"/>
</p:tagLst>
</file>

<file path=ppt/tags/tag29.xml><?xml version="1.0" encoding="utf-8"?>
<p:tagLst xmlns:a="http://schemas.openxmlformats.org/drawingml/2006/main" xmlns:r="http://schemas.openxmlformats.org/officeDocument/2006/relationships" xmlns:p="http://schemas.openxmlformats.org/presentationml/2006/main">
  <p:tag name="APLORISTAG" val="MX/IjfW661gLV+xOY.43"/>
</p:tagLst>
</file>

<file path=ppt/tags/tag290.xml><?xml version="1.0" encoding="utf-8"?>
<p:tagLst xmlns:a="http://schemas.openxmlformats.org/drawingml/2006/main" xmlns:r="http://schemas.openxmlformats.org/officeDocument/2006/relationships" xmlns:p="http://schemas.openxmlformats.org/presentationml/2006/main">
  <p:tag name="APLORISTAG" val="MMye9dfScROD87ZEs.553"/>
</p:tagLst>
</file>

<file path=ppt/tags/tag291.xml><?xml version="1.0" encoding="utf-8"?>
<p:tagLst xmlns:a="http://schemas.openxmlformats.org/drawingml/2006/main" xmlns:r="http://schemas.openxmlformats.org/officeDocument/2006/relationships" xmlns:p="http://schemas.openxmlformats.org/presentationml/2006/main">
  <p:tag name="APLORISTAG" val="MMye9dfScROD87ZEs.554"/>
</p:tagLst>
</file>

<file path=ppt/tags/tag292.xml><?xml version="1.0" encoding="utf-8"?>
<p:tagLst xmlns:a="http://schemas.openxmlformats.org/drawingml/2006/main" xmlns:r="http://schemas.openxmlformats.org/officeDocument/2006/relationships" xmlns:p="http://schemas.openxmlformats.org/presentationml/2006/main">
  <p:tag name="APLORISTAG" val="MMye9dfScROD87ZEs.555"/>
</p:tagLst>
</file>

<file path=ppt/tags/tag293.xml><?xml version="1.0" encoding="utf-8"?>
<p:tagLst xmlns:a="http://schemas.openxmlformats.org/drawingml/2006/main" xmlns:r="http://schemas.openxmlformats.org/officeDocument/2006/relationships" xmlns:p="http://schemas.openxmlformats.org/presentationml/2006/main">
  <p:tag name="APLORISTAG" val="MMye9dfScROD87ZEs.556"/>
</p:tagLst>
</file>

<file path=ppt/tags/tag294.xml><?xml version="1.0" encoding="utf-8"?>
<p:tagLst xmlns:a="http://schemas.openxmlformats.org/drawingml/2006/main" xmlns:r="http://schemas.openxmlformats.org/officeDocument/2006/relationships" xmlns:p="http://schemas.openxmlformats.org/presentationml/2006/main">
  <p:tag name="APLORISTAG" val="MMye9dfScROD87ZEs.43"/>
</p:tagLst>
</file>

<file path=ppt/tags/tag295.xml><?xml version="1.0" encoding="utf-8"?>
<p:tagLst xmlns:a="http://schemas.openxmlformats.org/drawingml/2006/main" xmlns:r="http://schemas.openxmlformats.org/officeDocument/2006/relationships" xmlns:p="http://schemas.openxmlformats.org/presentationml/2006/main">
  <p:tag name="APLORISTAG" val="MMye9dfScROD87ZEs.38"/>
</p:tagLst>
</file>

<file path=ppt/tags/tag296.xml><?xml version="1.0" encoding="utf-8"?>
<p:tagLst xmlns:a="http://schemas.openxmlformats.org/drawingml/2006/main" xmlns:r="http://schemas.openxmlformats.org/officeDocument/2006/relationships" xmlns:p="http://schemas.openxmlformats.org/presentationml/2006/main">
  <p:tag name="APLORISTAG" val="MMye9dfScROD87ZEs.36"/>
</p:tagLst>
</file>

<file path=ppt/tags/tag297.xml><?xml version="1.0" encoding="utf-8"?>
<p:tagLst xmlns:a="http://schemas.openxmlformats.org/drawingml/2006/main" xmlns:r="http://schemas.openxmlformats.org/officeDocument/2006/relationships" xmlns:p="http://schemas.openxmlformats.org/presentationml/2006/main">
  <p:tag name="APLORISTAG" val="MMye9dfScROD87ZEs.35"/>
</p:tagLst>
</file>

<file path=ppt/tags/tag298.xml><?xml version="1.0" encoding="utf-8"?>
<p:tagLst xmlns:a="http://schemas.openxmlformats.org/drawingml/2006/main" xmlns:r="http://schemas.openxmlformats.org/officeDocument/2006/relationships" xmlns:p="http://schemas.openxmlformats.org/presentationml/2006/main">
  <p:tag name="APLORISTAG" val="MMye9dfScROD87ZEs.37"/>
</p:tagLst>
</file>

<file path=ppt/tags/tag299.xml><?xml version="1.0" encoding="utf-8"?>
<p:tagLst xmlns:a="http://schemas.openxmlformats.org/drawingml/2006/main" xmlns:r="http://schemas.openxmlformats.org/officeDocument/2006/relationships" xmlns:p="http://schemas.openxmlformats.org/presentationml/2006/main">
  <p:tag name="APLORISTAG" val="MMye9dfScROD87ZEs.44"/>
</p:tagLst>
</file>

<file path=ppt/tags/tag3.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3////9/////f////3//ARUAAAAUAAAA//9/////f////3////9//wAAAAAABRYAAAAsQXBsb3Jpcy5DaGFydC5BeGlzQnJlYWsrQXhpc0JyZWFrRGlzcGxheU1vZGUBAAAAB3ZhbHVlX18ACAIAAAABAAAAAQEBCgoJFwAAAAoKAAAAAAAJGAAAAAoJGQAAAAAAAAAKBRoAAAAZQXBsb3Jpcy5DaGFydC5PcmllbnRhdGlvbgEAAAAHdmFsdWVfXwAIAgAAAAEAAAAJGwAAAAEcAAAAFAAAAHXRPUI2OYZBu2gZRJAlqUMABB0AAAALU3lzdGVtLkd1aWQLAAAAAl9hAl9iAl9jAl9kAl9lAl9mAl9nAl9oAl9pAl9qAl9rAAAAAAAAAAAAAAAIBwcCAgICAgICAgAAAAAAAAAAAAAAAAAAAAAACgoJHgAAAAAKCgoBAAAAAAAAAP////8AAAEfAAAAFAAAAIsuFEN00bVBMELUQuiiS0HNRVdBd1cBQ9L9J0QXXb9DBSAAAAAVU3lzdGVtLkRyYXdpbmcuUG9pbnRGAgAAAAF4AXkAAAsLBAAAAADg7EKeHhJDBiEAAAAQNzhueUx3TEZoOHU1akVxTA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wLjAuMTQ4NiwgQ3VsdHVyZT1uZXV0cmFsLCBQdWJsaWNLZXlUb2tlbj0xNmZjMTNhMjI2YzBlOTUxXV0DAAAAmwFBcGxvcmlzLkJhc2UuT2JqZWN0cy5EYXRhT2JqZWN0Q29sbGVjdGlvbmAxW1tBcGxvcmlzLkNoYXJ0LkF4aXNCcmVhaywgQXBsb3Jpcy5DaGFydCwgVmVyc2lvbj00LjAuMC4xNDg2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AuMC4xNDg2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SYAAAAWQXBsb3Jpcy5DaGFydC5BeGlzVHlwZQEAAAAHdmFsdWVfXwAIAgAAAAEAAACamRk/AAAACgkBAAAACScAAAAJKAAAAAEAAAAAAAAAAAEAAAAAAADwPwGamZmZmZm5PwAAACBBAAEJKQAAAAoJKgAAAAkrAAAACSwAAAABLQAAACAAAAB10T1CI4mxQwEuAAAAIAAAANJFJUQjibFDCS8AAAAJMAAAAAkxAAAACTIAAAAAAAAAAAAAAAAAAAAJMwAAAAAAAAAAAAk0AAAACQEAAAAJAQAAAAk1AAAAAQcAAAAGAAAACQEAAAABNgAAACYAAAAAAAAAzcxMPwAAAAgBAAkBAAAACTcAAAAJOAAAAAEAAAAAAAAAAAEAAAAAAADwPwGamZmZmZm5PwAAACBBAQEJOQAAAAoJOgAAAAk7AAAACTwAAAABPQAAACAAAAB10T1CI4mxQwE+AAAAIAAAAHXRPUI2OYZBCT8AAAAJQAAAAAlBAAAACUIAAAAAAAAAAAAAAAAAAAAJQwAAAAAAAAAAAAlEAAAACQEAAAAJAQAAAAlFAAAABAgAAACoAVN5c3RlbS5Db2xsZWN0aW9ucy5HZW5lcmljLkxpc3RgMVtbQXBsb3Jpcy5DaGFydC5Db2x1bW5PcmllbnRlZENoYXJ0K1VudXNlZFNlcmllcywgQXBsb3Jpcy5DaGFydCwgVmVyc2lvbj00LjAuMC4xNDg2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AuMC4xNDg2LCBDdWx0dXJlPW5ldXRyYWwsIFB1YmxpY0tleVRva2VuPTE2ZmMxM2EyMjZjMGU5NTFdXQMAAACXAVN5c3RlbS5Db2xsZWN0aW9ucy5HZW5lcmljLkxpc3RgMVtbQXBsb3Jpcy5DaGFydC5DaGFydERhdGFTZXJpZXM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RwAAAAlIAAAACQEAAAAJAQAAAAlJAAAABQoAAACmAUFwbG9yaXMuQmFzZS5PYmplY3RzLkRhdGFPYmplY3RDb2xsZWN0aW9uYDFbW0FwbG9yaXMuQ2hhcnQuQW5ub3RhdGlvbk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C4wLjE0ODYsIEN1bHR1cmU9bmV1dHJhbCwgUHVibGljS2V5VG9rZW49MTZmYzEzYTIyNmMwZTk1MV1dAwAAAJwBU3lzdGVtLkNvbGxlY3Rpb25zLkdlbmVyaWMuTGlzdGAxW1tBcGxvcmlzLkNoYXJ0LkFubm90YXRpb25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oAAAAJSwAAAAkBAAAACQEAAAAJTAAAAAULAAAAoQFBcGxvcmlzLkJhc2UuT2JqZWN0cy5EYXRhT2JqZWN0Q29sbGVjdGlvbmAxW1tBcGxvcmlzLkNoYXJ0LkFubm90YXRpb25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C4wLjE0ODYsIEN1bHR1cmU9bmV1dHJhbCwgUHVibGljS2V5VG9rZW49MTZmYzEzYTIyNmMwZTk1MV1dAwAAAJcBU3lzdGVtLkNvbGxlY3Rpb25zLkdlbmVyaWMuTGlzdGAxW1tBcGxvcmlzLkNoYXJ0LkFubm90YXRpb25Hcm91c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NAAAACU4AAAAJAQAAAAkBAAAACU8AAAAFDAAAAKABQXBsb3Jpcy5CYXNlLk9iamVjdHMuRGF0YU9iamVjdENvbGxlY3Rpb25gMVtbQXBsb3Jpcy5DaGFydC5DaGFydERhdGF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wLjAuMTQ4NiwgQ3VsdHVyZT1uZXV0cmFsLCBQdWJsaWNLZXlUb2tlbj0xNmZjMTNhMjI2YzBlOTUxXV0DAAAAlgFTeXN0ZW0uQ29sbGVjdGlvbnMuR2VuZXJpYy5MaXN0YDFbW0FwbG9yaXMuQ2hhcnQuQ2hhcnREYXRh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UAAAAAlRAAAACQEAAAAJAQAAAAlSAAAABQ0AAACaAUFwbG9yaXMuQmFzZS5PYmplY3RzLkRhdGFPYmplY3RDb2xsZWN0aW9uYDFbW0FwbG9yaXMuQ2hhcnQuRGVsdGFCYXI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C4wLjE0ODYsIEN1bHR1cmU9bmV1dHJhbCwgUHVibGljS2V5VG9rZW49MTZmYzEzYTIyNmMwZTk1MV1dAwAAAJABU3lzdGVtLkNvbGxlY3Rpb25zLkdlbmVyaWMuTGlzdGAxW1tBcGxvcmlzLkNoYXJ0LkRlbHRhQmF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MAAAAJVAAAAAkBAAAACQEAAAAJVQAAAAUOAAAAnQFBcGxvcmlzLkJhc2UuT2JqZWN0cy5EYXRhT2JqZWN0Q29sbGVjdGlvbmAxW1tBcGxvcmlzLkNoYXJ0LkRlbHRhQnJpZGdlLCBBcGxvcmlzLkNoYXJ0LCBWZXJzaW9uPTQuMC4wLjE0ODY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AuMC4xNDg2LCBDdWx0dXJlPW5ldXRyYWwsIFB1YmxpY0tleVRva2VuPTE2ZmMxM2EyMjZjMGU5NTFdXQMAAACTAVN5c3RlbS5Db2xsZWN0aW9ucy5HZW5lcmljLkxpc3RgMVtbQXBsb3Jpcy5DaGFydC5EZWx0YUJyaWRn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WAAAACVcAAAAJAQAAAAkBAAAACVgAAAAFDwAAAJ0BQXBsb3Jpcy5CYXNlLk9iamVjdHMuRGF0YU9iamVjdENvbGxlY3Rpb25gMVtbQXBsb3Jpcy5DaGFydC5Hcm93dGhBcnJvdy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wLjAuMTQ4NiwgQ3VsdHVyZT1uZXV0cmFsLCBQdWJsaWNLZXlUb2tlbj0xNmZjMTNhMjI2YzBlOTUxXV0DAAAAkwFTeXN0ZW0uQ29sbGVjdGlvbnMuR2VuZXJpYy5MaXN0YDFbW0FwbG9yaXMuQ2hhcnQuR3Jvd3RoQXJyb3c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WQAAAAlaAAAACQEAAAAJAQAAAAlbAAAABRAAAACkAUFwbG9yaXMuQmFzZS5PYmplY3RzLkRhdGFPYmplY3RDb2xsZWN0aW9uYDFbW0FwbG9yaXMuQ2hhcnQuV2F0ZXJmYWxs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wLjAuMTQ4NiwgQ3VsdHVyZT1uZXV0cmFsLCBQdWJsaWNLZXlUb2tlbj0xNmZjMTNhMjI2YzBlOTUxXV0DAAAAmgFTeXN0ZW0uQ29sbGVjdGlvbnMuR2VuZXJpYy5MaXN0YDFbW0FwbG9yaXMuQ2hhcnQuV2F0ZXJmYWxsQ29ubmVjdG9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wAAAAJXQAAAAkBAAAACQEAAAAJXgAAAAURAAAAogFBcGxvcmlzLkJhc2UuT2JqZWN0cy5EYXRhT2JqZWN0Q29sbGVjdGlvbmAxW1tBcGxvcmlzLkNoYXJ0LkVsZW1lbnRDb25uZWN0b3I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wLjAuMTQ4NiwgQ3VsdHVyZT1uZXV0cmFsLCBQdWJsaWNLZXlUb2tlbj0xNmZjMTNhMjI2YzBlOTUxXV0DAAAAmAFTeXN0ZW0uQ29sbGVjdGlvbnMuR2VuZXJpYy5MaXN0YDFbW0FwbG9yaXMuQ2hhcnQuRWxlbWVud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QAAAAgBAAAAAgAAAAMAAAAEAAAABQAAAAUb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aAAAACAAAAB10T1CNjmGQQFpAAAAIAAAANJFJUQjibFDCWoAAAAJawAAAAAAAAAKBWwAAAAUU3lzdGVtLkRyYXdpbmcuU2l6ZUYCAAAABXdpZHRoBmhlaWdodAAACwsEAAAAAAAAAAAAAAABbQAAAGwAAAAAAAAAAAAAAAAAAAABbgAAABQAAAAAAAAAAAAAAAAAAAAAAAAAFAAAAP////8BAQoJbwAAAAEACgAPHgAAAOk3AAACUEsDBBQABgAIAAAAIQBJEqz3jAEAAHg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d1OwjAUvjfxHZbemq3AhTGGwQXopZKID1DbA1vo2qan/L29ZwOMkrlJWOLNmq39/s52zobjXaGjDXjMrUlZP+mxCIy0KjfLlL3Pn+MHFmEQRgltDaRsD8jGo9ub4XzvACNCG0xZFoJ75BxlBoXAxDowtLOwvhCBbv2SOyFXYgl80Ovdc2lNABPiUHKw0XAKC7HWIXra0eODE4KzaHI4V0qlTDincykCGeXlLq/FbRpxG6POzMV2scglKCvXBVlKCD/1YkvxfxHwoLHBWY3CMXpCyMo9ZrnDu2OEV6q9zxVEM+HDiygoKN9pvrV+9WHtKmmuQ43aWR50HoTCDCAUOqnWpBC5+YN+dRh5tfQ7NlLmq4gv9DH4Jx+BPmzg1fX6UlQ0LcEx7DVgx2kPpG3KmfCg3oKnHujcwHfuFh/SFmVH4vX1/tkDJ942eaHlJKNO6fgdyBNvkz6No5m3DmlSerjcwGnilOjYERH4kEPjzPlSpDF7ueDZ0IFyjitQNdq8+m+MPgE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ABBmPgJAQAAz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zWrDMBCE74W+g9h7LdttQymRc2gp5NqmDyDktWViS0a7/fHbVyTUcSC4F9PjzqKZj5G03nx3rfjEQI13CrIkBYHO+LJxtYL33cvNAwhi7UrdeocKBiTYFNdX61dsNcdDZJueRHRxpMAy949SkrHYaUp8jy5uKh86zXEMtey12esaZZ6mKxmmHlCceYptqSBsy1sQu6GPyX97+6pqDD5789Gh4wsRkiMXRkMdamQFh/EoZkkEBXmZ4W5JBuKhjSWOEMd5Lv5+0XirA5ZvHOINTymm8hzMakkYo1vzZHXjTnWM0hxEtiTElw97soh8ghglkofN7OvI/xkm/21Gnv3B4gcAAP//AwBQSwMEFAAGAAgAAAAhAHIQge/PAQAABAMAAA8AAAB4bC93b3JrYm9vay54bWyMUtuO0zAQfUfiHyy/t3adpFRVklXpRVRCaMVl99k4bmOtL5HtkKwQ/76ThECBF57GM+O5nDMnv+uNRt+kD8rZAq+WFCNphauUvRb4y+fTYoNRiNxWXDsrC/wsA74rX7/KO+efvjr3hKCBDQWuY2y2hARRS8PD0jXSQubivOERXH8lofGSV6GWMhpNGKVrYriyeOqw9f/Tw10uSsiDE62RNk5NvNQ8wvqhVk3AZX5RWj5MiBBvmg/cwN69xkjzEI+VirIqcAau6+QfAd82b1ulIcvWlKaYlL9Q3nvE2+j2zgCIEO6ViC08CkyHXwMPD0p24XfB4KL+UdnKdQVeQz+MnmeXUQZuNyYfVRVrYH4DhMyxd1Jd6whBlqTjAHIzYSQQJo0W2RHdrtHOq3DgkcO5BobPgGKFkd8qePhztRr2vC355IxEH3mH/ipiN0VsKCLzQMG1AB4GM3ZPKaUwQjgrWu/hHHvI/GRE9vF9iGUOFrVeFfj7m4wlx+yQLFh2Sha77EgXq3XCFuv0xLJ0z1iasR+zFkz/jxiMEt4Fd4lL4QyZdAD6EUT2Qo5y2kxyKnPTb3de1OcDOml+hSNNOGAXQDNvRmYBly8AAAD//wMAUEsDBBQABgAIAAAAIQDOB1WaUwcAAM5YAAANAAAAeGwvc3R5bGVzLnhtbOxcS2/jNhC+F+h/EBT0mMjW0w5sL5pk3S6wXQRICvQqS7QtrB6GJO/aW/S/d0iKluSHLIV0mhTMwZHk4XD4cWY4pEcz+rCJQuUbSrMgicdq/6anKij2Ej+IF2P1z+fp9UBVstyNfTdMYjRWtyhTP0x+/mmU5dsQPS0RyhVgEWdjdZnnq1tNy7wlitzsJlmhGL6ZJ2nk5nCbLrRslSLXz3CjKNT0Xs/WIjeIVcrhNvLaMInc9Ot6de0l0crNg1kQBvmW8FKVyLv9tIiT1J2FIOqmb7oe401uDthHgZcmWTLPb4CdlszngYcOpRxqQw04TUbxOppGeaZ4yTrOx6q+e6TQbz75AKFtqgod9H3igxi9m94vqsYa1yitOuXV1RUj1oquJqN5Epc99mF6yEhuv8bJ93iKv4MuQQ5MNhllP5RvbghP+rhHLwmTVMlhOkAM8iR2I0Qp7t0wmKUBJpu7URBu6WMdPyAzWNBFAeCJH2q0B/o5w1RFX0P8Le0qiH20QQDCYK+3Z3eZRC4mPOisxpfxvLT87fv5LQhD5cmNswMMjvFIF7OxOp32yB9uUQJ+mtGsAmangZ+fp/UZ1r26jHxKca6zPZ3g6+wY+oWm7w3qNPA7HkTrqQp3nEGivRmoNahJzS/gB5MReKgcpfEUK1Fx/bxdgTXG4EypRhG6M9SL1N32davSQCMdTkazJPXBeTOPhD0BfTQZhWiew/SnwWKJ/+fJCj5nSZ6Dp5uM/MBdJLEbwqXGWhQXMBwPheETdvB/zXe8BwYw38wrDgycEXYH2OvhSxhJcUkZ0hvooNZoWDbSTzZS3NUq3E6BOWFN74B/eXdHBl7e/xoGizhC1QaPaZIjLycLG9GJmhwV4U/LsS+8bATrH5vvYupfhJ59Zuq/rKMZSqckdignGdtReSdSBZw3Jo/EB1xKg/VJfCQ+PC5f6o/UH6k/l1tPpX1J+5L2Je0LNkxk8/ba8bz0P9L/SP8j/Y/0P/R8Tp5vNPtDiY/Eh2e9kPoj9Ufqz+XiDWlf0r6kfUn7+q/ieel/pP+R/kf6H+l/6HmCPF9t9ocSH4kPz3rxoqQq2YgnJa0RPa2aEUnzIyupkQbOuzyVXQhLxvx4aqSymR/PkcRNziZW7loXyZIkN47k2J6SxDgvSTXxsl/8dsfy7Nh9Ra/xuF2WeakskzT4AXLjDHQPUjFRqirfU3f1jDaQx0lE0zbz00jhxPlGpGCKKomhTB4albC7tyMtwP2OpAXw35G08ObEZaTFWdMttLZvk3c3aDB0Vm8hGiDS1n8FZxpL05x3d4Ud0xZc2gyv9eSBV7FGnOx9YIDdhgIb4f/LUODNpncylBZLyPGhNGTQtuZZd69dnP8JdcPm0nZ1Y1bR3XJeWVCAs0mZakb9yqK9DoadVnrRyic0ymBTWffLXSatExZnVw8OeS6ymjF52thkJ9QusV5dTNguKgcrTXNgy6SsqxzP4n/U90I3zPPi17AaY23nsiEWv3wsqKpjVl+teBDsZMTn4WSB0zsRlwVHb0Jc7o1rQxx0fuaAgiztwqGg3rn0evCKJnnFszlEPyvwgHmTNg5aoL2UAyk2/0dtvLbdOD+WlwcvXLZ/kbGw44s3OS+VtQFvbRvXBqZgdYtotdYTnWeKQU7V4Byt8sJx/XXj3ambgl+kh1frkzBMviNf+R3eok7DIP4K9RDIIRqujDBbB2EexPhMDRRrGfg+wjUtsE11YASzJIYRBHZiGMFKJ4YROHUhjHRRYOuiwNZFga2LAlsXBbYhCmxDFNiGKLANUWAbosA2RYFtigLbFAW2KQpsUxTYliiwLVFgW6LAtkSBbYkC2xYFti0KbFwoSchyZIsC2xYFtiMKbEcU2E43sA/iKwioKnMFODWGVwfNoa4RX3vYAnL1DzEtV3vYvnO158RP58RP58QPig9xjV/nxE/nxA9+oeeS3+DEz+DEz+DEz+DEz+TEz+TEz+TEz+TEz+TEz+LEz+LEz+LEz+LEz+LEz+bEz+bED//cz+P/bU78bE78HE78nG74fcGFu0J2NlMPhkhdp/3zmEeU4kND1qIuLSl8t9+C1B/tm6YzMPq63jfx7pYeBbUixwOi5LT4Hyt4Vxw07XMfQvhEyc1jx0l75HYfIlJKbrchx/tgSj5oQ+7syI0W5E4fdIdyd5rIB8OBNRyYPbzUF+SNSBb0Og4tCvrGwTJ67AoL+jby6INSnkZ0Cv4m3p4W/Glp0hNTy+idHT0cnB85KmRzW9BbvZL+6NHiPj1euqk8A6JqZSohnHv6m7LAIuk9x7Vrn3Dpxd1JKJiPj+buOsyfd1+O1fL6D+QH6wjUv6B6DL4lOWExVsvrz7gOJOgljBDS8T5nUC0W/ivrNBirf3+8c4YPH6f69aB3N7g2DWRdD627h2vLvL97eJgOe3rv/h8YBi70ewsFaDkK6ZKCv5AD2DdvsxDK7abFYAvhn8pnY7VyQ8XH0msgNv0kg9AI3qQQ8eRfAA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vBioEXAGAADHFAAAGAAAAHhsL3dvcmtzaGVldHMvc2hlZXQyLnhtbJRY227jNhB9L9B/EPQemXdKRpxifb8lXXTb3WdFlhNhbcuV5CTbov/eIRXJIqkutgmQ2IeHI3JmeDia21/ejgfvJS3KLD+NfBwg30tPSb7LTk8j/4/f5zeh75VVfNrFh/yUjvxvaen/cvfzT7evefG1fE7TygMLp3LkP1fVeTgYlMlzeozLID+nJxjZ58UxruBr8TQoz0Ua7/Sk42FAEBKDY5yd/NrCsPgRG/l+nyXpNE8ux/RU1UaK9BBXsP7yOTuXjbVj8iPmjnHx9XK+SfLjGUw8Zoes+qaN+t4xGa6eTnkRPx5g32+YxUljW39xzB+zpMjLfF8FYG5QL9TdczSIBmDp7naXwQ6U270i3Y/8D3j4gJk/uLvVDvqcpa9l57NX5edtuq8m6eEAZOZ7KgCPef5VMVe7kY/AZpke0kS5wovh30v6zsYEgvjn+2OIesagfUj3c/PAuQ7ax8J7jMt0kh++ZLvqGbIDkmOX7uPLofotf12m2dNzBSisRTtkuPs2TcsEwqIW02xkGlfx3W2Rv3oQXwzrOMcqW/AQ5t3dJgr9oOCRT8E8TC0Bfrkj5HbwAmtL3jnjlgOG9ayJg0wdZOYgcwdZOMjSQVYOsnaQjYNsHeTeQR66yADc1PpKxazHVwrWoVBR7PKpyfd0bCDyjZPV+MjX0df+G9cA/G2dHpo+n9QMiG/LiEzG1GVgZFJmPRRsUuY9FCv8ix4KNa0seyjMpKx6KNykrHsowqRseijSpGx7KJZz73solncfagrv+J9cvWsEH2LUTRYdfKkUoT5ganjki64hKwbjmiL14WMB4ZGgLAxDRkNMaTi7sQIyqfmh5tNAcIwxFzgUAhMuhcOfdvkkYJQhKZGMMJIcMenwZ10+CxAXMuKY4pDxkGHgW9Gfd/kowDwkmCOMMMNRKEOLveiySUAoJlRSQjjmBFNnMcsuHYxHSIiISowjITnjlvGVxZaCScTDkFBOIoYt9tpih4RzLkMUUYoECa2s2XTZNEDMDJSz8m2Xj4PaGSQSmAnEmBum+y4/DDCmPEJEUBFhEVLuuP2h5kc6DcAzKOKUMhFyHoVUyutejWyFROxma5OlCrauAWqd4HHLaa8BB5k6yMxB5g6ycJClg6wcZO0gGwfZdhHDD7LXDwsF90q8qsU6V4I+5Vy0p1wNwzyh7t5a4lvkquDkGpP6Gu3jWF6f9nEs4Zz1cSzlnPdxrAxfvHOirlhZwrjssUOvyqj3terhEEum1z0cagnjpo9jieG2h/NfSg37cmIYXkshNQwxhBRo71xqRWz8zqm1Fw4do5HxY95FE5tubXBqjEeBQMYPcTRlZkyQgTAeHkXOhLkxARYcWrmzMAjwRGvHS2McBcjawsoY54E0doDcLaz/74SNMUEJnXVEtjaBX3PWOPNYFXydQ9yIn8Yt9WPW+RlfSc0Rn7jQ1IVmLjR3oYULLV1o5UJrF9q40NaF7l3owYBM11klsTopBKqj5FJW+bF+aYGz42tdFNfqR7/+AFW/lNTC2EC41cpJA8FDrkfPStRpQ4LK7EqyojTrJVnSM+8l2VrYS7omlt7Lso/EbDXsJVnHaN1LsrRu00uyDuy2IUF50PqJXY+MGVZV5nZOxHfDinl73eG6PIawqhdGy7/jZhQu3+sKrHBOGlJd9nIoM5mEygV+EQsRxo4STZsZjfhSjCVUmVANCi6hrrK8NbP5jEmoj6DQRJwiySIrd+YmPwwYYTyCWgqK2RAh4ha+C3MGCgiGYpxA9Qs1quRcWDm1NPkikBSq2CgUnCDBEIHq1wrmypwBLwdgHjQfcyh+EVTYzoy1OcPKxc13R7fN6HtN2V5mZs6ourOTM+8qOlPNCKt2qlsddRvimBZPuilSekl+UY0KCsnTop1OjNIFGxdDKOV6cKxaN1pJBu0UaKWc46f0Pi6eslPpHaB1A12RQIJcFXXfpP4CbR0tWY95BRpWqxc0yVJoi6AAyPs8r5ov8Ghl81NaXc5eXmTQadF9r5F/zouqiLMKpA/wv3IYOEzP2chn8MYB4SURqBp0+aoscQfAbPpWbctK//cuBcz7G1IBso3imw9ijG64+kOERDdSEjyWExRBmfBP0w87vv1YM+wYJ4P0LUl18y+sm3/g5rfhx+1n7z7fQZ8NekC/ntKPsE39+csnWLD+CKuEubBG9VcvdvDatCDv/gUAAP//AwBQSwMEFAAGAAgAAAAhAPtipW2UBgAApxsAABMAAAB4bC90aGVtZS90aGVtZTEueG1s7FlPb9s2FL8P2HcgdG9tJ7YbB3WK2LGbrU0bxG6HHmmZllhTokDSSX0b2uOAAcO6YZcBu+0wbCvQArt0nyZbh60D+hX2SEqyGMtL0gYb1tWHRCJ/fP/f4yN19dqDiKFDIiTlcdurXa56iMQ+H9M4aHt3hv1LGx6SCsdjzHhM2t6cSO/a1vvvXcWbKiQRQbA+lpu47YVKJZuVivRhGMvLPCExzE24iLCCVxFUxgIfAd2IVdaq1WYlwjT2UIwjIHt7MqE+QUNN0tvKiPcYvMZK6gGfiYEmTZwVBjue1jRCzmWXCXSIWdsDPmN+NCQPlIcYlgom2l7V/LzK1tUK3kwXMbVibWFd3/zSdemC8XTN8BTBKGda69dbV3Zy+gbA1DKu1+t1e7WcngFg3wdNrSxFmvX+Rq2T0SyA7OMy7W61Ua27+AL99SWZW51Op9FKZbFEDcg+1pfwG9VmfXvNwRuQxTeW8PXOdrfbdPAGZPHNJXz/SqtZd/EGFDIaT5fQ2qH9fko9h0w42y2FbwB8o5rCFyiIhjy6NIsJj9WqWIvwfS76ANBAhhWNkZonZIJ9iOIujkaCYs0AbxJcmLFDvlwa0ryQ9AVNVNv7MMGQEQt6r55//+r5U/Tq+ZPjh8+OH/50/OjR8cMfLS1n4S6Og+LCl99+9ufXH6M/nn7z8vEX5XhZxP/6wye//Px5ORAyaCHRiy+f/PbsyYuvPv39u8cl8G2BR0X4kEZEolvkCB3wCHQzhnElJyNxvhXDEFNnBQ6Bdgnpngod4K05ZmW4DnGNd1dA8SgDXp/dd2QdhGKmaAnnG2HkAPc4Zx0uSg1wQ/MqWHg4i4Ny5mJWxB1gfFjGu4tjx7W9WQJVMwtKx/bdkDhi7jMcKxyQmCik5/iUkBLt7lHq2HWP+oJLPlHoHkUdTEtNMqQjJ5AWi3ZpBH6Zl+kMrnZss3cXdTgr03qHHLpISAjMSoQfEuaY8TqeKRyVkRziiBUNfhOrsEzIwVz4RVxPKvB0QBhHvTGRsmzNbQH6Fpx+A0O9KnX7HptHLlIoOi2jeRNzXkTu8Gk3xFFShh3QOCxiP5BTCFGM9rkqg+9xN0P0O/gBxyvdfZcSx92nF4I7NHBEWgSInpmJEl9eJ9yJ38GcTTAxVQZKulOpIxr/XdlmFOq25fCubLe9bdjEypJn90SxXoX7D5boHTyL9wlkxfIW9a5Cv6vQ3ltfoVfl8sXX5UUphiqtGxLba5vOO1rZeE8oYwM1Z+SmNL23hA1o3IdBvc4cOkl+EEtCeNSZDAwcXCCwWYMEVx9RFQ5CnEDfXvM0kUCmpAOJEi7hvGiGS2lrPPT+yp42G/ocYiuHxGqPj+3wuh7Ojhs5GSNVYM60GaN1TeCszNavpERBt9dhVtNCnZlbzYhmiqLDLVdZm9icy8HkuWowmFsTOhsE/RBYuQnHfs0azjuYkbG2u/VR5hbjhYt0kQzxmKQ+0nov+6hmnJTFypIiWg8bDPrseIrVCtxamuwbcDuLk4rs6ivYZd57Ey9lEbzwElA7mY4sLiYni9FR22s11hoe8nHS9iZwVIbHKAGvS91MYhbAfZOvhA37U5PZZPnCm61MMTcJanD7Ye2+pLBTBxIh1Q6WoQ0NM5WGAIs1Jyv/WgPMelEKlFSjs0mxvgHB8K9JAXZ0XUsmE+KrorMLI9p29jUtpXymiBiE4yM0YjNxgMH9OlRBnzGVcONhKoJ+ges5bW0z5RbnNOmKl2IGZ8cxS0KclludolkmW7gpSLkM5q0gHuhWKrtR7vyqmJS/IFWKYfw/U0XvJ3AFsT7WHvDhdlhgpDOl7XGhQg5VKAmp3xfQOJjaAdECV7wwDUEFd9TmvyCH+r/NOUvDpDWcJNUBDZCgsB+pUBCyD2XJRN8pxGrp3mVJspSQiaiCuDKxYo/IIWFDXQObem/3UAihbqpJWgYM7mT8ue9pBo0C3eQU882pZPnea3Pgn+58bDKDUm4dNg1NZv9cxLw9WOyqdr1Znu29RUX0xKLNqmdZAcwKW0ErTfvXFOGcW62tWEsarzUy4cCLyxrDYN4QJXCRhPQf2P+o8Jn94KE31CE/gNqK4PuFJgZhA1F9yTYeSBdIOziCxskO2mDSpKxp09ZJWy3brC+40835njC2luws/j6nsfPmzGXn5OJFGju1sGNrO7bS1ODZkykKQ5PsIGMcY76UFT9m8dF9cPQOfDaYMSVNMMGnKoGhhx6YPIDktxzN0q2/AAAA//8DAFBLAwQUAAYACAAAACEAxLLUUDoFAADtDwAAGAAAAHhsL3dvcmtzaGVldHMvc2hlZXQxLnhtbIyXbW/bNhDH3w/Yd9D0ZhuwWKKsR8N2kdiJI6PFimZtX9MSbQuVTE9iEmfDvvuOEiXzQSiaF4795/H44+moO87fXarSeiF1U9DTwkYT17bIKaN5cTos7M9/PdzEttUwfMpxSU9kYb+Rxn63/Pmn+SutvzVHQpgFHk7Nwj4ydp45TpMdSYWbCT2TE4zsaV1hBj/rg9Oca4LzdlJVOp7rhk6Fi5PdeZjVP+KD7vdFRtY0e67IiXVOalJiBvzNsTg3vbdL/kP+8hq/wl57Hglx3Y0M/pBv8FVFVtOG7tkko5XToZm7TJxE2WeVGY5GglXh+tvz+QYcn2Fzu6Is2Fu7Xduqsll6ONEa70p4Ihfk40yixKb7H+cET8t5XkBseUJYNdkv7Fs026LAdpbz9tF9KchrI323GN49kZJkjOSQQbbFM2NH6TdumILkgsumNeAuccaKF7IiZbmwNz4k19/tIht/9ujzNZxhEfl7v+BDm04fa2uHG7Ki5dciZ0dYFdI2J3v8XLKrGE/iqedOkRcMg5/o6yMpDkcGU2DtNnSz/G1NmgyyiaMCQUZLWA4+rargZwICji/dzsRqaAIuG/bGww/DO9Kwh4L7tK3suWG06rGEu86RJxyFEKLOkUzYu/OUOVG/OGzwO5OQMgkNyOE0hm1+ZyKf53QbbuO+xgwv5zV9teD0gJvmjPnZRjMeYR42L4anmfHROz4MQ7At0BuQX5bu3HnhDoXJasRkqpqshQlgDl6CQLW5H7MJBxsHcAdmoJGZBcgtl9sNDYugYX63G2HhdfuYTD11fCPGp22k+f4fDSU1lK2sKJzTcU4uq5wax52w6DnDWOMU4xKnoaSGspUVhZOfUCkH+nhyWeX0VY6VsOg5EdIeanv2wYUEKqZcldRQtrKigPITOQLKZRVU41gJiwE0vmZWmxkbYXDFejSU1FC2sqKAwvEfA+WyCqpxrIRFD+rFcSL/6YkgzCVsQ0kNZSsrCja8icawuaxiR1oiCIse23dVbM18I8wlbENJDWUrKwo2b19G0oLLKravgayFSccdTTw51kkS3N9oJ3MjJkjkhpIaylZWFPJknJzLGrn25NfCZIg4Qgq7Zr4R5hK3oaSGspUVhZtXirGQt7pGnqi5su5tenRPQ9fsN729xG5KqSltFUnF58VmJGN4UdUCH2jlbt3b9PhIO8Kb3kDmFX6vUmpabRVJ5eUlZoxXlB65rmo1b81rN9/TwOurmWKEWy5n7cvxsXch4xtWW8VKxeeVZwxfVCR4jQ4lO9BqzD0Uj4F/v3z6/OG3X59oRaxP+NXincyvv2zQdPYeTX+fO/u2P5l4XuSHsM3AD9wIhe71MKhYvM5IWFrvc8u7Rx45BU97Idz3Rjy8+6WOtkbQCgmqKUIRclEyjcIgSkJ09aRS8aLyPSpRdBQqreG658z9Qx8PGsT1D532QQ6iHwRR5MaBG8d+EHvJ9dXZ4XY9fNdLnvGBfMD1oTg1Vkn28DDdCbyt664Lb78zem5VANtRBu1z/+sI10UCrZY7gQe9p5T1P6Br5X6fCHs+W7QuoHlvb4AL+0xrVuOCQbcK+j8UBsr1uVjYvpf4SRh5CWQn3HdZkZkD4LYkB5y9ibufVc+KfGHXad422OTC3jdsOYf/1nMNPv8Nfdf1oim6uQ3v3JuAf3hh5N5EkYfuopWbhK77X383q+ASoV2SRy9mFc4ccslIe0WOu6vjcl5dZh/ff7E+0BwuHfCK/fNEPkII2u9fn2Az7VfezgNe99nCOsNFffk/AAAA//8DAFBLAwQUAAYACAAAACEAzYVdahcDAABYCQAAFAAAAHhsL3NoYXJlZFN0cmluZ3MueG1snFbfT9swEH5H4n+w8gQaIYXRbZraogrWjQfUai2b9ug6l+Ykx+5sp6z763dOW8hsugFv7t13v7+7tHf5q5JsBcaiVv3k7LSTMFBC56gW/eRuNko/JMw6rnIutYJ+sgabXA4OD3rWOka2yvaT0rnlxyyzooSK21O9BEWaQpuKO/ppFpldGuC5LQFcJbPzTuddVnFUCRO6Vq6fdClKrfBnDVdbwftk0LM46LnBZ1A5mF7mBr3MSzbSWy4hlI0ofCwdLiLgnffI3nZDB2+76cVFKLzopt1I2O2+CXEjLmrp1uweXcm44DlUKBjPV2ipmcyAXWplcY4SHYKNzGspU4cVsInRBVg/EC7Z1PGiYEPvRUdNGO6i+K5ZkDFiQpP1frJbUI7cfQEuKb29+Gs0IJw2TG+DUupZE93XMMwrVGid4QQJC6C0V9q6UPwNhS8JLOaUAiPXW0mDZkeohKw93Rinmj3VnD3xby2QO6A3OHF6HLq9Bq5eb7yr8rXRr7Q2lPNTbbgqEQp2ozb0pyGycVFQDww7uroZH7OMbRAzEKXSUi/WLcBsHBXappWu3SuYNXaljz6RwC0wuwSBxTqK873kjs2BtjoHKwzSk611bZhDJ4GRsvmFypKgdlTYZTiT2Q558wgKMVNXNzyYgllRV6I12OmHRcHRROpPymgpK8+kW674AvwzjOFp2uxPZN4s/sLwvCZq0W4R8eIUHrZqx/vI/27tZjXtAVE3BIyIGoroK9kQ81DZag4BvoIFbkQZoh6SoLWihCvizTUsuXFN7UfTl06xqJXwQ6OQnG7xs+Y5erQZkk2U4uM1wBWwO4XRJCb1XKI4YRfpmqr0y8/nehXd44nBlR+I0i6lvUmXdAHRPdvsJSbbhM6bhMKK9uXxb3Q7/B7kNqqks566ki7XHtyePjzXrp3J/2xmmr4HYQOmD8e/xdIQtPl6np10Op1Q1QjT7lOqRpiedZ7SbaTp+ZPKjTT+3NJtSn8Qqw4PNiwLcxm1AJu+hojZvW48hPJW7bQuU/wdEfZvxGy9bCEy+mc0+AMAAP//AwBQSwMEFAAGAAgAAAAhAOzXlByYAgAADwcAABsAAAB4bC9kcmF3aW5ncy92bWxEcmF3aW5nMS52bWzsVctu2zAQvOcrCOXgiw098mjASAaCFLm1BZo+jgEt0RYTkiuIa1nO13dJyY7doEXQHnqpAIoUd7i7MxxAeW80o2Ed74po3Vruyloa4WZGlS04WOKsBMM7o6OTEQi/A8JyqUrJh2l/pH/DEdmX8qWIoXZqxIbHsRHlN6PvQ19fWxXNT1gO3NWikVpsYY2s47LHIpKVQh/1YVUZ0RwFWCVQFFEaxT5BfJRhnndDQtw2kqmqiB76hJ4HzJIsYiVAWzn1LIsoSy+TZBreEaMcDdX1GKraCKyLyCTTRI+IAXf0Tno5tEgFsYUnyR5BWYdbTcmNQtmG/hg15POxVSsqJS0GuvBUROjLlmCtLNF3W0QtrUZSByz2lA7puDTJLiI2nDs94ji0MGnAKVRguVg40GuU18TMiHal7EzLJfLLqwavxw2EhqcJfW9UhTVPs3Na11KtauSpxz3PlK1kz1OfpVNOLZRWuOW1qippr42D2aYVzSwU5+gPTthSaV2ChraITpf0yNRTJpEkGqiIsFgj7ET0YLofQmcvcH/DXkESrYINAzvItnDlupV0uYNce41/0tOClftLQHLWAno2yuM7rpRXnDSaCY3cNzPx9VheqW6H88corFaWe9Um8zymaGgr7viYNHz2/Fb7C35P7mSfFo+U+ku41o+Ag1VY3vMP0MnvCutbqbUL9PzuPVny9e6NLWtoQ0ssmbLLq6mfUhpnNL2jQRt53PMDICW7ISJ3pOb8TmgnQ3y3E9j1/DNs5qkP+MW4d0smMXYe8o1rrz2BXmgRNifWwcK/tOXl39kyzdJjX2YHtvRWHG0ZYDtbZv9t+W9sSQ68yIIt6X0+ZZm3JE1nf2rL4L/XtgxufZstY/oLzn8AAAD//wMAUEsDBBQABgAIAAAAIQCYDHbyNAEAABI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V9LwzAUxd8Fv0PJe5ukRRmh7UBliDgQnCi+heSuCzZ/SKLdvr1ZN+tkPl7OuT/Oubeeb3WffYEPypoG0YKgDIywUpmuQS+rRT5DWYjcSN5bAw3aQUDz9vKiFo4J6+HJWwc+KghZIpnAhGvQJkbHMA5iA5qHIjlMEtfWax7T6DvsuPjgHeCSkGusIXLJI8d7YO4mIjoipZiQ7tP3I0AKDD1oMDFgWlD8643gdfh3YVROnFrFnUudjnFP2VIcxMm9DWoyDsNQDNUYI+Wn+G35+DxWzZXZ30oAamspmPDAo/VtjU+HdLieh7hMN14rkDe79sEaHjfcZPfWJwAoU+NzVyKOBZg+bmYpEzs0+JFeq9u71QK1JaFXOS1zQlclYdWMkep9n+IvIAU7+2L7DQAA//8DAFBLAwQUAAYACAAAACEAdP7pBA8BAAAiAgAAEAAAAHhsL2NvbW1lbnRzMS54bWy8UMtOwzAQvCPxD9beqZMcUEGxKzgUIXFAonyAiTeNJT8ir1ulfD1b0nDgxAnJsjzj2ZnRtpspeHHETC5FBfWqAoGxS9bFvYL33fZmDYKKidb4FFHBCQk2+vqq7VIIGAsJNoikYChlvJeSugGDoVUaMfJPn3IwhWHeSxozGksDYgleNlV1K4NxEXRrDmVImZaH1K38oS45L46KXkJFxl7BYw1ilj1bBRX7FJxYlPm88vXBPvQpjsYruAMGXfIpCxctTsgT6/pM5m2KZRbtzJCCOZO9Cc6fZrY5E/LbseinnA6jsEhddmPhnVErOVJynJzT5aXwr7IPzf+XfcPskP7Yduk9L3pBpL8AAAD//wMAUEsDBBQABgAIAAAAIQDZZieJkQEAAC8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TU8bMRCG70j9D5bvxEuKUBV5jRC04lDUiAR6nnpnsxZee+UZlqS/vt6sQjb0UKm3+Xj9+vF49PW29aLHRC6GUl7MCikw2Fi5sCnl0/rb+RcpiCFU4GPAUu6Q5LX5dKaXKXaY2CGJbBGolA1zt1CKbIMt0Cy3Q+7UMbXAOU0bFevaWbyL9rXFwGpeFFcKt4yhwuq8ezeUo+Oi5/81raId+Oh5vesysNE3XeedBc6vNA/OpkixZvEA1gWO1IivW4teq6lMZ84V2tfkeGcKraapXlnweJuvMDV4Qq2OBX2PMIxvCS6R0T0verQckyD3Ow9wLsUvIBzAStlDchA4Aw6yMdnHviNO5mdML9QgMmmVBWNxH06109hdmvlekINT4WAwguTGKeLasUf6US8h8b+I9wwj74hz0/mYHN0BwxTyHXcVWxSP8CY+Kk6APiB8d+GFnrp1zIfwMOLTol41kLDKv3LoHwv6Pk83+cHktoGwweqg+bsxrMbzuP/m4nJWfC7yX09qWh033fwBAAD//wMAUEsDBBQABgAIAAAAIQDFvWExnwAAAM4AAAAQAAAAeGwvY2FsY0NoYWluLnhtbESOTQrCMBCF94J3CLO3af1DpGkXoifQA4R0bALJpGSC6O2NIO3mwfsefLy2fwcvXpjYRVLQVDUIJBMHR6OCx/22OYHgrGnQPhIq+CBD361XrdHeXKx2JIqBWIHNeTpLycZi0FzFCaksz5iCzqWmUfKUUA9sEXPwclvXRxmKALrWiKTg2uxAuHIChP+lnPnhzxeyX4icn3RfAAAA//8DAFBLAQItABQABgAIAAAAIQBJEqz3jAEAAHgGAAATAAAAAAAAAAAAAAAAAAAAAABbQ29udGVudF9UeXBlc10ueG1sUEsBAi0AFAAGAAgAAAAhAFB8TsH2AAAATAIAAAsAAAAAAAAAAAAAAAAAxQMAAF9yZWxzLy5yZWxzUEsBAi0AFAAGAAgAAAAhAABBmPgJAQAAzAMAABoAAAAAAAAAAAAAAAAA7AYAAHhsL19yZWxzL3dvcmtib29rLnhtbC5yZWxzUEsBAi0AFAAGAAgAAAAhAHIQge/PAQAABAMAAA8AAAAAAAAAAAAAAAAANQkAAHhsL3dvcmtib29rLnhtbFBLAQItABQABgAIAAAAIQDOB1WaUwcAAM5YAAANAAAAAAAAAAAAAAAAADELAAB4bC9zdHlsZXMueG1sUEsBAi0AFAAGAAgAAAAhAOdldbjWAAAAuAEAACMAAAAAAAAAAAAAAAAArxIAAHhsL3dvcmtzaGVldHMvX3JlbHMvc2hlZXQxLnhtbC5yZWxzUEsBAi0AFAAGAAgAAAAhALwYqBFwBgAAxxQAABgAAAAAAAAAAAAAAAAAxhMAAHhsL3dvcmtzaGVldHMvc2hlZXQyLnhtbFBLAQItABQABgAIAAAAIQD7YqVtlAYAAKcbAAATAAAAAAAAAAAAAAAAAGwaAAB4bC90aGVtZS90aGVtZTEueG1sUEsBAi0AFAAGAAgAAAAhAMSy1FA6BQAA7Q8AABgAAAAAAAAAAAAAAAAAMSEAAHhsL3dvcmtzaGVldHMvc2hlZXQxLnhtbFBLAQItABQABgAIAAAAIQDNhV1qFwMAAFgJAAAUAAAAAAAAAAAAAAAAAKEmAAB4bC9zaGFyZWRTdHJpbmdzLnhtbFBLAQItABQABgAIAAAAIQDs15QcmAIAAA8HAAAbAAAAAAAAAAAAAAAAAOopAAB4bC9kcmF3aW5ncy92bWxEcmF3aW5nMS52bWxQSwECLQAUAAYACAAAACEAmAx28jQBAAASAgAAEQAAAAAAAAAAAAAAAAC7LAAAZG9jUHJvcHMvY29yZS54bWxQSwECLQAUAAYACAAAACEAdP7pBA8BAAAiAgAAEAAAAAAAAAAAAAAAAAAmLwAAeGwvY29tbWVudHMxLnhtbFBLAQItABQABgAIAAAAIQDZZieJkQEAAC8DAAAQAAAAAAAAAAAAAAAAAGMwAABkb2NQcm9wcy9hcHAueG1sUEsBAi0AFAAGAAgAAAAhAMW9YTGfAAAAzgAAABAAAAAAAAAAAAAAAAAAKjMAAHhsL2NhbGNDaGFpbi54bWxQSwUGAAAAAA8ADwDcAwAA9zMAAAAABSI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AAAAAFQXJpYWwGcQAAAAYrbW4tZWEJcgAAAAEACXMAAAAHIwAAAAABAAAAEQAAAAQUU3lzdGVtLkRyYXdpbmcuQ29sb3IEAAAABXQAAAAUU3lzdGVtLkRyYXdpbmcuQ29sb3IEAAAABXZhbHVlBXN0YXRlCmtub3duQ29sb3IEbmFtZQAAAAEJBwcEAAAAAAAAAAAAAAAAAAAACgF1AAAAdAAAAAAAAP//////AgAAAAoBdgAAAHQAAAD//////////wIAAAAKAXcAAAB0AAAATkEi//////8CAAAACgF4AAAAdAAAAN7c2///////AgAAAAoBeQAAAHQAAAB+aT///////wIAAAAKAXoAAAB0AAAAjIRy//////8CAAAACgF7AAAAdAAAACUh7f//////AgAAAAoBfAAAAHQAAAA0O0b//////wIAAAAKAX0AAAB0AAAAdJjD//////8CAAAACgF+AAAAdAAAAB6U9///////AgAAAAoBfwAAAHQAAAAelPf//////wIAAAAKAYAAAAB0AAAAJSHt//////8CAAAACgGBAAAAdAAAAAAAAP//////AgAAAAoBggAAAHQAAAD//////////wIAAAAKAYMAAAB0AAAATkEi//////8CAAAACgGEAAAAdAAAAN7c2///////AgAAAAoEJAAAAJgBU3lzdGVtLkNvbGxlY3Rpb25zLkdlbmVyaWMuTGlzdGAxW1tBcGxvcmlzLkJhc2UuT2JqZWN0cy5EYXRhT2JqZWN0LCBBcGxvcmlzLkJhc2UsIFZlcnNpb249NC4wLjAuMTQ4NiwgQ3VsdHVyZT1uZXV0cmFsLCBQdWJsaWNLZXlUb2tlbj0xNmZjMTNhMjI2YzBlOTUxXV0DAAAABl9pdGVtcwVfc2l6ZQhfdmVyc2lvbgQAACFBcGxvcmlzLkJhc2UuT2JqZWN0cy5EYXRhT2JqZWN0W10DAAAACAgJhQAAAAwAAAAMAAAABCUAAACVAVN5c3RlbS5Db2xsZWN0aW9ucy5HZW5lcmljLkxpc3RgMVtbQXBsb3Jpcy5CYXNlLlVJLlZpc3VhbE9iamVjdCwgQXBsb3Jpcy5CYXNlLCBWZXJzaW9uPTQuMC4wLjE0ODYsIEN1bHR1cmU9bmV1dHJhbCwgUHVibGljS2V5VG9rZW49MTZmYzEzYTIyNmMwZTk1MV1dAwAAAAZfaXRlbXMFX3NpemUIX3ZlcnNpb24EAAAeQXBsb3Jpcy5CYXNlLlVJLlZpc3VhbE9iamVjdFtdAwAAAAgICYYAAAABAAAAAQAAAAUnAAAAmwFBcGxvcmlzLkJhc2UuT2JqZWN0cy5EYXRhT2JqZWN0Q29sbGVjdGlvbmAxW1tBcGxvcmlzLkNoYXJ0LlZhbHVl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C4wLjE0ODYsIEN1bHR1cmU9bmV1dHJhbCwgUHVibGljS2V5VG9rZW49MTZmYzEzYTIyNmMwZTk1MV1dAwAAAJEBU3lzdGVtLkNvbGxlY3Rpb25zLkdlbmVyaWMuTGlzdGAxW1tBcGxvcmlzLkNoYXJ0LlZhbHVl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HAAAACYgAAAAJBgAAAAkBAAAACYkAAAAFKAAAAJsBQXBsb3Jpcy5CYXNlLk9iamVjdHMuRGF0YU9iamVjdENvbGxlY3Rpb25gMVtbQXBsb3Jpcy5DaGFydC5BeGlzQnJlYWs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AuMC4xNDg2LCBDdWx0dXJlPW5ldXRyYWwsIFB1YmxpY0tleVRva2VuPTE2ZmMxM2EyMjZjMGU5NTFdXQMAAACRAVN5c3RlbS5Db2xsZWN0aW9ucy5HZW5lcmljLkxpc3RgMVtbQXBsb3Jpcy5DaGFydC5BeGlzQnJlYW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igAAAAmLAAAACQYAAAAJAQAAAAmMAAAABS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IAAAADAAAACWMAAAAJZAAAAAllAAAAAQAAAAAKCglmAAAAAAAAAAoAAAAAAA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YgAAAAMAAAAJYwAAAAlkAAAACWUAAAABAAAAAAoGjQAAAAElCWYAAAABAAAACgAAAAAAAAAABSwAAACaAUFwbG9yaXMuQmFzZS5PYmplY3RzLkRhdGFPYmplY3RDb2xsZWN0aW9uYDFbW0FwbG9yaXMuQ2hhcnQuVGlja01hcms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C4wLjE0ODYsIEN1bHR1cmU9bmV1dHJhbCwgUHVibGljS2V5VG9rZW49MTZmYzEzYTIyNmMwZTk1MV1dAwAAAJABU3lzdGVtLkNvbGxlY3Rpb25zLkdlbmVyaWMuTGlzdGAxW1tBcGxvcmlzLkNoYXJ0LlRpY2tNYXJ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Y4AAAAJjwAAAAkGAAAACQEAAAAJkAAAAAUv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EAAAAgAAAAddE9QiOJsUMBkgAAACAAAADSRSVEI4mxQwmTAAAAuAEAAP////8BAQoJlAAAAAEACgAHMAAAAAABAAAABQAAAAQVU3lzdGVtLkRyYXdpbmcuUG9pbnRGBAAAAAGVAAAAIAAAANIFJkQjibFDAZYAAAAgAAAAddE9QjtmukMBlwAAACAAAADpIrFDO2a6QwGYAAAAIAAAANJFJUQ7ZrpDAZkAAAAgAAAA0gUmRCMJtEMHMQAAAAABAAAABQAAAAQXQXBsb3Jpcy5CYXNlLkFuY2hvck1vZGUDAAAABZoAAAAXQXBsb3Jpcy5CYXNlLkFuY2hvck1vZGUBAAAAB3ZhbHVlX18ACAMAAAAEAAAAAZsAAACaAAAABQAAAAGcAAAAmgAAAAMAAAABnQAAAJoAAAAGAAAAAZ4AAACaAAAABQAAAA8yAAAABQAAAAEAAAAAAQUzAAAAFUFwbG9yaXMuQmFzZS5VSS5MYWJlbBwAAAAPbUFuY2hvclBvc2l0aW9uC21BbmNob3JNb2RlD21BZGRJbm5lck1hcmdpbhZtT2Zmc2V0RGlyZWN0aW9uQW5jaG9yF21PZmZzZXRPcnRob2dvbmFsQW5jaG9yC21UZXh0Rm9ybWF0CW1Sb3RhdGlvbgptQmFja0NvbG9yDW1Vc2VCYWNrQ29sb3IObVVzZ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EBAQAAQMDAQAAAAAHAgAAAwA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wAAAAGfAAAAIAAAANIFJkQjibFDAaAAAACaAAAABAAAAAAAAAAAAAAAAAmhAAAAAAAAAAmiAAAAAAAFowAAACpBcGxvcmlzLkJhc2UuVUkuTGFiZWwrTGluZUFsaWdubWVudE9wdGlvbnMBAAAAB3ZhbHVlX18ACAMAAAAAAAAAAaQAAABsAAAAAAAAAAAAAAABpQAAABQAAAAAAAAAAAAAAAAAAAAAAAAAAAAAAAamAAAADUNhdGVnb3J5IGF4aXMKCacAAAAJpgAAAOQCAAD/////AAEKCagAAAABAAoAATQAAAAkAAAACakAAAAGAAAABgAAAAE1AAAAJQAAAAmqAAAAAgAAAAIAAAABNwAAACcAAAAKCasAAAAJrAAAAAkHAAAACQEAAAAJrQAAAAE4AAAAKAAAAAoJrgAAAAmvAAAACQcAAAAJAQAAAAmwAAAABTk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IAAAADAAAACWMAAAAJZAAAAAllAAAAAQAAAAAKCY0AAAAJZgAAAAAAAAAKAAAAAAAAAAAFO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wAAAAkBAAAAAgAAAAAJYgAAAAMAAAAJYwAAAAlkAAAACWUAAAABAAAAAAoKCWYAAAAAAAAACgAAAAAAAAAABT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EAAAABCWIAAAADAAAACWMAAAAJZAAAAAllAAAAAQAAAAAKCY0AAAAJZgAAAAEAAAAKAAAAAAAAAAABPAAAACwAAAAKCbEAAAAJsgAAAAkHAAAACQEAAAAJswAAAAE/AAAALwAAAAG0AAAAIAAAAHXRPUIjibFDAbUAAAAgAAAAddE9QjY5hkEJtgAAALgBAAD/////AQEKCbcAAAABAAoAB0AAAAAAAQAAAAUAAAAEFVN5c3RlbS5EcmF3aW5nLlBvaW50RgQAAAABuAAAACAAAAB10T1C+KAmQQG5AAAAIAAAAIwOJEEjibFDAboAAAAgAAAAjA4kQbbsOUMBuwAAACAAAACMDiRBNjmGQQG8AAAAIAAAAIwOJEH4oCZBB0EAAAAAAQAAAAUAAAAEF0FwbG9yaXMuQmFzZS5BbmNob3JNb2RlAwAAAAG9AAAAmgAAAAEAAAABvgAAAJoAAAAIAAAAAb8AAACaAAAAAgAAAAHAAAAAmgAAAAYAAAABwQAAAJoAAAAHAAAAD0IAAAAFAAAAAQAAAAABAUMAAAAzAAAAAcIAAAAgAAAAddE9QvigJkEBwwAAAJoAAAABAAAAAAAAAAAAAAAACcQAAAAAAAAACcUAAAAAAAHGAAAAowAAAAAAAAABxwAAAGwAAAAAAAAAAAAAAAHIAAAAFAAAAAAAAAAAAAAAAAAAAAAAAAAAAAAABskAAAAKVmFsdWUgYXhpcwoJygAAAAnJAAAA5AIAAP////8AAQoJywAAAAEACgABRAAAACQAAAAJzAAAAAcAAAAHAAAAAUUAAAAlAAAACc0AAAACAAAAAgAAAAdGAAAAAAEAAAAAAAAABC5BcGxvcmlzLkNoYXJ0LkNvbHVtbk9yaWVudGVkQ2hhcnQrVW51c2VkU2VyaWVzAgAAAARHAAAAlwFTeXN0ZW0uQ29sbGVjdGlvbnMuR2VuZXJpYy5MaXN0YDFbW0FwbG9yaXMuQ2hhcnQuQ2hhcnREYXRhU2VyaWVzLCBBcGxvcmlzLkNoYXJ0LCBWZXJzaW9uPTQuMC4wLjE0ODYsIEN1bHR1cmU9bmV1dHJhbCwgUHVibGljS2V5VG9rZW49MTZmYzEzYTIyNmMwZTk1MV1dAwAAAAZfaXRlbXMFX3NpemUIX3ZlcnNpb24EAAAfQXBsb3Jpcy5DaGFydC5DaGFydERhdGFTZXJpZXNbXQIAAAAICAnOAAAADgAAALcAAAABSAAAACQAAAAJzwAAAA4AAABIAAAAAUkAAAAlAAAACdAAAAAAAAAAAAAAAARKAAAAnAFTeXN0ZW0uQ29sbGVjdGlvbnMuR2VuZXJpYy5MaXN0YDFbW0FwbG9yaXMuQ2hhcnQuQW5ub3RhdGlvbkRhdGFTZXJpZXMsIEFwbG9yaXMuQ2hhcnQsIFZlcnNpb249NC4wLjAuMTQ4NiwgQ3VsdHVyZT1uZXV0cmFsLCBQdWJsaWNLZXlUb2tlbj0xNmZjMTNhMjI2YzBlOTUxXV0DAAAABl9pdGVtcwVfc2l6ZQhfdmVyc2lvbgQAACRBcGxvcmlzLkNoYXJ0LkFubm90YXRpb25EYXRhU2VyaWVzW10CAAAACAgJ0QAAAAAAAAAAAAAAAUsAAAAkAAAACdIAAAAAAAAAAAAAAAFMAAAAJQAAAAnQAAAAAAAAAAAAAAAETQAAAJcBU3lzdGVtLkNvbGxlY3Rpb25zLkdlbmVyaWMuTGlzdGAxW1tBcGxvcmlzLkNoYXJ0LkFubm90YXRpb25Hcm91cCwgQXBsb3Jpcy5DaGFydCwgVmVyc2lvbj00LjAuMC4xNDg2LCBDdWx0dXJlPW5ldXRyYWwsIFB1YmxpY0tleVRva2VuPTE2ZmMxM2EyMjZjMGU5NTFdXQMAAAAGX2l0ZW1zBV9zaXplCF92ZXJzaW9uBAAAH0FwbG9yaXMuQ2hhcnQuQW5ub3RhdGlvbkdyb3VwW10CAAAACAgJ0wAAAAAAAAAAAAAAAU4AAAAkAAAACdIAAAAAAAAAAAAAAAFPAAAAJQAAAAnQAAAAAAAAAAAAAAAEUAAAAJYBU3lzdGVtLkNvbGxlY3Rpb25zLkdlbmVyaWMuTGlzdGAxW1tBcGxvcmlzLkNoYXJ0LkNoYXJ0RGF0YUdyb3VwLCBBcGxvcmlzLkNoYXJ0LCBWZXJzaW9uPTQuMC4wLjE0ODYsIEN1bHR1cmU9bmV1dHJhbCwgUHVibGljS2V5VG9rZW49MTZmYzEzYTIyNmMwZTk1MV1dAwAAAAZfaXRlbXMFX3NpemUIX3ZlcnNpb24EAAAeQXBsb3Jpcy5DaGFydC5DaGFydERhdGFHcm91cFtdAgAAAAgICdQAAAAEAAAAEAAAAAFRAAAAJAAAAAnVAAAABAAAAAwAAAABUgAAACUAAAAJ0AAAAAAAAAAAAAAABFMAAACQAVN5c3RlbS5Db2xsZWN0aW9ucy5HZW5lcmljLkxpc3RgMVtbQXBsb3Jpcy5DaGFydC5EZWx0YUJhciwgQXBsb3Jpcy5DaGFydCwgVmVyc2lvbj00LjAuMC4xNDg2LCBDdWx0dXJlPW5ldXRyYWwsIFB1YmxpY0tleVRva2VuPTE2ZmMxM2EyMjZjMGU5NTFdXQMAAAAGX2l0ZW1zBV9zaXplCF92ZXJzaW9uBAAAGEFwbG9yaXMuQ2hhcnQuRGVsdGFCYXJbXQIAAAAICAnWAAAAAAAAAAAAAAABVAAAACQAAAAJ0gAAAAAAAAAAAAAAAVUAAAAlAAAACdAAAAAAAAAAAAAAAARWAAAAkwFTeXN0ZW0uQ29sbGVjdGlvbnMuR2VuZXJpYy5MaXN0YDFbW0FwbG9yaXMuQ2hhcnQuRGVsdGFCcmlkZ2UsIEFwbG9yaXMuQ2hhcnQsIFZlcnNpb249NC4wLjAuMTQ4NiwgQ3VsdHVyZT1uZXV0cmFsLCBQdWJsaWNLZXlUb2tlbj0xNmZjMTNhMjI2YzBlOTUxXV0DAAAABl9pdGVtcwVfc2l6ZQhfdmVyc2lvbgQAABtBcGxvcmlzLkNoYXJ0LkRlbHRhQnJpZGdlW10CAAAACAgJ1wAAAAAAAAAAAAAAAVcAAAAkAAAACdIAAAAAAAAAAAAAAAFYAAAAJQAAAAnQAAAAAAAAAAAAAAAEWQAAAJMBU3lzdGVtLkNvbGxlY3Rpb25zLkdlbmVyaWMuTGlzdGAxW1tBcGxvcmlzLkNoYXJ0Lkdyb3d0aEFycm93LCBBcGxvcmlzLkNoYXJ0LCBWZXJzaW9uPTQuMC4wLjE0ODYsIEN1bHR1cmU9bmV1dHJhbCwgUHVibGljS2V5VG9rZW49MTZmYzEzYTIyNmMwZTk1MV1dAwAAAAZfaXRlbXMFX3NpemUIX3ZlcnNpb24EAAAbQXBsb3Jpcy5DaGFydC5Hcm93dGhBcnJvd1tdAgAAAAgICdgAAAAAAAAAAAAAAAFaAAAAJAAAAAnSAAAAAAAAAAAAAAABWwAAACUAAAAJ0AAAAAAAAAAAAAAABFwAAACaAVN5c3RlbS5Db2xsZWN0aW9ucy5HZW5lcmljLkxpc3RgMVtbQXBsb3Jpcy5DaGFydC5XYXRlcmZhbGxDb25uZWN0b3IsIEFwbG9yaXMuQ2hhcnQsIFZlcnNpb249NC4wLjAuMTQ4NiwgQ3VsdHVyZT1uZXV0cmFsLCBQdWJsaWNLZXlUb2tlbj0xNmZjMTNhMjI2YzBlOTUxXV0DAAAABl9pdGVtcwVfc2l6ZQhfdmVyc2lvbgQAACJBcGxvcmlzLkNoYXJ0LldhdGVyZmFsbENvbm5lY3RvcltdAgAAAAgICdkAAAAAAAAAAAAAAAFdAAAAJAAAAAnSAAAAAAAAAAAAAAABXgAAACUAAAAJ0AAAAAAAAAAAAAAABF8AAACYAVN5c3RlbS5Db2xsZWN0aW9ucy5HZW5lcmljLkxpc3RgMVtbQXBsb3Jpcy5DaGFydC5FbGVtZW50Q29ubmVjdG9yLCBBcGxvcmlzLkNoYXJ0LCBWZXJzaW9uPTQuMC4wLjE0ODYsIEN1bHR1cmU9bmV1dHJhbCwgUHVibGljS2V5VG9rZW49MTZmYzEzYTIyNmMwZTk1MV1dAwAAAAZfaXRlbXMFX3NpemUIX3ZlcnNpb24EAAAgQXBsb3Jpcy5DaGFydC5FbGVtZW50Q29ubmVjdG9yW10CAAAACAgJ2gAAAAAAAAAAAAAAAWAAAAAkAAAACdIAAAAAAAAAAAAAAAFhAAAAJQAAAAnQAAAAAAAAAAAAAAAFag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nbAAAACdwAAAABAAAA/v///wEAAAABAAAAAQAAAAEAAAABAAAAAQAAAAAAAQVr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d0AAAAJ3gAAAAEAAAAAAAAAAAAAAAAAAAAAAQVvAAAAH0FwbG9yaXMuQmFzZS5PYmplY3RzLlBlcnNJZERhdGECAAAAA21JZAttQ3VzdG9tRGF0YQcCCAMAAAAJ3wAAAAoFcgAAABpBcGxvcmlzLkJhc2UuT2JqZWN0cy5Db2xvcgcAAAASRGF0YU9iamVjdCttUGFyZW50FURhdGFPYmplY3QrbUNvbnRhaW5lcgVtVHlwZQRtUkdCEG1UaGVtZUNvbG9ySW5kZXgMbUF1dG9VcGRhdGVkCW1Nb2RpZmllZAICAAAAAAAICAgBAQMAAAAKCgAAAAAAAAAADQAAAAABAXMAAAByAAAACgoBAAAAAAAAAP////8AAQeFAAAAAAEAAAAQAAAABB9BcGxvcmlzLkJhc2UuT2JqZWN0cy5EYXRhT2JqZWN0AwAAAAkJAAAACQoAAAAJCwAAAAkMAAAACRAAAAAJEQAAAAkNAAAACQ4AAAAJDwAAAAkHAAAACQYAAAAJFwAAAA0EB4YAAAAAAQAAAAQAAAAEHEFwbG9yaXMuQmFzZS5VSS5WaXN1YWxPYmplY3QDAAAACRsAAAANAwSHAAAAkQFTeXN0ZW0uQ29sbGVjdGlvbnMuR2VuZXJpYy5MaXN0YDFbW0FwbG9yaXMuQ2hhcnQuVmFsdWVMaW5lLCBBcGxvcmlzLkNoYXJ0LCBWZXJzaW9uPTQuMC4wLjE0ODYsIEN1bHR1cmU9bmV1dHJhbCwgUHVibGljS2V5VG9rZW49MTZmYzEzYTIyNmMwZTk1MV1dAwAAAAZfaXRlbXMFX3NpemUIX3ZlcnNpb24EAAAZQXBsb3Jpcy5DaGFydC5WYWx1ZUxpbmVbXQIAAAAICAngAAAAAAAAAAAAAAABiAAAACQAAAAJ0gAAAAAAAAAAAAAAAYkAAAAlAAAACdAAAAAAAAAAAAAAAASKAAAAkQFTeXN0ZW0uQ29sbGVjdGlvbnMuR2VuZXJpYy5MaXN0YDFbW0FwbG9yaXMuQ2hhcnQuQXhpc0JyZWFrLCBBcGxvcmlzLkNoYXJ0LCBWZXJzaW9uPTQuMC4wLjE0ODYsIEN1bHR1cmU9bmV1dHJhbCwgUHVibGljS2V5VG9rZW49MTZmYzEzYTIyNmMwZTk1MV1dAwAAAAZfaXRlbXMFX3NpemUIX3ZlcnNpb24EAAAZQXBsb3Jpcy5DaGFydC5BeGlzQnJlYWtbXQIAAAAICAnhAAAAAAAAAAAAAAABiwAAACQAAAAJ0gAAAAAAAAAAAAAAAYwAAAAlAAAACdAAAAAAAAAAAAAAAASOAAAAkAFTeXN0ZW0uQ29sbGVjdGlvbnMuR2VuZXJpYy5MaXN0YDFbW0FwbG9yaXMuQ2hhcnQuVGlja01hcmssIEFwbG9yaXMuQ2hhcnQsIFZlcnNpb249NC4wLjAuMTQ4NiwgQ3VsdHVyZT1uZXV0cmFsLCBQdWJsaWNLZXlUb2tlbj0xNmZjMTNhMjI2YzBlOTUxXV0DAAAABl9pdGVtcwVfc2l6ZQhfdmVyc2lvbgQAABhBcGxvcmlzLkNoYXJ0LlRpY2tNYXJrW10CAAAACAgJ4gAAAAAAAAAAAAAAAY8AAAAkAAAACdIAAAAAAAAAAAAAAAGQAAAAJQAAAAnQAAAAAAAAAAAAAAABkwAAAGoAAAAKCgAAAEA/CeMAAAAJ5AAAAAEAAAD+////AAAAAAEAAAAAAAAAAAAAAAEAAAAAAAAAAAAAAZQAAABvAAAACeUAAAAKBaE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wAAAACXEAAAAJ5gAAAAEACecAAAABogAAAHIAAAAKCgEAAAAAAAAA/////wABBKcAAACWAVN5c3RlbS5Db2xsZWN0aW9ucy5HZW5lcmljLkxpc3RgMVtbQXBsb3Jpcy5CYXNlLk9iamVjdHMuVmFyaWFibGUsIEFwbG9yaXMuQmFzZSwgVmVyc2lvbj00LjAuMC4xNDg2LCBDdWx0dXJlPW5ldXRyYWwsIFB1YmxpY0tleVRva2VuPTE2ZmMxM2EyMjZjMGU5NTFdXQMAAAAGX2l0ZW1zBV9zaXplCF92ZXJzaW9uBAAAH0FwbG9yaXMuQmFzZS5PYmplY3RzLlZhcmlhYmxlW10DAAAACAgJ6AAAAAAAAAAAAAAAAagAAABvAAAACekAAAAKB6kAAAAAAQAAAAgAAAAEH0FwbG9yaXMuQmFzZS5PYmplY3RzLkRhdGFPYmplY3QDAAAACSkAAAAJKgAAAAkrAAAACSwAAAAJJwAAAAkoAAAACgoHqgAAAAABAAAABAAAAAQcQXBsb3Jpcy5CYXNlLlVJLlZpc3VhbE9iamVjdAMAAAAJLwAAAAkzAAAACgoBqwAAAIcAAAAJ4AAAAAAAAAAAAAAAAawAAAAkAAAACdIAAAAAAAAAAAAAAAGtAAAAJQAAAAnQAAAAAAAAAAAAAAABrgAAAIoAAAAJ4QAAAAAAAAAAAAAAAa8AAAAkAAAACdIAAAAAAAAAAAAAAAGwAAAAJQAAAAnQAAAAAAAAAAAAAAABsQAAAI4AAAAJ6gAAAAsAAAAhAAAAAbIAAAAkAAAACesAAAALAAAAIQAAAAGzAAAAJQAAAAnQAAAAAAAAAAAAAAABtgAAAGoAAAAKCgAAAEA/CewAAAAJ7QAAAAEAAAD+////AAAAAAEAAAAAAAAAAAAAAAEAAAAAAAAAAAAAAbcAAABvAAAACe4AAAAKBcQ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wAAAACXEAAAAJ7wAAAAEACfAAAAABxQAAAHIAAAAKCgEAAAAAAAAA/////wABAcoAAACnAAAACegAAAAAAAAAAAAAAAHLAAAAbwAAAAnxAAAACgfMAAAAAAEAAAAIAAAABB9BcGxvcmlzLkJhc2UuT2JqZWN0cy5EYXRhT2JqZWN0AwAAAAk5AAAACToAAAAJOwAAAAk8AAAACTcAAAAJOAAAAAnyAAAACgfNAAAAAAEAAAAEAAAABBxBcGxvcmlzLkJhc2UuVUkuVmlzdWFsT2JqZWN0AwAAAAk/AAAACUMAAAAKCgfOAAAAAAEAAAAgAAAABB1BcGxvcmlzLkNoYXJ0LkNoYXJ0RGF0YVNlcmllcwIAAAAJ8wAAAAn0AAAACfUAAAAJ9gAAAAn3AAAACfgAAAAJ+QAAAAn6AAAACfsAAAAJ/AAAAAn9AAAACf4AAAAJ/wAAAAkAAQAADRIHzwAAAAABAAAAIAAAAAQfQXBsb3Jpcy5CYXNlLk9iamVjdHMuRGF0YU9iamVjdAMAAAAJ8wAAAAn0AAAACfUAAAAJ9gAAAAn3AAAACfgAAAAJ/gAAAAn/AAAACQABAAAJ+QAAAAn6AAAACfsAAAAJ/AAAAAn9AAAADRIH0AAAAAABAAAAAAAAAAQcQXBsb3Jpcy5CYXNlLlVJLlZpc3VhbE9iamVjdAMAAAAH0QAAAAABAAAAAAAAAAQiQXBsb3Jpcy5DaGFydC5Bbm5vdGF0aW9uRGF0YVNlcmllcwIAAAAH0gAAAAABAAAAAAAAAAQfQXBsb3Jpcy5CYXNlLk9iamVjdHMuRGF0YU9iamVjdAMAAAAH0wAAAAABAAAAAAAAAAQdQXBsb3Jpcy5DaGFydC5Bbm5vdGF0aW9uR3JvdXACAAAAB9QAAAAAAQAAAAgAAAAEHEFwbG9yaXMuQ2hhcnQuQ2hhcnREYXRhR3JvdXACAAAACQEBAAAJAgEAAAkDAQAACQQBAAANBAfVAAAAAAEAAAAIAAAABB9BcGxvcmlzLkJhc2UuT2JqZWN0cy5EYXRhT2JqZWN0AwAAAAkBAQAACQIBAAAJAwEAAAkEAQAADQQH1gAAAAABAAAAAAAAAAQWQXBsb3Jpcy5DaGFydC5EZWx0YUJhcgIAAAAH1wAAAAABAAAAAAAAAAQZQXBsb3Jpcy5DaGFydC5EZWx0YUJyaWRnZQIAAAAH2AAAAAABAAAAAAAAAAQZQXBsb3Jpcy5DaGFydC5Hcm93dGhBcnJvdwIAAAAH2QAAAAABAAAAAAAAAAQgQXBsb3Jpcy5DaGFydC5XYXRlcmZhbGxDb25uZWN0b3ICAAAAB9oAAAAAAQAAAAAAAAAEHkFwbG9yaXMuQ2hhcnQuRWxlbWVudENvbm5lY3RvcgIAAAAB2wAAAHIAAAAKCgAAAAAAAAAADQAAAAABAdwAAAByAAAACgoBAAAAAAAAAP////8AAQHdAAAAcgAAAAoKAQAAAP///wD/////AAEB3gAAAHIAAAAKCgEAAAAAAAAA/////wABD98AAAABAAAACAAAAAAH4AAAAAABAAAAAAAAAAQXQXBsb3Jpcy5DaGFydC5WYWx1ZUxpbmUCAAAAB+EAAAAAAQAAAAAAAAAEF0FwbG9yaXMuQ2hhcnQuQXhpc0JyZWFrAgAAAAfiAAAAAAEAAAAAAAAABBZBcGxvcmlzLkNoYXJ0LlRpY2tNYXJrAgAAAAXjAAAAGkFwbG9yaXMuQmFzZS5PYmplY3RzLkNvbG9yBwAAABJEYXRhT2JqZWN0K21QYXJlbnQVRGF0YU9iamVjdCttQ29udGFpbmVyBW1UeXBlBG1SR0IQbVRoZW1lQ29sb3JJbmRleAxtQXV0b1VwZGF0ZWQJbU1vZGlmaWVkBAIAAAAAAB9BcGxvcmlzLkJhc2UuT2JqZWN0cy5MaW5lRm9ybWF0AwAAAAgICAEBAwAAAAmTAAAACgAAAAAAAAAADQAAAAAABeQAAAAaQXBsb3Jpcy5CYXNlLk9iamVjdHMuQ29sb3IHAAAAEkRhdGFPYmplY3QrbVBhcmVudBVEYXRhT2JqZWN0K21Db250YWluZXIFbVR5cGUEbVJHQhBtVGhlbWVDb2xvckluZGV4DG1BdXRvVXBkYXRlZAltTW9kaWZpZWQEAgAAAAAAH0FwbG9yaXMuQmFzZS5PYmplY3RzLkxpbmVGb3JtYXQDAAAACAgIAQEDAAAACZMAAAAKAQAAAAAAAAD/////AAEP5QAAAAEAAAAIGAEAAAHmAAAAcgAAAAoKAAAAAAAAAAANAAAAAAEB5wAAAHIAAAAKCgEAAAAAAAAA/////wABB+gAAAAAAQAAAAAAAAAEHUFwbG9yaXMuQmFzZS5PYmplY3RzLlZhcmlhYmxlAwAAAA/pAAAAAQAAAAgAAAAAB+oAAAAAAQAAABAAAAAEFkFwbG9yaXMuQ2hhcnQuVGlja01hcmsCAAAACQUBAAAJBgEAAAkHAQAACQgBAAAJCQEAAAkKAQAACQsBAAAJDAEAAAkNAQAACQ4BAAAJDwEAAA0FB+sAAAAAAQAAABAAAAAEH0FwbG9yaXMuQmFzZS5PYmplY3RzLkRhdGFPYmplY3QDAAAACQUBAAAJBgEAAAkHAQAACQgBAAAJCQEAAAkKAQAACQsBAAAJDAEAAAkNAQAACQ4BAAAJDwEAAA0FBewAAAAaQXBsb3Jpcy5CYXNlLk9iamVjdHMuQ29sb3IHAAAAEkRhdGFPYmplY3QrbVBhcmVudBVEYXRhT2JqZWN0K21Db250YWluZXIFbVR5cGUEbVJHQhBtVGhlbWVDb2xvckluZGV4DG1BdXRvVXBkYXRlZAltTW9kaWZpZWQEAgAAAAAAH0FwbG9yaXMuQmFzZS5PYmplY3RzLkxpbmVGb3JtYXQDAAAACAgIAQEDAAAACbYAAAAKAAAAAAAAAAANAAAAAAAF7QAAABpBcGxvcmlzLkJhc2UuT2JqZWN0cy5Db2xvcgcAAAASRGF0YU9iamVjdCttUGFyZW50FURhdGFPYmplY3QrbUNvbnRhaW5lcgVtVHlwZQRtUkdCEG1UaGVtZUNvbG9ySW5kZXgMbUF1dG9VcGRhdGVkCW1Nb2RpZmllZAQCAAAAAAAfQXBsb3Jpcy5CYXNlLk9iamVjdHMuTGluZUZvcm1hdAMAAAAICAgBAQMAAAAJtgAAAAoBAAAAAAAAAP////8AAQ/uAAAAAQAAAAgXAQAAAe8AAAByAAAACgoAAAAAAAAAAA0AAAAAAQHwAAAAcgAAAAoKAQAAAAAAAAD/////AAEP8QAAAAEAAAAIAAAAAAXy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iAAAAAwAAAAljAAAACWQAAAAJZQAAAAEAAAAACgmNAAAACWYAAAABAAAACgAAAAAAAAAABfMAAAAdQXBsb3Jpcy5DaGFydC5DaGFydERhdGFTZXJpZXMcAAAABm1DaGFydAttU2VyaWVzVHlwZQltRXhjZWxSb3cKbUV4Y2VsUm93MgVtQXhpcw1tRGF0YUVsZW1lbnRzEm1TZXJpZXNEZXNjcmlwdGlvbhNtU2VyaWVzRGVzY3JpcHRpb24yCm1TdGFja2VkT24MbUN1c3RvbVdpZHRoD21DdXN0b21Qb3NpdGlvbg1tQ3VzdG9tWk9yZGVyCW1Qb2x5bGluZQhtUG9seWdvbhRtUmVzdG9yZUxhYmVsVmlzaWJsZQZtTGFiZWwPbUxhYmVsUG9zaXRpb25zEW1MYWJlbEFuY2hvck1vZGVzDm1MYWJlbFBvc2l0aW9uC21TbW9vdGhMaW5lDm1TYW1lVHlwZUluZGV4DG1CYXJQb3NpdGlvbhZtTGVnZW5kVXBkYXRlU3VzcGVuZGVkFG1QZW5kaW5nTGVnZW5kVXBkYXRlGERhdGFPYmplY3QrbUNoaWxkT2JqZWN0cxJEYXRhT2JqZWN0K21QYXJlbnQVRGF0YU9iamVjdCttQ29udGFpbmVyGURhdGFPYmplY3QrbVZpc3VhbE9iamVjdHMEBAAABAQBAQQAAAAEBAAEBAQAAAAAAAADBAQDIUFwbG9yaXMuQ2hhcnQuQ29sdW1uT3JpZW50ZWRDaGFydAIAAAAYQXBsb3Jpcy5DaGFydC5TZXJpZXNUeXBlAgAAAAgIJUFwbG9yaXMuQ2hhcnQuQ29sdW1uT3JpZW50ZWRDaGFydEF4aXMCAAAAogFBcGxvcmlzLkJhc2UuT2JqZWN0cy5EYXRhT2JqZWN0Q29sbGVjdGlvbmAxW1tBcGxvcmlzLkNoYXJ0LkNoYXJ0RGF0YUVsZW1lbnQsIEFwbG9yaXMuQ2hhcnQsIFZlcnNpb249NC4wLjAuMTQ4NiwgQ3VsdHVyZT1uZXV0cmFsLCBQdWJsaWNLZXlUb2tlbj0xNmZjMTNhMjI2YzBlOTUxXV0DAAAAHUFwbG9yaXMuQ2hhcnQuQ2hhcnREYXRhU2VyaWVzAgAAAAsLCB5BcGxvcmlzLkJhc2UuVUkuVmlzdWFsUG9seWxpbmUDAAAAHUFwbG9yaXMuQmFzZS5VSS5WaXN1YWxQb2x5Z29uAwAAAAEcQXBsb3Jpcy5DaGFydC5Db25uZWN0ZWRMYWJlbAIAAAAXU3lzdGVtLkRyYXdpbmcuUG9pbnRGW10EAAAAGUFwbG9yaXMuQmFzZS5BbmNob3JNb2RlW10DAAAACAEICAg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EQAQAAEwAAAAAAAAACAAAA/////wkHAAAACREBAAAGEgEAAARNYWxlCgoAAAAAAAAAAAAAAAAKCgAJEwEAAAkUAQAACRUBAAAAAAAAAAAAAAAAAAAAAAAAAAAJFgEAAAkBAAAACQEAAAAJFwEAAAH0AAAA8wAAAAkBAAAAARgBAAATAAAAAAAAAAMAAAD/////CQcAAAAJGQEAAAYaAQAABkZlbWFsZQoKAAAAAAAAAAAAAAAACgoACRsBAAAJHAEAAAkdAQAAAAAAAAABAAAAAAAAAAAAAAAACR4BAAAJAQAAAAkBAAAACR8BAAAB9QAAAPMAAAAJAQAAAAEgAQAAEwAAAAAAAAAEAAAA/////wkHAAAACSEBAAAGIgEAAAhVbmRlciAzNQoKAAAAAAAAAAAAAAAACgoACSMBAAAJJAEAAAklAQAAAAAAAAACAAAAAAAAAAAAAAAACSYBAAAJAQAAAAkBAAAACScBAAAB9gAAAPMAAAAJAQAAAAEoAQAAEwAAAAAAAAAFAAAA/////wkHAAAACSkBAAAGKgEAAAUzNS00NAoKAAAAAAAAAAAAAAAACgoACSsBAAAJLAEAAAktAQAAAAAAAAADAAAAAAAAAAAAAAAACS4BAAAJAQAAAAkBAAAACS8BAAAB9wAAAPMAAAAJAQAAAAEwAQAAEwAAAAAAAAAGAAAA/////wkHAAAACTEBAAAGMgEAAAU0NS01NAoKAAAAAAAAAAAAAAAACgoACTMBAAAJNAEAAAk1AQAAAAAAAAAEAAAAAAAAAAAAAAAACTYBAAAJAQAAAAkBAAAACTcBAAAB+AAAAPMAAAAJAQAAAAE4AQAAEwAAAAAAAAAHAAAA/////wkHAAAACTkBAAAGOgEAAAM1NSsKCgAAAAAAAAAAAAAAAAoKAAk7AQAACTwBAAAJPQEAAAAAAAAABQAAAAAAAAAAAAAAAAk+AQAACQEAAAAJAQAAAAk/AQAAAfkAAADzAAAACQEAAAABQAEAABMAAAAAAAAACAAAAP////8JBwAAAAlBAQAABkIBAAALVW5kZXIgMSwwMDAKCgAAAAAAAAAAAAAAAAoKAAlDAQAACUQBAAAJRQEAAAAAAAAABgAAAAAAAAAAAAAAAAlGAQAACQEAAAAJAQAAAAlHAQAAAfoAAADzAAAACQEAAAABSAEAABMAAAAAAAAACQAAAP////8JBwAAAAlJAQAABkoBAAALMSwwMDAtNSwwMDAKCgAAAAAAAAAAAAAAAAoKAAlLAQAACUwBAAAJTQEAAAAAAAAABwAAAAAAAAAAAAAAAAlOAQAACQEAAAAJAQAAAAlPAQAAAfsAAADzAAAACQEAAAABUAEAABMAAAAAAAAACgAAAP////8JBwAAAAlRAQAABlIBAAAMNSwwMDAtMTAsMDAwCgoAAAAAAAAAAAAAAAAKCgAJUwEAAAlUAQAACVUBAAAAAAAAAAgAAAAAAAAAAAAAAAAJVgEAAAkBAAAACQEAAAAJVwEAAAH8AAAA8wAAAAkBAAAAAVgBAAATAAAAAAAAAAsAAAD/////CQcAAAAJWQEAAAZaAQAADTEwLDAwMC0yMCwwMDAKCgAAAAAAAAAAAAAAAAoKAAlbAQAACVwBAAAJXQEAAAAAAAAACQAAAAAAAAAAAAAAAAleAQAACQEAAAAJAQAAAAlfAQAAAf0AAADzAAAACQEAAAABYAEAABMAAAAAAAAADAAAAP////8JBwAAAAlhAQAABmIBAAAHMjAsMDAwKwoKAAAAAAAAAAAAAAAACgoACWMBAAAJZAEAAAllAQAAAAAAAAAKAAAAAAAAAAAAAAAACWYBAAAJAQAAAAkBAAAACWcBAAAB/gAAAPMAAAAJAQAAAAFoAQAAEwAAAAAAAAANAAAA/////wkHAAAACWkBAAAGagEAAAhUd28tWWVhcgoKAAAAAAAAAAAAAAAACgoACWsBAAAJbAEAAAltAQAAAAAAAAALAAAAAAAAAAAAAAAACW4BAAAJAQAAAAkBAAAACW8BAAAB/wAAAPMAAAAJAQAAAAFwAQAAEwAAAAAAAAAOAAAA/////wkHAAAACXEBAAAGcgEAABFGb3VyLVllYXINClB1YmxpYwoKAAAAAAAAAAAAAAAACgoACXMBAAAJdAEAAAl1AQAAAAAAAAAMAAAAAAAAAAAAAAAACXYBAAAJAQAAAAkBAAAACXcBAAABAAEAAPMAAAAJAQAAAAF4AQAAEwAAAAAAAAAPAAAA/////wkHAAAACXkBAAAGegEAABJGb3VyLVllYXINClByaXZhdGUKCgAAAAAAAAAAAAAAAAoKAAl7AQAACXwBAAAJfQEAAAAAAAAADQAAAAAAAAAAAAAAAAl+AQAACQEAAAAJAQAAAAl/AQAABQEB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GgAEAAAZHZW5kZXIBBYEBAAAeQXBsb3Jpcy5DaGFydC5DaGFydEdyb3VwQW5jaG9yAQAAAAd2YWx1ZV9fAAgCAAAAAAAAAAoAAAAAAQAAAAEAAAAJggEAAAmDAQAACgoJBwAAAAmEAQAACQEAAAAJAQAAAAmFAQAAAQIBAAABAQAACQEAAAAGhgEAAANBZ2UBAYcBAACBAQAAAAAAAAoAAAAAAQAAAAEAAAAJiAEAAAmJAQAACgoJBwAAAAmKAQAACQEAAAAJAQAAAAmLAQAAAQMBAAABAQAACQEAAAAGjAEAABJJbnN0aXR1dGlvbmFsIFNpemUAAY0BAACBAQAAAAAAAAoAAAAAAQAAAAEAAAAJjgEAAAmPAQAACZABAAAKCQcAAAAJkQEAAAkBAAAACQEAAAAJkgEAAAEEAQAAAQEAAAkBAAAABpMBAAASSW5zdGl0dXRpb25hbCBUeXBlAAGUAQAAgQEAAAAAAAAKAAAAAAEAAAABAAAACZUBAAAJlgEAAAmXAQAACgkHAAAACZgBAAAJAQAAAAkBAAAACZkBAAAFBQE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ZoBAAAKCZsBAAAJBwAAAAEAAAAAAAAAAAGcAQAAIAAAAHXRPUIjibFDAZ0BAAAgAAAAddEtQiOJsUMACZ4BAAAJBwAAAAkBAAAACZ8BAAABBgEAAAUBAAAJoAEAAAoJoQEAAAkHAAAAAZqZmZmZmbk/AaIBAAAgAAAAddE9QvueoEMBowEAACAAAAB10S1C+56gQwAJpAEAAAkHAAAACQEAAAAJpQEAAAEHAQAABQEAAAmmAQAACgmnAQAACQcAAAABmpmZmZmZyT8BqAEAACAAAAB10T1C07SPQwGpAQAAIAAAAHXRLULTtI9DAAmqAQAACQcAAAAJAQAAAAmrAQAAAQgBAAAFAQAACawBAAAKCa0BAAAJBwAAAAEzMzMzMzPTPwGuAQAAIAAAAHXRPUJWlX1DAa8BAAAgAAAAddEtQlaVfUMACbABAAAJBwAAAAkBAAAACbEBAAABCQEAAAUBAAAJsgEAAAoJswEAAAkHAAAAAZqZmZmZmdk/AbQBAAAgAAAAddE9QgbBW0MBtQEAACAAAAB10S1CBsFbQwAJtgEAAAkHAAAACQEAAAAJtwEAAAEKAQAABQEAAAm4AQAACgm5AQAACQcAAAABAAAAAAAA4D8BugEAACAAAAB10T1Ctuw5QwG7AQAAIAAAAHXRLUK27DlDAAm8AQAACQcAAAAJAQAAAAm9AQAAAQsBAAAFAQAACb4BAAAKCb8BAAAJBwAAAAEzMzMzMzPjPwHAAQAAIAAAAHXRPUJmGBhDAcEBAAAgAAAAddEtQmYYGEMACcIBAAAJBwAAAAkBAAAACcMBAAABDAEAAAUBAAAJxAEAAAoJxQEAAAkHAAAAAWZmZmZmZuY/AcYBAAAgAAAAddE9Qi2I7EIBxwEAACAAAAB10S1CLYjsQgAJyAEAAAkHAAAACQEAAAAJyQEAAAENAQAABQEAAAnKAQAACgnLAQAACQcAAAABmpmZmZmZ6T8BzAEAACAAAAB10T1Cjd+oQgHNAQAAIAAAAHXRLUKN36hCAAnOAQAACQcAAAAJAQAAAAnPAQAAAQ4BAAAFAQAACdABAAAKCdEBAAAJBwAAAAHNzMzMzMzsPwHSAQAAIAAAAHXRPULbbUpCAdMBAAAgAAAAddEtQtttSkIACdQBAAAJBwAAAAkBAAAACdUBAAABDwEAAAUBAAAJ1gEAAAoJ1wEAAAkHAAAAAQAAAAAAAPA/AdgBAAAgAAAAddE9QjY5hkEB2QEAACAAAAB10S1CNjmGQQAJ2gEAAAkHAAAACQEAAAAJ2wEAAAURAQAAogFBcGxvcmlzLkJhc2UuT2JqZWN0cy5EYXRhT2JqZWN0Q29sbGVjdGlvbmAxW1tBcGxvcmlzLkNoYXJ0LkNoYXJ0RGF0YU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wLjAuMTQ4NiwgQ3VsdHVyZT1uZXV0cmFsLCBQdWJsaWNLZXlUb2tlbj0xNmZjMTNhMjI2YzBlOTUxXV0DAAAAmAFTeXN0ZW0uQ29sbGVjdGlvbnMuR2VuZXJpYy5MaXN0YDFbW0FwbG9yaXMuQ2hhcnQuQ2hhcnREYXRh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ncAQAACd0BAAAJ8wAAAAkBAAAACd4BAAAFEwEAABxBcGxvcmlzLkNoYXJ0LkNvbm5lY3RlZExhYmVsJA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CAAAAClgCAAAF3wEAACtBcGxvcmlzLkNoYXJ0LkNvbm5lY3RlZExhYmVsK2VDb25uZWN0b3JNb2RlAQAAAAd2YWx1ZV9fAAgCAAAAAQAAAAXgAQAANkFwbG9yaXMuQ2hhcnQuQ29ubmVjdGVkTGFiZWwrZUFuZ2xlZENvbm5lY3RvckRpcmVjdGlvbgEAAAAHdmFsdWVfXwAIAgAAAAAAAAAB4QEAABQAAACMZs9DNjmGQezCOUMAAAAABeIBAAAtQXBsb3Jpcy5DaGFydC5Db25uZWN0ZWRMYWJlbCtlVGFyZ2V0QXJlYVNoYXBlAQAAAAd2YWx1ZV9fAAgCAAAAAAAAAAAAEEEBAeMBAAAgAAAAASQYRDY5hkEB5AEAAJoAAAAEAAAAAAAAAAAAAAAACeUBAAAAAAAACeYBAAAAAAHnAQAAowAAAAAAAAAB6AEAAGwAAAAAAOBBAABgQQHpAQAAFAAAAAAAAAAAAAAAAAAAAAAAAABeutk/CRIBAAAKCeoBAAAG6wEAAAAgAwAA/////wABCgnsAQAAAQAKAAcUAQAAAAEAAAACAAAABBVTeXN0ZW0uRHJhd2luZy5Qb2ludEYEAAAAAe0BAAAgAAAAASQYRDY5hkEB7gEAACAAAAB10SlCNjmGQQcVAQAAAAEAAAACAAAABBdBcGxvcmlzLkJhc2UuQW5jaG9yTW9kZQMAAAAB7wEAAJoAAAAEAAAAAfABAACaAAAAAgAAAAEWAQAAJAAAAAnxAQAAAQAAAAEAAAABFwEAACUAAAAJ8gEAAAEAAAADAAAAARkBAAARAQAACgnzAQAACfQBAAAJ9AAAAAkBAAAACfUBAAABGwEAABMBAAAKWAIAAAH2AQAA3wEAAAEAAAAB9wEAAOABAAAAAAAAAfgBAAAUAAAAjGbPQzY5hkHswjlDAAAAAAH5AQAA4gEAAAAAAAAAABBBAQH6AQAAIAAAAAEkGEQ2OYZBAfsBAACaAAAABAAAAAAAAAAAAAAAAAn8AQAAAAAAAAn9AQAAAAAB/gEAAKMAAAAAAAAAAf8BAABsAAAAAAAwQgAAYEEBAAIAABQAAAAAAAAAAAAAAAAAAAAAAAAAXrrZPwkaAQAACgkBAgAACesBAAAgAwAA/////wABCgkCAgAAAQAKAAccAQAAAAEAAAACAAAABBVTeXN0ZW0uRHJhd2luZy5Qb2ludEYEAAAAAQMCAAAgAAAAASQYRDY5hkEBBAIAACAAAAB10SlCNjmGQQcdAQAAAAEAAAACAAAABBdBcGxvcmlzLkJhc2UuQW5jaG9yTW9kZQMAAAABBQIAAJoAAAAEAAAAAQYCAACaAAAAAgAAAAEeAQAAJAAAAAkHAgAAAQAAAAEAAAABHwEAACUAAAAJCAIAAAEAAAADAAAAASEBAAARAQAACgkJAgAACQoCAAAJ9QAAAAkBAAAACQsCAAABIwEAABMBAAAKWAIAAAEMAgAA3wEAAAEAAAABDQIAAOABAAAAAAAAAQ4CAAAUAAAAjGbPQzY5hkHswjlDAAAAAAEPAgAA4gEAAAAAAAAAABBBAQEQAgAAIAAAAAEkGEQ2OYZBARECAACaAAAABAAAAAAAAAAAAAAAAAkSAgAAAAAAAAkTAgAAAAABFAIAAKMAAAAAAAAAARUCAABsAAAAAABYQgAAYEEBFgIAABQAAAAAAAAAAAAAAAAAAAAAAAAAXrrZPwkiAQAACgkXAgAACesBAAAgAwAA/////wABCgkYAgAAAQAKAAckAQAAAAEAAAACAAAABBVTeXN0ZW0uRHJhd2luZy5Qb2ludEYEAAAAARkCAAAgAAAAASQYRDY5hkEBGgIAACAAAAB10SlCNjmGQQclAQAAAAEAAAACAAAABBdBcGxvcmlzLkJhc2UuQW5jaG9yTW9kZQMAAAABGwIAAJoAAAAEAAAAARwCAACaAAAAAgAAAAEmAQAAJAAAAAkdAgAAAQAAAAEAAAABJwEAACUAAAAJHgIAAAEAAAADAAAAASkBAAARAQAACgkfAgAACSACAAAJ9gAAAAkBAAAACSECAAABKwEAABMBAAAKWAIAAAEiAgAA3wEAAAEAAAABIwIAAOABAAAAAAAAASQCAAAUAAAAjGbPQzY5hkHswjlDAAAAAAElAgAA4gEAAAAAAAAAABBBAQEmAgAAIAAAAAEkGEQ2OYZBAScCAACaAAAABAAAAAAAAAAAAAAAAAkoAgAAAAAAAAkpAgAAAAABKgIAAKMAAAAAAAAAASsCAABsAAAAAAAEQgAAYEEBLAIAABQAAAAAAAAAAAAAAAAAAAAAAAAAXrrZPwkqAQAACgktAgAACesBAAAgAwAA/////wABCgkuAgAAAQAKAAcsAQAAAAEAAAACAAAABBVTeXN0ZW0uRHJhd2luZy5Qb2ludEYEAAAAAS8CAAAgAAAAASQYRDY5hkEBMAIAACAAAAB10SlCNjmGQQctAQAAAAEAAAACAAAABBdBcGxvcmlzLkJhc2UuQW5jaG9yTW9kZQMAAAABMQIAAJoAAAAEAAAAATICAACaAAAAAgAAAAEuAQAAJAAAAAkzAgAAAQAAAAEAAAABLwEAACUAAAAJNAIAAAEAAAADAAAAATEBAAARAQAACgk1AgAACTYCAAAJ9wAAAAkBAAAACTcCAAABMwEAABMBAAAKWAIAAAE4AgAA3wEAAAEAAAABOQIAAOABAAAAAAAAAToCAAAUAAAAjGbPQzY5hkHswjlDAAAAAAE7AgAA4gEAAAAAAAAAABBBAQE8AgAAIAAAAAEkGEQ2OYZBAT0CAACaAAAABAAAAAAAAAAAAAAAAAk+AgAAAAAAAAk/AgAAAAABQAIAAKMAAAAAAAAAAUECAABsAAAAAAAEQgAAYEEBQgIAABQAAAAAAAAAAAAAAAAAAAAAAAAAXrrZPwkyAQAACglDAgAACesBAAAgAwAA/////wABCglEAgAAAQAKAAc0AQAAAAEAAAACAAAABBVTeXN0ZW0uRHJhd2luZy5Qb2ludEYEAAAAAUUCAAAgAAAAASQYRDY5hkEBRgIAACAAAAB10SlCNjmGQQc1AQAAAAEAAAACAAAABBdBcGxvcmlzLkJhc2UuQW5jaG9yTW9kZQMAAAABRwIAAJoAAAAEAAAAAUgCAACaAAAAAgAAAAE2AQAAJAAAAAlJAgAAAQAAAAEAAAABNwEAACUAAAAJSgIAAAEAAAADAAAAATkBAAARAQAACglLAgAACUwCAAAJ+AAAAAkBAAAACU0CAAABOwEAABMBAAAKWAIAAAFOAgAA3wEAAAEAAAABTwIAAOABAAAAAAAAAVACAAAUAAAAjGbPQzY5hkHswjlDAAAAAAFRAgAA4gEAAAAAAAAAABBBAQFSAgAAIAAAAAEkGEQ2OYZBAVMCAACaAAAABAAAAAAAAAAAAAAAAAlUAgAAAAAAAAlVAgAAAAABVgIAAKMAAAAAAAAAAVcCAABsAAAAAACwQQAAYEEBWAIAABQAAAAAAAAAAAAAAAAAAAAAAAAAXrrZPwk6AQAACglZAgAACesBAAAgAwAA/////wABCglaAgAAAQAKAAc8AQAAAAEAAAACAAAABBVTeXN0ZW0uRHJhd2luZy5Qb2ludEYEAAAAAVsCAAAgAAAAASQYRDY5hkEBXAIAACAAAAB10SlCNjmGQQc9AQAAAAEAAAACAAAABBdBcGxvcmlzLkJhc2UuQW5jaG9yTW9kZQMAAAABXQIAAJoAAAAEAAAAAV4CAACaAAAAAgAAAAE+AQAAJAAAAAlfAgAAAQAAAAEAAAABPwEAACUAAAAJYAIAAAEAAAAFAAAAAUEBAAARAQAACglhAgAACWICAAAJ+QAAAAkBAAAACWMCAAABQwEAABMBAAAKWAIAAAFkAgAA3wEAAAEAAAABZQIAAOABAAAAAAAAAWYCAAAUAAAAjGbPQzY5hkHswjlDAAAAAAFnAgAA4gEAAAAAAAAAABBBAQFoAgAAIAAAAAEkGEQ2OYZBAWkCAACaAAAABAAAAAAAAAAAAAAAAAlqAgAAAAAAAAlrAgAAAAABbAIAAKMAAAAAAAAAAW0CAABsAAAAAAAAAAAAAAABbgIAABQAAAAAAAAAAAAAAAAAAAAAAAAAAAAAAAlCAQAACglvAgAACesBAAAgAwAA/////wABCglwAgAAAQAKAAdEAQAAAAEAAAACAAAABBVTeXN0ZW0uRHJhd2luZy5Qb2ludEYEAAAAAXECAAAgAAAAASQYRDY5hkEBcgIAACAAAAB10SlCoxrpQQdFAQAAAAEAAAACAAAABBdBcGxvcmlzLkJhc2UuQW5jaG9yTW9kZQMAAAABcwIAAJoAAAAEAAAAAXQCAACaAAAAAgAAAAFGAQAAJAAAAAl1AgAAAQAAAAEAAAABRwEAACUAAAAJdgIAAAEAAAABAAAAAUkBAAARAQAACgl3AgAACXgCAAAJ+gAAAAkBAAAACXkCAAABSwEAABMBAAAKWAIAAAF6AgAA3wEAAAEAAAABewIAAOABAAAAAAAAAXwCAAAUAAAAjGbPQzY5hkHswjlDAAAAAAF9AgAA4gEAAAAAAAAAABBBAQF+AgAAIAAAAAEkGEQ2OYZBAX8CAACaAAAABAAAAAAAAAAAAAAAAAmAAgAAAAAAAAmBAgAAAAABggIAAKMAAAAAAAAAAYMCAABsAAAAAAAAAAAAAAABhAIAABQAAAAAAAAAAAAAAAAAAAAAAAAAAAAAAAlKAQAACgmFAgAACesBAAAgAwAA/////wABCgmGAgAAAQAKAAdMAQAAAAEAAAACAAAABBVTeXN0ZW0uRHJhd2luZy5Qb2ludEYEAAAAAYcCAAAgAAAAASQYRDY5hkEBiAIAACAAAAB10SlCOIPeQgdNAQAAAAEAAAACAAAABBdBcGxvcmlzLkJhc2UuQW5jaG9yTW9kZQMAAAABiQIAAJoAAAAEAAAAAYoCAACaAAAAAgAAAAFOAQAAJAAAAAmLAgAAAQAAAAEAAAABTwEAACUAAAAJjAIAAAEAAAABAAAAAVEBAAARAQAACgmNAgAACY4CAAAJ+wAAAAkBAAAACY8CAAABUwEAABMBAAAKWAIAAAGQAgAA3wEAAAEAAAABkQIAAOABAAAAAAAAAZICAAAUAAAAjGbPQzY5hkHswjlDAAAAAAGTAgAA4gEAAAAAAAAAABBBAQGUAgAAIAAAAAEkGEQ2OYZBAZUCAACaAAAABAAAAAAAAAAAAAAAAAmWAgAAAAAAAAmXAgAAAAABmAIAAKMAAAAAAAAAAZkCAABsAAAAAAAAAAAAAAABmgIAABQAAAAAAAAAAAAAAAAAAAAAAAAAAAAAAAlSAQAACgmbAgAACesBAAAgAwAA/////wABCgmcAgAAAQAKAAdUAQAAAAEAAAACAAAABBVTeXN0ZW0uRHJhd2luZy5Qb2ludEYEAAAAAZ0CAAAgAAAAASQYRDY5hkEBngIAACAAAAB10SlC1OhYQwdVAQAAAAEAAAACAAAABBdBcGxvcmlzLkJhc2UuQW5jaG9yTW9kZQMAAAABnwIAAJoAAAAEAAAAAaACAACaAAAAAgAAAAFWAQAAJAAAAAmhAgAAAQAAAAEAAAABVwEAACUAAAAJogIAAAEAAAABAAAAAVkBAAARAQAACgmjAgAACaQCAAAJ/AAAAAkBAAAACaUCAAABWwEAABMBAAAKWAIAAAGmAgAA3wEAAAEAAAABpwIAAOABAAAAAAAAAagCAAAUAAAAjGbPQzY5hkHswjlDAAAAAAGpAgAA4gEAAAAAAAAAABBBAQGqAgAAIAAAAAEkGEQ2OYZBAasCAACaAAAABAAAAAAAAAAAAAAAAAmsAgAAAAAAAAmtAgAAAAABrgIAAKMAAAAAAAAAAa8CAABsAAAAAAAAAAAAAAABsAIAABQAAAAAAAAAAAAAAAAAAAAAAAAAAAAAAAlaAQAACgmxAgAACesBAAAgAwAA/////wABCgmyAgAAAQAKAAdcAQAAAAEAAAACAAAABBVTeXN0ZW0uRHJhd2luZy5Qb2ludEYEAAAAAbMCAAAgAAAAASQYRDY5hkEBtAIAACAAAAB10SlCkfKLQwddAQAAAAEAAAACAAAABBdBcGxvcmlzLkJhc2UuQW5jaG9yTW9kZQMAAAABtQIAAJoAAAAEAAAAAbYCAACaAAAAAgAAAAFeAQAAJAAAAAm3AgAAAQAAAAEAAAABXwEAACUAAAAJuAIAAAEAAAABAAAAAWEBAAARAQAACgm5AgAACboCAAAJ/QAAAAkBAAAACbsCAAABYwEAABMBAAAKWAIAAAG8AgAA3wEAAAEAAAABvQIAAOABAAAAAAAAAb4CAAAUAAAAjGbPQzY5hkHswjlDAAAAAAG/AgAA4gEAAAAAAAAAABBBAQHAAgAAIAAAAAEkGEQ2OYZBAcECAACaAAAABAAAAAAAAAAAAAAAAAnCAgAAAAAAAAnDAgAAAAABxAIAAKMAAAAAAAAAAcUCAABsAAAAAAAAAAAAAAABxgIAABQAAAAAAAAAAAAAAAAAAAAAAAAAAAAAAAliAQAACgnHAgAACesBAAAgAwAA/////wABCgnIAgAAAQAKAAdkAQAAAAEAAAACAAAABBVTeXN0ZW0uRHJhd2luZy5Qb2ludEYEAAAAAckCAAAgAAAAASQYRDY5hkEBygIAACAAAAB10SlCpoOlQwdlAQAAAAEAAAACAAAABBdBcGxvcmlzLkJhc2UuQW5jaG9yTW9kZQMAAAABywIAAJoAAAAEAAAAAcwCAACaAAAAAgAAAAFmAQAAJAAAAAnNAgAAAQAAAAEAAAABZwEAACUAAAAJzgIAAAEAAAABAAAAAWkBAAARAQAACgnPAgAACdACAAAJ/gAAAAkBAAAACdECAAABawEAABMBAAAKWAIAAAHSAgAA3wEAAAEAAAAB0wIAAOABAAAAAAAAAdQCAAAUAAAAjGbPQzY5nkHswjlDYq6OQgHVAgAA4gEAAAAAAAAAABBBAQHWAgAAIAAAAAEkGET8yl1CAdcCAACaAAAABAAAAAAAAAAAAAAAAAnYAgAAAAAAAAnZAgAAAAAB2gIAAKMAAAAAAAAAAdsCAABsAAAAAAAAAAAAAAAB3AIAABQAAAAAAAAAAAAAAAAAAAAAAAAAAAAAAAlqAQAACgndAgAACesBAAAgAwAA/////wABCgneAgAAAQAKAAdsAQAAAAEAAAACAAAABBVTeXN0ZW0uRHJhd2luZy5Qb2ludEYEAAAAAd8CAAAgAAAAASQYRPzKXUIB4AIAACAAAAB10SlCI4mxQwdtAQAAAAEAAAACAAAABBdBcGxvcmlzLkJhc2UuQW5jaG9yTW9kZQMAAAAB4QIAAJoAAAAEAAAAAeICAACaAAAAAgAAAAFuAQAAJAAAAAnjAgAAAQAAAAEAAAABbwEAACUAAAAJ5AIAAAEAAAABAAAAAXEBAAARAQAACgnlAgAACeYCAAAJ/wAAAAkBAAAACecCAAABcwEAABMBAAAKWAIAAAHoAgAA3wEAAAEAAAAB6QIAAOABAAAAAAAAAeoCAAAUAAAAjGbPQ688wkLswjlDcfjHQgHrAgAA4gEAAAAAAAAAABBBAQHsAgAAIAAAAAEkGER0HBNDAe0CAACaAAAABAAAAAAAAAAAAAAAAAnuAgAAAAAAAAnvAgAAAAAB8AIAAKMAAAAAAAAAAfECAABsAAAAAAAAAAAAAAAB8gIAABQAAAAAAAAAAAAAAAAAAAAAAAAAAAAAAAlyAQAACgnzAgAACesBAAAgAwAA/////wABCgn0AgAAAQAKAAd0AQAAAAEAAAACAAAABBVTeXN0ZW0uRHJhd2luZy5Qb2ludEYEAAAAAfUCAAAgAAAAASQYRHQcE0MB9gIAACAAAAB10SlCI4mxQwd1AQAAAAEAAAACAAAABBdBcGxvcmlzLkJhc2UuQW5jaG9yTW9kZQMAAAAB9wIAAJoAAAAEAAAAAfgCAACaAAAAAgAAAAF2AQAAJAAAAAn5AgAAAQAAAAEAAAABdwEAACUAAAAJ+gIAAAEAAAABAAAAAXkBAAARAQAACgn7AgAACfwCAAAJAAEAAAkBAAAACf0CAAABewEAABMBAAAKWAIAAAH+AgAA3wEAAAEAAAAB/wIAAOABAAAAAAAAAQADAAAUAAAAjGbPQ5AaS0PswjlDtvcUQwEBAwAA4gEAAAAAAAAAABBBAQECAwAAIAAAAAEkGEQ2y4pDAQMDAACaAAAABAAAAAAAAAAAAAAAAAkEAwAAAAAAAAkFAwAAAAABBgMAAKMAAAAAAAAAAQcDAABsAAAAAAAAAAAAAAABCAMAABQAAAAAAAAAAAAAAAAAAAAAAAAAAAAAAAl6AQAACgkJAwAACesBAAAgAwAA/////wABCgkKAwAAAQAKAAd8AQAAAAEAAAACAAAABBVTeXN0ZW0uRHJhd2luZy5Qb2ludEYEAAAAAQsDAAAgAAAAASQYRDbLikMBDAMAACAAAAB10SlCI4mxQwd9AQAAAAEAAAACAAAABBdBcGxvcmlzLkJhc2UuQW5jaG9yTW9kZQMAAAABDQMAAJoAAAAEAAAAAQ4DAACaAAAAAgAAAAF+AQAAJAAAAAkPAwAAAQAAAAEAAAABfwEAACUAAAAJEAMAAAEAAAABAAAAD4IBAAABAAAACAAAAAAHgwEAAAABAAAAAQAAAAQVQXBsb3Jpcy5CYXNlLlVJLkxhYmVsAwAAAAoBhAEAACQAAAAJ0gAAAAAAAAAAAAAAAYUBAAAlAAAACREDAAAAAAAACAAAAA+IAQAAAQAAAAgAAAAAB4kBAAAAAQAAAAEAAAAEFUFwbG9yaXMuQmFzZS5VSS5MYWJlbAMAAAAKAYoBAAAkAAAACdIAAAAAAAAAAAAAAAGLAQAAJQAAAAkSAwAAAAAAAAgAAAAPjgEAAAEAAAAIAAAAAAePAQAAAAEAAAABAAAABBVBcGxvcmlzLkJhc2UuVUkuTGFiZWwDAAAACRMDAAABkAEAADMAAAABFAMAACAAAAAY3UhDIwm0QwEVAwAAmgAAAAMAAAAAAAAAAAAAAAAJFgMAAAAAAAAJFwMAAAAAARgDAACjAAAAAAAAAAEZAwAAbAAAAAAAwEIAAGBBARoDAAAUAAAAXXQbQwAAtEN2WbVC6KJLQV662T8JjAEAAAoJGwMAAAnrAQAAIAMAAP////8BAQoJHAMAAAEACgABkQEAACQAAAAJHQMAAAAAAAAAAAAAAZIBAAAlAAAACR4DAAACAAAAAgAAAA+VAQAAAQAAAAgAAAAAB5YBAAAAAQAAAAEAAAAEFUFwbG9yaXMuQmFzZS5VSS5MYWJlbAMAAAAJHwMAAAGXAQAAMwAAAAEgAwAAIAAAAEfX/UMjCbRDASEDAACaAAAAAwAAAAAAAAAAAAAAAAkiAwAAAAAAAAkjAwAAAAABJAMAAKMAAAAAAAAAASUDAABsAAAAAADGQgAAYEEBJgMAABQAAABddOZDAAC0Q9PNukLooktBXrrZPwmTAQAACgknAwAACesBAAAgAwAA/////wEBCgkoAwAAAQAKAAGYAQAAJAAAAAkdAwAAAAAAAAAAAAABmQEAACUAAAAJKQMAAAIAAAACAAAAAZoBAAAvAAAAASoDAAAgAAAAddE9QiOJsUMBKwMAACAAAAB10S1CI4mxQwksAwAAzAEAAP////8BAQoJLQMAAAEACgABmwEAADMAAAABLgMAACAAAAB10SdCI4mxQwEvAwAAmgAAAAIAAAAAAAAAAAAAAAAJMAMAAAAAAAAJMQMAAAAAATIDAACjAAAAAAAAAAEzAwAAbAAAAAAAmEEAAGBBATQDAAAUAAAAdNG1QaOLrkPYZaVB6KJLQV662T8GNQMAAAIwJQoJNgMAAAnrAQAA0AIAAP////8BAQoJNwMAAAEACgABngEAACQAAAAJ0gAAAAAAAAAAAAAAAZ8BAAAlAAAACTgDAAACAAAAAgAAAAGgAQAALwAAAAE5AwAAIAAAAHXRPUL7nqBDAToDAAAgAAAAddEtQvueoEMJOwMAAMwBAAD/////AQEKCTwDAAABAAoAAaEBAAAzAAAAAT0DAAAgAAAAddEnQvueoEMBPgMAAJoAAAACAAAAAAAAAAAAAAAACT8DAAAAAAAACUADAAAAAAFBAwAAowAAAAAAAAABQgMAAGwAAAAAANBBAABgQQFDAwAAFAAAALrogkHRRZ1Dkk7YQeiiS0Feutk/BkQDAAADMTAlCglFAwAACesBAADQAgAA/////wEBCglGAwAAAQAKAAGkAQAAJAAAAAnSAAAAAAAAAAAAAAABpQEAACUAAAAJRwMAAAIAAAACAAAAAaYBAAAvAAAAAUgDAAAgAAAAddE9QtO0j0MBSQMAACAAAAB10S1C07SPQwlKAwAAzAEAAP////8BAQoJSwMAAAEACgABpwEAADMAAAABTAMAACAAAAB10SdC07SPQwFNAwAAmgAAAAIAAAAAAAAAAAAAAAAJTgMAAAAAAAAJTwMAAAAAAVADAACjAAAAAAAAAAFRAwAAbAAAAAAA0EEAAGBBAVIDAAAUAAAAuuiCQV10jEOSTthB6KJLQV662T8GUwMAAAMyMCUKCVQDAAAJ6wEAANACAAD/////AQEKCVUDAAABAAoAAaoBAAAkAAAACdIAAAAAAAAAAAAAAAGrAQAAJQAAAAlWAwAAAgAAAAIAAAABrAEAAC8AAAABVwMAACAAAAB10T1CVpV9QwFYAwAAIAAAAHXRLUJWlX1DCVkDAADMAQAA/////wEBCglaAwAAAQAKAAGtAQAAMwAAAAFbAwAAIAAAAHXRJ0JWlX1DAVwDAACaAAAAAgAAAAAAAAAAAAAAAAldAwAAAAAAAAleAwAAAAABXwMAAKMAAAAAAAAAAWADAABsAAAAAADQQQAAYEEBYQMAABQAAAC66IJB0UV3Q5JO2EHooktBXrrZPwZiAwAAAzMwJQoJYwMAAAnrAQAA0AIAAP////8BAQoJZAMAAAEACgABsAEAACQAAAAJ0gAAAAAAAAAAAAAAAbEBAAAlAAAACWUDAAACAAAAAgAAAAGyAQAALwAAAAFmAwAAIAAAAHXRPUIGwVtDAWcDAAAgAAAAddEtQgbBW0MJaAMAAMwBAAD/////AQEKCWkDAAABAAoAAbMBAAAzAAAAAWoDAAAgAAAAddEnQgbBW0MBawMAAJoAAAACAAAAAAAAAAAAAAAACWwDAAAAAAAACW0DAAAAAAFuAwAAowAAAAAAAAABbwMAAGwAAAAAANBBAABgQQFwAwAAFAAAALrogkHoolVDkk7YQeiiS0Feutk/BnEDAAADNDAlCglyAwAACesBAADQAgAA/////wEBCglzAwAAAQAKAAG2AQAAJAAAAAnSAAAAAAAAAAAAAAABtwEAACUAAAAJdAMAAAIAAAACAAAAAbgBAAAvAAAAAXUDAAAgAAAAddE9QrbsOUMBdgMAACAAAAB10S1Ctuw5Qwl3AwAAzAEAAP////8BAQoJeAMAAAEACgABuQEAADMAAAABeQMAACAAAAB10SdCtuw5QwF6AwAAmgAAAAIAAAAAAAAAAAAAAAAJewMAAAAAAAAJfAMAAAAAAX0DAACjAAAAAAAAAAF+AwAAbAAAAAAA0EEAAGBBAX8DAAAUAAAAuuiCQQAANEOSTthB6KJLQV662T8GgAMAAAM1MCUKCYEDAAAJ6wEAANACAAD/////AQEKCYIDAAABAAoAAbwBAAAkAAAACdIAAAAAAAAAAAAAAAG9AQAAJQAAAAmDAwAAAgAAAAIAAAABvgEAAC8AAAABhAMAACAAAAB10T1CZhgYQwGFAwAAIAAAAHXRLUJmGBhDCYYDAADMAQAA/////wEBCgmHAwAAAQAKAAG/AQAAMwAAAAGIAwAAIAAAAHXRJ0JmGBhDAYkDAACaAAAAAgAAAAAAAAAAAAAAAAmKAwAAAAAAAAmLAwAAAAABjAMAAKMAAAAAAAAAAY0DAABsAAAAAADQQQAAYEEBjgMAABQAAAC66IJBXXQRQ5JO2EHooktBXrrZPwaPAwAAAzYwJQoJkAMAAAnrAQAA0AIAAP////8BAQoJkQMAAAEACgABwgEAACQAAAAJ0gAAAAAAAAAAAAAAAcMBAAAlAAAACZIDAAACAAAAAgAAAAHEAQAALwAAAAGTAwAAIAAAAHXRPUItiOxCAZQDAAAgAAAAddEtQi2I7EIJlQMAAMwBAAD/////AQEKCZYDAAABAAoAAcUBAAAzAAAAAZcDAAAgAAAAddEnQi2I7EIBmAMAAJoAAAACAAAAAAAAAAAAAAAACZkDAAAAAAAACZoDAAAAAAGbAwAAowAAAAAAAAABnAMAAGwAAAAAANBBAABgQQGdAwAAFAAAALrogkHoot9Ckk7YQeiiS0Feutk/Bp4DAAADNzAlCgmfAwAACesBAADQAgAA/////wEBCgmgAwAAAQAKAAHIAQAAJAAAAAnSAAAAAAAAAAAAAAAByQEAACUAAAAJoQMAAAIAAAACAAAAAcoBAAAvAAAAAaIDAAAgAAAAddE9Qo3fqEIBowMAACAAAAB10S1Cjd+oQgmkAwAAzAEAAP////8BAQoJpQMAAAEACgABywEAADMAAAABpgMAACAAAAB10SdCjd+oQgGnAwAAmgAAAAIAAAAAAAAAAAAAAAAJqAMAAAAAAAAJqQMAAAAAAaoDAACjAAAAAAAAAAGrAwAAbAAAAAAA0EEAAGBBAawDAAAUAAAAuuiCQRddnEKSTthB6KJLQV662T8GrQMAAAM4MCUKCa4DAAAJ6wEAANACAAD/////AQEKCa8DAAABAAoAAc4BAAAkAAAACdIAAAAAAAAAAAAAAAHPAQAAJQAAAAmwAwAAAgAAAAIAAAAB0AEAAC8AAAABsQMAACAAAAB10T1C221KQgGyAwAAIAAAAHXRLULbbUpCCbMDAADMAQAA/////wEBCgm0AwAAAQAKAAHRAQAAMwAAAAG1AwAAIAAAAHXRJ0LbbUpCAbYDAACaAAAAAgAAAAAAAAAAAAAAAAm3AwAAAAAAAAm4AwAAAAABuQMAAKMAAAAAAAAAAboDAABsAAAAAADQQQAAYEEBuwMAABQAAAC66IJBiy4yQpJO2EHooktBXrrZPwa8AwAAAzkwJQoJvQMAAAnrAQAA0AIAAP////8BAQoJvgMAAAEACgAB1AEAACQAAAAJ0gAAAAAAAAAAAAAAAdUBAAAlAAAACb8DAAACAAAAAgAAAAHWAQAALwAAAAHAAwAAIAAAAHXRPUI2OYZBAcEDAAAgAAAAddEtQjY5hkEJwgMAAMwBAAD/////AQEKCcMDAAABAAoAAdcBAAAzAAAAAcQDAAAgAAAAddEnQjY5hkEBxQMAAJoAAAACAAAAAAAAAAAAAAAACcYDAAAAAAAACccDAAAAAAHIAwAAowAAAAAAAAAByQMAAGwAAAAAAARCAABgQQHKAwAAFAAAAAAAIEEAACBBpZsFQuiiS0Feutk/BssDAAAEMTAwJQoJzAMAAAnrAQAA0AIAAP////8BAQoJzQMAAAEACgAB2gEAACQAAAAJ0gAAAAAAAAAAAAAAAdsBAAAlAAAACc4DAAACAAAAAgAAAATcAQAAmAFTeXN0ZW0uQ29sbGVjdGlvbnMuR2VuZXJpYy5MaXN0YDFbW0FwbG9yaXMuQ2hhcnQuQ2hhcnREYXRhRWxlbWVudCwgQXBsb3Jpcy5DaGFydCwgVmVyc2lvbj00LjAuMC4xNDg2LCBDdWx0dXJlPW5ldXRyYWwsIFB1YmxpY0tleVRva2VuPTE2ZmMxM2EyMjZjMGU5NTFdXQMAAAAGX2l0ZW1zBV9zaXplCF92ZXJzaW9uBAAAIEFwbG9yaXMuQ2hhcnQuQ2hhcnREYXRhRWxlbWVudFtdAgAAAAgICc8DAAAEAAAAEAAAAAHdAQAAJAAAAAnQAwAABAAAAAwAAAAB3gEAACUAAAAJ0AAAAAAAAAAAAAAABeU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zAAAACgAAAAAAQEEJcAAAAAlxAAAACdEDAAABAAnSAwAAAeYBAAByAAAACgoAAAAA////AA4AAAAAAQHqAQAApwAAAAnTAwAAAQAAAAEAAAAB7AEAAG8AAAAJ1AMAAAoH8QEAAAABAAAABAAAAAQfQXBsb3Jpcy5CYXNlLk9iamVjdHMuRGF0YU9iamVjdAMAAAAJEQEAAA0DB/IBAAAAAQAAAAQAAAAEHEFwbG9yaXMuQmFzZS5VSS5WaXN1YWxPYmplY3QDAAAACRMBAAANAwHzAQAA3AEAAAnVAwAABAAAABAAAAAB9AEAACQAAAAJ1gMAAAQAAAAMAAAAAfUBAAAlAAAACdAAAAAAAAAAAAAAAAX8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AAAAAoAAAAAAEBBCXAAAAAJcQAAAAnXAwAAAQAJ2AMAAAH9AQAAcgAAAAoKAAAAAP///wAOAAAAAAEBAQIAAKcAAAAJ2QMAAAEAAAABAAAAAQICAABvAAAACdoDAAAKBwcCAAAAAQAAAAQAAAAEH0FwbG9yaXMuQmFzZS5PYmplY3RzLkRhdGFPYmplY3QDAAAACRkBAAANAwcIAgAAAAEAAAAEAAAABBxBcGxvcmlzLkJhc2UuVUkuVmlzdWFsT2JqZWN0AwAAAAkbAQAADQMBCQIAANwBAAAJ2wMAAAQAAAAQAAAAAQoCAAAkAAAACdwDAAAEAAAADAAAAAELAgAAJQAAAAnQAAAAAAAAAAAAAAAFEg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UAAAAKAAAAAABAQQlwAAAACXEAAAAJ3QMAAAEACd4DAAABEwIAAHIAAAAKCgAAAAD///8ADgAAAAABARcCAACnAAAACd8DAAABAAAAAQAAAAEYAgAAbwAAAAngAwAACgcdAgAAAAEAAAAEAAAABB9BcGxvcmlzLkJhc2UuT2JqZWN0cy5EYXRhT2JqZWN0AwAAAAkhAQAADQMHHgIAAAABAAAABAAAAAQcQXBsb3Jpcy5CYXNlLlVJLlZpc3VhbE9iamVjdAMAAAAJIwEAAA0DAR8CAADcAQAACeEDAAAEAAAAEAAAAAEgAgAAJAAAAAniAwAABAAAAAwAAAABIQIAACUAAAAJ0AAAAAAAAAAAAAAABSg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2AAAACgAAAAAAQEEJcAAAAAlxAAAACeMDAAABAAnkAwAAASkCAAByAAAACgoAAAAA////AA4AAAAAAQEtAgAApwAAAAnlAwAAAQAAAAEAAAABLgIAAG8AAAAJ5gMAAAoHMwIAAAABAAAABAAAAAQfQXBsb3Jpcy5CYXNlLk9iamVjdHMuRGF0YU9iamVjdAMAAAAJKQEAAA0DBzQCAAAAAQAAAAQAAAAEHEFwbG9yaXMuQmFzZS5VSS5WaXN1YWxPYmplY3QDAAAACSsBAAANAwE1AgAA3AEAAAnnAwAABAAAABAAAAABNgIAACQAAAAJ6AMAAAQAAAAMAAAAATcCAAAlAAAACdAAAAAAAAAAAAAAAAU+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wAAAAoAAAAAAEBBCXAAAAAJcQAAAAnpAwAAAQAJ6gMAAAE/AgAAcgAAAAoKAAAAAP///wAOAAAAAAEBQwIAAKcAAAAJ6wMAAAEAAAABAAAAAUQCAABvAAAACewDAAAKB0kCAAAAAQAAAAQAAAAEH0FwbG9yaXMuQmFzZS5PYmplY3RzLkRhdGFPYmplY3QDAAAACTEBAAANAwdKAgAAAAEAAAAEAAAABBxBcGxvcmlzLkJhc2UuVUkuVmlzdWFsT2JqZWN0AwAAAAkzAQAADQMBSwIAANwBAAAJ7QMAAAQAAAAQAAAAAUwCAAAkAAAACe4DAAAEAAAADAAAAAFNAgAAJQAAAAnQAAAAAAAAAAAAAAAFVA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gAAAAKAAAAAABAQQlwAAAACXEAAAAJ7wMAAAEACfADAAABVQIAAHIAAAAKCgAAAAD///8ADgAAAAABAVkCAACnAAAACfEDAAABAAAAAQAAAAFaAgAAbwAAAAnyAwAACgdfAgAAAAEAAAAEAAAABB9BcGxvcmlzLkJhc2UuT2JqZWN0cy5EYXRhT2JqZWN0AwAAAAk5AQAADQMHYAIAAAABAAAABAAAAAQcQXBsb3Jpcy5CYXNlLlVJLlZpc3VhbE9iamVjdAMAAAAJOwEAAA0DAWECAADcAQAACfMDAAAEAAAABAAAAAFiAgAAJAAAAAn0AwAABAAAAAQAAAABYwIAACUAAAAJ9QMAAAAAAAAAAAAABWo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5AAAACgAAAAAAQEEJcAAAAAlxAAAACfYDAAABAAn3AwAAAWsCAAByAAAACgoBAAAAAAAAAP////8AAQFvAgAApwAAAAn4AwAAAQAAAAEAAAABcAIAAG8AAAAJ+QMAAAoHdQIAAAABAAAABAAAAAQfQXBsb3Jpcy5CYXNlLk9iamVjdHMuRGF0YU9iamVjdAMAAAAJQQEAAA0DB3YCAAAAAQAAAAQAAAAEHEFwbG9yaXMuQmFzZS5VSS5WaXN1YWxPYmplY3QDAAAACUMBAAANAwF3AgAA3AEAAAn6AwAABAAAAAQAAAABeAIAACQAAAAJ+wMAAAQAAAAEAAAAAXkCAAAlAAAACfUDAAAAAAAAAAAAAAWA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gAAAAoAAAAAAEBBCXAAAAAJcQAAAAn8AwAAAQAJ/QMAAAGBAgAAcgAAAAoKAQAAAAAAAAD/////AAEBhQIAAKcAAAAJ/gMAAAEAAAABAAAAAYYCAABvAAAACf8DAAAKB4sCAAAAAQAAAAQAAAAEH0FwbG9yaXMuQmFzZS5PYmplY3RzLkRhdGFPYmplY3QDAAAACUkBAAANAweMAgAAAAEAAAAEAAAABBxBcGxvcmlzLkJhc2UuVUkuVmlzdWFsT2JqZWN0AwAAAAlLAQAADQMBjQIAANwBAAAJAAQAAAQAAAAEAAAAAY4CAAAkAAAACQEEAAAEAAAABAAAAAGPAgAAJQAAAAn1AwAAAAAAAAAAAAAFlg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sAAAAKAAAAAABAQQlwAAAACXEAAAAJAgQAAAEACQMEAAABlwIAAHIAAAAKCgEAAAAAAAAA/////wABAZsCAACnAAAACQQEAAABAAAAAQAAAAGcAgAAbwAAAAkFBAAACgehAgAAAAEAAAAEAAAABB9BcGxvcmlzLkJhc2UuT2JqZWN0cy5EYXRhT2JqZWN0AwAAAAlRAQAADQMHogIAAAABAAAABAAAAAQcQXBsb3Jpcy5CYXNlLlVJLlZpc3VhbE9iamVjdAMAAAAJUwEAAA0DAaMCAADcAQAACQYEAAAEAAAABAAAAAGkAgAAJAAAAAkHBAAABAAAAAQAAAABpQIAACUAAAAJ9QMAAAAAAAAAAAAABaw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8AAAACgAAAAAAQEEJcAAAAAlxAAAACQgEAAABAAkJBAAAAa0CAAByAAAACgoBAAAAAAAAAP////8AAQGxAgAApwAAAAkKBAAAAQAAAAEAAAABsgIAAG8AAAAJCwQAAAoHtwIAAAABAAAABAAAAAQfQXBsb3Jpcy5CYXNlLk9iamVjdHMuRGF0YU9iamVjdAMAAAAJWQEAAA0DB7gCAAAAAQAAAAQAAAAEHEFwbG9yaXMuQmFzZS5VSS5WaXN1YWxPYmplY3QDAAAACVsBAAANAwG5AgAA3AEAAAkMBAAABAAAAAQAAAABugIAACQAAAAJDQQAAAQAAAAEAAAAAbsCAAAlAAAACfUDAAAAAAAAAAAAAAXC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QAAAAoAAAAAAEBBCXAAAAAJcQAAAAkOBAAAAQAJDwQAAAHDAgAAcgAAAAoKAQAAAAAAAAD/////AAEBxwIAAKcAAAAJEAQAAAEAAAABAAAAAcgCAABvAAAACREEAAAKB80CAAAAAQAAAAQAAAAEH0FwbG9yaXMuQmFzZS5PYmplY3RzLkRhdGFPYmplY3QDAAAACWEBAAANAwfOAgAAAAEAAAAEAAAABBxBcGxvcmlzLkJhc2UuVUkuVmlzdWFsT2JqZWN0AwAAAAljAQAADQMBzwIAANwBAAAJEgQAAAQAAAAEAAAAAdACAAAkAAAACRMEAAAEAAAABAAAAAHRAgAAJQAAAAn1AwAAAAAAAAAAAAAF2A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4AAAAKAAAAAABAQQlwAAAACXEAAAAJFAQAAAEACRUEAAAB2QIAAHIAAAAKCgEAAAAAAAAA/////wABAd0CAACnAAAACRYEAAABAAAAAQAAAAHeAgAAbwAAAAkXBAAACgfjAgAAAAEAAAAEAAAABB9BcGxvcmlzLkJhc2UuT2JqZWN0cy5EYXRhT2JqZWN0AwAAAAlpAQAADQMH5AIAAAABAAAABAAAAAQcQXBsb3Jpcy5CYXNlLlVJLlZpc3VhbE9iamVjdAMAAAAJawEAAA0DAeUCAADcAQAACRgEAAAEAAAABAAAAAHmAgAAJAAAAAkZBAAABAAAAAQAAAAB5wIAACUAAAAJ9QMAAAAAAAAAAAAABe4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AAAACgAAAAAAQEEJcAAAAAlxAAAACRoEAAABAAkbBAAAAe8CAAByAAAACgoBAAAAAAAAAP////8AAQHzAgAApwAAAAkcBAAAAQAAAAEAAAAB9AIAAG8AAAAJHQQAAAoH+QIAAAABAAAABAAAAAQfQXBsb3Jpcy5CYXNlLk9iamVjdHMuRGF0YU9iamVjdAMAAAAJcQEAAA0DB/oCAAAAAQAAAAQAAAAEHEFwbG9yaXMuQmFzZS5VSS5WaXN1YWxPYmplY3QDAAAACXMBAAANAwH7AgAA3AEAAAkeBAAABAAAAAQAAAAB/AIAACQAAAAJHwQAAAQAAAAEAAAAAf0CAAAlAAAACfUDAAAAAAAAAAAAAAUE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AAEAAAoAAAAAAEBBCXAAAAAJcQAAAAkgBAAAAQAJIQQAAAEFAwAAcgAAAAoKAQAAAAAAAAD/////AAEBCQMAAKcAAAAJIgQAAAEAAAABAAAAAQoDAABvAAAACSMEAAAKBw8DAAAAAQAAAAQAAAAEH0FwbG9yaXMuQmFzZS5PYmplY3RzLkRhdGFPYmplY3QDAAAACXkBAAANAwcQAwAAAAEAAAAEAAAABBxBcGxvcmlzLkJhc2UuVUkuVmlzdWFsT2JqZWN0AwAAAAl7AQAADQMHEQMAAAABAAAABAAAAAQcQXBsb3Jpcy5CYXNlLlVJLlZpc3VhbE9iamVjdAMAAAANBAcSAwAAAAEAAAAEAAAABBxBcGxvcmlzLkJhc2UuVUkuVmlzdWFsT2JqZWN0AwAAAA0EARMDAAAzAAAAASQEAAAgAAAAGN1IQ2xyXEEBJQQAAJoAAAABAAAAAAAAAAAAAAAACSYEAAAAAAAACScEAAAAAAEoBAAAowAAAAAAAAABKQQAAGwAAAAAAJBBAABgQQEqBAAAFAAAAAAAAAAAAAAAAAAAAAAAAABeutk/BisEAAAEMS4wMAoJLAQAAAnrAQAANAMAAP////8AAQoJLQQAAAEACgABFgMAACIAAAAKCgAAAAAAQEEJcAAAAAlxAAAACS4EAAAAAAkvBAAAARcDAAByAAAACgoAAAAA////AA4AAAAAAQEbAwAApwAAAAkwBAAAAQAAAAEAAAABHAMAAG8AAAAJMQQAAAoHHQMAAAABAAAAAAAAAAQfQXBsb3Jpcy5CYXNlLk9iamVjdHMuRGF0YU9iamVjdAMAAAAHHgMAAAABAAAABAAAAAQcQXBsb3Jpcy5CYXNlLlVJLlZpc3VhbE9iamVjdAMAAAAJkAEAAAkTAwAACgoBHwMAADMAAAABMgQAACAAAABH1/1DbHJcQQEzBAAAmgAAAAEAAAAAAAAAAAAAAAAJNAQAAAAAAAAJNQQAAAAAATYEAACjAAAAAAAAAAE3BAAAbAAAAAAAkEEAAGBBATgEAAAUAAAAAAAAAAAAAAAAAAAAAAAAAF662T8GOQQAAAQwLjk5Cgk6BAAACesBAAA0AwAA/////wABCgk7BAAAAQAKAAEiAwAAIgAAAAoKAAAAAABAQQlwAAAACXEAAAAJPAQAAAAACT0EAAABIwMAAHIAAAAKCgAAAAD///8ADgAAAAABAScDAACnAAAACT4EAAABAAAAAQAAAAEoAwAAbwAAAAk/BAAACgcpAwAAAAEAAAAEAAAABBxBcGxvcmlzLkJhc2UuVUkuVmlzdWFsT2JqZWN0AwAAAAmXAQAACR8DAAAKCgEsAwAAagAAAAoKAAAAQD8JQAQAAAlBBAAAAQAAAP7///8AAAAAAQAAAAAAAAAAAAAAAQAAAAAAAAAAAAABLQMAAG8AAAAJQgQAAAoBMAMAACIAAAAKCgAAAAAAQEEJcAAAAAlxAAAACUMEAAAAAAlEBAAAATEDAAByAAAACgoAAAAA////AA4AAAAAAQE2AwAApwAAAAlFBAAAAQAAAAEAAAABNwMAAG8AAAAJRgQAAAoHOAMAAAABAAAABAAAAAQcQXBsb3Jpcy5CYXNlLlVJLlZpc3VhbE9iamVjdAMAAAAJmgEAAAmbAQAACgoBOwMAAGoAAAAKCgAAAEA/CUcEAAAJSAQAAAEAAAD+////AAAAAAEAAAAAAAAAAAAAAAEAAAAAAAAAAAAAATwDAABvAAAACUkEAAAKAT8DAAAiAAAACgoAAAAAAEBBCXAAAAAJcQAAAAlKBAAAAAAJSwQAAAFAAwAAcgAAAAoKAAAAAP///wAOAAAAAAEBRQMAAKcAAAAJTAQAAAEAAAADAAAAAUYDAABvAAAACU0EAAAKB0cDAAAAAQAAAAQAAAAEHEFwbG9yaXMuQmFzZS5VSS5WaXN1YWxPYmplY3QDAAAACaABAAAJoQEAAAoKAUoDAABqAAAACgoAAABAPwlOBAAACU8EAAABAAAA/v///wAAAAABAAAAAAAAAAAAAAABAAAAAAAAAAAAAAFLAwAAbwAAAAlQBAAACgFOAwAAIgAAAAoKAAAAAABAQQlwAAAACXEAAAAJUQQAAAAACVIEAAABTwMAAHIAAAAKCgAAAAD///8ADgAAAAABAVQDAACnAAAACVMEAAABAAAAAwAAAAFVAwAAbwAAAAlUBAAACgdWAwAAAAEAAAAEAAAABBxBcGxvcmlzLkJhc2UuVUkuVmlzdWFsT2JqZWN0AwAAAAmmAQAACacBAAAKCgFZAwAAagAAAAoKAAAAQD8JVQQAAAlWBAAAAQAAAP7///8AAAAAAQAAAAAAAAAAAAAAAQAAAAAAAAAAAAABWgMAAG8AAAAJVwQAAAoBXQMAACIAAAAKCgAAAAAAQEEJcAAAAAlxAAAACVgEAAAAAAlZBAAAAV4DAAByAAAACgoAAAAA////AA4AAAAAAQFjAwAApwAAAAlaBAAAAQAAAAMAAAABZAMAAG8AAAAJWwQAAAoHZQMAAAABAAAABAAAAAQcQXBsb3Jpcy5CYXNlLlVJLlZpc3VhbE9iamVjdAMAAAAJrAEAAAmtAQAACgoBaAMAAGoAAAAKCgAAAEA/CVwEAAAJXQQAAAEAAAD+////AAAAAAEAAAAAAAAAAAAAAAEAAAAAAAAAAAAAAWkDAABvAAAACV4EAAAKAWwDAAAiAAAACgoAAAAAAEBBCXAAAAAJcQAAAAlfBAAAAAAJYAQAAAFtAwAAcgAAAAoKAAAAAP///wAOAAAAAAEBcgMAAKcAAAAJYQQAAAEAAAADAAAAAXMDAABvAAAACWIEAAAKB3QDAAAAAQAAAAQAAAAEHEFwbG9yaXMuQmFzZS5VSS5WaXN1YWxPYmplY3QDAAAACbIBAAAJswEAAAoKAXcDAABqAAAACgoAAABAPwljBAAACWQEAAABAAAA/v///wAAAAABAAAAAAAAAAAAAAABAAAAAAAAAAAAAAF4AwAAbwAAAAllBAAACgF7AwAAIgAAAAoKAAAAAABAQQlwAAAACXEAAAAJZgQAAAAACWcEAAABfAMAAHIAAAAKCgAAAAD///8ADgAAAAABAYEDAACnAAAACWgEAAABAAAAAwAAAAGCAwAAbwAAAAlpBAAACgeDAwAAAAEAAAAEAAAABBxBcGxvcmlzLkJhc2UuVUkuVmlzdWFsT2JqZWN0AwAAAAm4AQAACbkBAAAKCgGGAwAAagAAAAoKAAAAQD8JagQAAAlrBAAAAQAAAP7///8AAAAAAQAAAAAAAAAAAAAAAQAAAAAAAAAAAAABhwMAAG8AAAAJbAQAAAoBigMAACIAAAAKCgAAAAAAQEEJcAAAAAlxAAAACW0EAAAAAAluBAAAAYsDAAByAAAACgoAAAAA////AA4AAAAAAQGQAwAApwAAAAlvBAAAAQAAAAMAAAABkQMAAG8AAAAJcAQAAAoHkgMAAAABAAAABAAAAAQcQXBsb3Jpcy5CYXNlLlVJLlZpc3VhbE9iamVjdAMAAAAJvgEAAAm/AQAACgoBlQMAAGoAAAAKCgAAAEA/CXEEAAAJcgQAAAEAAAD+////AAAAAAEAAAAAAAAAAAAAAAEAAAAAAAAAAAAAAZYDAABvAAAACXMEAAAKAZkDAAAiAAAACgoAAAAAAEBBCXAAAAAJcQAAAAl0BAAAAAAJdQQAAAGaAwAAcgAAAAoKAAAAAP///wAOAAAAAAEBnwMAAKcAAAAJdgQAAAEAAAADAAAAAaADAABvAAAACXcEAAAKB6EDAAAAAQAAAAQAAAAEHEFwbG9yaXMuQmFzZS5VSS5WaXN1YWxPYmplY3QDAAAACcQBAAAJxQEAAAoKAaQDAABqAAAACgoAAABAPwl4BAAACXkEAAABAAAA/v///wAAAAABAAAAAAAAAAAAAAABAAAAAAAAAAAAAAGlAwAAbwAAAAl6BAAACgGoAwAAIgAAAAoKAAAAAABAQQlwAAAACXEAAAAJewQAAAAACXwEAAABqQMAAHIAAAAKCgAAAAD///8ADgAAAAABAa4DAACnAAAACX0EAAABAAAAAwAAAAGvAwAAbwAAAAl+BAAACgewAwAAAAEAAAAEAAAABBxBcGxvcmlzLkJhc2UuVUkuVmlzdWFsT2JqZWN0AwAAAAnKAQAACcsBAAAKCgGzAwAAagAAAAoKAAAAQD8JfwQAAAmABAAAAQAAAP7///8AAAAAAQAAAAAAAAAAAAAAAQAAAAAAAAAAAAABtAMAAG8AAAAJgQQAAAoBtwMAACIAAAAKCgAAAAAAQEEJcAAAAAlxAAAACYIEAAAAAAmDBAAAAbgDAAByAAAACgoAAAAA////AA4AAAAAAQG9AwAApwAAAAmEBAAAAQAAAAMAAAABvgMAAG8AAAAJhQQAAAoHvwMAAAABAAAABAAAAAQcQXBsb3Jpcy5CYXNlLlVJLlZpc3VhbE9iamVjdAMAAAAJ0AEAAAnRAQAACgoBwgMAAGoAAAAKCgAAAEA/CYYEAAAJhwQAAAEAAAD+////AAAAAAEAAAAAAAAAAAAAAAEAAAAAAAAAAAAAAcMDAABvAAAACYgEAAAKAcYDAAAiAAAACgoAAAAAAEBBCXAAAAAJcQAAAAmJBAAAAAAJigQAAAHHAwAAcgAAAAoKAAAAAP///wAOAAAAAAEBzAMAAKcAAAAJiwQAAAEAAAADAAAAAc0DAABvAAAACYwEAAAKB84DAAAAAQAAAAQAAAAEHEFwbG9yaXMuQmFzZS5VSS5WaXN1YWxPYmplY3QDAAAACdYBAAAJ1wEAAAoKB88DAAAAAQAAAAgAAAAEHkFwbG9yaXMuQ2hhcnQuQ2hhcnREYXRhRWxlbWVudAIAAAAJjQQAAAmOBAAACY8EAAAJkAQAAA0EB9ADAAAAAQAAAAgAAAAEH0FwbG9yaXMuQmFzZS5PYmplY3RzLkRhdGFPYmplY3QDAAAACY0EAAAJjgQAAAmPBAAACZAEAAANBAHRAwAAcgAAAAoKAAAAAAAAAAANAAAAAAEB0gMAAHIAAAAKCgEAAAAAAAAA/////wABB9MDAAAAAQAAAAQAAAAEHUFwbG9yaXMuQmFzZS5PYmplY3RzLlZhcmlhYmxlAwAAAAWRBAAAHUFwbG9yaXMuQmFzZS5PYmplY3RzLlZhcmlhYmxlAgAAAAZOdW1iZXIIUG9zaXRpb24AAAgIAwAAAAEAAAAAAAAAAZIEAACRBAAAAAAAAAAAAAABkwQAAJEEAAAAAAAAAAAAAAGUBAAAkQQAAAAAAAAAAAAAD9QDAAABAAAACAAAAAAH1QMAAAABAAAACAAAAAQeQXBsb3Jpcy5DaGFydC5DaGFydERhdGFFbGVtZW50AgAAAAmVBAAACZYEAAAJlwQAAAmYBAAADQQH1gMAAAABAAAACAAAAAQfQXBsb3Jpcy5CYXNlLk9iamVjdHMuRGF0YU9iamVjdAMAAAAJlQQAAAmWBAAACZcEAAAJmAQAAA0EAdcDAAByAAAACgoAAAAAAAAAAA0AAAAAAQHYAwAAcgAAAAoKAQAAAAAAAAD/////AAEH2QMAAAABAAAABAAAAAQdQXBsb3Jpcy5CYXNlLk9iamVjdHMuVmFyaWFibGUDAAAAAZkEAACRBAAAAQAAAAAAAAABmgQAAJEEAAAAAAAAAAAAAAGbBAAAkQQAAAAAAAAAAAAAAZwEAACRBAAAAAAAAAAAAAAP2gMAAAEAAAAIAAAAAAfbAwAAAAEAAAAIAAAABB5BcGxvcmlzLkNoYXJ0LkNoYXJ0RGF0YUVsZW1lbnQCAAAACZ0EAAAJngQAAAmfBAAACaAEAAANBAfcAwAAAAEAAAAIAAAABB9BcGxvcmlzLkJhc2UuT2JqZWN0cy5EYXRhT2JqZWN0AwAAAAmdBAAACZ4EAAAJnwQAAAmgBAAADQQB3QMAAHIAAAAKCgAAAAAAAAAADQAAAAABAd4DAAByAAAACgoBAAAAAAAAAP////8AAQffAwAAAAEAAAAEAAAABB1BcGxvcmlzLkJhc2UuT2JqZWN0cy5WYXJpYWJsZQMAAAABoQQAAJEEAAABAAAAAAAAAAGiBAAAkQQAAAAAAAAAAAAAAaMEAACRBAAAAAAAAAAAAAABpAQAAJEEAAAAAAAAAAAAAA/gAwAAAQAAAAgAAAAAB+EDAAAAAQAAAAgAAAAEHkFwbG9yaXMuQ2hhcnQuQ2hhcnREYXRhRWxlbWVudAIAAAAJpQQAAAmmBAAACacEAAAJqAQAAA0EB+IDAAAAAQAAAAgAAAAEH0FwbG9yaXMuQmFzZS5PYmplY3RzLkRhdGFPYmplY3QDAAAACaUEAAAJpgQAAAmnBAAACagEAAANBAHjAwAAcgAAAAoKAAAAAAAAAAANAAAAAAEB5AMAAHIAAAAKCgEAAAAAAAAA/////wABB+UDAAAAAQAAAAQAAAAEHUFwbG9yaXMuQmFzZS5PYmplY3RzLlZhcmlhYmxlAwAAAAGpBAAAkQQAAAEAAAAAAAAAAaoEAACRBAAAAAAAAAAAAAABqwQAAJEEAAAAAAAAAAAAAAGsBAAAkQQAAAAAAAAAAAAAD+YDAAABAAAACAAAAAAH5wMAAAABAAAACAAAAAQeQXBsb3Jpcy5DaGFydC5DaGFydERhdGFFbGVtZW50AgAAAAmtBAAACa4EAAAJrwQAAAmwBAAADQQH6AMAAAABAAAACAAAAAQfQXBsb3Jpcy5CYXNlLk9iamVjdHMuRGF0YU9iamVjdAMAAAAJrQQAAAmuBAAACa8EAAAJsAQAAA0EAekDAAByAAAACgoAAAAAAAAAAA0AAAAAAQHqAwAAcgAAAAoKAQAAAAAAAAD/////AAEH6wMAAAABAAAABAAAAAQdQXBsb3Jpcy5CYXNlLk9iamVjdHMuVmFyaWFibGUDAAAAAbEEAACRBAAAAQAAAAAAAAABsgQAAJEEAAAAAAAAAAAAAAGzBAAAkQQAAAAAAAAAAAAAAbQEAACRBAAAAAAAAAAAAAAP7AMAAAEAAAAIAAAAAAftAwAAAAEAAAAIAAAABB5BcGxvcmlzLkNoYXJ0LkNoYXJ0RGF0YUVsZW1lbnQCAAAACbUEAAAJtgQAAAm3BAAACbgEAAANBAfuAwAAAAEAAAAIAAAABB9BcGxvcmlzLkJhc2UuT2JqZWN0cy5EYXRhT2JqZWN0AwAAAAm1BAAACbYEAAAJtwQAAAm4BAAADQQB7wMAAHIAAAAKCgAAAAAAAAAADQAAAAABAfADAAByAAAACgoBAAAAAAAAAP////8AAQfxAwAAAAEAAAAEAAAABB1BcGxvcmlzLkJhc2UuT2JqZWN0cy5WYXJpYWJsZQMAAAABuQQAAJEEAAABAAAAAAAAAAG6BAAAkQQAAAAAAAAAAAAAAbsEAACRBAAAAAAAAAAAAAABvAQAAJEEAAAAAAAAAAAAAA/yAwAAAQAAAAgAAAAAB/MDAAAAAQAAAAQAAAAEHkFwbG9yaXMuQ2hhcnQuQ2hhcnREYXRhRWxlbWVudAIAAAAJvQQAAAm+BAAACb8EAAAJwAQAAAf0AwAAAAEAAAAEAAAABB9BcGxvcmlzLkJhc2UuT2JqZWN0cy5EYXRhT2JqZWN0AwAAAAm9BAAACb4EAAAJvwQAAAnABAAAB/UDAAAAAQAAAAAAAAAEHEFwbG9yaXMuQmFzZS5VSS5WaXN1YWxPYmplY3QDAAAAAfYDAAByAAAACgoAAAAAAAAAAA0AAAAAAQH3AwAAcgAAAAoKAQAAAAAAAAD/////AAEH+AMAAAABAAAABAAAAAQdQXBsb3Jpcy5CYXNlLk9iamVjdHMuVmFyaWFibGUDAAAAAcEEAACRBAAAAQAAAAAAAAABwgQAAJEEAAAAAAAAAAAAAAHDBAAAkQQAAAAAAAAAAAAAAcQEAACRBAAAAAAAAAAAAAAP+QMAAAEAAAAIAAAAAAf6AwAAAAEAAAAEAAAABB5BcGxvcmlzLkNoYXJ0LkNoYXJ0RGF0YUVsZW1lbnQCAAAACcUEAAAJxgQAAAnHBAAACcgEAAAH+wMAAAABAAAABAAAAAQfQXBsb3Jpcy5CYXNlLk9iamVjdHMuRGF0YU9iamVjdAMAAAAJxQQAAAnGBAAACccEAAAJyAQAAAH8AwAAcgAAAAoKAAAAAAAAAAANAAAAAAEB/QMAAHIAAAAKCgEAAAAAAAAA/////wABB/4DAAAAAQAAAAQAAAAEHUFwbG9yaXMuQmFzZS5PYmplY3RzLlZhcmlhYmxlAwAAAAHJBAAAkQQAAAEAAAAAAAAAAcoEAACRBAAAAAAAAAAAAAABywQAAJEEAAAAAAAAAAAAAAHMBAAAkQQAAAAAAAAAAAAAD/8DAAABAAAACAAAAAAHAAQAAAABAAAABAAAAAQeQXBsb3Jpcy5DaGFydC5DaGFydERhdGFFbGVtZW50AgAAAAnNBAAACc4EAAAJzwQAAAnQBAAABwEEAAAAAQAAAAQAAAAEH0FwbG9yaXMuQmFzZS5PYmplY3RzLkRhdGFPYmplY3QDAAAACc0EAAAJzgQAAAnPBAAACdAEAAABAgQAAHIAAAAKCgAAAAAAAAAADQAAAAABAQMEAAByAAAACgoBAAAAAAAAAP////8AAQcEBAAAAAEAAAAEAAAABB1BcGxvcmlzLkJhc2UuT2JqZWN0cy5WYXJpYWJsZQMAAAAB0QQAAJEEAAABAAAAAAAAAAHSBAAAkQQAAAAAAAAAAAAAAdMEAACRBAAAAAAAAAAAAAAB1AQAAJEEAAAAAAAAAAAAAA8FBAAAAQAAAAgAAAAABwYEAAAAAQAAAAQAAAAEHkFwbG9yaXMuQ2hhcnQuQ2hhcnREYXRhRWxlbWVudAIAAAAJ1QQAAAnWBAAACdcEAAAJ2AQAAAcHBAAAAAEAAAAEAAAABB9BcGxvcmlzLkJhc2UuT2JqZWN0cy5EYXRhT2JqZWN0AwAAAAnVBAAACdYEAAAJ1wQAAAnYBAAAAQgEAAByAAAACgoAAAAAAAAAAA0AAAAAAQEJBAAAcgAAAAoKAQAAAAAAAAD/////AAEHCgQAAAABAAAABAAAAAQdQXBsb3Jpcy5CYXNlLk9iamVjdHMuVmFyaWFibGUDAAAAAdkEAACRBAAAAQAAAAAAAAAB2gQAAJEEAAAAAAAAAAAAAAHbBAAAkQQAAAAAAAAAAAAAAdwEAACRBAAAAAAAAAAAAAAPCwQAAAEAAAAIAAAAAAcMBAAAAAEAAAAEAAAABB5BcGxvcmlzLkNoYXJ0LkNoYXJ0RGF0YUVsZW1lbnQCAAAACd0EAAAJ3gQAAAnfBAAACeAEAAAHDQQAAAABAAAABAAAAAQfQXBsb3Jpcy5CYXNlLk9iamVjdHMuRGF0YU9iamVjdAMAAAAJ3QQAAAneBAAACd8EAAAJ4AQAAAEOBAAAcgAAAAoKAAAAAAAAAAANAAAAAAEBDwQAAHIAAAAKCgEAAAAAAAAA/////wABBxAEAAAAAQAAAAQAAAAEHUFwbG9yaXMuQmFzZS5PYmplY3RzLlZhcmlhYmxlAwAAAAHhBAAAkQQAAAEAAAAAAAAAAeIEAACRBAAAAAAAAAAAAAAB4wQAAJEEAAAAAAAAAAAAAAHkBAAAkQQAAAAAAAAAAAAADxEEAAABAAAACAAAAAAHEgQAAAABAAAABAAAAAQeQXBsb3Jpcy5DaGFydC5DaGFydERhdGFFbGVtZW50AgAAAAnlBAAACeYEAAAJ5wQAAAnoBAAABxMEAAAAAQAAAAQAAAAEH0FwbG9yaXMuQmFzZS5PYmplY3RzLkRhdGFPYmplY3QDAAAACeUEAAAJ5gQAAAnnBAAACegEAAABFAQAAHIAAAAKCgAAAAAAAAAADQAAAAABARUEAAByAAAACgoBAAAAAAAAAP////8AAQcWBAAAAAEAAAAEAAAABB1BcGxvcmlzLkJhc2UuT2JqZWN0cy5WYXJpYWJsZQMAAAAB6QQAAJEEAAABAAAAAAAAAAHqBAAAkQQAAAAAAAAAAAAAAesEAACRBAAAAAAAAAAAAAAB7AQAAJEEAAAAAAAAAAAAAA8XBAAAAQAAAAgAAAAABxgEAAAAAQAAAAQAAAAEHkFwbG9yaXMuQ2hhcnQuQ2hhcnREYXRhRWxlbWVudAIAAAAJ7QQAAAnuBAAACe8EAAAJ8AQAAAcZBAAAAAEAAAAEAAAABB9BcGxvcmlzLkJhc2UuT2JqZWN0cy5EYXRhT2JqZWN0AwAAAAntBAAACe4EAAAJ7wQAAAnwBAAAARoEAAByAAAACgoAAAAAAAAAAA0AAAAAAQEbBAAAcgAAAAoKAQAAAAAAAAD/////AAEHHAQAAAABAAAABAAAAAQdQXBsb3Jpcy5CYXNlLk9iamVjdHMuVmFyaWFibGUDAAAAAfEEAACRBAAAAQAAAAAAAAAB8gQAAJEEAAAAAAAAAAAAAAHzBAAAkQQAAAAAAAAAAAAAAfQEAACRBAAAAAAAAAAAAAAPHQQAAAEAAAAIAAAAAAceBAAAAAEAAAAEAAAABB5BcGxvcmlzLkNoYXJ0LkNoYXJ0RGF0YUVsZW1lbnQCAAAACfUEAAAJ9gQAAAn3BAAACfgEAAAHHwQAAAABAAAABAAAAAQfQXBsb3Jpcy5CYXNlLk9iamVjdHMuRGF0YU9iamVjdAMAAAAJ9QQAAAn2BAAACfcEAAAJ+AQAAAEgBAAAcgAAAAoKAAAAAAAAAAANAAAAAAEBIQQAAHIAAAAKCgEAAAAAAAAA/////wABByIEAAAAAQAAAAQAAAAEHUFwbG9yaXMuQmFzZS5PYmplY3RzLlZhcmlhYmxlAwAAAAH5BAAAkQQAAAEAAAAAAAAAAfoEAACRBAAAAAAAAAAAAAAB+wQAAJEEAAAAAAAAAAAAAAH8BAAAkQQAAAAAAAAAAAAADyMEAAABAAAACAAAAAAFJgQ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AwEAAAoAAAAAAEBBCXAAAAAJcQAAAAn9BAAAAQAJ/gQAAAEnBAAAcgAAAAoKAAAAAP///wAOAAAAAAEBLAQAAKcAAAAJ/wQAAAEAAAABAAAAAS0EAABvAAAACQAFAAAKAS4EAAByAAAACgoAAAAAAAAAAA0AAAAAAAEvBAAAcgAAAAoKAAAAAAAAAAANAAAAAAEHMAQAAAABAAAABAAAAAQdQXBsb3Jpcy5CYXNlLk9iamVjdHMuVmFyaWFibGUDAAAAAQEFAACRBAAAAQAAAAAAAAABAgUAAJEEAAAAAAAAAAAAAAEDBQAAkQQAAAAAAAAAAAAAAQQFAACRBAAAAAAAAAAAAAAPMQQAAAEAAAAIxQAAAAU0B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EAQAACgAAAAAAQEEJcAAAAAlxAAAACQUFAAABAAkGBQAAATUEAAByAAAACgoAAAAA////AA4AAAAAAQE6BAAApwAAAAkHBQAAAQAAAAMAAAABOwQAAG8AAAAJCAUAAAoBPAQAAHIAAAAKCgAAAAAAAAAADQAAAAAAAT0EAAByAAAACgoAAAAAAAAAAA0AAAAAAQc+BAAAAAEAAAAEAAAABB1BcGxvcmlzLkJhc2UuT2JqZWN0cy5WYXJpYWJsZQMAAAABCQUAAJEEAAABAAAAAAAAAAEKBQAAkQQAAAAAAAAAAAAAAQsFAACRBAAAAAAAAAAAAAABDAUAAJEEAAAAAAAAAAAAAA8/BAAAAQAAAAjEAAAAAUAEAAByAAAACgoAAAAAAAAAAA0AAAAAAAVBBAAAGkFwbG9yaXMuQmFzZS5PYmplY3RzLkNvbG9yBwAAABJEYXRhT2JqZWN0K21QYXJlbnQVRGF0YU9iamVjdCttQ29udGFpbmVyBW1UeXBlBG1SR0IQbVRoZW1lQ29sb3JJbmRleAxtQXV0b1VwZGF0ZWQJbU1vZGlmaWVkBAIAAAAAAB9BcGxvcmlzLkJhc2UuT2JqZWN0cy5MaW5lRm9ybWF0AwAAAAgICAEBAwAAAAksAwAACgEAAAAAAAAA/////wABD0IEAAABAAAACBoBAAABQwQAAHIAAAAKCgAAAAAAAAAADQAAAAAAAUQEAAByAAAACgoAAAAAAAAAAA0AAAAAAQdFBAAAAAEAAAAEAAAABB1BcGxvcmlzLkJhc2UuT2JqZWN0cy5WYXJpYWJsZQMAAAABDQUAAJEEAAABAAAAAAAAAAEOBQAAkQQAAAAAAAAAAAAAAQ8FAACRBAAAAAAAAAAAAAABEAUAAJEEAAAAAAAAAAAAAA9GBAAAAQAAAAgmAAAAAUcEAAByAAAACgoAAAAAAAAAAA0AAAAAAAVIBAAAGkFwbG9yaXMuQmFzZS5PYmplY3RzLkNvbG9yBwAAABJEYXRhT2JqZWN0K21QYXJlbnQVRGF0YU9iamVjdCttQ29udGFpbmVyBW1UeXBlBG1SR0IQbVRoZW1lQ29sb3JJbmRleAxtQXV0b1VwZGF0ZWQJbU1vZGlmaWVkBAIAAAAAAB9BcGxvcmlzLkJhc2UuT2JqZWN0cy5MaW5lRm9ybWF0AwAAAAgICAEBAwAAAAk7AwAACgEAAAAAAAAA/////wABD0kEAAABAAAACB4BAAABSgQAAHIAAAAKCgAAAAAAAAAADQAAAAAAAUsEAAByAAAACgoAAAAAAAAAAA0AAAAAAQdMBAAAAAEAAAAEAAAABB1BcGxvcmlzLkJhc2UuT2JqZWN0cy5WYXJpYWJsZQMAAAABEQUAAJEEAAABAAAAAAAAAAESBQAAkQQAAAAAAAAAAAAAARMFAACRBAAAAAAAAAAAAAABFAUAAJEEAAAAAAAAAAAAAA9NBAAAAQAAAAgjAAAAAU4EAAByAAAACgoAAAAAAAAAAA0AAAAAAAVPBAAAGkFwbG9yaXMuQmFzZS5PYmplY3RzLkNvbG9yBwAAABJEYXRhT2JqZWN0K21QYXJlbnQVRGF0YU9iamVjdCttQ29udGFpbmVyBW1UeXBlBG1SR0IQbVRoZW1lQ29sb3JJbmRleAxtQXV0b1VwZGF0ZWQJbU1vZGlmaWVkBAIAAAAAAB9BcGxvcmlzLkJhc2UuT2JqZWN0cy5MaW5lRm9ybWF0AwAAAAgICAEBAwAAAAlKAwAACgEAAAAAAAAA/////wABD1AEAAABAAAACCIBAAABUQQAAHIAAAAKCgAAAAAAAAAADQAAAAAAAVIEAAByAAAACgoAAAAAAAAAAA0AAAAAAQdTBAAAAAEAAAAEAAAABB1BcGxvcmlzLkJhc2UuT2JqZWN0cy5WYXJpYWJsZQMAAAABFQUAAJEEAAABAAAAAAAAAAEWBQAAkQQAAAAAAAAAAAAAARcFAACRBAAAAAAAAAAAAAABGAUAAJEEAAAAAAAAAAAAAA9UBAAAAQAAAAgrAAAAAVUEAAByAAAACgoAAAAAAAAAAA0AAAAAAAVWBAAAGkFwbG9yaXMuQmFzZS5PYmplY3RzLkNvbG9yBwAAABJEYXRhT2JqZWN0K21QYXJlbnQVRGF0YU9iamVjdCttQ29udGFpbmVyBW1UeXBlBG1SR0IQbVRoZW1lQ29sb3JJbmRleAxtQXV0b1VwZGF0ZWQJbU1vZGlmaWVkBAIAAAAAAB9BcGxvcmlzLkJhc2UuT2JqZWN0cy5MaW5lRm9ybWF0AwAAAAgICAEBAwAAAAlZAwAACgEAAAAAAAAA/////wABD1cEAAABAAAACCABAAABWAQAAHIAAAAKCgAAAAAAAAAADQAAAAAAAVkEAAByAAAACgoAAAAAAAAAAA0AAAAAAQdaBAAAAAEAAAAEAAAABB1BcGxvcmlzLkJhc2UuT2JqZWN0cy5WYXJpYWJsZQMAAAABGQUAAJEEAAABAAAAAAAAAAEaBQAAkQQAAAAAAAAAAAAAARsFAACRBAAAAAAAAAAAAAABHAUAAJEEAAAAAAAAAAAAAA9bBAAAAQAAAAgqAAAAAVwEAAByAAAACgoAAAAAAAAAAA0AAAAAAAVdBAAAGkFwbG9yaXMuQmFzZS5PYmplY3RzLkNvbG9yBwAAABJEYXRhT2JqZWN0K21QYXJlbnQVRGF0YU9iamVjdCttQ29udGFpbmVyBW1UeXBlBG1SR0IQbVRoZW1lQ29sb3JJbmRleAxtQXV0b1VwZGF0ZWQJbU1vZGlmaWVkBAIAAAAAAB9BcGxvcmlzLkJhc2UuT2JqZWN0cy5MaW5lRm9ybWF0AwAAAAgICAEBAwAAAAloAwAACgEAAAAAAAAA/////wABD14EAAABAAAACB8BAAABXwQAAHIAAAAKCgAAAAAAAAAADQAAAAAAAWAEAAByAAAACgoAAAAAAAAAAA0AAAAAAQdhBAAAAAEAAAAEAAAABB1BcGxvcmlzLkJhc2UuT2JqZWN0cy5WYXJpYWJsZQMAAAABHQUAAJEEAAABAAAAAAAAAAEeBQAAkQQAAAAAAAAAAAAAAR8FAACRBAAAAAAAAAAAAAABIAUAAJEEAAAAAAAAAAAAAA9iBAAAAQAAAAgnAAAAAWMEAAByAAAACgoAAAAAAAAAAA0AAAAAAAVkBAAAGkFwbG9yaXMuQmFzZS5PYmplY3RzLkNvbG9yBwAAABJEYXRhT2JqZWN0K21QYXJlbnQVRGF0YU9iamVjdCttQ29udGFpbmVyBW1UeXBlBG1SR0IQbVRoZW1lQ29sb3JJbmRleAxtQXV0b1VwZGF0ZWQJbU1vZGlmaWVkBAIAAAAAAB9BcGxvcmlzLkJhc2UuT2JqZWN0cy5MaW5lRm9ybWF0AwAAAAgICAEBAwAAAAl3AwAACgEAAAAAAAAA/////wABD2UEAAABAAAACBkBAAABZgQAAHIAAAAKCgAAAAAAAAAADQAAAAAAAWcEAAByAAAACgoAAAAAAAAAAA0AAAAAAQdoBAAAAAEAAAAEAAAABB1BcGxvcmlzLkJhc2UuT2JqZWN0cy5WYXJpYWJsZQMAAAABIQUAAJEEAAABAAAAAAAAAAEiBQAAkQQAAAAAAAAAAAAAASMFAACRBAAAAAAAAAAAAAABJAUAAJEEAAAAAAAAAAAAAA9pBAAAAQAAAAgpAAAAAWoEAAByAAAACgoAAAAAAAAAAA0AAAAAAAVrBAAAGkFwbG9yaXMuQmFzZS5PYmplY3RzLkNvbG9yBwAAABJEYXRhT2JqZWN0K21QYXJlbnQVRGF0YU9iamVjdCttQ29udGFpbmVyBW1UeXBlBG1SR0IQbVRoZW1lQ29sb3JJbmRleAxtQXV0b1VwZGF0ZWQJbU1vZGlmaWVkBAIAAAAAAB9BcGxvcmlzLkJhc2UuT2JqZWN0cy5MaW5lRm9ybWF0AwAAAAgICAEBAwAAAAmGAwAACgEAAAAAAAAA/////wABD2wEAAABAAAACBwBAAABbQQAAHIAAAAKCgAAAAAAAAAADQAAAAAAAW4EAAByAAAACgoAAAAAAAAAAA0AAAAAAQdvBAAAAAEAAAAEAAAABB1BcGxvcmlzLkJhc2UuT2JqZWN0cy5WYXJpYWJsZQMAAAABJQUAAJEEAAABAAAAAAAAAAEmBQAAkQQAAAAAAAAAAAAAAScFAACRBAAAAAAAAAAAAAABKAUAAJEEAAAAAAAAAAAAAA9wBAAAAQAAAAgoAAAAAXEEAAByAAAACgoAAAAAAAAAAA0AAAAAAAVyBAAAGkFwbG9yaXMuQmFzZS5PYmplY3RzLkNvbG9yBwAAABJEYXRhT2JqZWN0K21QYXJlbnQVRGF0YU9iamVjdCttQ29udGFpbmVyBW1UeXBlBG1SR0IQbVRoZW1lQ29sb3JJbmRleAxtQXV0b1VwZGF0ZWQJbU1vZGlmaWVkBAIAAAAAAB9BcGxvcmlzLkJhc2UuT2JqZWN0cy5MaW5lRm9ybWF0AwAAAAgICAEBAwAAAAmVAwAACgEAAAAAAAAA/////wABD3MEAAABAAAACCEBAAABdAQAAHIAAAAKCgAAAAAAAAAADQAAAAAAAXUEAAByAAAACgoAAAAAAAAAAA0AAAAAAQd2BAAAAAEAAAAEAAAABB1BcGxvcmlzLkJhc2UuT2JqZWN0cy5WYXJpYWJsZQMAAAABKQUAAJEEAAABAAAAAAAAAAEqBQAAkQQAAAAAAAAAAAAAASsFAACRBAAAAAAAAAAAAAABLAUAAJEEAAAAAAAAAAAAAA93BAAAAQAAAAgsAAAAAXgEAAByAAAACgoAAAAAAAAAAA0AAAAAAAV5BAAAGkFwbG9yaXMuQmFzZS5PYmplY3RzLkNvbG9yBwAAABJEYXRhT2JqZWN0K21QYXJlbnQVRGF0YU9iamVjdCttQ29udGFpbmVyBW1UeXBlBG1SR0IQbVRoZW1lQ29sb3JJbmRleAxtQXV0b1VwZGF0ZWQJbU1vZGlmaWVkBAIAAAAAAB9BcGxvcmlzLkJhc2UuT2JqZWN0cy5MaW5lRm9ybWF0AwAAAAgICAEBAwAAAAmkAwAACgEAAAAAAAAA/////wABD3oEAAABAAAACCMBAAABewQAAHIAAAAKCgAAAAAAAAAADQAAAAAAAXwEAAByAAAACgoAAAAAAAAAAA0AAAAAAQd9BAAAAAEAAAAEAAAABB1BcGxvcmlzLkJhc2UuT2JqZWN0cy5WYXJpYWJsZQMAAAABLQUAAJEEAAABAAAAAAAAAAEuBQAAkQQAAAAAAAAAAAAAAS8FAACRBAAAAAAAAAAAAAABMAUAAJEEAAAAAAAAAAAAAA9+BAAAAQAAAAgtAAAAAX8EAAByAAAACgoAAAAAAAAAAA0AAAAAAAWABAAAGkFwbG9yaXMuQmFzZS5PYmplY3RzLkNvbG9yBwAAABJEYXRhT2JqZWN0K21QYXJlbnQVRGF0YU9iamVjdCttQ29udGFpbmVyBW1UeXBlBG1SR0IQbVRoZW1lQ29sb3JJbmRleAxtQXV0b1VwZGF0ZWQJbU1vZGlmaWVkBAIAAAAAAB9BcGxvcmlzLkJhc2UuT2JqZWN0cy5MaW5lRm9ybWF0AwAAAAgICAEBAwAAAAmzAwAACgEAAAAAAAAA/////wABD4EEAAABAAAACB0BAAABggQAAHIAAAAKCgAAAAAAAAAADQAAAAAAAYMEAAByAAAACgoAAAAAAAAAAA0AAAAAAQeEBAAAAAEAAAAEAAAABB1BcGxvcmlzLkJhc2UuT2JqZWN0cy5WYXJpYWJsZQMAAAABMQUAAJEEAAABAAAAAAAAAAEyBQAAkQQAAAAAAAAAAAAAATMFAACRBAAAAAAAAAAAAAABNAUAAJEEAAAAAAAAAAAAAA+FBAAAAQAAAAglAAAAAYYEAAByAAAACgoAAAAAAAAAAA0AAAAAAAWHBAAAGkFwbG9yaXMuQmFzZS5PYmplY3RzLkNvbG9yBwAAABJEYXRhT2JqZWN0K21QYXJlbnQVRGF0YU9iamVjdCttQ29udGFpbmVyBW1UeXBlBG1SR0IQbVRoZW1lQ29sb3JJbmRleAxtQXV0b1VwZGF0ZWQJbU1vZGlmaWVkBAIAAAAAAB9BcGxvcmlzLkJhc2UuT2JqZWN0cy5MaW5lRm9ybWF0AwAAAAgICAEBAwAAAAnCAwAACgEAAAAAAAAA/////wABD4gEAAABAAAACBsBAAABiQQAAHIAAAAKCgAAAAAAAAAADQAAAAAAAYoEAAByAAAACgoAAAAAAAAAAA0AAAAAAQeLBAAAAAEAAAAEAAAABB1BcGxvcmlzLkJhc2UuT2JqZWN0cy5WYXJpYWJsZQMAAAABNQUAAJEEAAABAAAAAAAAAAE2BQAAkQQAAAAAAAAAAAAAATcFAACRBAAAAAAAAAAAAAABOAUAAJEEAAAAAAAAAAAAAA+MBAAAAQAAAAgkAAAABY0EAAAeQXBsb3Jpcy5DaGFydC5DaGFydERhdGFFbGVtZW50EQAAAAZtTGFiZWwKbVJlY3RhbmdsZQVtTGluZQ5tQ3Jvc3NiYXJMaW5lcwdtTWFya2VyB21TZXJpZXMGbVZhbHVlB21WYWx1ZTILbUdyb3VwSW5kZXgPbUxhYmVsUG9zaXRpb25zEW1MYWJlbEFuY2hvck1vZGVzDm1MYWJlbFBvc2l0aW9uIG1TZWxmVHJpZ2dlcmVkTWFya2VyRm9ybWF0VXBkYXRlGERhdGFPYmplY3QrbUNoaWxkT2JqZWN0cxJEYXRhT2JqZWN0K21QYXJlbnQVRGF0YU9iamVjdCttQ29udGFpbmVyGURhdGFPYmplY3QrbVZpc3VhbE9iamVjdHMEBAQEBAQCAgAEBAAAAwQEAxxBcGxvcmlzLkNoYXJ0LkNvbm5lY3RlZExhYmVsAgAAABpBcGxvcmlzLkJhc2UuVUkuVmlzdWFsUmVjdAMAAAAaQXBsb3Jpcy5CYXNlLlVJLlZpc3VhbExpbmUDAAAAHEFwbG9yaXMuQmFzZS5VSS5WaXN1YWxMaW5lW10DAAAAGkFwbG9yaXMuQ2hhcnQuVmlzdWFsTWFya2VyAgAAAB1BcGxvcmlzLkNoYXJ0LkNoYXJ0RGF0YVNlcmllcwIAAAAIF1N5c3RlbS5EcmF3aW5nLlBvaW50RltdBAAAABlBcGxvcmlzLkJhc2UuQW5jaG9yTW9kZVtdAwAAAAg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KCgoJOQUAAAoJ8wAAAAgGexSuR+F61D8KAAAAAAk6BQAACTsFAAAAAAAAAAk8BQAACfMAAAAJAQAAAAk9BQAAAY4EAACNBAAACgoKCT4FAAAKCfMAAAAKCgEAAAAJPwUAAAlABQAAAAAAAAAJQQUAAAnzAAAACQEAAAAJQgUAAAGPBAAAjQQAAAoKCglDBQAACgnzAAAACgoCAAAACgoAAAAAAAlEBQAACfMAAAAJAQAAAAlFBQAAAZAEAACNBAAACgoKCUYFAAAKCfMAAAAKCgMAAAAKCgAAAAAACUcFAAAJ8wAAAAkBAAAACUgFAAABlQQAAI0EAAAKCgoJSQUAAAoJ9AAAAAgGw/UoXI/C5T8KAAAAAAlKBQAACUsFAAAAAAAAAAlMBQAACfQAAAAJAQAAAAlNBQAAAZYEAACNBAAACgoKCU4FAAAKCfQAAAAKCgEAAAAJTwUAAAlQBQAAAAAAAAAJUQUAAAn0AAAACQEAAAAJUgUAAAGXBAAAjQQAAAoKCglTBQAACgn0AAAACgoCAAAACgoAAAAAAAlUBQAACfQAAAAJAQAAAAlVBQAAAZgEAACNBAAACgoKCVYFAAAKCfQAAAAKCgMAAAAKCgAAAAAACVcFAAAJ9AAAAAkBAAAACVgFAAABnQQAAI0EAAAKCgoJWQUAAAoJ9QAAAAoKAAAAAAoKAAAAAAAJWgUAAAn1AAAACQEAAAAJWwUAAAGeBAAAjQQAAAoKCglcBQAACgn1AAAACAZxPQrXo3C9PwoBAAAACV0FAAAJXgUAAAAAAAAACV8FAAAJ9QAAAAkBAAAACWAFAAABnwQAAI0EAAAKCgoJYQUAAAoJ9QAAAAoKAgAAAAoKAAAAAAAJYgUAAAn1AAAACQEAAAAJYwUAAAGgBAAAjQQAAAoKCglkBQAACgn1AAAACgoDAAAACgoAAAAAAAllBQAACfUAAAAJAQAAAAlmBQAAAaUEAACNBAAACgoKCWcFAAAKCfYAAAAKCgAAAAAKCgAAAAAACWgFAAAJ9gAAAAkBAAAACWkFAAABpgQAAI0EAAAKCgoJagUAAAoJ9gAAAAgGAiuHFtnOxz8KAQAAAAlrBQAACWwFAAAAAAAAAAltBQAACfYAAAAJAQAAAAluBQAAAacEAACNBAAACgoKCW8FAAAKCfYAAAAKCgIAAAAKCgAAAAAACXAFAAAJ9gAAAAkBAAAACXEFAAABqAQAAI0EAAAKCgoJcgUAAAoJ9gAAAAoKAwAAAAoKAAAAAAAJcwUAAAn2AAAACQEAAAAJdAUAAAGtBAAAjQQAAAoKCgl1BQAACgn3AAAACgoAAAAACgoAAAAAAAl2BQAACfcAAAAJAQAAAAl3BQAAAa4EAACNBAAACgoKCXgFAAAKCfcAAAAIBuXQItv5ftI/CgEAAAAJeQUAAAl6BQAAAAAAAAAJewUAAAn3AAAACQEAAAAJfAUAAAGvBAAAjQQAAAoKCgl9BQAACgn3AAAACgoCAAAACgoAAAAAAAl+BQAACfcAAAAJAQAAAAl/BQAAAbAEAACNBAAACgoKCYAFAAAKCfcAAAAKCgMAAAAKCgAAAAAACYEFAAAJ9wAAAAkBAAAACYIFAAABtQQAAI0EAAAKCgoJgwUAAAoJ+AAAAAoKAAAAAAoKAAAAAAAJhAUAAAn4AAAACQEAAAAJhQUAAAG2BAAAjQQAAAoKCgmGBQAACgn4AAAACAaTGARWDi3aPwoBAAAACYcFAAAJiAUAAAAAAAAACYkFAAAJ+AAAAAkBAAAACYoFAAABtwQAAI0EAAAKCgoJiwUAAAoJ+AAAAAoKAgAAAAoKAAAAAAAJjAUAAAn4AAAACQEAAAAJjQUAAAG4BAAAjQQAAAoKCgmOBQAACgn4AAAACgoDAAAACgoAAAAAAAmPBQAACfgAAAAJAQAAAAmQBQAAAb0EAACNBAAACgoKCZEFAAAKCfkAAAAKCgAAAAAKCgAAAAAACZIFAAAJ+QAAAAkBAAAACZMFAAABvgQAAI0EAAAKCgoJlAUAAAoJ+QAAAAoKAQAAAAoKAAAAAAAJlQUAAAn5AAAACQEAAAAJlgUAAAG/BAAAjQQAAAmXBQAACZgFAAAKCZkFAAAKCfkAAAAIBuOlm8QgsLI/CgIAAAAJmgUAAAmbBQAAAAAAAAAJnAUAAAn5AAAACQEAAAAJnQUAAAHABAAAjQQAAAoKCgmeBQAACgn5AAAACgoDAAAACgoAAAAAAAmfBQAACfkAAAAJAQAAAAmgBQAAAcUEAACNBAAACgoKCaEFAAAKCfoAAAAKCgAAAAAKCgAAAAAACaIFAAAJ+gAAAAkBAAAACaMFAAABxgQAAI0EAAAKCgoJpAUAAAoJ+gAAAAoKAQAAAAoKAAAAAAAJpQUAAAn6AAAACQEAAAAJpgUAAAHHBAAAjQQAAAmnBQAACagFAAAKCakFAAAKCfoAAAAIBpHtfD81Xto/CgIAAAAJqgUAAAmrBQAAAAAAAAAJrAUAAAn6AAAACQEAAAAJrQUAAAHIBAAAjQQAAAoKCgmuBQAACgn6AAAACgoDAAAACgoAAAAAAAmvBQAACfoAAAAJAQAAAAmwBQAAAc0EAACNBAAACgoKCbEFAAAKCfsAAAAKCgAAAAAKCgAAAAAACbIFAAAJ+wAAAAkBAAAACbMFAAABzgQAAI0EAAAKCgoJtAUAAAoJ+wAAAAoKAQAAAAoKAAAAAAAJtQUAAAn7AAAACQEAAAAJtgUAAAHPBAAAjQQAAAm3BQAACbgFAAAKCbkFAAAKCfsAAAAIBolBYOXQIss/CgIAAAAJugUAAAm7BQAAAAAAAAAJvAUAAAn7AAAACQEAAAAJvQUAAAHQBAAAjQQAAAoKCgm+BQAACgn7AAAACgoDAAAACgoAAAAAAAm/BQAACfsAAAAJAQAAAAnABQAAAdUEAACNBAAACgoKCcEFAAAKCfwAAAAKCgAAAAAKCgAAAAAACcIFAAAJ/AAAAAkBAAAACcMFAAAB1gQAAI0EAAAKCgoJxAUAAAoJ/AAAAAoKAQAAAAoKAAAAAAAJxQUAAAn8AAAACQEAAAAJxgUAAAHXBAAAjQQAAAnHBQAACcgFAAAKCckFAAAKCfwAAAAIBnsUrkfhesQ/CgIAAAAJygUAAAnLBQAAAAAAAAAJzAUAAAn8AAAACQEAAAAJzQUAAAHYBAAAjQQAAAoKCgnOBQAACgn8AAAACgoDAAAACgoAAAAAAAnPBQAACfwAAAAJAQAAAAnQBQAAAd0EAACNBAAACgoKCdEFAAAKCf0AAAAKCgAAAAAKCgAAAAAACdIFAAAJ/QAAAAkBAAAACdMFAAAB3gQAAI0EAAAKCgoJ1AUAAAoJ/QAAAAoKAQAAAAoKAAAAAAAJ1QUAAAn9AAAACQEAAAAJ1gUAAAHfBAAAjQQAAAnXBQAACdgFAAAKCdkFAAAKCf0AAAAIBpMYBFYOLcI/CgIAAAAJ2gUAAAnbBQAAAAAAAAAJ3AUAAAn9AAAACQEAAAAJ3QUAAAHgBAAAjQQAAAoKCgneBQAACgn9AAAACgoDAAAACgoAAAAAAAnfBQAACf0AAAAJAQAAAAngBQAAAeUEAACNBAAACgoKCeEFAAAKCf4AAAAKCgAAAAAKCgAAAAAACeIFAAAJ/gAAAAkBAAAACeMFAAAB5gQAAI0EAAAKCgoJ5AUAAAoJ/gAAAAoKAQAAAAoKAAAAAAAJ5QUAAAn+AAAACQEAAAAJ5gUAAAHnBAAAjQQAAAoKCgnnBQAACgn+AAAACgoCAAAACgoAAAAAAAnoBQAACf4AAAAJAQAAAAnpBQAAAegEAACNBAAACeoFAAAJ6wUAAAoJ7AUAAAoJ/gAAAAgGNWM8+IsdzT8KAwAAAAntBQAACe4FAAAAAAAAAAnvBQAACf4AAAAJAQAAAAnwBQAAAe0EAACNBAAACgoKCfEFAAAKCf8AAAAKCgAAAAAKCgAAAAAACfIFAAAJ/wAAAAkBAAAACfMFAAAB7gQAAI0EAAAKCgoJ9AUAAAoJ/wAAAAoKAQAAAAoKAAAAAAAJ9QUAAAn/AAAACQEAAAAJ9gUAAAHvBAAAjQQAAAoKCgn3BQAACgn/AAAACgoCAAAACgoAAAAAAAn4BQAACf8AAAAJAQAAAAn5BQAAAfAEAACNBAAACfoFAAAJ+wUAAAoJ/AUAAAoJ/wAAAAgGYnMDUA/z0z8KAwAAAAn9BQAACf4FAAAAAAAAAAn/BQAACf8AAAAJAQAAAAkABgAAAfUEAACNBAAACgoKCQEGAAAKCQABAAAKCgAAAAAKCgAAAAAACQIGAAAJAAEAAAkBAAAACQMGAAAB9gQAAI0EAAAKCgoJBAYAAAoJAAEAAAoKAQAAAAoKAAAAAAAJBQYAAAkAAQAACQEAAAAJBgYAAAH3BAAAjQQAAAoKCgkHBgAACgkAAQAACgoCAAAACgoAAAAAAAkIBgAACQABAAAJAQAAAAkJBgAAAfgEAACNBAAACQoGAAAJCwYAAAoJDAYAAAoJAAEAAAgGdz3BgFkr3T8KAwAAAAkNBgAACQ4GAAAAAAAAAAkPBgAACQABAAAJAQAAAAkQBgAAAf0EAAByAAAACgoAAAAAAAAAAA0AAAAAAQH+BAAAcgAAAAoKAQAAAAAAAAD/////AAEH/wQAAAABAAAABAAAAAQdQXBsb3Jpcy5CYXNlLk9iamVjdHMuVmFyaWFibGUDAAAAAREGAACRBAAAAQAAAAAAAAABEgYAAJEEAAAAAAAAAAAAAAETBgAAkQQAAAAAAAAAAAAAARQGAACRBAAAAAAAAAAAAAAPAAUAAAEAAAAIAAAAAAEFBQAAcgAAAAoKAAAAAAAAAAANAAAAAAEBBgUAAHIAAAAKCgEAAAAAAAAA/////wABBwcFAAAAAQAAAAQAAAAEHUFwbG9yaXMuQmFzZS5PYmplY3RzLlZhcmlhYmxlAwAAAAEVBgAAkQQAAAEAAAAAAAAAARYGAACRBAAAAAAAAAAAAAABFwYAAJEEAAAAAAAAAAAAAAEYBgAAkQQAAAAAAAAAAAAADwgFAAABAAAACAAAAAAHOQUAAAABAAAAAgAAAAQaQXBsb3Jpcy5CYXNlLlVJLlZpc3VhbExpbmUDAAAACgoHOgUAAAABAAAAAwAAAAQVU3lzdGVtLkRyYXdpbmcuUG9pbnRGBAAAAAEZBgAAIAAAABjd8EJNz4tCARoGAAAgAAAAo/uKQk3Pi0IBGwYAACAAAABGXytDTc+LQgc7BQAAAAEAAAADAAAABBdBcGxvcmlzLkJhc2UuQW5jaG9yTW9kZQMAAAABHAYAAJoAAAAAAAAAAR0GAACaAAAAAgAAAAEeBgAAmgAAAAQAAAABPAUAACQAAAAJ0gAAAAAAAAAAAAAAAT0FAAAlAAAACR8GAAAAAAAACAAAAAc+BQAAAAEAAAACAAAABBpBcGxvcmlzLkJhc2UuVUkuVmlzdWFsTGluZQMAAAAKCgc/BQAAAAEAAAADAAAABBVTeXN0ZW0uRHJhd2luZy5Qb2ludEYEAAAAASAGAAAgAAAAXfSnQ35CZEMBIQYAACAAAAAfjIVDfkJkQwEiBgAAIAAAAJtcykN+QmRDB0AFAAAAAQAAAAMAAAAEF0FwbG9yaXMuQmFzZS5BbmNob3JNb2RlAwAAAAEjBgAAmgAAAAAAAAABJAYAAJoAAAACAAAAASUGAACaAAAABAAAAAFBBQAAJAAAAAnSAAAAAAAAAAAAAAABQgUAACUAAAAJJgYAAAAAAAAEAAAAB0MFAAAAAQAAAAIAAAAEGkFwbG9yaXMuQmFzZS5VSS5WaXN1YWxMaW5lAwAAAAoKAUQFAAAkAAAACR0DAAAAAAAAAAAAAAFFBQAAJQAAAAn1AwAAAAAAAAAAAAAHRgUAAAABAAAAAgAAAAQaQXBsb3Jpcy5CYXNlLlVJLlZpc3VhbExpbmUDAAAACgoBRwUAACQAAAAJHQMAAAAAAAAAAAAAAUgFAAAlAAAACfUDAAAAAAAAAAAAAAdJBQAAAAEAAAACAAAABBpBcGxvcmlzLkJhc2UuVUkuVmlzdWFsTGluZQMAAAAKCgdKBQAAAAEAAAADAAAABBVTeXN0ZW0uRHJhd2luZy5Qb2ludEYEAAAAAScGAAAgAAAAGN3wQjYNb0MBKAYAACAAAACj+4pCNg1vQwEpBgAAIAAAAEZfK0M2DW9DB0sFAAAAAQAAAAMAAAAEF0FwbG9yaXMuQmFzZS5BbmNob3JNb2RlAwAAAAEqBgAAmgAAAAAAAAABKwYAAJoAAAACAAAAASwGAACaAAAABAAAAAFMBQAAJAAAAAnSAAAAAAAAAAAAAAABTQUAACUAAAAJLQYAAAAAAAAIAAAAB04FAAAAAQAAAAIAAAAEGkFwbG9yaXMuQmFzZS5VSS5WaXN1YWxMaW5lAwAAAAoKB08FAAAAAQAAAAMAAAAEFVN5c3RlbS5EcmF3aW5nLlBvaW50RgQAAAABLgYAACAAAABd9KdDA7utQwEvBgAAIAAAAB+MhUMDu61DATAGAAAgAAAAm1zKQwO7rUMHUAUAAAABAAAAAwAAAAQXQXBsb3Jpcy5CYXNlLkFuY2hvck1vZGUDAAAAATEGAACaAAAAAAAAAAEyBgAAmgAAAAIAAAABMwYAAJoAAAAEAAAAAVEFAAAkAAAACdIAAAAAAAAAAAAAAAFSBQAAJQAAAAk0BgAAAAAAAAQAAAAHUwUAAAABAAAAAgAAAAQaQXBsb3Jpcy5CYXNlLlVJLlZpc3VhbExpbmUDAAAACgoBVAUAACQAAAAJHQMAAAAAAAAAAAAAAVUFAAAlAAAACfUDAAAAAAAAAAAAAAdWBQAAAAEAAAACAAAABBpBcGxvcmlzLkJhc2UuVUkuVmlzdWFsTGluZQMAAAAKCgFXBQAAJAAAAAkdAwAAAAAAAAAAAAABWAUAACUAAAAJ9QMAAAAAAAAAAAAAB1kFAAAAAQAAAAIAAAAEGkFwbG9yaXMuQmFzZS5VSS5WaXN1YWxMaW5lAwAAAAoKAVoFAAAkAAAACdIAAAAAAAAAAAAAAAFbBQAAJQAAAAnQAAAAAAAAAAAAAAAHXAUAAAABAAAAAgAAAAQaQXBsb3Jpcy5CYXNlLlVJLlZpc3VhbExpbmUDAAAACgoHXQUAAAABAAAAAwAAAAQVU3lzdGVtLkRyYXdpbmcuUG9pbnRGBAAAAAE1BgAAIAAAAKTriEND/wxCATYGAAAgAAAAjuZeQ0P/DEIBNwYAACAAAAABZKJDQ/8MQgdeBQAAAAEAAAADAAAABBdBcGxvcmlzLkJhc2UuQW5jaG9yTW9kZQMAAAABOAYAAJoAAAAAAAAAATkGAACaAAAAAgAAAAE6BgAAmgAAAAQAAAABXwUAACQAAAAJ0gAAAAAAAAAAAAAAAWAFAAAlAAAACTsGAAAAAAAACAAAAAdhBQAAAAEAAAACAAAABBpBcGxvcmlzLkJhc2UuVUkuVmlzdWFsTGluZQMAAAAKCgFiBQAAJAAAAAkdAwAAAAAAAAAAAAABYwUAACUAAAAJ9QMAAAAAAAAAAAAAB2QFAAAAAQAAAAIAAAAEGkFwbG9yaXMuQmFzZS5VSS5WaXN1YWxMaW5lAwAAAAoKAWUFAAAkAAAACR0DAAAAAAAAAAAAAAFmBQAAJQAAAAn1AwAAAAAAAAAAAAAHZwUAAAABAAAAAgAAAAQaQXBsb3Jpcy5CYXNlLlVJLlZpc3VhbExpbmUDAAAACgoBaAUAACQAAAAJ0gAAAAAAAAAAAAAAAWkFAAAlAAAACdAAAAAAAAAAAAAAAAdqBQAAAAEAAAACAAAABBpBcGxvcmlzLkJhc2UuVUkuVmlzdWFsTGluZQMAAAAKCgdrBQAAAAEAAAADAAAABBVTeXN0ZW0uRHJhd2luZy5Qb2ludEYEAAAAATwGAAAgAAAApOuIQ0RtrEIBPQYAACAAAACO5l5DRG2sQgE+BgAAIAAAAAFkokNEbaxCB2wFAAAAAQAAAAMAAAAEF0FwbG9yaXMuQmFzZS5BbmNob3JNb2RlAwAAAAE/BgAAmgAAAAAAAAABQAYAAJoAAAACAAAAAUEGAACaAAAABAAAAAFtBQAAJAAAAAnSAAAAAAAAAAAAAAABbgUAACUAAAAJQgYAAAAAAAAIAAAAB28FAAAAAQAAAAIAAAAEGkFwbG9yaXMuQmFzZS5VSS5WaXN1YWxMaW5lAwAAAAoKAXAFAAAkAAAACR0DAAAAAAAAAAAAAAFxBQAAJQAAAAn1AwAAAAAAAAAAAAAHcgUAAAABAAAAAgAAAAQaQXBsb3Jpcy5CYXNlLlVJLlZpc3VhbExpbmUDAAAACgoBcwUAACQAAAAJHQMAAAAAAAAAAAAAAXQFAAAlAAAACfUDAAAAAAAAAAAAAAd1BQAAAAEAAAACAAAABBpBcGxvcmlzLkJhc2UuVUkuVmlzdWFsTGluZQMAAAAKCgF2BQAAJAAAAAnSAAAAAAAAAAAAAAABdwUAACUAAAAJ0AAAAAAAAAAAAAAAB3gFAAAAAQAAAAIAAAAEGkFwbG9yaXMuQmFzZS5VSS5WaXN1YWxMaW5lAwAAAAoKB3kFAAAAAQAAAAMAAAAEFVN5c3RlbS5EcmF3aW5nLlBvaW50RgQAAAABQwYAACAAAACk64hDdqMmQwFEBgAAIAAAAI7mXkN2oyZDAUUGAAAgAAAAAWSiQ3ajJkMHegUAAAABAAAAAwAAAAQXQXBsb3Jpcy5CYXNlLkFuY2hvck1vZGUDAAAAAUYGAACaAAAAAAAAAAFHBgAAmgAAAAIAAAABSAYAAJoAAAAEAAAAAXsFAAAkAAAACdIAAAAAAAAAAAAAAAF8BQAAJQAAAAlJBgAAAAAAAAgAAAAHfQUAAAABAAAAAgAAAAQaQXBsb3Jpcy5CYXNlLlVJLlZpc3VhbExpbmUDAAAACgoBfgUAACQAAAAJHQMAAAAAAAAAAAAAAX8FAAAlAAAACfUDAAAAAAAAAAAAAAeABQAAAAEAAAACAAAABBpBcGxvcmlzLkJhc2UuVUkuVmlzdWFsTGluZQMAAAAKCgGBBQAAJAAAAAkdAwAAAAAAAAAAAAABggUAACUAAAAJ9QMAAAAAAAAAAAAAB4MFAAAAAQAAAAIAAAAEGkFwbG9yaXMuQmFzZS5VSS5WaXN1YWxMaW5lAwAAAAoKAYQFAAAkAAAACdIAAAAAAAAAAAAAAAGFBQAAJQAAAAnQAAAAAAAAAAAAAAAHhgUAAAABAAAAAgAAAAQaQXBsb3Jpcy5CYXNlLlVJLlZpc3VhbExpbmUDAAAACgoHhwUAAAABAAAAAwAAAAQVU3lzdGVtLkRyYXdpbmcuUG9pbnRGBAAAAAFKBgAAIAAAAKTriEMaaY5DAUsGAAAgAAAAjuZeQxppjkMBTAYAACAAAAABZKJDGmmOQweIBQAAAAEAAAADAAAABBdBcGxvcmlzLkJhc2UuQW5jaG9yTW9kZQMAAAABTQYAAJoAAAAAAAAAAU4GAACaAAAAAgAAAAFPBgAAmgAAAAQAAAABiQUAACQAAAAJ0gAAAAAAAAAAAAAAAYoFAAAlAAAACVAGAAAAAAAACAAAAAeLBQAAAAEAAAACAAAABBpBcGxvcmlzLkJhc2UuVUkuVmlzdWFsTGluZQMAAAAKCgGMBQAAJAAAAAkdAwAAAAAAAAAAAAABjQUAACUAAAAJ9QMAAAAAAAAAAAAAB44FAAAAAQAAAAIAAAAEGkFwbG9yaXMuQmFzZS5VSS5WaXN1YWxMaW5lAwAAAAoKAY8FAAAkAAAACR0DAAAAAAAAAAAAAAGQBQAAJQAAAAn1AwAAAAAAAAAAAAAHkQUAAAABAAAAAgAAAAQaQXBsb3Jpcy5CYXNlLlVJLlZpc3VhbExpbmUDAAAACgoBkgUAACQAAAAJHQMAAAAAAAAAAAAAAZMFAAAlAAAACfUDAAAAAAAAAAAAAAeUBQAAAAEAAAACAAAABBpBcGxvcmlzLkJhc2UuVUkuVmlzdWFsTGluZQMAAAAKCgGVBQAAJAAAAAkdAwAAAAAAAAAAAAABlgUAACUAAAAJ9QMAAAAAAAAAAAAAAZcFAAATAQAAClgCAAABUQYAAN8BAAACAAAAAVIGAADgAQAAAQAAAAFTBgAAFAAAAEb310I2OZ5B6cI5Q9rClUEBVAYAAOIBAAAAAAAAAACgQAABVQYAACAAAAAY3UhDoxrpQQFWBgAAmgAAAAAAAAAAAAAAAAAAAAAJVwYAAAAAAAAJWAYAAAAAAVkGAACjAAAAAAAAAAFaBgAAbAAAAAAA4kIAAGBBAVsGAAAUAAAAiy4UQ3TRtUEwQtRC6KJLQV662T8GXAYAABJVbmRlciAxLDAwMCAgIDcuMyUKCV0GAAAGXgYAAAMgICA0AwAA/////wEBCglfBgAAAQAKAAGYBQAAGwAAAAFgBgAAIAAAAEb30UII/iVCAWEGAAAgAAAARl+UQzY5hkEJYgYAAAljBgAAAAAAAAoBZAYAAGwAAAAAAAAAAAAAAAFlBgAAbAAAAAAAAAAAAAAAAAAAAAFmBgAAFAAAAAAAAAAAAAAAAAAAAAAAAACkAQAA/////wEBCglnBgAAAQAKAAeZBQAAAAEAAAACAAAABBpBcGxvcmlzLkJhc2UuVUkuVmlzdWFsTGluZQMAAAAKCgeaBQAAAAEAAAADAAAABBVTeXN0ZW0uRHJhd2luZy5Qb2ludEYEAAAAAWgGAAAgAAAAGN1IQ6Ma6UEBaQYAACAAAABG98tCoxrpQQFqBgAAIAAAAEbflUOjGulBB5sFAAAAAQAAAAMAAAAEF0FwbG9yaXMuQmFzZS5BbmNob3JNb2RlAwAAAAFrBgAAmgAAAAAAAAABbAYAAJoAAAACAAAAAW0GAACaAAAABAAAAAGcBQAAJAAAAAkdAwAAAAAAAAAAAAABnQUAACUAAAAJbgYAAAIAAAACAAAAB54FAAAAAQAAAAIAAAAEGkFwbG9yaXMuQmFzZS5VSS5WaXN1YWxMaW5lAwAAAAoKAZ8FAAAkAAAACR0DAAAAAAAAAAAAAAGgBQAAJQAAAAn1AwAAAAAAAAAAAAAHoQUAAAABAAAAAgAAAAQaQXBsb3Jpcy5CYXNlLlVJLlZpc3VhbExpbmUDAAAACgoBogUAACQAAAAJHQMAAAAAAAAAAAAAAaMFAAAlAAAACfUDAAAAAAAAAAAAAAekBQAAAAEAAAACAAAABBpBcGxvcmlzLkJhc2UuVUkuVmlzdWFsTGluZQMAAAAKCgGlBQAAJAAAAAkdAwAAAAAAAAAAAAABpgUAACUAAAAJ9QMAAAAAAAAAAAAAAacFAAATAQAAClgCAAABbwYAAN8BAAACAAAAAXAGAADgAQAAAQAAAAFxBgAAFAAAAEb310II/jFC6cI5QzSEBUMBcgYAAOIBAAAAAAAAAACgQAABcwYAACAAAAAY3UhDOIPeQgF0BgAAmgAAAAAAAAAAAAAAAAAAAAAJdQYAAAAAAAAJdgYAAAAAAXcGAACjAAAAAAAAAAF4BgAAbAAAAAAAjEIAAOhBAXkGAAAUAAAA0UUnQxddxEKlE4ZCuujSQV662T8GegYAABIxLDAwMC01LDAwMA0KNDEuMiUKCXsGAAAGfAYAAAINCjQDAAD/////AQEKCX0GAAABAAoAAagFAAAbAAAAAX4GAAAgAAAARvfRQrYDNUMBfwYAACAAAABGX5RDCP4lQgmABgAACYEGAAAAAAAACgGCBgAAbAAAAAAAAAAAAAAAAYMGAABsAAAAAAAAAAAAAAAAAAAAAYQGAAAUAAAAAAAAAAAAAAAAAAAAAAAAAKQBAAD/////AQEKCYUGAAABAAoAB6kFAAAAAQAAAAIAAAAEGkFwbG9yaXMuQmFzZS5VSS5WaXN1YWxMaW5lAwAAAAoKB6oFAAAAAQAAAAMAAAAEFVN5c3RlbS5EcmF3aW5nLlBvaW50RgQAAAABhgYAACAAAAAY3UhDOIPeQgGHBgAAIAAAAEb3y0I4g95CAYgGAAAgAAAARt+VQziD3kIHqwUAAAABAAAAAwAAAAQXQXBsb3Jpcy5CYXNlLkFuY2hvck1vZGUDAAAAAYkGAACaAAAAAAAAAAGKBgAAmgAAAAIAAAABiwYAAJoAAAAEAAAAAawFAAAkAAAACR0DAAAAAAAAAAAAAAGtBQAAJQAAAAmMBgAAAgAAAAIAAAAHrgUAAAABAAAAAgAAAAQaQXBsb3Jpcy5CYXNlLlVJLlZpc3VhbExpbmUDAAAACgoBrwUAACQAAAAJHQMAAAAAAAAAAAAAAbAFAAAlAAAACfUDAAAAAAAAAAAAAAexBQAAAAEAAAACAAAABBpBcGxvcmlzLkJhc2UuVUkuVmlzdWFsTGluZQMAAAAKCgGyBQAAJAAAAAkdAwAAAAAAAAAAAAABswUAACUAAAAJ9QMAAAAAAAAAAAAAB7QFAAAAAQAAAAIAAAAEGkFwbG9yaXMuQmFzZS5VSS5WaXN1YWxMaW5lAwAAAAoKAbUFAAAkAAAACR0DAAAAAAAAAAAAAAG2BQAAJQAAAAn1AwAAAAAAAAAAAAABtwUAABMBAAAKWAIAAAGNBgAA3wEAAAIAAAABjgYAAOABAAABAAAAAY8GAAAUAAAARvfXQrYDOEPpwjlDepSDQgGQBgAA4gEAAAAAAAAAAKBAAAGRBgAAIAAAABjdSEPU6FhDAZIGAACaAAAAAAAAAAAAAAAAAAAAAAmTBgAAAAAAAAmUBgAAAAABlQYAAKMAAAAAAAAAAZYGAABsAAAAAACaQgAA6EEBlwYAABQAAACjiyRD6KJLQ9PNkkK66NJBXrrZPwaYBgAAEzUsMDAwLTEwLDAwMA0KMjEuMiUKCZkGAAAGmgYAAAINCjQDAAD/////AQEKCZsGAAABAAoAAbgFAAAbAAAAAZwGAAAgAAAARvfRQvPNfEMBnQYAACAAAABGX5RDtgM1QwmeBgAACZ8GAAAAAAAACgGgBgAAbAAAAAAAAAAAAAAAAaEGAABsAAAAAAAAAAAAAAAAAAAAAaIGAAAUAAAAAAAAAAAAAAAAAAAAAAAAAKQBAAD/////AQEKCaMGAAABAAoAB7kFAAAAAQAAAAIAAAAEGkFwbG9yaXMuQmFzZS5VSS5WaXN1YWxMaW5lAwAAAAoKB7oFAAAAAQAAAAMAAAAEFVN5c3RlbS5EcmF3aW5nLlBvaW50RgQAAAABpAYAACAAAAAY3UhD1OhYQwGlBgAAIAAAAEb3y0LU6FhDAaYGAAAgAAAARt+VQ9ToWEMHuwUAAAABAAAAAwAAAAQXQXBsb3Jpcy5CYXNlLkFuY2hvck1vZGUDAAAAAacGAACaAAAAAAAAAAGoBgAAmgAAAAIAAAABqQYAAJoAAAAEAAAAAbwFAAAkAAAACR0DAAAAAAAAAAAAAAG9BQAAJQAAAAmqBgAAAgAAAAIAAAAHvgUAAAABAAAAAgAAAAQaQXBsb3Jpcy5CYXNlLlVJLlZpc3VhbExpbmUDAAAACgoBvwUAACQAAAAJHQMAAAAAAAAAAAAAAcAFAAAlAAAACfUDAAAAAAAAAAAAAAfBBQAAAAEAAAACAAAABBpBcGxvcmlzLkJhc2UuVUkuVmlzdWFsTGluZQMAAAAKCgHCBQAAJAAAAAkdAwAAAAAAAAAAAAABwwUAACUAAAAJ9QMAAAAAAAAAAAAAB8QFAAAAAQAAAAIAAAAEGkFwbG9yaXMuQmFzZS5VSS5WaXN1YWxMaW5lAwAAAAoKAcUFAAAkAAAACR0DAAAAAAAAAAAAAAHGBQAAJQAAAAn1AwAAAAAAAAAAAAABxwUAABMBAAAKWAIAAAGrBgAA3wEAAAIAAAABrAYAAOABAAABAAAAAa0GAAAUAAAARvfXQvPNf0PpwjlDfLlAQgGuBgAA4gEAAAAAAAAAAKBAAAGvBgAAIAAAABjdSEOR8otDAbAGAACaAAAAAAAAAAAAAAAAAAAAAAmxBgAAAAAAAAmyBgAAAAABswYAAKMAAAAAAAAAAbQGAABsAAAAAACqQgAA6EEBtQYAABQAAAC66CBDiy6FQ3ZZoUK66NJBXrrZPwa2BgAAFDEwLDAwMC0yMCwwMDANCjE2LjAlCgm3BgAABrgGAAACDQo0AwAA/////wEBCgm5BgAAAQAKAAHIBQAAGwAAAAG6BgAAIAAAAEb30UIpfplDAbsGAAAgAAAARl+UQ/PNfEMJvAYAAAm9BgAAAAAAAAoBvgYAAGwAAAAAAAAAAAAAAAG/BgAAbAAAAAAAAAAAAAAAAAAAAAHABgAAFAAAAAAAAAAAAAAAAAAAAAAAAACkAQAA/////wEBCgnBBgAAAQAKAAfJBQAAAAEAAAACAAAABBpBcGxvcmlzLkJhc2UuVUkuVmlzdWFsTGluZQMAAAAKCgfKBQAAAAEAAAADAAAABBVTeXN0ZW0uRHJhd2luZy5Qb2ludEYEAAAAAcIGAAAgAAAAGN1IQ5Hyi0MBwwYAACAAAABG98tCkfKLQwHEBgAAIAAAAEbflUOR8otDB8sFAAAAAQAAAAMAAAAEF0FwbG9yaXMuQmFzZS5BbmNob3JNb2RlAwAAAAHFBgAAmgAAAAAAAAABxgYAAJoAAAACAAAAAccGAACaAAAABAAAAAHMBQAAJAAAAAkdAwAAAAAAAAAAAAABzQUAACUAAAAJyAYAAAIAAAACAAAAB84FAAAAAQAAAAIAAAAEGkFwbG9yaXMuQmFzZS5VSS5WaXN1YWxMaW5lAwAAAAoKAc8FAAAkAAAACR0DAAAAAAAAAAAAAAHQBQAAJQAAAAn1AwAAAAAAAAAAAAAH0QUAAAABAAAAAgAAAAQaQXBsb3Jpcy5CYXNlLlVJLlZpc3VhbExpbmUDAAAACgoB0gUAACQAAAAJHQMAAAAAAAAAAAAAAdMFAAAlAAAACfUDAAAAAAAAAAAAAAfUBQAAAAEAAAACAAAABBpBcGxvcmlzLkJhc2UuVUkuVmlzdWFsTGluZQMAAAAKCgHVBQAAJAAAAAkdAwAAAAAAAAAAAAAB1gUAACUAAAAJ9QMAAAAAAAAAAAAAAdcFAAATAQAAClgCAAAByQYAAN8BAAACAAAAAcoGAADgAQAAAQAAAAHLBgAAFAAAAEb310Ip/ppD6cI5Q9BXKEIBzAYAAOIBAAAAAAAAAACgQAABzQYAACAAAAAY3UhDpoOlQwHOBgAAmgAAAAAAAAAAAAAAAAAAAAAJzwYAAAAAAAAJ0AYAAAAAAdEGAACjAAAAAAAAAAHSBgAAbAAAAAAAQEIAAOhBAdMGAAAUAAAA0UUxQ0YXn0NIJzxCuujSQV662T8G1AYAAA4yMCwwMDArDQoxNC4yJQoJ1QYAAAbWBgAAAg0KNAMAAP////8BAQoJ1wYAAAEACgAB2AUAABsAAAAB2AYAACAAAABG99FCI4mxQwHZBgAAIAAAAEZflEMpfplDCdoGAAAJ2wYAAAAAAAAKAdwGAABsAAAAAAAAAAAAAAAB3QYAAGwAAAAAAAAAAAAAAAAAAAAB3gYAABQAAAAAAAAAAAAAAAAAAAAAAAAApAEAAP////8BAQoJ3wYAAAEACgAH2QUAAAABAAAAAgAAAAQaQXBsb3Jpcy5CYXNlLlVJLlZpc3VhbExpbmUDAAAACgoH2gUAAAABAAAAAwAAAAQVU3lzdGVtLkRyYXdpbmcuUG9pbnRGBAAAAAHgBgAAIAAAABjdSEOmg6VDAeEGAAAgAAAARvfLQqaDpUMB4gYAACAAAABG35VDpoOlQwfbBQAAAAEAAAADAAAABBdBcGxvcmlzLkJhc2UuQW5jaG9yTW9kZQMAAAAB4wYAAJoAAAAAAAAAAeQGAACaAAAAAgAAAAHlBgAAmgAAAAQAAAAB3AUAACQAAAAJHQMAAAAAAAAAAAAAAd0FAAAlAAAACeYGAAACAAAAAgAAAAfeBQAAAAEAAAACAAAABBpBcGxvcmlzLkJhc2UuVUkuVmlzdWFsTGluZQMAAAAKCgHfBQAAJAAAAAkdAwAAAAAAAAAAAAAB4AUAACUAAAAJ9QMAAAAAAAAAAAAAB+EFAAAAAQAAAAIAAAAEGkFwbG9yaXMuQmFzZS5VSS5WaXN1YWxMaW5lAwAAAAoKAeIFAAAkAAAACR0DAAAAAAAAAAAAAAHjBQAAJQAAAAn1AwAAAAAAAAAAAAAH5AUAAAABAAAAAgAAAAQaQXBsb3Jpcy5CYXNlLlVJLlZpc3VhbExpbmUDAAAACgoB5QUAACQAAAAJHQMAAAAAAAAAAAAAAeYFAAAlAAAACfUDAAAAAAAAAAAAAAfnBQAAAAEAAAACAAAABBpBcGxvcmlzLkJhc2UuVUkuVmlzdWFsTGluZQMAAAAKCgHoBQAAJAAAAAkdAwAAAAAAAAAAAAAB6QUAACUAAAAJ9QMAAAAAAAAAAAAAAeoFAAATAQAAClgCAAAB5wYAAN8BAAACAAAAAegGAADgAQAAAQAAAAHpBgAAFAAAAIxmz0M2OZ5B7MI5Q2KujkIB6gYAAOIBAAAAAAAAAACgQAAB6wYAACAAAABH1/1D/MpdQgHsBgAAmgAAAAAAAAAAAAAAAAAAAAAJ7QYAAAAAAAAJ7gYAAAAAAe8GAACjAAAAAAAAAAHwBgAAbAAAAAAAZEIAAOhBAfEGAAAUAAAAAADwQ9FFJ0J34VxCuujSQV662T8G8gYAAA9Ud28tWWVhcg0KMjIuOSUKCfMGAAAG9AYAAAINCjQDAAD/////AQEKCfUGAAABAAoAAesFAAAbAAAAAfYGAAAgAAAAjObNQ688vEIB9wYAACAAAAAB5BZENjmGQQn4BgAACfkGAAAAAAAACgH6BgAAbAAAAAAAAAAAAAAAAfsGAABsAAAAAAAAAAAAAAAAAAAAAfwGAAAUAAAAAAAAAAAAAAAAAAAAAAAAAKQBAAD/////AQEKCf0GAAABAAoAB+wFAAAAAQAAAAIAAAAEGkFwbG9yaXMuQmFzZS5VSS5WaXN1YWxMaW5lAwAAAAoKB+0FAAAAAQAAAAMAAAAEFVN5c3RlbS5EcmF3aW5nLlBvaW50RgQAAAAB/gYAACAAAABH1/1D/MpdQgH/BgAAIAAAAIxmzEP8yl1CAQAHAAAgAAAAAaQXRPzKXUIH7gUAAAABAAAAAwAAAAQXQXBsb3Jpcy5CYXNlLkFuY2hvck1vZGUDAAAAAQEHAACaAAAAAAAAAAECBwAAmgAAAAIAAAABAwcAAJoAAAAEAAAAAe8FAAAkAAAACR0DAAAAAAAAAAAAAAHwBQAAJQAAAAkEBwAAAgAAAAIAAAAH8QUAAAABAAAAAgAAAAQaQXBsb3Jpcy5CYXNlLlVJLlZpc3VhbExpbmUDAAAACgoB8gUAACQAAAAJHQMAAAAAAAAAAAAAAfMFAAAlAAAACfUDAAAAAAAAAAAAAAf0BQAAAAEAAAACAAAABBpBcGxvcmlzLkJhc2UuVUkuVmlzdWFsTGluZQMAAAAKCgH1BQAAJAAAAAkdAwAAAAAAAAAAAAAB9gUAACUAAAAJ9QMAAAAAAAAAAAAAB/cFAAAAAQAAAAIAAAAEGkFwbG9yaXMuQmFzZS5VSS5WaXN1YWxMaW5lAwAAAAoKAfgFAAAkAAAACR0DAAAAAAAAAAAAAAH5BQAAJQAAAAn1AwAAAAAAAAAAAAAB+gUAABMBAAAKWAIAAAEFBwAA3wEAAAIAAAABBgcAAOABAAABAAAAAQcHAAAUAAAAjGbPQ688wkLswjlDcfjHQgEIBwAA4gEAAAAAAAAAAKBAAAEJBwAAIAAAAEfX/UN0HBNDAQoHAACaAAAAAAAAAAAAAAAAAAAAAAkLBwAAAAAAAAkMBwAAAAABDQcAAKMAAAAAAAAAAQ4HAABsAAAAAABsQgAAMEIBDwcAABQAAACji+9Do4v+QkgnZEIAACBCXrrZPwYQBwAAGEZvdXItWWVhcg0KUHVibGljDQozMS4zJQoJEQcAAAYSBwAAAg0KNAMAAP////8BAQoJEwcAAAEACgAB+wUAABsAAAABFAcAACAAAACM5s1DkBpIQwEVBwAAIAAAAAHkFkSvPLxCCRYHAAAJFwcAAAAAAAAKARgHAABsAAAAAAAAAAAAAAABGQcAAGwAAAAAAAAAAAAAAAAAAAABGgcAABQAAAAAAAAAAAAAAAAAAAAAAAAApAEAAP////8BAQoJGwcAAAEACgAH/AUAAAABAAAAAgAAAAQaQXBsb3Jpcy5CYXNlLlVJLlZpc3VhbExpbmUDAAAACgoH/QUAAAABAAAAAwAAAAQVU3lzdGVtLkRyYXdpbmcuUG9pbnRGBAAAAAEcBwAAIAAAAEfX/UN0HBNDAR0HAAAgAAAAjGbMQ3QcE0MBHgcAACAAAAABpBdEdBwTQwf+BQAAAAEAAAADAAAABBdBcGxvcmlzLkJhc2UuQW5jaG9yTW9kZQMAAAABHwcAAJoAAAAAAAAAASAHAACaAAAAAgAAAAEhBwAAmgAAAAQAAAAB/wUAACQAAAAJHQMAAAAAAAAAAAAAAQAGAAAlAAAACSIHAAACAAAAAgAAAAcBBgAAAAEAAAACAAAABBpBcGxvcmlzLkJhc2UuVUkuVmlzdWFsTGluZQMAAAAKCgECBgAAJAAAAAkdAwAAAAAAAAAAAAABAwYAACUAAAAJ9QMAAAAAAAAAAAAABwQGAAAAAQAAAAIAAAAEGkFwbG9yaXMuQmFzZS5VSS5WaXN1YWxMaW5lAwAAAAoKAQUGAAAkAAAACR0DAAAAAAAAAAAAAAEGBgAAJQAAAAn1AwAAAAAAAAAAAAAHBwYAAAABAAAAAgAAAAQaQXBsb3Jpcy5CYXNlLlVJLlZpc3VhbExpbmUDAAAACgoBCAYAACQAAAAJHQMAAAAAAAAAAAAAAQkGAAAlAAAACfUDAAAAAAAAAAAAAAEKBgAAEwEAAApYAgAAASMHAADfAQAAAgAAAAEkBwAA4AEAAAEAAAABJQcAABQAAACMZs9DkBpLQ+zCOUO29xRDASYHAADiAQAAAAAAAAAAoEAAAScHAAAgAAAAR9f9QzbLikMBKAcAAJoAAAAAAAAAAAAAAAAAAAAACSkHAAAAAAAACSoHAAAAAAErBwAAowAAAAAAAAABLAcAAGwAAAAAAGxCAAAwQgEtBwAAFAAAAKOL70PpooBDSCdkQgAAIEJeutk/Bi4HAAAZRm91ci1ZZWFyDQpQcml2YXRlDQo0NS44JQoJLwcAAAYwBwAAAg0KNAMAAP////8BAQoJMQcAAAEACgABCwYAABsAAAABMgcAACAAAACM5s1DI4mxQwEzBwAAIAAAAAHkFkSQGkhDCTQHAAAJNQcAAAAAAAAKATYHAABsAAAAAAAAAAAAAAABNwcAAGwAAAAAAAAAAAAAAAAAAAABOAcAABQAAAAAAAAAAAAAAAAAAAAAAAAApAEAAP////8BAQoJOQcAAAEACgAHDAYAAAABAAAAAgAAAAQaQXBsb3Jpcy5CYXNlLlVJLlZpc3VhbExpbmUDAAAACgoHDQYAAAABAAAAAwAAAAQVU3lzdGVtLkRyYXdpbmcuUG9pbnRGBAAAAAE6BwAAIAAAAEfX/UM2y4pDATsHAAAgAAAAjGbMQzbLikMBPAcAACAAAAABpBdENsuKQwcOBgAAAAEAAAADAAAABBdBcGxvcmlzLkJhc2UuQW5jaG9yTW9kZQMAAAABPQcAAJoAAAAAAAAAAT4HAACaAAAAAgAAAAE/BwAAmgAAAAQAAAABDwYAACQAAAAJHQMAAAAAAAAAAAAAARAGAAAlAAAACUAHAAACAAAAAgAAAAcfBgAAAAEAAAAEAAAABBxBcGxvcmlzLkJhc2UuVUkuVmlzdWFsT2JqZWN0AwAAAA0EByYGAAAAAQAAAAQAAAAEHEFwbG9yaXMuQmFzZS5VSS5WaXN1YWxPYmplY3QDAAAADQQHLQYAAAABAAAABAAAAAQcQXBsb3Jpcy5CYXNlLlVJLlZpc3VhbE9iamVjdAMAAAANBAc0BgAAAAEAAAAEAAAABBxBcGxvcmlzLkJhc2UuVUkuVmlzdWFsT2JqZWN0AwAAAA0EBzsGAAAAAQAAAAQAAAAEHEFwbG9yaXMuQmFzZS5VSS5WaXN1YWxPYmplY3QDAAAADQQHQgYAAAABAAAABAAAAAQcQXBsb3Jpcy5CYXNlLlVJLlZpc3VhbE9iamVjdAMAAAANBAdJBgAAAAEAAAAEAAAABBxBcGxvcmlzLkJhc2UuVUkuVmlzdWFsT2JqZWN0AwAAAA0EB1AGAAAAAQAAAAQAAAAEHEFwbG9yaXMuQmFzZS5VSS5WaXN1YWxPYmplY3QDAAAADQQBVwYAACIAAAAKCgAAAAAAQEEJcAAAAAlxAAAACUEHAAAAAAlCBwAAAVgGAAByAAAACgoBAAAAwdDtAP////8AAAFdBgAApwAAAAlDBwAAAgAAAA8AAAABXwYAAG8AAAAJRAcAAAoBYgYAAGoAAAAKCgAAAEA/CUUHAAAJRgcAAAEAAAD+////AAAAAAEAAAAAAAAAAAAAAAEAAAAAAAAAAAAAAWMGAABrAAAACgoJRwcAAAlIBwAAAQAAAP7///8AAAAA/////wAAAWcGAABvAAAACUkHAAAKB24GAAAAAQAAAAQAAAAEHEFwbG9yaXMuQmFzZS5VSS5WaXN1YWxPYmplY3QDAAAACZgFAAAJlwUAAAoKAXUGAAAiAAAACgoAAAAAAEBBCXAAAAAJcQAAAAlKBwAAAAAJSwcAAAF2BgAAcgAAAAoKAQAAAGuP1AD/////AAEBewYAAKcAAAAJTAcAAAIAAAAGAAAAAX0GAABvAAAACU0HAAAKAYAGAABqAAAACgoAAABAPwlOBwAACU8HAAABAAAA/v///wAAAAABAAAAAAAAAAAAAAABAAAAAAAAAAAAAAGBBgAAawAAAAoKCVAHAAAJUQcAAAEAAAD+////AAAAAP////8AAAGFBgAAbwAAAAlSBwAACgeMBgAAAAEAAAAEAAAABBxBcGxvcmlzLkJhc2UuVUkuVmlzdWFsT2JqZWN0AwAAAAmoBQAACacFAAAKCgGTBgAAIgAAAAoKAAAAAABAQQlwAAAACXEAAAAJUwcAAAAACVQHAAABlAYAAHIAAAAKCgEAAABFddQA/////wABAZkGAACnAAAACVUHAAACAAAABgAAAAGbBgAAbwAAAAlWBwAACgGeBgAAagAAAAoKAAAAQD8JVwcAAAlYBwAAAQAAAP7///8AAAAAAQAAAAAAAAAAAAAAAQAAAAAAAAAAAAABnwYAAGsAAAAKCglZBwAACVoHAAABAAAA/v///wAAAAD/////AAABowYAAG8AAAAJWwcAAAoHqgYAAAABAAAABAAAAAQcQXBsb3Jpcy5CYXNlLlVJLlZpc3VhbE9iamVjdAMAAAAJuAUAAAm3BQAACgoBsQYAACIAAAAKCgAAAAAAQEEJcAAAAAlxAAAACVwHAAAAAAldBwAAAbIGAAByAAAACgoBAAAAEUSqAP////8AAQG3BgAApwAAAAleBwAAAgAAAAQAAAABuQYAAG8AAAAJXwcAAAoBvAYAAGoAAAAKCgAAAEA/CWAHAAAJYQcAAAEAAAD+////AAAAAAEAAAAAAAAAAAAAAAEAAAAAAAAAAAAAAb0GAABrAAAACgoJYgcAAAljBwAAAQAAAP7///8AAAAA/////wAAAcEGAABvAAAACWQHAAAKB8gGAAAAAQAAAAQAAAAEHEFwbG9yaXMuQmFzZS5VSS5WaXN1YWxPYmplY3QDAAAACcgFAAAJxwUAAAoKAc8GAAAiAAAACgoAAAAAAEBBCXAAAAAJcQAAAAllBwAAAAAJZgcAAAHQBgAAcgAAAAoKAQAAAAUpbgD/////AAEB1QYAAKcAAAAJZwcAAAIAAAAGAAAAAdcGAABvAAAACWgHAAAKAdoGAABqAAAACgoAAABAPwlpBwAACWoHAAABAAAA/v///wAAAAABAAAAAAAAAAAAAAABAAAAAAAAAAAAAAHbBgAAawAAAAoKCWsHAAAJbAcAAAEAAAD+////AAAAAP////8AAAHfBgAAbwAAAAltBwAACgfmBgAAAAEAAAAEAAAABBxBcGxvcmlzLkJhc2UuVUkuVmlzdWFsT2JqZWN0AwAAAAnYBQAACdcFAAAKCgHtBgAAIgAAAAoKAAAAAABAQQlwAAAACXEAAAAJbgcAAAAACW8HAAAB7gYAAHIAAAAKCgAAAADDmHQACQAAAAABAfMGAACnAAAACXAHAAACAAAABgAAAAH1BgAAbwAAAAlxBwAACgH4BgAAagAAAAoKAAAAQD8JcgcAAAlzBwAAAQAAAP7///8AAAAAAQAAAAAAAAAAAAAAAQAAAAAAAAAAAAAB+QYAAGsAAAAKCgl0BwAACXUHAAABAAAA/v///wAAAAD/////AAAB/QYAAG8AAAAJdgcAAAoHBAcAAAABAAAABAAAAAQcQXBsb3Jpcy5CYXNlLlVJLlZpc3VhbE9iamVjdAMAAAAJ6wUAAAnqBQAACgoBCwcAACIAAAAKCgAAAAAAQEEJcAAAAAlxAAAACXcHAAAAAAl4BwAAAQwHAAByAAAACgoAAAAARjs0AAgAAAAAAQERBwAApwAAAAl5BwAAAgAAAAQAAAABEwcAAG8AAAAJegcAAAoBFgcAAGoAAAAKCgAAAEA/CXsHAAAJfAcAAAEAAAD+////AAAAAAEAAAAAAAAAAAAAAAEAAAAAAAAAAAAAARcHAABrAAAACgoJfQcAAAl+BwAAAQAAAP7///8AAAAA/////wAAARsHAABvAAAACX8HAAAKByIHAAAAAQAAAAQAAAAEHEFwbG9yaXMuQmFzZS5VSS5WaXN1YWxPYmplY3QDAAAACfsFAAAJ+gUAAAoKASkHAAAiAAAACgoAAAAAAEBBCXAAAAAJcQAAAAmABwAAAAAJgQcAAAEqBwAAcgAAAAoKAAAAAHKEjAAGAAAAAAEBLwcAAKcAAAAJggcAAAIAAAAGAAAAATEHAABvAAAACYMHAAAKATQHAABqAAAACgoAAABAPwmEBwAACYUHAAABAAAA/v///wAAAAABAAAAAAAAAAAAAAABAAAAAAAAAAAAAAE1BwAAawAAAAoKCYYHAAAJhwcAAAEAAAD+////AAAAAP////8AAAE5BwAAbwAAAAmIBwAACgdABwAAAAEAAAAEAAAABBxBcGxvcmlzLkJhc2UuVUkuVmlzdWFsT2JqZWN0AwAAAAkLBgAACQoGAAAKCgFBBwAAcgAAAAoKAAAAAAAAAAANAAAAAAABQgcAAHIAAAAKCgAAAAAAAAAADQAAAAABB0MHAAAAAQAAAAQAAAAEHUFwbG9yaXMuQmFzZS5PYmplY3RzLlZhcmlhYmxlAwAAAAGJBwAAkQQAAAMAAAAAAAAAAYoHAACRBAAAAgAAAAMAAAABiwcAAJEEAAAAAAAAAAAAAAGMBwAAkQQAAAAAAAAAAAAAD0QHAAABAAAACMoAAAAFRQcAABpBcGxvcmlzLkJhc2UuT2JqZWN0cy5Db2xvcgcAAAASRGF0YU9iamVjdCttUGFyZW50FURhdGFPYmplY3QrbUNvbnRhaW5lcgVtVHlwZQRtUkdCEG1UaGVtZUNvbG9ySW5kZXgMbUF1dG9VcGRhdGVkCW1Nb2RpZmllZAQCAAAAAAAfQXBsb3Jpcy5CYXNlLk9iamVjdHMuTGluZUZvcm1hdAMAAAAICAgBAQMAAAAJYgYAAAoAAAAA////AA4AAAAAAAVGBwAAGkFwbG9yaXMuQmFzZS5PYmplY3RzLkNvbG9yBwAAABJEYXRhT2JqZWN0K21QYXJlbnQVRGF0YU9iamVjdCttQ29udGFpbmVyBW1UeXBlBG1SR0IQbVRoZW1lQ29sb3JJbmRleAxtQXV0b1VwZGF0ZWQJbU1vZGlmaWVkBAIAAAAAAB9BcGxvcmlzLkJhc2UuT2JqZWN0cy5MaW5lRm9ybWF0AwAAAAgICAEBAwAAAAliBgAACgEAAAAAAAAA/////wABAUcHAAByAAAACgoBAAAAwdDtAP////8AAAFIBwAAcgAAAAoKAQAAAP///wD/////AAAPSQcAAAEAAAAIsQAAAAFKBwAAcgAAAAoKAAAAAAAAAAANAAAAAAABSwcAAHIAAAAKCgAAAAAAAAAADQAAAAABB0wHAAAAAQAAAAQAAAAEHUFwbG9yaXMuQmFzZS5PYmplY3RzLlZhcmlhYmxlAwAAAAGNBwAAkQQAAAMAAAAAAAAAAY4HAACRBAAAAgAAAAIAAAABjwcAAJEEAAAAAAAAAAAAAAGQBwAAkQQAAAAAAAAAAAAAD00HAAABAAAACNMAAAAFTgcAABpBcGxvcmlzLkJhc2UuT2JqZWN0cy5Db2xvcgcAAAASRGF0YU9iamVjdCttUGFyZW50FURhdGFPYmplY3QrbUNvbnRhaW5lcgVtVHlwZQRtUkdCEG1UaGVtZUNvbG9ySW5kZXgMbUF1dG9VcGRhdGVkCW1Nb2RpZmllZAQCAAAAAAAfQXBsb3Jpcy5CYXNlLk9iamVjdHMuTGluZUZvcm1hdAMAAAAICAgBAQMAAAAJgAYAAAoAAAAA////AA4AAAAAAAVPBwAAGkFwbG9yaXMuQmFzZS5PYmplY3RzLkNvbG9yBwAAABJEYXRhT2JqZWN0K21QYXJlbnQVRGF0YU9iamVjdCttQ29udGFpbmVyBW1UeXBlBG1SR0IQbVRoZW1lQ29sb3JJbmRleAxtQXV0b1VwZGF0ZWQJbU1vZGlmaWVkBAIAAAAAAB9BcGxvcmlzLkJhc2UuT2JqZWN0cy5MaW5lRm9ybWF0AwAAAAgICAEBAwAAAAmABgAACgEAAAAAAAAA/////wABAVAHAAByAAAACgoBAAAAa4/UAP////8AAAFRBwAAcgAAAAoKAQAAAP///wD/////AAAPUgcAAAEAAAAIsgAAAAFTBwAAcgAAAAoKAAAAAP///wAOAAAAAAABVAcAAHIAAAAKCgAAAAD///8ADgAAAAABB1UHAAAAAQAAAAQAAAAEHUFwbG9yaXMuQmFzZS5PYmplY3RzLlZhcmlhYmxlAwAAAAGRBwAAkQQAAAMAAAAAAAAAAZIHAACRBAAAAgAAAAIAAAABkwcAAJEEAAAAAAAAAAAAAAGUBwAAkQQAAAAAAAAAAAAAD1YHAAABAAAACNUAAAAFVwcAABpBcGxvcmlzLkJhc2UuT2JqZWN0cy5Db2xvcgcAAAASRGF0YU9iamVjdCttUGFyZW50FURhdGFPYmplY3QrbUNvbnRhaW5lcgVtVHlwZQRtUkdCEG1UaGVtZUNvbG9ySW5kZXgMbUF1dG9VcGRhdGVkCW1Nb2RpZmllZAQCAAAAAAAfQXBsb3Jpcy5CYXNlLk9iamVjdHMuTGluZUZvcm1hdAMAAAAICAgBAQMAAAAJngYAAAoAAAAA////AA4AAAAAAAVYBwAAGkFwbG9yaXMuQmFzZS5PYmplY3RzLkNvbG9yBwAAABJEYXRhT2JqZWN0K21QYXJlbnQVRGF0YU9iamVjdCttQ29udGFpbmVyBW1UeXBlBG1SR0IQbVRoZW1lQ29sb3JJbmRleAxtQXV0b1VwZGF0ZWQJbU1vZGlmaWVkBAIAAAAAAB9BcGxvcmlzLkJhc2UuT2JqZWN0cy5MaW5lRm9ybWF0AwAAAAgICAEBAwAAAAmeBgAACgEAAAAAAAAA/////wABAVkHAAByAAAACgoBAAAARXXUAP////8AAAFaBwAAcgAAAAoKAQAAAP///wD/////AAAPWwcAAAEAAAAIsAAAAAFcBwAAcgAAAAoKAAAAAP///wAOAAAAAAABXQcAAHIAAAAKCgAAAAD///8ADgAAAAABB14HAAAAAQAAAAQAAAAEHUFwbG9yaXMuQmFzZS5PYmplY3RzLlZhcmlhYmxlAwAAAAGVBwAAkQQAAAMAAAAAAAAAAZYHAACRBAAAAgAAAAIAAAABlwcAAJEEAAAAAAAAAAAAAAGYBwAAkQQAAAAAAAAAAAAAD18HAAABAAAACNQAAAAFYAcAABpBcGxvcmlzLkJhc2UuT2JqZWN0cy5Db2xvcgcAAAASRGF0YU9iamVjdCttUGFyZW50FURhdGFPYmplY3QrbUNvbnRhaW5lcgVtVHlwZQRtUkdCEG1UaGVtZUNvbG9ySW5kZXgMbUF1dG9VcGRhdGVkCW1Nb2RpZmllZAQCAAAAAAAfQXBsb3Jpcy5CYXNlLk9iamVjdHMuTGluZUZvcm1hdAMAAAAICAgBAQMAAAAJvAYAAAoAAAAA////AA4AAAAAAAVhBwAAGkFwbG9yaXMuQmFzZS5PYmplY3RzLkNvbG9yBwAAABJEYXRhT2JqZWN0K21QYXJlbnQVRGF0YU9iamVjdCttQ29udGFpbmVyBW1UeXBlBG1SR0IQbVRoZW1lQ29sb3JJbmRleAxtQXV0b1VwZGF0ZWQJbU1vZGlmaWVkBAIAAAAAAB9BcGxvcmlzLkJhc2UuT2JqZWN0cy5MaW5lRm9ybWF0AwAAAAgICAEBAwAAAAm8BgAACgEAAAAAAAAA/////wABAWIHAAByAAAACgoBAAAAEUSqAP////8AAAFjBwAAcgAAAAoKAQAAAP///wD/////AAAPZAcAAAEAAAAIrgAAAAFlBwAAcgAAAAoKAAAAAP///wAOAAAAAAABZgcAAHIAAAAKCgAAAAD///8ADgAAAAABB2cHAAAAAQAAAAQAAAAEHUFwbG9yaXMuQmFzZS5PYmplY3RzLlZhcmlhYmxlAwAAAAGZBwAAkQQAAAMAAAAAAAAAAZoHAACRBAAAAgAAAAIAAAABmwcAAJEEAAAAAAAAAAAAAAGcBwAAkQQAAAAAAAAAAAAAD2gHAAABAAAACNEAAAAFaQcAABpBcGxvcmlzLkJhc2UuT2JqZWN0cy5Db2xvcgcAAAASRGF0YU9iamVjdCttUGFyZW50FURhdGFPYmplY3QrbUNvbnRhaW5lcgVtVHlwZQRtUkdCEG1UaGVtZUNvbG9ySW5kZXgMbUF1dG9VcGRhdGVkCW1Nb2RpZmllZAQCAAAAAAAfQXBsb3Jpcy5CYXNlLk9iamVjdHMuTGluZUZvcm1hdAMAAAAICAgBAQMAAAAJ2gYAAAoAAAAA////AA4AAAAAAAVqBwAAGkFwbG9yaXMuQmFzZS5PYmplY3RzLkNvbG9yBwAAABJEYXRhT2JqZWN0K21QYXJlbnQVRGF0YU9iamVjdCttQ29udGFpbmVyBW1UeXBlBG1SR0IQbVRoZW1lQ29sb3JJbmRleAxtQXV0b1VwZGF0ZWQJbU1vZGlmaWVkBAIAAAAAAB9BcGxvcmlzLkJhc2UuT2JqZWN0cy5MaW5lRm9ybWF0AwAAAAgICAEBAwAAAAnaBgAACgEAAAAAAAAA/////wABAWsHAAByAAAACgoBAAAABSluAP////8AAAFsBwAAcgAAAAoKAQAAAP///wD/////AAAPbQcAAAEAAAAIrwAAAAFuBwAAcgAAAAoKAAAAAAAAAAANAAAAAAABbwcAAHIAAAAKCgAAAAAAAAAADQAAAAABB3AHAAAAAQAAAAQAAAAEHUFwbG9yaXMuQmFzZS5PYmplY3RzLlZhcmlhYmxlAwAAAAGdBwAAkQQAAAMAAAAAAAAAAZ4HAACRBAAAAgAAAAIAAAABnwcAAJEEAAAAAAAAAAAAAAGgBwAAkQQAAAAAAAAAAAAAD3EHAAABAAAACMwAAAAFcgcAABpBcGxvcmlzLkJhc2UuT2JqZWN0cy5Db2xvcgcAAAASRGF0YU9iamVjdCttUGFyZW50FURhdGFPYmplY3QrbUNvbnRhaW5lcgVtVHlwZQRtUkdCEG1UaGVtZUNvbG9ySW5kZXgMbUF1dG9VcGRhdGVkCW1Nb2RpZmllZAQCAAAAAAAfQXBsb3Jpcy5CYXNlLk9iamVjdHMuTGluZUZvcm1hdAMAAAAICAgBAQMAAAAJ+AYAAAoAAAAA////AA4AAAAAAAVzBwAAGkFwbG9yaXMuQmFzZS5PYmplY3RzLkNvbG9yBwAAABJEYXRhT2JqZWN0K21QYXJlbnQVRGF0YU9iamVjdCttQ29udGFpbmVyBW1UeXBlBG1SR0IQbVRoZW1lQ29sb3JJbmRleAxtQXV0b1VwZGF0ZWQJbU1vZGlmaWVkBAIAAAAAAB9BcGxvcmlzLkJhc2UuT2JqZWN0cy5MaW5lRm9ybWF0AwAAAAgICAEBAwAAAAn4BgAACgEAAAAAAAAA/////wABAXQHAAByAAAACgoAAAAAw5h0AAkAAAAAAAF1BwAAcgAAAAoKAQAAAP///wD/////AAAPdgcAAAEAAAAIqwAAAAF3BwAAcgAAAAoKAAAAAP///wAOAAAAAAABeAcAAHIAAAAKCgAAAAD///8ADgAAAAABB3kHAAAAAQAAAAQAAAAEHUFwbG9yaXMuQmFzZS5PYmplY3RzLlZhcmlhYmxlAwAAAAGhBwAAkQQAAAMAAAAAAAAAAaIHAACRBAAAAgAAAAIAAAABowcAAJEEAAAAAAAAAAAAAAGkBwAAkQQAAAAAAAAAAAAAD3oHAAABAAAACMkAAAAFewcAABpBcGxvcmlzLkJhc2UuT2JqZWN0cy5Db2xvcgcAAAASRGF0YU9iamVjdCttUGFyZW50FURhdGFPYmplY3QrbUNvbnRhaW5lcgVtVHlwZQRtUkdCEG1UaGVtZUNvbG9ySW5kZXgMbUF1dG9VcGRhdGVkCW1Nb2RpZmllZAQCAAAAAAAfQXBsb3Jpcy5CYXNlLk9iamVjdHMuTGluZUZvcm1hdAMAAAAICAgBAQMAAAAJFgcAAAoAAAAA////AA4AAAAAAAV8BwAAGkFwbG9yaXMuQmFzZS5PYmplY3RzLkNvbG9yBwAAABJEYXRhT2JqZWN0K21QYXJlbnQVRGF0YU9iamVjdCttQ29udGFpbmVyBW1UeXBlBG1SR0IQbVRoZW1lQ29sb3JJbmRleAxtQXV0b1VwZGF0ZWQJbU1vZGlmaWVkBAIAAAAAAB9BcGxvcmlzLkJhc2UuT2JqZWN0cy5MaW5lRm9ybWF0AwAAAAgICAEBAwAAAAkWBwAACgEAAAAAAAAA/////wABAX0HAAByAAAACgoAAAAARjs0AAgAAAAAAAF+BwAAcgAAAAoKAQAAAP///wD/////AAAPfwcAAAEAAAAIqQAAAAGABwAAcgAAAAoKAAAAAP///wAOAAAAAAABgQcAAHIAAAAKCgAAAAD///8ADgAAAAABB4IHAAAAAQAAAAQAAAAEHUFwbG9yaXMuQmFzZS5PYmplY3RzLlZhcmlhYmxlAwAAAAGlBwAAkQQAAAMAAAAAAAAAAaYHAACRBAAAAgAAAAIAAAABpwcAAJEEAAAAAAAAAAAAAAGoBwAAkQQAAAAAAAAAAAAAD4MHAAABAAAACMsAAAAFhAcAABpBcGxvcmlzLkJhc2UuT2JqZWN0cy5Db2xvcgcAAAASRGF0YU9iamVjdCttUGFyZW50FURhdGFPYmplY3QrbUNvbnRhaW5lcgVtVHlwZQRtUkdCEG1UaGVtZUNvbG9ySW5kZXgMbUF1dG9VcGRhdGVkCW1Nb2RpZmllZAQCAAAAAAAfQXBsb3Jpcy5CYXNlLk9iamVjdHMuTGluZUZvcm1hdAMAAAAICAgBAQMAAAAJNAcAAAoAAAAA////AA4AAAAAAAWFBwAAGkFwbG9yaXMuQmFzZS5PYmplY3RzLkNvbG9yBwAAABJEYXRhT2JqZWN0K21QYXJlbnQVRGF0YU9iamVjdCttQ29udGFpbmVyBW1UeXBlBG1SR0IQbVRoZW1lQ29sb3JJbmRleAxtQXV0b1VwZGF0ZWQJbU1vZGlmaWVkBAIAAAAAAB9BcGxvcmlzLkJhc2UuT2JqZWN0cy5MaW5lRm9ybWF0AwAAAAgICAEBAwAAAAk0BwAACgEAAAAAAAAA/////wABAYYHAAByAAAACgoAAAAAcoSMAAYAAAAAAAGHBwAAcgAAAAoKAQAAAP///wD/////AAAPiAcAAAEAAAAIqgAAAAs="/>
  <p:tag name="APLORISTAG" val="MX/IjfW661gLV+xOY.177"/>
</p:tagLst>
</file>

<file path=ppt/tags/tag30.xml><?xml version="1.0" encoding="utf-8"?>
<p:tagLst xmlns:a="http://schemas.openxmlformats.org/drawingml/2006/main" xmlns:r="http://schemas.openxmlformats.org/officeDocument/2006/relationships" xmlns:p="http://schemas.openxmlformats.org/presentationml/2006/main">
  <p:tag name="APLORISTAG" val="MX/IjfW661gLV+xOY.45"/>
</p:tagLst>
</file>

<file path=ppt/tags/tag300.xml><?xml version="1.0" encoding="utf-8"?>
<p:tagLst xmlns:a="http://schemas.openxmlformats.org/drawingml/2006/main" xmlns:r="http://schemas.openxmlformats.org/officeDocument/2006/relationships" xmlns:p="http://schemas.openxmlformats.org/presentationml/2006/main">
  <p:tag name="APLORISTAG" val="MMye9dfScROD87ZEs.41"/>
</p:tagLst>
</file>

<file path=ppt/tags/tag301.xml><?xml version="1.0" encoding="utf-8"?>
<p:tagLst xmlns:a="http://schemas.openxmlformats.org/drawingml/2006/main" xmlns:r="http://schemas.openxmlformats.org/officeDocument/2006/relationships" xmlns:p="http://schemas.openxmlformats.org/presentationml/2006/main">
  <p:tag name="APLORISTAG" val="MMye9dfScROD87ZEs.40"/>
</p:tagLst>
</file>

<file path=ppt/tags/tag302.xml><?xml version="1.0" encoding="utf-8"?>
<p:tagLst xmlns:a="http://schemas.openxmlformats.org/drawingml/2006/main" xmlns:r="http://schemas.openxmlformats.org/officeDocument/2006/relationships" xmlns:p="http://schemas.openxmlformats.org/presentationml/2006/main">
  <p:tag name="APLORISTAG" val="MMye9dfScROD87ZEs.42"/>
</p:tagLst>
</file>

<file path=ppt/tags/tag303.xml><?xml version="1.0" encoding="utf-8"?>
<p:tagLst xmlns:a="http://schemas.openxmlformats.org/drawingml/2006/main" xmlns:r="http://schemas.openxmlformats.org/officeDocument/2006/relationships" xmlns:p="http://schemas.openxmlformats.org/presentationml/2006/main">
  <p:tag name="APLORISTAG" val="MMye9dfScROD87ZEs.45"/>
</p:tagLst>
</file>

<file path=ppt/tags/tag304.xml><?xml version="1.0" encoding="utf-8"?>
<p:tagLst xmlns:a="http://schemas.openxmlformats.org/drawingml/2006/main" xmlns:r="http://schemas.openxmlformats.org/officeDocument/2006/relationships" xmlns:p="http://schemas.openxmlformats.org/presentationml/2006/main">
  <p:tag name="APLORISTAG" val="MMye9dfScROD87ZEs.39"/>
</p:tagLst>
</file>

<file path=ppt/tags/tag305.xml><?xml version="1.0" encoding="utf-8"?>
<p:tagLst xmlns:a="http://schemas.openxmlformats.org/drawingml/2006/main" xmlns:r="http://schemas.openxmlformats.org/officeDocument/2006/relationships" xmlns:p="http://schemas.openxmlformats.org/presentationml/2006/main">
  <p:tag name="APLORISTAG" val="MMye9dfScROD87ZEs.332"/>
</p:tagLst>
</file>

<file path=ppt/tags/tag306.xml><?xml version="1.0" encoding="utf-8"?>
<p:tagLst xmlns:a="http://schemas.openxmlformats.org/drawingml/2006/main" xmlns:r="http://schemas.openxmlformats.org/officeDocument/2006/relationships" xmlns:p="http://schemas.openxmlformats.org/presentationml/2006/main">
  <p:tag name="APLORISTAG" val="MMye9dfScROD87ZEs.333"/>
</p:tagLst>
</file>

<file path=ppt/tags/tag307.xml><?xml version="1.0" encoding="utf-8"?>
<p:tagLst xmlns:a="http://schemas.openxmlformats.org/drawingml/2006/main" xmlns:r="http://schemas.openxmlformats.org/officeDocument/2006/relationships" xmlns:p="http://schemas.openxmlformats.org/presentationml/2006/main">
  <p:tag name="APLORISTAG" val="MMye9dfScROD87ZEs.465"/>
</p:tagLst>
</file>

<file path=ppt/tags/tag308.xml><?xml version="1.0" encoding="utf-8"?>
<p:tagLst xmlns:a="http://schemas.openxmlformats.org/drawingml/2006/main" xmlns:r="http://schemas.openxmlformats.org/officeDocument/2006/relationships" xmlns:p="http://schemas.openxmlformats.org/presentationml/2006/main">
  <p:tag name="APLORISTAG" val="MMye9dfScROD87ZEs.334"/>
</p:tagLst>
</file>

<file path=ppt/tags/tag309.xml><?xml version="1.0" encoding="utf-8"?>
<p:tagLst xmlns:a="http://schemas.openxmlformats.org/drawingml/2006/main" xmlns:r="http://schemas.openxmlformats.org/officeDocument/2006/relationships" xmlns:p="http://schemas.openxmlformats.org/presentationml/2006/main">
  <p:tag name="APLORISTAG" val="MMye9dfScROD87ZEs.527"/>
</p:tagLst>
</file>

<file path=ppt/tags/tag31.xml><?xml version="1.0" encoding="utf-8"?>
<p:tagLst xmlns:a="http://schemas.openxmlformats.org/drawingml/2006/main" xmlns:r="http://schemas.openxmlformats.org/officeDocument/2006/relationships" xmlns:p="http://schemas.openxmlformats.org/presentationml/2006/main">
  <p:tag name="APLORISTAG" val="MX/IjfW661gLV+xOY.44"/>
</p:tagLst>
</file>

<file path=ppt/tags/tag310.xml><?xml version="1.0" encoding="utf-8"?>
<p:tagLst xmlns:a="http://schemas.openxmlformats.org/drawingml/2006/main" xmlns:r="http://schemas.openxmlformats.org/officeDocument/2006/relationships" xmlns:p="http://schemas.openxmlformats.org/presentationml/2006/main">
  <p:tag name="APLORISTAG" val="MMye9dfScROD87ZEs.338"/>
</p:tagLst>
</file>

<file path=ppt/tags/tag311.xml><?xml version="1.0" encoding="utf-8"?>
<p:tagLst xmlns:a="http://schemas.openxmlformats.org/drawingml/2006/main" xmlns:r="http://schemas.openxmlformats.org/officeDocument/2006/relationships" xmlns:p="http://schemas.openxmlformats.org/presentationml/2006/main">
  <p:tag name="APLORISTAG" val="MMye9dfScROD87ZEs.196"/>
</p:tagLst>
</file>

<file path=ppt/tags/tag312.xml><?xml version="1.0" encoding="utf-8"?>
<p:tagLst xmlns:a="http://schemas.openxmlformats.org/drawingml/2006/main" xmlns:r="http://schemas.openxmlformats.org/officeDocument/2006/relationships" xmlns:p="http://schemas.openxmlformats.org/presentationml/2006/main">
  <p:tag name="APLORISTAG" val="MMye9dfScROD87ZEs.197"/>
</p:tagLst>
</file>

<file path=ppt/tags/tag313.xml><?xml version="1.0" encoding="utf-8"?>
<p:tagLst xmlns:a="http://schemas.openxmlformats.org/drawingml/2006/main" xmlns:r="http://schemas.openxmlformats.org/officeDocument/2006/relationships" xmlns:p="http://schemas.openxmlformats.org/presentationml/2006/main">
  <p:tag name="APLORISTAG" val="MMye9dfScROD87ZEs.467"/>
</p:tagLst>
</file>

<file path=ppt/tags/tag314.xml><?xml version="1.0" encoding="utf-8"?>
<p:tagLst xmlns:a="http://schemas.openxmlformats.org/drawingml/2006/main" xmlns:r="http://schemas.openxmlformats.org/officeDocument/2006/relationships" xmlns:p="http://schemas.openxmlformats.org/presentationml/2006/main">
  <p:tag name="APLORISTAG" val="MMye9dfScROD87ZEs.339"/>
</p:tagLst>
</file>

<file path=ppt/tags/tag315.xml><?xml version="1.0" encoding="utf-8"?>
<p:tagLst xmlns:a="http://schemas.openxmlformats.org/drawingml/2006/main" xmlns:r="http://schemas.openxmlformats.org/officeDocument/2006/relationships" xmlns:p="http://schemas.openxmlformats.org/presentationml/2006/main">
  <p:tag name="APLORISTAG" val="MMye9dfScROD87ZEs.342"/>
</p:tagLst>
</file>

<file path=ppt/tags/tag316.xml><?xml version="1.0" encoding="utf-8"?>
<p:tagLst xmlns:a="http://schemas.openxmlformats.org/drawingml/2006/main" xmlns:r="http://schemas.openxmlformats.org/officeDocument/2006/relationships" xmlns:p="http://schemas.openxmlformats.org/presentationml/2006/main">
  <p:tag name="APLORISTAG" val="MMye9dfScROD87ZEs.528"/>
</p:tagLst>
</file>

<file path=ppt/tags/tag317.xml><?xml version="1.0" encoding="utf-8"?>
<p:tagLst xmlns:a="http://schemas.openxmlformats.org/drawingml/2006/main" xmlns:r="http://schemas.openxmlformats.org/officeDocument/2006/relationships" xmlns:p="http://schemas.openxmlformats.org/presentationml/2006/main">
  <p:tag name="APLORISTAG" val="MMye9dfScROD87ZEs.340"/>
</p:tagLst>
</file>

<file path=ppt/tags/tag318.xml><?xml version="1.0" encoding="utf-8"?>
<p:tagLst xmlns:a="http://schemas.openxmlformats.org/drawingml/2006/main" xmlns:r="http://schemas.openxmlformats.org/officeDocument/2006/relationships" xmlns:p="http://schemas.openxmlformats.org/presentationml/2006/main">
  <p:tag name="APLORISTAG" val="MMye9dfScROD87ZEs.466"/>
</p:tagLst>
</file>

<file path=ppt/tags/tag319.xml><?xml version="1.0" encoding="utf-8"?>
<p:tagLst xmlns:a="http://schemas.openxmlformats.org/drawingml/2006/main" xmlns:r="http://schemas.openxmlformats.org/officeDocument/2006/relationships" xmlns:p="http://schemas.openxmlformats.org/presentationml/2006/main">
  <p:tag name="APLORISTAG" val="MMye9dfScROD87ZEs.343"/>
</p:tagLst>
</file>

<file path=ppt/tags/tag32.xml><?xml version="1.0" encoding="utf-8"?>
<p:tagLst xmlns:a="http://schemas.openxmlformats.org/drawingml/2006/main" xmlns:r="http://schemas.openxmlformats.org/officeDocument/2006/relationships" xmlns:p="http://schemas.openxmlformats.org/presentationml/2006/main">
  <p:tag name="APLORISTAG" val="MX/IjfW661gLV+xOY.36"/>
</p:tagLst>
</file>

<file path=ppt/tags/tag320.xml><?xml version="1.0" encoding="utf-8"?>
<p:tagLst xmlns:a="http://schemas.openxmlformats.org/drawingml/2006/main" xmlns:r="http://schemas.openxmlformats.org/officeDocument/2006/relationships" xmlns:p="http://schemas.openxmlformats.org/presentationml/2006/main">
  <p:tag name="APLORISTAG" val="MMye9dfScROD87ZEs.352"/>
</p:tagLst>
</file>

<file path=ppt/tags/tag321.xml><?xml version="1.0" encoding="utf-8"?>
<p:tagLst xmlns:a="http://schemas.openxmlformats.org/drawingml/2006/main" xmlns:r="http://schemas.openxmlformats.org/officeDocument/2006/relationships" xmlns:p="http://schemas.openxmlformats.org/presentationml/2006/main">
  <p:tag name="APLORISTAG" val="MMye9dfScROD87ZEs.348"/>
</p:tagLst>
</file>

<file path=ppt/tags/tag322.xml><?xml version="1.0" encoding="utf-8"?>
<p:tagLst xmlns:a="http://schemas.openxmlformats.org/drawingml/2006/main" xmlns:r="http://schemas.openxmlformats.org/officeDocument/2006/relationships" xmlns:p="http://schemas.openxmlformats.org/presentationml/2006/main">
  <p:tag name="APLORISTAG" val="MMye9dfScROD87ZEs.469"/>
</p:tagLst>
</file>

<file path=ppt/tags/tag323.xml><?xml version="1.0" encoding="utf-8"?>
<p:tagLst xmlns:a="http://schemas.openxmlformats.org/drawingml/2006/main" xmlns:r="http://schemas.openxmlformats.org/officeDocument/2006/relationships" xmlns:p="http://schemas.openxmlformats.org/presentationml/2006/main">
  <p:tag name="APLORISTAG" val="MMye9dfScROD87ZEs.529"/>
</p:tagLst>
</file>

<file path=ppt/tags/tag324.xml><?xml version="1.0" encoding="utf-8"?>
<p:tagLst xmlns:a="http://schemas.openxmlformats.org/drawingml/2006/main" xmlns:r="http://schemas.openxmlformats.org/officeDocument/2006/relationships" xmlns:p="http://schemas.openxmlformats.org/presentationml/2006/main">
  <p:tag name="APLORISTAG" val="MMye9dfScROD87ZEs.468"/>
</p:tagLst>
</file>

<file path=ppt/tags/tag325.xml><?xml version="1.0" encoding="utf-8"?>
<p:tagLst xmlns:a="http://schemas.openxmlformats.org/drawingml/2006/main" xmlns:r="http://schemas.openxmlformats.org/officeDocument/2006/relationships" xmlns:p="http://schemas.openxmlformats.org/presentationml/2006/main">
  <p:tag name="APLORISTAG" val="MMye9dfScROD87ZEs.353"/>
</p:tagLst>
</file>

<file path=ppt/tags/tag326.xml><?xml version="1.0" encoding="utf-8"?>
<p:tagLst xmlns:a="http://schemas.openxmlformats.org/drawingml/2006/main" xmlns:r="http://schemas.openxmlformats.org/officeDocument/2006/relationships" xmlns:p="http://schemas.openxmlformats.org/presentationml/2006/main">
  <p:tag name="APLORISTAG" val="MMye9dfScROD87ZEs.355"/>
</p:tagLst>
</file>

<file path=ppt/tags/tag327.xml><?xml version="1.0" encoding="utf-8"?>
<p:tagLst xmlns:a="http://schemas.openxmlformats.org/drawingml/2006/main" xmlns:r="http://schemas.openxmlformats.org/officeDocument/2006/relationships" xmlns:p="http://schemas.openxmlformats.org/presentationml/2006/main">
  <p:tag name="APLORISTAG" val="MMye9dfScROD87ZEs.351"/>
</p:tagLst>
</file>

<file path=ppt/tags/tag328.xml><?xml version="1.0" encoding="utf-8"?>
<p:tagLst xmlns:a="http://schemas.openxmlformats.org/drawingml/2006/main" xmlns:r="http://schemas.openxmlformats.org/officeDocument/2006/relationships" xmlns:p="http://schemas.openxmlformats.org/presentationml/2006/main">
  <p:tag name="APLORISTAG" val="MMye9dfScROD87ZEs.530"/>
</p:tagLst>
</file>

<file path=ppt/tags/tag329.xml><?xml version="1.0" encoding="utf-8"?>
<p:tagLst xmlns:a="http://schemas.openxmlformats.org/drawingml/2006/main" xmlns:r="http://schemas.openxmlformats.org/officeDocument/2006/relationships" xmlns:p="http://schemas.openxmlformats.org/presentationml/2006/main">
  <p:tag name="APLORISTAG" val="MMye9dfScROD87ZEs.470"/>
</p:tagLst>
</file>

<file path=ppt/tags/tag33.xml><?xml version="1.0" encoding="utf-8"?>
<p:tagLst xmlns:a="http://schemas.openxmlformats.org/drawingml/2006/main" xmlns:r="http://schemas.openxmlformats.org/officeDocument/2006/relationships" xmlns:p="http://schemas.openxmlformats.org/presentationml/2006/main">
  <p:tag name="APLORISTAG" val="MX/IjfW661gLV+xOY.37"/>
</p:tagLst>
</file>

<file path=ppt/tags/tag330.xml><?xml version="1.0" encoding="utf-8"?>
<p:tagLst xmlns:a="http://schemas.openxmlformats.org/drawingml/2006/main" xmlns:r="http://schemas.openxmlformats.org/officeDocument/2006/relationships" xmlns:p="http://schemas.openxmlformats.org/presentationml/2006/main">
  <p:tag name="APLORISTAG" val="MMye9dfScROD87ZEs.358"/>
</p:tagLst>
</file>

<file path=ppt/tags/tag331.xml><?xml version="1.0" encoding="utf-8"?>
<p:tagLst xmlns:a="http://schemas.openxmlformats.org/drawingml/2006/main" xmlns:r="http://schemas.openxmlformats.org/officeDocument/2006/relationships" xmlns:p="http://schemas.openxmlformats.org/presentationml/2006/main">
  <p:tag name="APLORISTAG" val="MMye9dfScROD87ZEs.361"/>
</p:tagLst>
</file>

<file path=ppt/tags/tag332.xml><?xml version="1.0" encoding="utf-8"?>
<p:tagLst xmlns:a="http://schemas.openxmlformats.org/drawingml/2006/main" xmlns:r="http://schemas.openxmlformats.org/officeDocument/2006/relationships" xmlns:p="http://schemas.openxmlformats.org/presentationml/2006/main">
  <p:tag name="APLORISTAG" val="MMye9dfScROD87ZEs.360"/>
</p:tagLst>
</file>

<file path=ppt/tags/tag333.xml><?xml version="1.0" encoding="utf-8"?>
<p:tagLst xmlns:a="http://schemas.openxmlformats.org/drawingml/2006/main" xmlns:r="http://schemas.openxmlformats.org/officeDocument/2006/relationships" xmlns:p="http://schemas.openxmlformats.org/presentationml/2006/main">
  <p:tag name="APLORISTAG" val="MMye9dfScROD87ZEs.359"/>
</p:tagLst>
</file>

<file path=ppt/tags/tag334.xml><?xml version="1.0" encoding="utf-8"?>
<p:tagLst xmlns:a="http://schemas.openxmlformats.org/drawingml/2006/main" xmlns:r="http://schemas.openxmlformats.org/officeDocument/2006/relationships" xmlns:p="http://schemas.openxmlformats.org/presentationml/2006/main">
  <p:tag name="APLORISTAG" val="MMye9dfScROD87ZEs.471"/>
</p:tagLst>
</file>

<file path=ppt/tags/tag335.xml><?xml version="1.0" encoding="utf-8"?>
<p:tagLst xmlns:a="http://schemas.openxmlformats.org/drawingml/2006/main" xmlns:r="http://schemas.openxmlformats.org/officeDocument/2006/relationships" xmlns:p="http://schemas.openxmlformats.org/presentationml/2006/main">
  <p:tag name="APLORISTAG" val="MMye9dfScROD87ZEs.364"/>
</p:tagLst>
</file>

<file path=ppt/tags/tag336.xml><?xml version="1.0" encoding="utf-8"?>
<p:tagLst xmlns:a="http://schemas.openxmlformats.org/drawingml/2006/main" xmlns:r="http://schemas.openxmlformats.org/officeDocument/2006/relationships" xmlns:p="http://schemas.openxmlformats.org/presentationml/2006/main">
  <p:tag name="APLORISTAG" val="MMye9dfScROD87ZEs.362"/>
</p:tagLst>
</file>

<file path=ppt/tags/tag337.xml><?xml version="1.0" encoding="utf-8"?>
<p:tagLst xmlns:a="http://schemas.openxmlformats.org/drawingml/2006/main" xmlns:r="http://schemas.openxmlformats.org/officeDocument/2006/relationships" xmlns:p="http://schemas.openxmlformats.org/presentationml/2006/main">
  <p:tag name="APLORISTAG" val="MMye9dfScROD87ZEs.414"/>
</p:tagLst>
</file>

<file path=ppt/tags/tag338.xml><?xml version="1.0" encoding="utf-8"?>
<p:tagLst xmlns:a="http://schemas.openxmlformats.org/drawingml/2006/main" xmlns:r="http://schemas.openxmlformats.org/officeDocument/2006/relationships" xmlns:p="http://schemas.openxmlformats.org/presentationml/2006/main">
  <p:tag name="APLORISTAG" val="MMye9dfScROD87ZEs.415"/>
</p:tagLst>
</file>

<file path=ppt/tags/tag339.xml><?xml version="1.0" encoding="utf-8"?>
<p:tagLst xmlns:a="http://schemas.openxmlformats.org/drawingml/2006/main" xmlns:r="http://schemas.openxmlformats.org/officeDocument/2006/relationships" xmlns:p="http://schemas.openxmlformats.org/presentationml/2006/main">
  <p:tag name="APLORISTAG" val="MMye9dfScROD87ZEs.416"/>
</p:tagLst>
</file>

<file path=ppt/tags/tag34.xml><?xml version="1.0" encoding="utf-8"?>
<p:tagLst xmlns:a="http://schemas.openxmlformats.org/drawingml/2006/main" xmlns:r="http://schemas.openxmlformats.org/officeDocument/2006/relationships" xmlns:p="http://schemas.openxmlformats.org/presentationml/2006/main">
  <p:tag name="APLORISTAG" val="MX/IjfW661gLV+xOY.39"/>
</p:tagLst>
</file>

<file path=ppt/tags/tag340.xml><?xml version="1.0" encoding="utf-8"?>
<p:tagLst xmlns:a="http://schemas.openxmlformats.org/drawingml/2006/main" xmlns:r="http://schemas.openxmlformats.org/officeDocument/2006/relationships" xmlns:p="http://schemas.openxmlformats.org/presentationml/2006/main">
  <p:tag name="APLORISTAG" val="MMye9dfScROD87ZEs.417"/>
</p:tagLst>
</file>

<file path=ppt/tags/tag341.xml><?xml version="1.0" encoding="utf-8"?>
<p:tagLst xmlns:a="http://schemas.openxmlformats.org/drawingml/2006/main" xmlns:r="http://schemas.openxmlformats.org/officeDocument/2006/relationships" xmlns:p="http://schemas.openxmlformats.org/presentationml/2006/main">
  <p:tag name="APLORISTAG" val="MMye9dfScROD87ZEs.418"/>
</p:tagLst>
</file>

<file path=ppt/tags/tag342.xml><?xml version="1.0" encoding="utf-8"?>
<p:tagLst xmlns:a="http://schemas.openxmlformats.org/drawingml/2006/main" xmlns:r="http://schemas.openxmlformats.org/officeDocument/2006/relationships" xmlns:p="http://schemas.openxmlformats.org/presentationml/2006/main">
  <p:tag name="APLORISTAG" val="MMye9dfScROD87ZEs.419"/>
</p:tagLst>
</file>

<file path=ppt/tags/tag343.xml><?xml version="1.0" encoding="utf-8"?>
<p:tagLst xmlns:a="http://schemas.openxmlformats.org/drawingml/2006/main" xmlns:r="http://schemas.openxmlformats.org/officeDocument/2006/relationships" xmlns:p="http://schemas.openxmlformats.org/presentationml/2006/main">
  <p:tag name="APLORISTAG" val="Mt8SOYQnlfK44nkmw"/>
</p:tagLst>
</file>

<file path=ppt/tags/tag344.xml><?xml version="1.0" encoding="utf-8"?>
<p:tagLst xmlns:a="http://schemas.openxmlformats.org/drawingml/2006/main" xmlns:r="http://schemas.openxmlformats.org/officeDocument/2006/relationships" xmlns:p="http://schemas.openxmlformats.org/presentationml/2006/main">
  <p:tag name="APLORISTAG" val="Mt8SOYQnlfK44nkmw.447"/>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AFFQAAABlTeXN0ZW0uRHJhd2luZy5SZWN0YW5nbGVGBAAAAAF4AXkFd2lkdGgGaGVpZ2h0AAAAAAsLCwsEAAAA//9/////f////3////9//wEWAAAAFQAAAP//f////3////9/////f/8AAAAAAAUXAAAALEFwbG9yaXMuQ2hhcnQuQXhpc0JyZWFrK0F4aXNCcmVha0Rpc3BsYXlNb2RlAQAAAAd2YWx1ZV9fAAgCAAAAAQAAAAEBAQoKCRgAAAAKCgAAAAAACRkAAAAKCRoAAAAAAAAACgUbAAAAGUFwbG9yaXMuQ2hhcnQuT3JpZW50YXRpb24BAAAAB3ZhbHVlX18ACAIAAAABAAAACRwAAAABHQAAABUAAAD07xdCv3N7QTEiF0ST2I1DAAQeAAAAC1N5c3RlbS5HdWlkCwAAAAJfYQJfYgJfYwJfZAJfZQJfZgJfZwJfaAJfaQJfagJfawAAAAAAAAAAAAAACAcHAgICAgICAgIAAAAAAAAAAAAAAAAAAAAAAAoKCR8AAAAACgoKAQAAAAAAAAD/////AAABIAAAABUAAAAAACBBo4suQSZKG0RFF6RDThsAQulRDUMwWSNEOcG8QwUhAAAAFVN5c3RlbS5EcmF3aW5nLlBvaW50RgIAAAABeAF5AAALCwQAAAAKXKhCzNlpQwYiAAAAEHQ4U09ZUW5sZks0NG5rbXc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9O8XQjG0lUMBLwAAACEAAAAwoSBEMbSVQwkwAAAACTEAAAAJMgAAAAkzAAAAAAAAAAAAAAAAAAAACTQAAAAAAAAAAAAJNQAAAAkBAAAACQEAAAAJNgAAAAEHAAAABgAAAAkBAAAAATcAAAAnAAAAAAAAAM3MTD8AAAAIAQAJAQAAAAk4AAAACTkAAAABAAAAAAAAAAABAAAAAAAA4D8BmpmZmZmZqT8AAAAgQQABCToAAAAKCTsAAAAJPAAAAAk9AAAAAT4AAAAhAAAA9O8XQjG0lUMBPwAAACEAAAD07xdCv3N7QQ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YAAAAS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DTZglClo2rQy/ImEMvOr9BCWUAAAAD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CAAAAAgBAAAAAgAAAAMAAAAEAAAABQAAAAYAAAAHAAAACAAAAAUc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bgAAACEAAAD07xdCv3N7QQFvAAAAIQAAADChIEQxtJVDCXAAAAAJcQAAAAAAAAAKBXIAAAAUU3lzdGVtLkRyYXdpbmcuU2l6ZUYCAAAABXdpZHRoBmhlaWdodAAACwsEAAAAAAAAAAAAAAABcwAAAHIAAAAAAAAAAAAAAAAAAAABdAAAABUAAAAAAAAAAAAAAAAAAAAAAAAAFAAAAP////8BAQoJdQAAAAEACgAPHwAAAB48AAACUEsDBBQABgAIAAAAIQBJEqz3jAEAAHg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d1OwjAUvjfxHZbemq3AhTGGwQXopZKID1DbA1vo2qan/L29ZwOMkrlJWOLNmq39/s52zobjXaGjDXjMrUlZP+mxCIy0KjfLlL3Pn+MHFmEQRgltDaRsD8jGo9ub4XzvACNCG0xZFoJ75BxlBoXAxDowtLOwvhCBbv2SOyFXYgl80Ovdc2lNABPiUHKw0XAKC7HWIXra0eODE4KzaHI4V0qlTDincykCGeXlLq/FbRpxG6POzMV2scglKCvXBVlKCD/1YkvxfxHwoLHBWY3CMXpCyMo9ZrnDu2OEV6q9zxVEM+HDiygoKN9pvrV+9WHtKmmuQ43aWR50HoTCDCAUOqnWpBC5+YN+dRh5tfQ7NlLmq4gv9DH4Jx+BPmzg1fX6UlQ0LcEx7DVgx2kPpG3KmfCg3oKnHujcwHfuFh/SFmVH4vX1/tkDJ942eaHlJKNO6fgdyBNvkz6No5m3DmlSerjcwGnilOjYERH4kEPjzPlSpDF7ueDZ0IFyjitQNdq8+m+MPgE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ABBmPgJAQAAz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zWrDMBCE74W+g9h7LdttQymRc2gp5NqmDyDktWViS0a7/fHbVyTUcSC4F9PjzqKZj5G03nx3rfjEQI13CrIkBYHO+LJxtYL33cvNAwhi7UrdeocKBiTYFNdX61dsNcdDZJueRHRxpMAy949SkrHYaUp8jy5uKh86zXEMtey12esaZZ6mKxmmHlCceYptqSBsy1sQu6GPyX97+6pqDD5789Gh4wsRkiMXRkMdamQFh/EoZkkEBXmZ4W5JBuKhjSWOEMd5Lv5+0XirA5ZvHOINTymm8hzMakkYo1vzZHXjTnWM0hxEtiTElw97soh8ghglkofN7OvI/xkm/21Gnv3B4gcAAP//AwBQSwMEFAAGAAgAAAAhAK33oZPRAQAABAMAAA8AAAB4bC93b3JrYm9vay54bWyMUk2P0zAQvSPxHyzfWztO0l1VTValH6ISQitYds/GcRtr/RHZDskK8d+ZJGQpcOFkj8czb96bt7nrjUbfpA/K2QInS4qRtMJVyl4K/OXhuLjFKERuK66dlQV+kQHflW/fbDrnn78694yggQ0FrmNs1oQEUUvDw9I10kLm7LzhEUJ/IaHxklehljIaTRilK2K4snjqsPb/08Odz0rIvROtkTZOTbzUPML4oVZNwOXmrLR8nBgh3jQfuYG5e42R5iEeKhVlVeAcQtfJPx5827xrlYYsW1GaYVK+srz3iLfR7ZwBEiHcKxFbuBSYDr8GHR6V7MLvgiFE/ZOylesKnN5QEPZlDhllEHZj8klVsQbEJBm+TG/vpbrUEdbB0mwEIFcIo4CANJ7Ijuy2jXZehT2PHNY1KHwCFglGfq3g4k9VMsx5XfLZGYk+8Q79VcSuithQRGZAwbUAHYZj7J5RSgFCOCta72EdO8j8UkT28UOI5QZO1HpV4O83OUsP+T5dsPyYLrb5gS6SVcoWq+zI8mzHWJazH7MXTP+PGYwS3gV3jkvhDJl8AP4RRPZCjna6nexUbky/3npRn/boqPkFljTxgFmAzTwZmQ1c/gQAAP//AwBQSwMEFAAGAAgAAAAhADC3+S8/CQAAwX4AAA0AAAB4bC9zdHlsZXMueG1s7F1Zb9tGEH4v0P9AMOijQy5FSqQhqaiTqi3QFgHsAn2lJMomwkOgqMRu0f/emT1EUZZ4ZFep7G4eHJKamZ35dmZ2udxj/P1jmhifomIT59nEJG9t04iyRb6Ms/uJ+cfd7Mo3jU0ZZsswybNoYj5FG/P76bffjDflUxLdPkRRaYCIbDMxH8pyfW1Zm8VDlIabt/k6yuCXVV6kYQm3xb21WRdRuNwgU5pYjm0PrTSMM5NJuE4XXYSkYfFxu75a5Ok6LON5nMTlE5VlGuni+pf7LC/CeQKqPhI3XAjZ9OaZ+DReFPkmX5VvQZyVr1bxInquZWAFFkiajrNtOkvLjbHIt1k5MZ3dI4P98ssSIBy6psGMfpcvQQ37rf2daQnmGqVXp3zz5o0gtnhR0/Eqz6oSCVQPteT6Y5Z/zmb4GxQJeiDZdLz5y/gUJvCEYImLPMkLo4TqADXokyxMI0bxLkzieREj2SpM4+SJPXbwAa1BTpfGgCc+tFgJ7O8cqXhZAf7KioqzZfQYAQj+QWl34UOehkj4rLCaXCHz3Pp3L+enOEmM2zDbPMPgmIzifj4xZzOb/kOOCvDTguZ7YPYyvL2eti2i7bqOck7RVtiBT8gVdgx97ukHRp0GfieDej1z4Z41SL13A24NblLLC/hgOoYMVUZFNkMn4td3T2uIxgySKfMoStdCfV+ET8Tx9hgsWuB0PM+LJSRvkZEwE7BH03ESrUqo/iK+f8D/y3wNf+d5WUKmm46XcXifZ2ECl5bg4BdgziJKkltM8H+uKtkDzHePq70MBtkI8wGmPbwEU/glk8huoIQaU1AxOSeZjHC9Tp5mIJyKZncgv7q7oZZX9z8k8X2WRvsMH4q8jBYlbdmoU9T02FP+tB6HymsmaABFffOq/yL0hi1V//s2nUfFjHYeqkrGQKruVLrA6ML00fhASmmIPo2Pxkcm5Wv/0f6j/ed87amOLx1fOr50fMELE315+9r9eZ1/dP7R+UfnH51/2PicHt9ozocaH42PTHuh/Uf7j/af8/U3dHzp+NLxpePrv+rP6/yj84/OPzr/6PzDxhP0+GpzPtT4aHxk2osvmlSlmWSmpGn0NHp8JisHQidxncR1Eq/HxNfLkjr6dPTJRJ/2H+0/2n/ON2Sj40vHl44vHV//1ZDo1+uJ6pL+ryMD1v5KWLYudm9JrPtlK2KNx9XxpbEQSe3raXfcfI0sXRJJ11afWt46OL22UWiyv96W8CnbYnmluN/L9bjOOBQLbo2HvIj/Ag/BnQcWsAI3KkzjcxGu76JHWL5LVbMeVwfLgPdsxQ0Tjq8d5rZC/O2tBxb6sMwr7i5HW4D7BWkL4L8gbWHHjPNoi6vlO3gtGdI9O9g3sFa/hR4y1ba++EF4LFvdvrvjccw4pLwZtnMp48VeNOIi/2cB2M8UmP/wWkyBHW1eiCmYIxsT4/GuV2Nj0FlmPb32Sf4n3A3DhfcjWpUQUdE/cqQVRd26qinw74iV0kZxVzYoi60sc+o+5qttpCX0OUvyFfp0caFeqJ0jvZ5N2T4uB4mxW7qpt1wybdXRVAFgiAjEzWIaM+DovD0Cef1EH6COWT1hyCDYK4jb4RTt/AtRV7TlF6Gu9HsWeNupd7j2mgOKc3aNq6wHO0nRnaiae5StCvt9cp7CeKkM4e+qR2O81jtut0U0v10am0u3RbxtvwZbRPa9SFv6tHPEEeGiPNWx3lcVFhjfalsV4oj4eJHKi4C4EOX7pSbiiPGoi4yBvsaI4apXYYzou74KYy461fZ1M9ENfhU1IzrJr8IY0c19DcYMRJv+KowRbfxFGrPX18IR/MYxBVEr9fa+0xgR7UuJFwr68RA+F+7tp3uwm+7u66KBG0XD1tF5kuSfo6XxM+wSXCRx9hH2+6YfC3Hn7/k2Tso4w2+HEAUP8XIZ4Z7t+DLWQxD0ZtQIgqZYjSBoOdQIgkSnRBD2tdUIUgW2owpsRxXYjiqwMQkqARv2p1YkSBXYA1VgD1SB7aoCG6Y+qAHbVQW2qwpsVxXYniqwPVVge6rA9lSB7akCe6gK7KEqsPEgECWJbagK7KEqsEeqwB6pAnukCuwAhkuU1FoA/UwlgoitSiViq9MJ3pAVWQd9WTWS4PAUVZKUIU6UIU6UIU76If7sXaTODjml8VXkGftBNfXnr1dOf/56lfTnr1dEf35J/HAwfS9gepePA8JS/JL4OZL4OZL4DSTxG0jiN5DEbyCJ30ASP1cSP1cSP1cSP1cSP1cSP08SP08SP08SP08SP08Sv6EkfkNJ/HAKsEz+HEriN5TEbySJ30gSv6De5+/dfgX1rn5vfmJLKkBsaQ3qb3RfYAKwyPggORhP7q8BkQWRyIJIZEEk/UD8HQ8jS8SAfP0NmJ5VdTgI/yEqcIqR4KiHHT3N75CDHqpKXHfkD4jjEBeHNNn4fydyjExGzk40FKf48a8Lh9IxkBi5e+wbwgH5EPFm5MMu5Dj4ycj9LuSjHfmgA/kI32GY9FETuR/4XuC7NhyeKMgbkeT0DvaRufhGYwU9tumcvos+jl/p04gOl+/imCSXz85bPVG1gn60o4dpdke+D4m65fSeXdEf/Z50SI99UKaP3+hqIH8EYPo4YMTogzY8Kb2/c82gDR+kD+ydfAKXzQZTBnwv5wq1VRilx68UnL6tAig9dlIZPbHbEB15xKMTFBiD3xgAiCjS4/RJTt+KKNLjcBSnbzUA6B161DD99Ah10QIo0lcR5rcCivT4JYLpE7RWGNJjr5Xr3xbBiI9TeZzf6kFIX0Vk0FRfHjgz8TCp7FIzTs07DRBnGO6lIJwO14GhQgjagi4MOCjPIMJJXx1KwMnzgqHJiXY2VE5E4C28vQRStRkEPmF2YBjsAp/AOEEHBnwb4jZAjHZgqFIjP1L3RCMsjCbBLtcR+OjZXoKD/QqhEq3pahUxzAVYPlZn6lKFSzyu/BZP293NDoDYWEarcJuUd7sfJ2Z1/Vu0jLcpeCCn+hB/yksqYmJW17/i0b9QA6AyrMT9dQMHhMP/xraIJ+bfP96Mgvc/zpwr377xr9xB5F0F3s37K899d/P+/SywHfvdP2AHnu1+DWeOS5ydTs94h6ntxL3eJHDCesGN5crfVs8m5t4NUx+1t0Bt9pcaYdHWiJ49P/0XAAD//wMAUEsDBBQABgAIAAAAIQDnZXW41gAAALgBAAAjAAAAeGwvd29ya3NoZWV0cy9fcmVscy9zaGVldDEueG1sLnJlbHOskMlqAzEMQO+F/oPRPdZMDqGUeHIJhVxD+gHC1ix0vGC5afL3dSiFDAR66VHb05O2u4uf1ZmzTDEYaHUDioONbgqDgffT2+oFlBQKjuYY2MCVBXbd89P2yDOVOiTjlERVShADYynpFVHsyJ5Ex8ShVvqYPZUa5gET2Q8aGNdNs8F8z4BuwVQHZyAfXAvqdE1189/s2PeT5X20n55DebACz37eZ/qqx1Uq5YGLAa3R/eTkrt7q2gv42Gn9n042+puuLIx+k62u/7tp4OLf3TcAAAD//wMAUEsDBBQABgAIAAAAIQBmyKE6cQYAAL8UAAAYAAAAeGwvd29ya3NoZWV0cy9zaGVldDIueG1slFjbbuM2EH0v0H8Q9B6Zd0pG7MX6fku66La7z4osJ8LalivJSbZF/71DybqQFBbbBLDlw8MhNTM8Gs39h/fT0XmNszxJzyMXe8h14nOU7pPz88j984/Fne86eRGe9+ExPccj93ucux/Gv/5y/5Zm3/KXOC4csHDOR+5LUVyGg0EevcSnMPfSS3yGkUOancICfmbPg/ySxeG+nHQ6DghCYnAKk7NbWRhmP2MjPRySKJ6l0fUUn4vKSBYfwwL2n78kl7y2dop+xtwpzL5dL3dRerqAiafkmBTfS6Ouc4qG6+dzmoVPR7jvd8zCqLZd/rDMn5IoS/P0UHhgblBt1L7nYBAMwNL4fp/AHSi3O1l8GLkf8fARM3cwvi8d9CWJ3/LOtVOkl118KKbx8Qhk5joqAE9p+k0x1/uRi8BmHh/jSLnCCeHrNb6xMYEg/nVbhqg1Bs0i3et6wUUZtE+Z8xTm8TQ9fk32xQtkByTHPj6E12Pxe/q2ipPnlwJQ2EvpkOH++yzOIwiL2kx9I7OwCMf3WfrmQHwx7OMSqmzBQ5g3vo8U+lHBI5fBF0zNAX4dY3Y/eIW9RTfOpOGA4XLW1EJmFjK3kIWFLC1kZSFrC9lYyNZCdhbyYCGPXWQAbmp8pWLW4ysFl6FQUezyqc53ythA5Gsnq/GRW0a/9N+kAuCzcTrSfT6tGBDfhoF1xsxmEJ0xtxlUZyxshhH7pc3guo2VzRA6Y20zpM7Y2AxfZ2xtRqAzdjYDG0596KEYXn2sKLzr99atWtAhNt0kKYMulRJUB0sNj1zRNWR4f1JRZHnomEd4ICjzfZ9RH1Pqz+/ahatTV/H9kk89wTHGXGBfCEy4FBZ/1uUTj1GGpEQywEhyxKTFn3f5zENcyIBjin3GfYaBb+x/0eUjD3OfYI4wwgwHvvQN9rLLJh6hmFBJCeGYE0ytzay6dDAeICECKjEOhOSMG8bXBlsKJhH3fUI5CRg22BuD7RPOufRRQCkSxDdTr8umHmJ6oKyd77p87FXOIIHATCDG7DA9dPm+hzHlASKCigALn3LL7Y8VPyjTADyDAk4pEz7ngU+lbO9Vy1ZIxG621lmqYEP+iXF8Jw2nkX8LmVnI3EIWFrK0kJWFrC1kYyFbC9l1Ec0PstcPSwX3SruqwTqPgvKUc9GccjUM88rioZL2BukotyGZ0z6O4fVZH8eQzXkfx8jeRQ+HGLq4vHHACc3ThhjCuOqzYwjUuoeDDZne9HBIm7OlD7d9HOPBtOvh4HY/WsyDnhj6bQmkhiGGXc0nRsQmN44K/OsYDh2jgfanP4umJt1w5kwbDzyBtD9iacpcmyA9oS0eBNaEhTYBNuwbd7TUCLCiEYOVNo48ZNzCWhvnntTuANm3sPm/E7baBCV0ZgqYBN7mmhZ/rAq9ziGuxa/EDfWjxvmZtKRG/mxoZkNzG1rY0NKGVja0tqGNDW1taGdDDzb0qEG664xSWJ0UAjVSdM2L9FS9rMDZcUtdFG31U772wICvXkYqYayhoIGmN4jAy00rPIbIzWoSLNKSjCjNe0ltOpQ7WPSRqKmFvSQj+Ve9pFZ9yuXWvSTjmG16SUaib3tJxoHe1SSIWOMn2j5V9LCqMrdzIn4YVlDG5sRU5TGEVemgEakJrkYJFCjtDgzStCYpo69jDmUmk1C5wD9iPsLYUqJZPaMWX4qxhCoTqkHBJdRVht/nJp8xCfURFJqIUyRZ0Prklha3bVf2fY8RxgOopaCY9REiduG7NFcgGIpxAtUv1KiSc2Fk50rnC09SqGIDX3CCBEMEql8jLdb6DHg5APOg+ZhD8YugwrZmbPQZRlZvfzi6q0erV5F2rp4zqu7s5MwtJ+aqCWHUTlWLo2o/nOLsuWyG5E6UXlWDgkLkG7TTgVG6YOJiCKVcD45VywarkUEzBVool/A5fgiz5+ScO0do2UA3xJPwYM+qfkn1A9o5pWQ9pQVoWKVe0ByLoR2CPCAf0rSof8ACyubnuLhenDRLoMNS9rtG7iXNiixMCpA+wP9OYeA4uyTwOIE3DggvCeAgQnevSCJ7AMzG78UuL8pv55rBvH8gFSDbKL77KCbojqsPIiS6k5LgiZyiAMqEf+s+2On955pgpzAaxO9RXDb9/KrpB25+H37afXEe0j3010B9fzvHn+A2y+uvn2HD5aXyLmyz+iw3O3irW4/j/wAAAP//AwBQSwMEFAAGAAgAAAAhAPtipW2UBgAApxsAABMAAAB4bC90aGVtZS90aGVtZTEueG1s7FlPb9s2FL8P2HcgdG9tJ7YbB3WK2LGbrU0bxG6HHmmZllhTokDSSX0b2uOAAcO6YZcBu+0wbCvQArt0nyZbh60D+hX2SEqyGMtL0gYb1tWHRCJ/fP/f4yN19dqDiKFDIiTlcdurXa56iMQ+H9M4aHt3hv1LGx6SCsdjzHhM2t6cSO/a1vvvXcWbKiQRQbA+lpu47YVKJZuVivRhGMvLPCExzE24iLCCVxFUxgIfAd2IVdaq1WYlwjT2UIwjIHt7MqE+QUNN0tvKiPcYvMZK6gGfiYEmTZwVBjue1jRCzmWXCXSIWdsDPmN+NCQPlIcYlgom2l7V/LzK1tUK3kwXMbVibWFd3/zSdemC8XTN8BTBKGda69dbV3Zy+gbA1DKu1+t1e7WcngFg3wdNrSxFmvX+Rq2T0SyA7OMy7W61Ua27+AL99SWZW51Op9FKZbFEDcg+1pfwG9VmfXvNwRuQxTeW8PXOdrfbdPAGZPHNJXz/SqtZd/EGFDIaT5fQ2qH9fko9h0w42y2FbwB8o5rCFyiIhjy6NIsJj9WqWIvwfS76ANBAhhWNkZonZIJ9iOIujkaCYs0AbxJcmLFDvlwa0ryQ9AVNVNv7MMGQEQt6r55//+r5U/Tq+ZPjh8+OH/50/OjR8cMfLS1n4S6Og+LCl99+9ufXH6M/nn7z8vEX5XhZxP/6wye//Px5ORAyaCHRiy+f/PbsyYuvPv39u8cl8G2BR0X4kEZEolvkCB3wCHQzhnElJyNxvhXDEFNnBQ6Bdgnpngod4K05ZmW4DnGNd1dA8SgDXp/dd2QdhGKmaAnnG2HkAPc4Zx0uSg1wQ/MqWHg4i4Ny5mJWxB1gfFjGu4tjx7W9WQJVMwtKx/bdkDhi7jMcKxyQmCik5/iUkBLt7lHq2HWP+oJLPlHoHkUdTEtNMqQjJ5AWi3ZpBH6Zl+kMrnZss3cXdTgr03qHHLpISAjMSoQfEuaY8TqeKRyVkRziiBUNfhOrsEzIwVz4RVxPKvB0QBhHvTGRsmzNbQH6Fpx+A0O9KnX7HptHLlIoOi2jeRNzXkTu8Gk3xFFShh3QOCxiP5BTCFGM9rkqg+9xN0P0O/gBxyvdfZcSx92nF4I7NHBEWgSInpmJEl9eJ9yJ38GcTTAxVQZKulOpIxr/XdlmFOq25fCubLe9bdjEypJn90SxXoX7D5boHTyL9wlkxfIW9a5Cv6vQ3ltfoVfl8sXX5UUphiqtGxLba5vOO1rZeE8oYwM1Z+SmNL23hA1o3IdBvc4cOkl+EEtCeNSZDAwcXCCwWYMEVx9RFQ5CnEDfXvM0kUCmpAOJEi7hvGiGS2lrPPT+yp42G/ocYiuHxGqPj+3wuh7Ojhs5GSNVYM60GaN1TeCszNavpERBt9dhVtNCnZlbzYhmiqLDLVdZm9icy8HkuWowmFsTOhsE/RBYuQnHfs0azjuYkbG2u/VR5hbjhYt0kQzxmKQ+0nov+6hmnJTFypIiWg8bDPrseIrVCtxamuwbcDuLk4rs6ivYZd57Ey9lEbzwElA7mY4sLiYni9FR22s11hoe8nHS9iZwVIbHKAGvS91MYhbAfZOvhA37U5PZZPnCm61MMTcJanD7Ye2+pLBTBxIh1Q6WoQ0NM5WGAIs1Jyv/WgPMelEKlFSjs0mxvgHB8K9JAXZ0XUsmE+KrorMLI9p29jUtpXymiBiE4yM0YjNxgMH9OlRBnzGVcONhKoJ+ges5bW0z5RbnNOmKl2IGZ8cxS0KclludolkmW7gpSLkM5q0gHuhWKrtR7vyqmJS/IFWKYfw/U0XvJ3AFsT7WHvDhdlhgpDOl7XGhQg5VKAmp3xfQOJjaAdECV7wwDUEFd9TmvyCH+r/NOUvDpDWcJNUBDZCgsB+pUBCyD2XJRN8pxGrp3mVJspSQiaiCuDKxYo/IIWFDXQObem/3UAihbqpJWgYM7mT8ue9pBo0C3eQU882pZPnea3Pgn+58bDKDUm4dNg1NZv9cxLw9WOyqdr1Znu29RUX0xKLNqmdZAcwKW0ErTfvXFOGcW62tWEsarzUy4cCLyxrDYN4QJXCRhPQf2P+o8Jn94KE31CE/gNqK4PuFJgZhA1F9yTYeSBdIOziCxskO2mDSpKxp09ZJWy3brC+40835njC2luws/j6nsfPmzGXn5OJFGju1sGNrO7bS1ODZkykKQ5PsIGMcY76UFT9m8dF9cPQOfDaYMSVNMMGnKoGhhx6YPIDktxzN0q2/AAAA//8DAFBLAwQUAAYACAAAACEAi+8GsZYHAACjFAAAGAAAAHhsL3dvcmtzaGVldHMvc2hlZXQxLnhtbIxY2W7jOBZ9H2D+wdBTz0Nk7kuQuFHekgKqMIWu6e5nRZYToWzLIynbDObf51CUHZNypZMAtiyee3l5zuXlcvXry3Yzeirqpqx21wlNSTIqdnm1Knf318nv/1pemGTUtNlulW2qXXGdvBZN8uvk73+7eq7qH81DUbQjeNg118lD2+4vx+Mmfyi2WZNW+2KHlnVVb7MWP+v7cbOvi2zVGW03Y0aIGm+zcpd4D5f1R3xU63WZF/Mqf9wWu9Y7qYtN1iL+5qHcNwdvL6sP+VvV2TPGeojnJMS5bzn6o2IQ37bM66qp1m2aV9uxD204Sju2wTi3+cDRGbK2Wf3jcX8Bx3sM7q7clO1rN9xktM0vP9/vqjq720CRFyqy/CTKbOj+43HC0+RqVYJblxCjulhfJ5/o5a1NxpOrTrk/yuK5OXketdnd92JT5G2xQgIlI5cYd1X1wwE/4xWBx6YDOI9Z3pZPxazYbK6TLxK59e+uDzyig/Gxh9PnQ2/LLpW+1aO7rClm1ebPctU+oEuk7KpYZ4+b9u2lSQ1nhFOGLvrG36rn26K8f2hhIsCXo+1y9TovmhyZ5OJEBHm1QXf4HG1LNx9Advbih+V74yp1Ubevjno03xVNuyydz2SUPzZttT2E1bvzjljvSIEf7+g0woM7Ftjo3gYz8B0bGtjYQ8CKGwzyHTtnNvbD7VifZ202uaqr5xHmDQbT7DM3q+klunecKadj7ho/udYOg9cN3j5NuL0aPzl/PWTqIQzhvGF0iJl5DId8R4wwIWZ+DhP1tTiDkST0szyHoSHm5hyGhZjbHoOvY8ySHzFj0HfkEJLHHFJ55NC1gkN+4ki8Oep4nnoMZx3FJKWUKUspFVIQLZU8dtuhZz2ad2iZcsYtE5xYw4k2Qi8uorHMAwO4V9ZYxqjllBujSETPIoCrlBhBGVVa4Y9wJQb+l4EB/AvBiKJEW2aVYnH8NwFcp8wYKghiZ0owjHzg/7Y3EEd6EDexhDGLAVv7Fn8gCxh/RxbXGssS5dLUY7jT8mlCUiZpRzRBwAyLWqTirIerA5xRxAkaNJNMKBXNinkMpwyDAV1aQ0gq4uSP4RpRUCMI0ZwrJiPvywjOOYgCvxKJArq1CnPqJoJTgKXWSD7IRwSLvN/2cH0YqtFcSIkyLKXSVr9lbKAI6tQ7irjWsNiIN2X9PPGQoyCCWQ1iCefCGqMjxmY9+qAHR4DCEKGEtJJzHjmfR3DBKZQj1nKGLxkXvkUMNwzJoTh6sFYKGtW3ZQTnzqdk1mqortBDpEcEl0JZ4BTXhFtFTwjuiLnt4Qc9BAMUwUgiKTRn4ug90MOtb1HxPylcrjXSI4py6iG9HjZ1SWOUG7zQhhk6mMmz3uAgCUqQJkpJSY2WWprI/zyA65SjFgoCoDaoL9wM/C8iA2IVKh3SgxDi1BkYLAMDlC4UOIWiZQzjGvkc5f1NAJcoXRpiM4Lw0QOVA/+3vYEXxqSYhShzEjUB4WsaMBRIg+3DO9K41kiaN4n9VPGQXhqWWokpisLPkA+CkiETs97AS2NTQhW3YAFUSMnZcGjzwIA5LhS4ABFYXchwlVgE+KjULoNGkcINVhwjIQXVmNyLi6jY3gQGPEWgRCsBKyYtsmOoRG/glaAp8kigFGA+Uc6YDlbNQAlszt5RwrVGSrwVP6+EhxyVwFLKwRXqJbXS0iFRs97AKwFiKeaxAa3aQokz6+88MKCpoVJorKjUlRjB+YCLRWDAUykMuADhSGKh2NBgGRjQVHMiqDTYGYB2xodjuAkMWCpRfJnGkN1qKDgbhHTbG3h5OPYQQGJ1w1YI04v/XB53av15DXOtkTzRyjf1EG66pQy7KUwRScGgG6KSw0hnvYHtDFQqJKaIkQSJh38zJG8eGOiUWGGgJNYJFDKwOOBiMTD4qyoWGNDUYsZQjamO7R2GE1SZLidvAgOVYvXs5HcDh6bDkG69gXBHg6eJSCGmFQLhow5D/8AgmD04F7wjj2uN5Ikq7tRDmJNn3W3FH7K6WCX+wDq17sA6asru8Pn996+/TPXl1Pzjarx2cepUIUU1RufruTqj5s/8e584Oj1NTIqZgWVXUuU2EOpMLfyQF+tWF6zejGL/iCo1FP4DbtwahR0M9nOSUKw53EQJvfyAE54qg3nLsYU2TEDJMynyATcWeSCw26dSYSUnKGqDIXXyXCdD/U74hUzKaOzmkbI4zGPvcOrGp5O/MPBH1312X3zN6vty14w2xRrnM5KifNT+yN89t9W+e4vl965qcVY//HrAvVSBoy1JsYVdV1V7+AGlnd/vRfu4H1V1iZuC7qrpOtlXdVtnZYvTMd7/p0LDZr5HymH7KazS2Pcl7mKtLfNhA9yW7ganWC3quqpx5XD683Ap0uexu0J73GS/Zbv77s7BHdxP4bDeFPdZ/trfWI3qy3J1ndSfV93dQPHSfmnayRW+R481AvwvFkTCsO5ffFJTciHdB84X5AJFmE71DNsjQv53uFHa4vojuto7e520zfJx8ZIX3cWe8Rdek6vty+W3L3+MvlYrhI6T/j93xTfw2T3/+R3MdI9uRAjPf3bBjp8P14uT/wMAAP//AwBQSwMEFAAGAAgAAAAhAMtN6os+AwAAzwkAABQAAAB4bC9zaGFyZWRTdHJpbmdzLnhtbJxWbW8TMQz+jsR/sE5CDInuxjQmhNpO1cagEtOqtQPxMcv5eha5pCS+jv57nL5sVY5Ct2+55LH9OH7sXPfsd21gjj6Qs73s3eFRBmi1K8hOe9nt5LLzIYPAyhbKOIu9bIEhO+u/fNENgUFsbehlFfPsY54HXWGtwqGboZWT0vlasXz6aR5mHlURKkSuTX58dHSa14psBto1lnvZ+9MMGku/Gjxfb5xk/W6gfpf7l0o3hhdwT1yB0qrAmjSoYk5BSILHMHM20B0ZYsLQzbnfzaPp2rwxpsNUI4y8KzHERJWBMauyhEH04nxqM9hEiWwCmjZiJDcW/eRXaFncfUFlhN5O/AV51Ow8uHVQoZ4vo8ccBkVNlgJ7JZCUjNCeu8Dp9jfSMSUMVAgFENfrnSUaDshq08QygpKcYwk5vI1rp0kxyhpZH75J3V6gss833mT53Ojnznnh/LdrOK8ISxjalaykiHBdlnIHHg7Oh9dvIIcVYoK6ss646WILMLluJbotK9fwM5R1zVWMPjKoAkKYoaZy0YrzvVIMdyjdUmDQnmQJC9d4YGKDIIfLL7JBNhqWxM7Smkw2yOEjKMWMuVnqYIx+LrfSaoPN+aAsFfnW8SfrnTF1VNKVsmqKcZnGiDJd9k/L/NYW6KdeFY1IS3pLhNem8NBVG923/G/abtJIH4h0U8ClSMOKfA0MqEgPty5HADcYUHldpagHEtJWQrgW3VzgTHle5n4wfmoVy8bqWDQJqWTG7VXPy0ebgdi0KD5OA5oj3FpqVWLU3BnSb+Gks5AsY/OrOzfH1NPI0zwWxDruSN90ZjIBifc2e4rJmtDxktC+PP6N3g6/A7mOamSsd7iSybUDt+Me9rXbZvI/m4mT9yC9gPHD8N9SaRtkBCZaSg8+e3dv4cpJj0k1zSI9v5FnlywW8vzIgJBBnwIuUJslYLePVYwxTS3JVBUfZgEHMpzicGM4fv+qNdgenD7FaAiFs68Zflp3n7Ic8usgPwT1TKQtebYaPNs2zuJLmqUmWepzXCtj4OWLyb2D2CqtyXVFReer8lNcg378DbTxctKJx4Jc9d8/nf0P2/a5EumeTlvgXH7I+n8AAAD//wMAUEsDBBQABgAIAAAAIQAklECJYAIAAHgEAAAbAAAAeGwvZHJhd2luZ3Mvdm1sRHJhd2luZzEudm1sjFTJbtswEL3nKwjm4IsELWiMhpEEBClyaws0XY4BLdEWE5IjiGNZztd3KClO3AJFBVsmZ94s783AxWgNo6/zYij5vnfC162y0sdW1z142GJcgxWDNfxiAcK/gLDd6lqJ+ecUMv5HiBpr9VbEUjstYieSxMr6pzUPU18/es2rC1aA8K3slJFH2CMbhBqx5KrRGLzBrRsruzMHayTKkmc8CQmSswxVMcwJ8dgpppuSP44pPY+YpzlnNUDfeP2iSp5n6zSNpjdnlKOjugFDVTuJbcltGqVmQcy4s3c6qrlFKog9PCv2BNp5PBpKbjWqfuqPUUMhH9v1stHK4UQXnkuOoWwNzqkaQ7cl7+m0kHrH4kTpPR2fpfkVZ3Pc5RnHuYVVB16jBifkxoPZo7ohZlb2O+1io7Yo1h87vFkMCJ1YX9H9oBtsRZZ/oHOr9K5FkV3T+SXWrlGjyEKWQXu90UbjUbS6aZS7sR7iQy+7eCouMASu2FYbU4OBvuSXW3pUFiiTSAotNERY7hFeRQxgmg+h8zd4mHBQkERr4MDAzbJtfL3vFQ13luuk8R96OnDqNASkzdrAyBZ5QseNDoqTRrE0KEIzq1CPFY0eXnEhjNx650RQbVUVCXmntpJBLEmn6yjuTBjwJ9pO9nXzRKm/T2P9AjivCitG8RkG9Utje6eM8RO9YH2glfzbeuvqFvqpJZZGbP0xYlnErqJwya7ziNHnukhG8Q5IyW6JyD2pWd1L49Xkf7VM7EbxDQ5VFhzhsNjuaEmsq9JgXs5B+3A70SJsQaynFSYh6O+m+g0AAP//AwBQSwMEFAAGAAgAAAAhALRJ1gg1AQAAEg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X0vDMBTF3wW/Q8l7m2aFOULbgcoQcSA4UXy7JHdbsPlDEu327c3qrJP5eDnn/jjn3nq+0132iT4oaxrCipJkaISVymwa8rxa5DOShQhGQmcNNmSPgczby4taOC6sx0dvHfqoMGSJZAIXriHbGB2nNIgtaghFcpgkrq3XENPoN9SBeIcN0klZTqnGCBIi0AMwdyORHJFSjEj34bsBIAXFDjWaGCgrGP31RvQ6/LswKCdOreLepU7HuKdsKb7F0b0LajT2fV/01RAj5Wf0dfnwNFTNlTncSiBpaym48AjR+ramp0M6XAchLtON1wrl9b69twbiFkx2Z30CoDI1PXcl4lCA6+NmljLx7wY/0kt1c7takHZSsmlespxVqwnj1YxXV2+HFH8BKdjZF9svAAAA//8DAFBLAwQUAAYACAAAACEATRfmDP4AAAB1AQAAEAAAAHhsL2NvbW1lbnRzMS54bWxUkM1qwzAQhO+FvoPYeyPHh5IWSyGXQKGHQtMHUO11LNCP0W6D06fvuo4LBSE0n0Yzi5r9FIO6YCGfk4HtpgKFqc2dT2cDH6fjww4UsUudCzmhgSsS7O39XdPmGDExKQlIZGBgHp+1pnbA6GiTR0xy0+cSHYssZ01jQdfRgMgx6LqqHnV0PoFt3BcPudB60LbRf+jW8+qJ7VqqCvYGDjWoxfbSGagkh3ESU5H1Jtun5NC3urhg4AlEtDnkonzqcEJ5sdvOsBxz4sV0ckOOboa9iz5cF1rPQP8msn3H4pFUh9QWP7J8GjVaOrX06aVe3yYW8G/2VZH9AQAA//8DAFBLAwQUAAYACAAAACEA2WYniZEBAAAv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PGzEQhu9I/Q+W78RLilAVeY0QtOJQ1IgEep56Z7MWXnvlGZakv77erEI29FCpt/l4/frxePT1tvWix0QuhlJezAopMNhYubAp5dP62/kXKYghVOBjwFLukOS1+XSmlyl2mNghiWwRqJQNc7dQimyDLdAst0Pu1DG1wDlNGxXr2lm8i/a1xcBqXhRXCreMocLqvHs3lKPjouf/Na2iHfjoeb3rMrDRN13nnQXOrzQPzqZIsWbxANYFjtSIr1uLXqupTGfOFdrX5HhnCq2mqV5Z8HibrzA1eEKtjgV9jzCMbwkukdE9L3q0HJMg9zsPcC7FLyAcwErZQ3IQOAMOsjHZx74jTuZnTC/UIDJplQVjcR9OtdPYXZr5XpCDU+FgMILkxini2rFH+lEvIfG/iPcMI++Ic9P5mBzdAcMU8h13FVsUj/AmPipOgD4gfHfhhZ66dcyH8DDi06JeNZCwyr9y6B8L+j5PN/nB5LaBsMHqoPm7MazG87j/5uJyVnwu8l9PalodN938AQAA//8DAFBLAwQUAAYACAAAACEAGuqVLKoAAAAPAQAAEAAAAHhsL2NhbGNDaGFpbi54bWxcz00KwjAQBeC94B3C7DXVhag0LVitHkAPENKxCeSnZILo7Y1gRboZmO/BY6asn86yB0YywQtYLQtg6FXojO8F3K7tYguMkvSdtMGjgBcS1NV8VippVaOl8Sw3eBKgUxr2nJPS6CQtw4A+J/cQnUx5jT2nIaLsSCMmZ/m6KDbc5QKoSsWigGYHzOQbgNnP5F8+jjzCaQrtFM5TuEzh8Af890r1BgAA//8DAFBLAQItABQABgAIAAAAIQBJEqz3jAEAAHgGAAATAAAAAAAAAAAAAAAAAAAAAABbQ29udGVudF9UeXBlc10ueG1sUEsBAi0AFAAGAAgAAAAhAFB8TsH2AAAATAIAAAsAAAAAAAAAAAAAAAAAxQMAAF9yZWxzLy5yZWxzUEsBAi0AFAAGAAgAAAAhAABBmPgJAQAAzAMAABoAAAAAAAAAAAAAAAAA7AYAAHhsL19yZWxzL3dvcmtib29rLnhtbC5yZWxzUEsBAi0AFAAGAAgAAAAhAK33oZPRAQAABAMAAA8AAAAAAAAAAAAAAAAANQkAAHhsL3dvcmtib29rLnhtbFBLAQItABQABgAIAAAAIQAwt/kvPwkAAMF+AAANAAAAAAAAAAAAAAAAADMLAAB4bC9zdHlsZXMueG1sUEsBAi0AFAAGAAgAAAAhAOdldbjWAAAAuAEAACMAAAAAAAAAAAAAAAAAnRQAAHhsL3dvcmtzaGVldHMvX3JlbHMvc2hlZXQxLnhtbC5yZWxzUEsBAi0AFAAGAAgAAAAhAGbIoTpxBgAAvxQAABgAAAAAAAAAAAAAAAAAtBUAAHhsL3dvcmtzaGVldHMvc2hlZXQyLnhtbFBLAQItABQABgAIAAAAIQD7YqVtlAYAAKcbAAATAAAAAAAAAAAAAAAAAFscAAB4bC90aGVtZS90aGVtZTEueG1sUEsBAi0AFAAGAAgAAAAhAIvvBrGWBwAAoxQAABgAAAAAAAAAAAAAAAAAICMAAHhsL3dvcmtzaGVldHMvc2hlZXQxLnhtbFBLAQItABQABgAIAAAAIQDLTeqLPgMAAM8JAAAUAAAAAAAAAAAAAAAAAOwqAAB4bC9zaGFyZWRTdHJpbmdzLnhtbFBLAQItABQABgAIAAAAIQAklECJYAIAAHgEAAAbAAAAAAAAAAAAAAAAAFwuAAB4bC9kcmF3aW5ncy92bWxEcmF3aW5nMS52bWxQSwECLQAUAAYACAAAACEAtEnWCDUBAAASAgAAEQAAAAAAAAAAAAAAAAD1MAAAZG9jUHJvcHMvY29yZS54bWxQSwECLQAUAAYACAAAACEATRfmDP4AAAB1AQAAEAAAAAAAAAAAAAAAAABhMwAAeGwvY29tbWVudHMxLnhtbFBLAQItABQABgAIAAAAIQDZZieJkQEAAC8DAAAQAAAAAAAAAAAAAAAAAI00AABkb2NQcm9wcy9hcHAueG1sUEsBAi0AFAAGAAgAAAAhABrqlSyqAAAADwEAABAAAAAAAAAAAAAAAAAAVDcAAHhsL2NhbGNDaGFpbi54bWxQSwUGAAAAAA8ADwDcAwAALDgAAAAABSM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YAAAAFQXJpYWwGdwAAAAYrbW4tZWEJeAAAAAEACXkAAAAHJAAAAAABAAAAEQAAAAQUU3lzdGVtLkRyYXdpbmcuQ29sb3IEAAAABXoAAAAUU3lzdGVtLkRyYXdpbmcuQ29sb3IEAAAABXZhbHVlBXN0YXRlCmtub3duQ29sb3IEbmFtZQAAAAEJBwcEAAAAAAAAAAAAAAAAAAAACgF7AAAAegAAAAAAAP//////AgAAAAoBfAAAAHoAAAD//////////wIAAAAKAX0AAAB6AAAATkEi//////8CAAAACgF+AAAAegAAAN7c2///////AgAAAAoBfwAAAHoAAAB+aT///////wIAAAAKAYAAAAB6AAAAjIRy//////8CAAAACgGBAAAAegAAACUh7f//////AgAAAAoBggAAAHoAAAA0O0b//////wIAAAAKAYMAAAB6AAAAdJjD//////8CAAAACgGEAAAAegAAAB6U9///////AgAAAAoBhQAAAHoAAAAelPf//////wIAAAAKAYYAAAB6AAAAJSHt//////8CAAAACgGHAAAAegAAAAAAAP//////AgAAAAoBiAAAAHoAAAD//////////wIAAAAKAYkAAAB6AAAATkEi//////8CAAAACgGKAAAAegAAAN7c2///////AgAAAAoEJQAAAJgBU3lzdGVtLkNvbGxlY3Rpb25zLkdlbmVyaWMuTGlzdGAxW1tBcGxvcmlzLkJhc2UuT2JqZWN0cy5EYXRhT2JqZWN0LCBBcGxvcmlzLkJhc2UsIFZlcnNpb249NC4wLjAuMTQ4NiwgQ3VsdHVyZT1uZXV0cmFsLCBQdWJsaWNLZXlUb2tlbj0xNmZjMTNhMjI2YzBlOTUxXV0DAAAABl9pdGVtcwVfc2l6ZQhfdmVyc2lvbgQAACFBcGxvcmlzLkJhc2UuT2JqZWN0cy5EYXRhT2JqZWN0W10DAAAACAgJiwAAAA0AAAANAAAABCYAAACVAVN5c3RlbS5Db2xsZWN0aW9ucy5HZW5lcmljLkxpc3RgMVtbQXBsb3Jpcy5CYXNlLlVJLlZpc3VhbE9iamVjdCwgQXBsb3Jpcy5CYXNlLCBWZXJzaW9uPTQuMC4wLjE0ODYsIEN1bHR1cmU9bmV1dHJhbCwgUHVibGljS2V5VG9rZW49MTZmYzEzYTIyNmMwZTk1MV1dAwAAAAZfaXRlbXMFX3NpemUIX3ZlcnNpb24EAAAeQXBsb3Jpcy5CYXNlLlVJLlZpc3VhbE9iamVjdFtdAwAAAAgICYwAAAABAAAAAQAAAAUoAAAAmwFBcGxvcmlzLkJhc2UuT2JqZWN0cy5EYXRhT2JqZWN0Q29sbGVjdGlvbmAxW1tBcGxvcmlzLkNoYXJ0LlZhbHVl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C4wLjE0ODYsIEN1bHR1cmU9bmV1dHJhbCwgUHVibGljS2V5VG9rZW49MTZmYzEzYTIyNmMwZTk1MV1dAwAAAJEBU3lzdGVtLkNvbGxlY3Rpb25zLkdlbmVyaWMuTGlzdGAxW1tBcGxvcmlzLkNoYXJ0LlZhbHVl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NAAAACY4AAAAJBgAAAAkBAAAACY8AAAAFKQAAAJsBQXBsb3Jpcy5CYXNlLk9iamVjdHMuRGF0YU9iamVjdENvbGxlY3Rpb25gMVtbQXBsb3Jpcy5DaGFydC5BeGlzQnJlYWs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AuMC4xNDg2LCBDdWx0dXJlPW5ldXRyYWwsIFB1YmxpY0tleVRva2VuPTE2ZmMxM2EyMjZjMGU5NTFdXQMAAACRAVN5c3RlbS5Db2xsZWN0aW9ucy5HZW5lcmljLkxpc3RgMVtbQXBsb3Jpcy5DaGFydC5BeGlzQnJlYW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kAAAAAmRAAAACQYAAAAJAQAAAAmSAAAABS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gAAAADAAAACWkAAAAJagAAAAlrAAAAAQAAAAAKCglsAAAAAAAAAAoAAAAAAA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L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aAAAAAMAAAAJaQAAAAlqAAAACWsAAAABAAAAAAoGkwAAAAElCWwAAAABAAAACgAAAAAAAAAABS0AAACaAUFwbG9yaXMuQmFzZS5PYmplY3RzLkRhdGFPYmplY3RDb2xsZWN0aW9uYDFbW0FwbG9yaXMuQ2hhcnQuVGlja01hcms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C4wLjE0ODYsIEN1bHR1cmU9bmV1dHJhbCwgUHVibGljS2V5VG9rZW49MTZmYzEzYTIyNmMwZTk1MV1dAwAAAJABU3lzdGVtLkNvbGxlY3Rpb25zLkdlbmVyaWMuTGlzdGAxW1tBcGxvcmlzLkNoYXJ0LlRpY2tNYXJ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QAAAAJlQAAAAkGAAAACQEAAAAJlgAAAAUw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cAAAAhAAAA9O8XQjG0lUMBmAAAACEAAAAwoSBEMbSVQwmZAAAAuAEAAP////8BAQoJmgAAAAEACgAHMQAAAAABAAAABQAAAAQVU3lzdGVtLkRyYXdpbmcuUG9pbnRGBAAAAAGbAAAAIQAAADBhIUQxtJVDAZwAAAAhAAAA9O8XQgJ6qUMBnQAAACEAAAAvIKpDAnqpQwGeAAAAIQAAADChIEQCeqlDAZ8AAAAhAAAAMGEhRDE0mEMHMgAAAAABAAAABQAAAAQXQXBsb3Jpcy5CYXNlLkFuY2hvck1vZGUDAAAABaAAAAAXQXBsb3Jpcy5CYXNlLkFuY2hvck1vZGUBAAAAB3ZhbHVlX18ACAMAAAAEAAAAAaEAAACgAAAABQAAAAGiAAAAoAAAAAMAAAABowAAAKAAAAAGAAAAAaQAAACgAAAABQAAAA8zAAAABQAAAAEAAAAAAQU0AAAAFUFwbG9yaXMuQmFzZS5VSS5MYWJlbBwAAAAPbUFuY2hvclBvc2l0aW9uC21BbmNob3JNb2RlD21BZGRJbm5lck1hcmdpbhZtT2Zmc2V0RGlyZWN0aW9uQW5jaG9yF21PZmZzZXRPcnRob2dvbmFsQW5jaG9yC21UZXh0Rm9ybWF0CW1Sb3RhdGlvbgptQmFja0NvbG9yDW1Vc2VCYWNrQ29sb3IObVVzZ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EBAQAAQMDAQAAAAAHAgAAAwA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wAAAAGlAAAAIQAAADBhIUQxtJVDAaYAAACgAAAABAAAAAAAAAAAAAAAAAmnAAAAAAAAAAmoAAAAAAAFqQAAACpBcGxvcmlzLkJhc2UuVUkuTGFiZWwrTGluZUFsaWdubWVudE9wdGlvbnMBAAAAB3ZhbHVlX18ACAMAAAAAAAAAAaoAAAByAAAAAAAAAAAAAAABqwAAABUAAAAAAAAAAAAAAAAAAAAAAAAAAAAAAAasAAAADUNhdGVnb3J5IGF4aXMKCa0AAAAJrAAAAOQCAAD/////AAEKCa4AAAABAAoAATUAAAAlAAAACa8AAAAGAAAABgAAAAE2AAAAJgAAAAmwAAAAAgAAAAIAAAABOAAAACgAAAAKCbEAAAAJsgAAAAkHAAAACQEAAAAJswAAAAE5AAAAKQAAAAoJtAAAAAm1AAAACQcAAAAJAQAAAAm2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gAAAADAAAACWkAAAAJagAAAAlrAAAAAQAAAAAKBrcAAAABJQlsAAAAAAAAAAoAAAAAAA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BAAAAAQloAAAAAwAAAAlpAAAACWoAAAAJawAAAAEAAAAACga4AAAAASUJbAAAAAAAAAAKAAAAAAAAAAAFP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QAAAAEJaAAAAAMAAAAJaQAAAAlqAAAACWsAAAABAAAAAAoJkwAAAAlsAAAAAQAAAAoAAAAAAAAAAAE9AAAALQAAAAoJuQAAAAm6AAAACQcAAAAJAQAAAAm7AAAAAUAAAAAwAAAAAbwAAAAhAAAA9O8XQjG0lUMBvQAAACEAAAD07xdCv3N7QQm+AAAAuAEAAP////8BAQoJvwAAAAEACgAHQQAAAAABAAAABQAAAAQVU3lzdGVtLkRyYXdpbmcuUG9pbnRGBAAAAAHAAAAAIQAAAPTvF0LuLSRBAcEAAAAhAAAAymMhQTG0lUMBwgAAACEAAADKYyFBz48dQwHDAAAAIQAAAMpjIUG/c3tBAcQAAAAhAAAAymMhQe4tJEEHQgAAAAABAAAABQAAAAQXQXBsb3Jpcy5CYXNlLkFuY2hvck1vZGUDAAAAAcUAAACgAAAAAQAAAAHGAAAAoAAAAAgAAAABxwAAAKAAAAACAAAAAcgAAACgAAAABgAAAAHJAAAAoAAAAAcAAAAPQwAAAAUAAAABAAAAAAEBRAAAADQAAAABygAAACEAAAD07xdC7i0kQQHLAAAAoAAAAAEAAAAAAAAAAAAAAAAJzAAAAAAAAAAJzQAAAAAAAc4AAACpAAAAAAAAAAHPAAAAcgAAAAAAAAAAAAAAAdAAAAAVAAAAAAAAAAAAAAAAAAAAAAAAAAAAAAAG0QAAAApWYWx1ZSBheGlzCgnSAAAACdEAAADkAgAA/////wABCgnTAAAAAQAKAAFFAAAAJQAAAAnUAAAACAAAAAgAAAABRgAAACYAAAAJ1QAAAAIAAAACAAAAB0cAAAAAAQAAAAgAAAAELkFwbG9yaXMuQ2hhcnQuQ29sdW1uT3JpZW50ZWRDaGFydCtVbnVzZWRTZXJpZXMCAAAABdYAAAAuQXBsb3Jpcy5DaGFydC5Db2x1bW5PcmllbnRlZENoYXJ0K1VudXNlZFNlcmllcwMAAAAIRXhjZWxSb3cDUm93C0Rlc2NyaXB0aW9uAAQCCBpBcGxvcmlzLkNoYXJ0LkRhdGEuRGF0YVJvdwIAAAACAAAABwAAAAnXAAAABtgAAAAMSSBkb24ndCBrbm93AdkAAADWAAAACAAAAAnaAAAABtsAAAAQSXQncyBjb21wbGljYXRlZAHcAAAA1gAAAAQAAAAJ3QAAAAbeAAAAEVJlbWFpbmVkIENvbnN0YW50Ad8AAADWAAAABQAAAAngAAAABuEAAAATRGVjbGluZWQgTW9kZXJhdGVseQHiAAAA1gAAAAYAAAAJ4wAAAAbkAAAAJURlY2xpbmVkIFNpZ25pZmljYW50bHkgKGF0IGxlYXN0IDI1JSkB5QAAANYAAAAJAAAACeYAAAAG5wAAACQiSSBkb24ndCBrbm93IiBvZiAiSXQncyBjb21wbGljYXRlZCIB6AAAANYAAAAAAAAACgoB6QAAANYAAAAAAAAACgoESA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6gAAAAIAAAAMAQAAAUkAAAAlAAAACesAAAACAAAAYgAAAAFKAAAAJgAAAAnsAAAAAAAAAAAAAAAESw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e0AAAAAAAAAAAAAAAFMAAAAJQAAAAnuAAAAAAAAAAAAAAABTQAAACYAAAAJ7AAAAAAAAAAAAAAABE4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e8AAAAAAAAAAAAAAAFPAAAAJQAAAAnuAAAAAAAAAAAAAAABUAAAACYAAAAJ7AAAAAAAAAAAAAAABFE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wAAAABwAAACcAAAABUgAAACUAAAAJ8QAAAAcAAAAXAAAAAVMAAAAmAAAACewAAAAAAAAAAAAAAARU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8gAAAAAAAAAAAAAAAVUAAAAlAAAACe4AAAAAAAAAAAAAAAFWAAAAJgAAAAnsAAAAAAAAAAAAAAAEVw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fMAAAAAAAAAAAAAAAFYAAAAJQAAAAnuAAAAAAAAAAAAAAABWQAAACYAAAAJ7AAAAAAAAAAAAAAABFo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0AAAAAAAAAAAAAAABWwAAACUAAAAJ7gAAAAAAAAAAAAAAAVwAAAAmAAAACewAAAAAAAAAAAAAAARd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1AAAAAAAAAAAAAAABXgAAACUAAAAJ7gAAAAAAAAAAAAAAAV8AAAAmAAAACewAAAAAAAAAAAAAAARg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fYAAAAAAAAAAAAAAAFhAAAAJQAAAAnuAAAAAAAAAAAAAAABYgAAACYAAAAJ7AAAAAAAAAAAAAAABWMAAACtAUFwbG9yaXMuQmFzZS5PYmplY3RzLkRhdGFPYmplY3RDb2xsZWN0aW9uYDFbW0FwbG9yaXMuQ2hhcnQuQ29sdW1uT3JpZW50ZWRMZWdlbmR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qwFBcGxvcmlzLkJhc2UuT2JqZWN0cy5Tb3J0YWJsZUNvbGxlY3Rpb25gMVtbQXBsb3Jpcy5DaGFydC5Db2x1bW5PcmllbnRlZExlZ2VuZEVsZW1lbnQsIEFwbG9yaXMuQ2hhcnQsIFZlcnNpb249NC4wLjAuMTQ4NiwgQ3VsdHVyZT1uZXV0cmFsLCBQdWJsaWNLZXlUb2tlbj0xNmZjMTNhMjI2YzBlOTUxXV0DAAAAowFTeXN0ZW0uQ29sbGVjdGlvbnMuR2VuZXJpYy5MaXN0YDFbW0FwbG9yaXMuQ2hhcnQuQ29sdW1uT3JpZW50ZWRMZWdlbmR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fcAAAAJ+AAAAAkUAAAACQEAAAAJ+QAAAAFlAAAAHAAAAAH6AAAAIQAAANNmCUKWjatDAfsAAAAhAAAACfWpQzmBt0MJ/AAAAAn9AAAAAAAAAAoB/gAAAHIAAAAAAAAAAAAAAAH/AAAAcgAAAAAAAAAAAAAAAAAAAAEAAQAAFQAAAAAAAAAAAAAAAAAAAAAAAACkAQAA/////wEBCgkBAQAAAQAKAAFmAAAAJQAAAAkCAQAAAQAAAAEAAAABZwAAACYAAAAJAwEAAAEAAAABAAAABXA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BAEAAAkFAQAAAQAAAP7///8BAAAAAQAAAAEAAAABAAAAAQAAAAEAAAAAAAEFcQ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kGAQAACQcBAAABAAAAAAAAAAAAAAAAAAAAAAEFdQAAAB9BcGxvcmlzLkJhc2UuT2JqZWN0cy5QZXJzSWREYXRhAgAAAANtSWQLbUN1c3RvbURhdGEHAggDAAAACQgBAAAKBXgAAAAaQXBsb3Jpcy5CYXNlLk9iamVjdHMuQ29sb3IHAAAAEkRhdGFPYmplY3QrbVBhcmVudBVEYXRhT2JqZWN0K21Db250YWluZXIFbVR5cGUEbVJHQhBtVGhlbWVDb2xvckluZGV4DG1BdXRvVXBkYXRlZAltTW9kaWZpZWQCAgAAAAAACAgIAQEDAAAACgoAAAAAAAAAAA0AAAAAAQF5AAAAeAAAAAoKAQAAAAAAAAD/////AAEHiwAAAAABAAAAEAAAAAQfQXBsb3Jpcy5CYXNlLk9iamVjdHMuRGF0YU9iamVjdAMAAAAJCQAAAAkKAAAACQsAAAAJDAAAAAkQAAAACREAAAAJDQAAAAkOAAAACQ8AAAAJBwAAAAkGAAAACRgAAAAJFAAAAA0DB4wAAAAAAQAAAAQAAAAEHEFwbG9yaXMuQmFzZS5VSS5WaXN1YWxPYmplY3QDAAAACRwAAAANAwSNAAAAkQFTeXN0ZW0uQ29sbGVjdGlvbnMuR2VuZXJpYy5MaXN0YDFbW0FwbG9yaXMuQ2hhcnQuVmFsdWVMaW5lLCBBcGxvcmlzLkNoYXJ0LCBWZXJzaW9uPTQuMC4wLjE0ODYsIEN1bHR1cmU9bmV1dHJhbCwgUHVibGljS2V5VG9rZW49MTZmYzEzYTIyNmMwZTk1MV1dAwAAAAZfaXRlbXMFX3NpemUIX3ZlcnNpb24EAAAZQXBsb3Jpcy5DaGFydC5WYWx1ZUxpbmVbXQIAAAAICAkJAQAAAAAAAAAAAAABjgAAACUAAAAJ7gAAAAAAAAAAAAAAAY8AAAAmAAAACewAAAAAAAAAAAAAAASQAAAAkQFTeXN0ZW0uQ29sbGVjdGlvbnMuR2VuZXJpYy5MaXN0YDFbW0FwbG9yaXMuQ2hhcnQuQXhpc0JyZWFrLCBBcGxvcmlzLkNoYXJ0LCBWZXJzaW9uPTQuMC4wLjE0ODYsIEN1bHR1cmU9bmV1dHJhbCwgUHVibGljS2V5VG9rZW49MTZmYzEzYTIyNmMwZTk1MV1dAwAAAAZfaXRlbXMFX3NpemUIX3ZlcnNpb24EAAAZQXBsb3Jpcy5DaGFydC5BeGlzQnJlYWtbXQIAAAAICAkKAQAAAAAAAAAAAAABkQAAACUAAAAJ7gAAAAAAAAAAAAAAAZIAAAAmAAAACewAAAAAAAAAAAAAAASUAAAAkAFTeXN0ZW0uQ29sbGVjdGlvbnMuR2VuZXJpYy5MaXN0YDFbW0FwbG9yaXMuQ2hhcnQuVGlja01hcmssIEFwbG9yaXMuQ2hhcnQsIFZlcnNpb249NC4wLjAuMTQ4NiwgQ3VsdHVyZT1uZXV0cmFsLCBQdWJsaWNLZXlUb2tlbj0xNmZjMTNhMjI2YzBlOTUxXV0DAAAABl9pdGVtcwVfc2l6ZQhfdmVyc2lvbgQAABhBcGxvcmlzLkNoYXJ0LlRpY2tNYXJrW10CAAAACAgJCwEAAAAAAAAAAAAAAZUAAAAlAAAACe4AAAAAAAAAAAAAAAGWAAAAJgAAAAnsAAAAAAAAAAAAAAABmQAAAHAAAAAKCgAAAEA/CQwBAAAJDQEAAAEAAAD+////AAAAAAEAAAAAAAAAAAAAAAEAAAAAAAAAAAAAAZoAAAB1AAAACQ4BAAAKBac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2AAAACXcAAAAJDwEAAAEACRABAAABqAAAAHgAAAAKCgEAAAAAAAAA/////wABBK0AAACWAVN5c3RlbS5Db2xsZWN0aW9ucy5HZW5lcmljLkxpc3RgMVtbQXBsb3Jpcy5CYXNlLk9iamVjdHMuVmFyaWFibGUsIEFwbG9yaXMuQmFzZSwgVmVyc2lvbj00LjAuMC4xNDg2LCBDdWx0dXJlPW5ldXRyYWwsIFB1YmxpY0tleVRva2VuPTE2ZmMxM2EyMjZjMGU5NTFdXQMAAAAGX2l0ZW1zBV9zaXplCF92ZXJzaW9uBAAAH0FwbG9yaXMuQmFzZS5PYmplY3RzLlZhcmlhYmxlW10DAAAACAgJEQEAAAAAAAAAAAAAAa4AAAB1AAAACRIBAAAKB68AAAAAAQAAAAgAAAAEH0FwbG9yaXMuQmFzZS5PYmplY3RzLkRhdGFPYmplY3QDAAAACSoAAAAJKwAAAAksAAAACS0AAAAJKAAAAAkpAAAACgoHsAAAAAABAAAABAAAAAQcQXBsb3Jpcy5CYXNlLlVJLlZpc3VhbE9iamVjdAMAAAAJMAAAAAk0AAAACgoBsQAAAI0AAAAJCQEAAAAAAAAAAAAAAbIAAAAlAAAACe4AAAAAAAAAAAAAAAGzAAAAJgAAAAnsAAAAAAAAAAAAAAABtAAAAJAAAAAJCgEAAAAAAAAAAAAAAbUAAAAlAAAACe4AAAAAAAAAAAAAAAG2AAAAJgAAAAnsAAAAAAAAAAAAAAABuQAAAJQAAAAJEwEAAAsAAAAnAAAAAboAAAAlAAAACRQBAAALAAAAJwAAAAG7AAAAJgAAAAnsAAAAAAAAAAAAAAABvgAAAHAAAAAKCgAAAEA/CRUBAAAJFgEAAAEAAAD+////AAAAAAEAAAAAAAAAAAAAAAEAAAAAAAAAAAAAAb8AAAB1AAAACRcBAAAKBcw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2AAAACXcAAAAJGAEAAAEACRkBAAABzQAAAHgAAAAKCgEAAAAAAAAA/////wABAdIAAACtAAAACREBAAAAAAAAAAAAAAHTAAAAdQAAAAkaAQAACgfUAAAAAAEAAAAIAAAABB9BcGxvcmlzLkJhc2UuT2JqZWN0cy5EYXRhT2JqZWN0AwAAAAk6AAAACTsAAAAJPAAAAAk9AAAACTgAAAAJOQAAAAkbAQAACRwBAAAH1QAAAAABAAAABAAAAAQcQXBsb3Jpcy5CYXNlLlVJLlZpc3VhbE9iamVjdAMAAAAJQAAAAAlEAAAACgoF1wAAABpBcGxvcmlzLkNoYXJ0LkRhdGEuRGF0YVJvdwUAAAAGbUl0ZW1zCW1JdGVtTGlzdAltRXhjZWxSb3cMbU5ld0V4Y2VsUm93Bm1BZGRlZAMDAAAAogFTeXN0ZW0uQ29sbGVjdGlvbnMuT2JqZWN0TW9kZWwuQ29sbGVjdGlvbmAxW1tBcGxvcmlzLkNoYXJ0LkRhdGEuRGF0YUVsZW1lbnQsIEFwbG9yaXMuQ2hhcnQsIFZlcnNpb249NC4wLjAuMTQ4NiwgQ3VsdHVyZT1uZXV0cmFsLCBQdWJsaWNLZXlUb2tlbj0xNmZjMTNhMjI2YzBlOTUxXV2YAVN5c3RlbS5Db2xsZWN0aW9ucy5HZW5lcmljLkxpc3RgMVtbQXBsb3Jpcy5DaGFydC5EYXRhLkRhdGFFbGVtZW50LCBBcGxvcmlzLkNoYXJ0LCBWZXJzaW9uPTQuMC4wLjE0ODYsIEN1bHR1cmU9bmV1dHJhbCwgUHVibGljS2V5VG9rZW49MTZmYzEzYTIyNmMwZTk1MV1dCAgBAgAAAAoJHQEAAAcAAAD/////AAHaAAAA1wAAAAoJHgEAAAgAAAD/////AAHdAAAA1wAAAAoJHwEAAAQAAAD/////AAHgAAAA1wAAAAoJIAEAAAUAAAD/////AAHjAAAA1wAAAAoJIQEAAAYAAAD/////AAHmAAAA1wAAAAoJIgEAAAkAAAD/////AAfqAAAAAAEAAAAgAAAABB1BcGxvcmlzLkNoYXJ0LkNoYXJ0RGF0YVNlcmllcwIAAAAJIwEAAAkkAQAADR4H6wAAAAABAAAAIAAAAAQfQXBsb3Jpcy5CYXNlLk9iamVjdHMuRGF0YU9iamVjdAMAAAAJIwEAAAkkAQAADR4H7AAAAAABAAAAAAAAAAQcQXBsb3Jpcy5CYXNlLlVJLlZpc3VhbE9iamVjdAMAAAAH7QAAAAABAAAAAAAAAAQiQXBsb3Jpcy5DaGFydC5Bbm5vdGF0aW9uRGF0YVNlcmllcwIAAAAH7gAAAAABAAAAAAAAAAQfQXBsb3Jpcy5CYXNlLk9iamVjdHMuRGF0YU9iamVjdAMAAAAH7wAAAAABAAAAAAAAAAQdQXBsb3Jpcy5DaGFydC5Bbm5vdGF0aW9uR3JvdXACAAAAB/AAAAAAAQAAABAAAAAEHEFwbG9yaXMuQ2hhcnQuQ2hhcnREYXRhR3JvdXACAAAACSUBAAAJJgEAAAknAQAACSgBAAAJKQEAAAkqAQAACSsBAAANCQfxAAAAAAEAAAAQAAAABB9BcGxvcmlzLkJhc2UuT2JqZWN0cy5EYXRhT2JqZWN0AwAAAAklAQAACScBAAAJKAEAAAkmAQAACSkBAAAJKgEAAAkrAQAADQkH8gAAAAABAAAAAAAAAAQWQXBsb3Jpcy5DaGFydC5EZWx0YUJhcgIAAAAH8wAAAAABAAAAAAAAAAQZQXBsb3Jpcy5DaGFydC5EZWx0YUJyaWRnZQIAAAAH9AAAAAABAAAAAAAAAAQZQXBsb3Jpcy5DaGFydC5Hcm93dGhBcnJvdwIAAAAH9QAAAAABAAAAAAAAAAQgQXBsb3Jpcy5DaGFydC5XYXRlcmZhbGxDb25uZWN0b3ICAAAAB/YAAAAAAQAAAAAAAAAEHkFwbG9yaXMuQ2hhcnQuRWxlbWVudENvbm5lY3RvcgIAAAAE9wAAAKMBU3lzdGVtLkNvbGxlY3Rpb25zLkdlbmVyaWMuTGlzdGAxW1tBcGxvcmlzLkNoYXJ0LkNvbHVtbk9yaWVudGVkTGVnZW5kRWxlbWVudCwgQXBsb3Jpcy5DaGFydCwgVmVyc2lvbj00LjAuMC4xNDg2LCBDdWx0dXJlPW5ldXRyYWwsIFB1YmxpY0tleVRva2VuPTE2ZmMxM2EyMjZjMGU5NTFdXQMAAAAGX2l0ZW1zBV9zaXplCF92ZXJzaW9uBAAAK0FwbG9yaXMuQ2hhcnQuQ29sdW1uT3JpZW50ZWRMZWdlbmRFbGVtZW50W10CAAAACAgJLAEAAAIAAADgAAAAAfgAAAAlAAAACS0BAAACAAAADgAAAAH5AAAAJgAAAAkuAQAAAAAAAAAAAAAB/AAAAHAAAAAKCgAAAAAACS8BAAAJMAEAAAEAAAD+////AQAAAAEAAAABAAAAAQAAAAEAAAABAAAAAAABAf0AAABxAAAACgoJMQEAAAkyAQAAAQAAAAAAAAAAAAAAAAAAAAABAQEBAAB1AAAACTMBAAAKBwIBAAAAAQAAAAQAAAAEH0FwbG9yaXMuQmFzZS5PYmplY3RzLkRhdGFPYmplY3QDAAAACWMAAAANAwcDAQAAAAEAAAAEAAAABBxBcGxvcmlzLkJhc2UuVUkuVmlzdWFsT2JqZWN0AwAAAAllAAAADQMBBAEAAHgAAAAKCgAAAAAAAAAADQAAAAABAQUBAAB4AAAACgoBAAAAAAAAAP////8AAQEGAQAAeAAAAAoKAQAAAP///wD/////AAEBBwEAAHgAAAAKCgEAAAAAAAAA/////wABDwgBAAABAAAACAAAAAAHCQEAAAABAAAAAAAAAAQXQXBsb3Jpcy5DaGFydC5WYWx1ZUxpbmUCAAAABwoBAAAAAQAAAAAAAAAEF0FwbG9yaXMuQ2hhcnQuQXhpc0JyZWFrAgAAAAcLAQAAAAEAAAAAAAAABBZBcGxvcmlzLkNoYXJ0LlRpY2tNYXJrAgAAAAUMAQAAGkFwbG9yaXMuQmFzZS5PYmplY3RzLkNvbG9yBwAAABJEYXRhT2JqZWN0K21QYXJlbnQVRGF0YU9iamVjdCttQ29udGFpbmVyBW1UeXBlBG1SR0IQbVRoZW1lQ29sb3JJbmRleAxtQXV0b1VwZGF0ZWQJbU1vZGlmaWVkBAIAAAAAAB9BcGxvcmlzLkJhc2UuT2JqZWN0cy5MaW5lRm9ybWF0AwAAAAgICAEBAwAAAAmZAAAACgAAAAAAAAAADQAAAAAABQ0BAAAaQXBsb3Jpcy5CYXNlLk9iamVjdHMuQ29sb3IHAAAAEkRhdGFPYmplY3QrbVBhcmVudBVEYXRhT2JqZWN0K21Db250YWluZXIFbVR5cGUEbVJHQhBtVGhlbWVDb2xvckluZGV4DG1BdXRvVXBkYXRlZAltTW9kaWZpZWQEAgAAAAAAH0FwbG9yaXMuQmFzZS5PYmplY3RzLkxpbmVGb3JtYXQDAAAACAgIAQEDAAAACZkAAAAKAQAAAAAAAAD/////AAEPDgEAAAEAAAAILwIAAAEPAQAAeAAAAAoKAAAAAAAAAAANAAAAAAEBEAEAAHgAAAAKCgEAAAAAAAAA/////wABBxEBAAAAAQAAAAAAAAAEHUFwbG9yaXMuQmFzZS5PYmplY3RzLlZhcmlhYmxlAwAAAA8SAQAAAQAAAAgAAAAABxMBAAAAAQAAABAAAAAEFkFwbG9yaXMuQ2hhcnQuVGlja01hcmsCAAAACTQBAAAJNQEAAAk2AQAACTcBAAAJOAEAAAk5AQAACToBAAAJOwEAAAk8AQAACT0BAAAJPgEAAA0FBxQBAAAAAQAAABAAAAAEH0FwbG9yaXMuQmFzZS5PYmplY3RzLkRhdGFPYmplY3QDAAAACTQBAAAJNQEAAAk2AQAACTcBAAAJOAEAAAk5AQAACToBAAAJOwEAAAk8AQAACT0BAAAJPgEAAA0FBRUBAAAaQXBsb3Jpcy5CYXNlLk9iamVjdHMuQ29sb3IHAAAAEkRhdGFPYmplY3QrbVBhcmVudBVEYXRhT2JqZWN0K21Db250YWluZXIFbVR5cGUEbVJHQhBtVGhlbWVDb2xvckluZGV4DG1BdXRvVXBkYXRlZAltTW9kaWZpZWQEAgAAAAAAH0FwbG9yaXMuQmFzZS5PYmplY3RzLkxpbmVGb3JtYXQDAAAACAgIAQEDAAAACb4AAAAKAAAAAAAAAAANAAAAAAAFFgEAABpBcGxvcmlzLkJhc2UuT2JqZWN0cy5Db2xvcgcAAAASRGF0YU9iamVjdCttUGFyZW50FURhdGFPYmplY3QrbUNvbnRhaW5lcgVtVHlwZQRtUkdCEG1UaGVtZUNvbG9ySW5kZXgMbUF1dG9VcGRhdGVkCW1Nb2RpZmllZAQCAAAAAAAfQXBsb3Jpcy5CYXNlLk9iamVjdHMuTGluZUZvcm1hdAMAAAAICAgBAQMAAAAJvgAAAAoBAAAAAAAAAP////8AAQ8XAQAAAQAAAAgwAgAAARgBAAB4AAAACgoAAAAAAAAAAA0AAAAAAQEZAQAAeAAAAAoKAQAAAAAAAAD/////AAEPGgEAAAEAAAAIAAAAAAUbAQ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oAAAAAwAAAAlpAAAACWoAAAAJawAAAAEAAAAACgmTAAAACWwAAAABAAAACgAAAAAAAAAABRwB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cAAAAJAQAAAAAAAAAABj8BAAABLgMAAAAGQAEAAAEsBkEBAAABLQZCAQAAASsBAAAAAAoKBkMBAAAITS9kL3l5eXkAAAAACgAAAAAAAAAABB0BAACYAVN5c3RlbS5Db2xsZWN0aW9ucy5HZW5lcmljLkxpc3RgMVtbQXBsb3Jpcy5DaGFydC5EYXRhLkRhdGFFbGVtZW50LCBBcGxvcmlzLkNoYXJ0LCBWZXJzaW9uPTQuMC4wLjE0ODYsIEN1bHR1cmU9bmV1dHJhbCwgUHVibGljS2V5VG9rZW49MTZmYzEzYTIyNmMwZTk1MV1dAwAAAAZfaXRlbXMFX3NpemUIX3ZlcnNpb24EAAAgQXBsb3Jpcy5DaGFydC5EYXRhLkRhdGFFbGVtZW50W10CAAAACAgJRAEAAAgAAAABAAAAAR4BAAAdAQAACUUBAAAIAAAAAQAAAAEfAQAAHQEAAAlGAQAACAAAAAEAAAABIAEAAB0BAAAJRwEAAAgAAAABAAAAASEBAAAdAQAACUgBAAAIAAAAAQAAAAEiAQAAHQEAAAlJAQAACAAAAAEAAAAFIwE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AuMC4xNDg2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AUoBAAATAAAAAAAAAAIAAAD/////CQcAAAAJSwEAAAZMAQAAIkdyb3duIFNpZ25pZmljYW50bHkgKGF0IGxlYXN0IDI1JSkKCgAAAAAAAAAAAAAAAAoKAAlNAQAACU4BAAAJTwEAAAAAAAAAAAAAAAAAAAAAAAAAAAlQAQAACQEAAAAJAQAAAAlRAQAAASQBAAAjAQAACQEAAAABUgEAABMAAAAAAAAAAwAAAP////8JBwAAAAlTAQAABlQBAAAQR3Jvd24gTW9kZXJhdGVseQoKAAAAAAAAAAAAAAAACgoACVUBAAAJVgEAAAlXAQAAAAAAAAABAAAAAAAAAAAAAAAACVgBAAAJAQAAAAkBAAAACVkBAAAFJQ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ZaAQAABVRvdGFsAAVbAQAAHkFwbG9yaXMuQ2hhcnQuQ2hhcnRHcm91cEFuY2hvcgEAAAAHdmFsdWVfXwAIAgAAAAAAAAAKAAAAAAEAAAABAAAACVwBAAAJXQEAAAleAQAACgkHAAAACV8BAAAJAQAAAAkBAAAACWABAAABJgEAACUBAAAJAQAAAAZhAQAAEVNtYWxsIA0KVHdvIHllYXJzAAFiAQAAWwEAAAAAAAAKAQAAAAEAAAABAAAACWMBAAAJZAEAAAllAQAACgkHAAAACWYBAAAJAQAAAAkBAAAACWcBAAABJwEAACUBAAAJAQAAAAZoAQAAFU1pZC1MYXJnZSANClR3byBZZWFycwABaQEAAFsBAAAAAAAACgAAAAABAAAAAQAAAAlqAQAACWsBAAAJbAEAAAoJBwAAAAltAQAACQEAAAAJAQAAAAluAQAAASgBAAAlAQAACQEAAAAGbwEAABhTbWFsbCANCjQtWWVhciANClB1YmxpY3MAAXABAABbAQAAAAAAAAoAAAAAAQAAAAEAAAAJcQEAAAlyAQAACXMBAAAKCQcAAAAJdAEAAAkBAAAACQEAAAAJdQEAAAEpAQAAJQEAAAkBAAAABnYBAAAcTWlkLUxhcmdlIA0KNC1ZZWFyIA0KUHVibGljcwABdwEAAFsBAAAAAAAACgAAAAABAAAAAQAAAAl4AQAACXkBAAAJegEAAAoJBwAAAAl7AQAACQEAAAAJAQAAAAl8AQAAASoBAAAlAQAACQEAAAAGfQEAABlTbWFsbCANCjQtWWVhciANClByaXZhdGVzAAF+AQAAWwEAAAAAAAAKAAAAAAEAAAABAAAACX8BAAAJgAEAAAmBAQAACgkHAAAACYIBAAAJAQAAAAkBAAAACYMBAAABKwEAACUBAAAJAQAAAAaEAQAAHU1pZC1MYXJnZSANCjQtWWVhciANClByaXZhdGVzAAGFAQAAWwEAAAAAAAAKAAAAAAEAAAABAAAACYYBAAAJhwEAAAmIAQAACgkHAAAACYkBAAAJAQAAAAkBAAAACYoBAAAHLAEAAAABAAAACAAAAAQpQXBsb3Jpcy5DaGFydC5Db2x1bW5PcmllbnRlZExlZ2VuZEVsZW1lbnQCAAAACYsBAAAJjAEAAA0GBy0BAAAAAQAAAAgAAAAEH0FwbG9yaXMuQmFzZS5PYmplY3RzLkRhdGFPYmplY3QDAAAACYsBAAAJjAEAAA0GBy4BAAAAAQAAAAAAAAAEHEFwbG9yaXMuQmFzZS5VSS5WaXN1YWxPYmplY3QDAAAAAS8BAAB4AAAACgoAAAAAAAAAAA0AAAAAAQEwAQAAeAAAAAoKAQAAAAAAAAD/////AAEBMQEAAHgAAAAKCgEAAAD///8A/////wABATIBAAB4AAAACgoBAAAAAAAAAP////8AAQ8zAQAAAQAAAAgAAAAABTQBAAAWQXBsb3Jpcy5DaGFydC5UaWNrTWFyaw0AAAALbVZpc3VhbExpbmUJbUdyaWRMaW5lBm1MYWJlbAVtQXhpcwhtVmlzaWJsZQltUG9zaXRpb24LbVN0YXJ0UG9pbnQJbUVuZFBvaW50DG1IYXNHcmlkTGluZRhEYXRhT2JqZWN0K21DaGlsZE9iamVjdHMSRGF0YU9iamVjdCttUGFyZW50FURhdGFPYmplY3QrbUNvbnRhaW5lchlEYXRhT2JqZWN0K21WaXN1YWxPYmplY3RzBAQEBAAABAQAAwQEAxpBcGxvcmlzLkJhc2UuVUkuVmlzdWFsTGluZQMAAAAaQXBsb3Jpcy5CYXNlLlVJLlZpc3VhbExpbmUDAAAAFUFwbG9yaXMuQmFzZS5VSS5MYWJlbAMAAAASQXBsb3Jpcy5DaGFydC5BeGlzAgAAAAEGFVN5c3RlbS5EcmF3aW5nLlBvaW50RgQAAAAVU3lzdGVtLkRyYXdpbmcuUG9pbnRG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mNAQAACgmOAQAACQcAAAABAAAAAAAAAAABjwEAACEAAAD07xdCMbSVQwGQAQAAIQAAAPTvB0IxtJVDAAmRAQAACQcAAAAJAQAAAAmSAQAAATUBAAA0AQAACZMBAAAKCZQBAAAJBwAAAAGamZmZmZmpPwGVAQAAIQAAAPTvF0LvhIdDAZYBAAAhAAAA9O8HQu+Eh0MACZcBAAAJBwAAAAkBAAAACZgBAAABNgEAADQBAAAJmQEAAAoJmgEAAAkHAAAAAZqZmZmZmbk/AZsBAAAhAAAA9O8XQlqrckMBnAEAACEAAAD07wdCWqtyQwAJnQEAAAkHAAAACQEAAAAJngEAAAE3AQAANAEAAAmfAQAACgmgAQAACQcAAAABMzMzMzMzwz8BoQEAACEAAAD07xdC10xWQwGiAQAAIQAAAPTvB0LXTFZDAAmjAQAACQcAAAAJAQAAAAmkAQAAATgBAAA0AQAACaUBAAAKCaYBAAAJBwAAAAGamZmZmZnJPwGnAQAAIQAAAPTvF0JT7jlDAagBAAAhAAAA9O8HQlPuOUMACakBAAAJBwAAAAkBAAAACaoBAAABOQEAADQBAAAJqwEAAAoJrAEAAAkHAAAAAQAAAAAAANA/Aa0BAAAhAAAA9O8XQs+PHUMBrgEAACEAAAD07wdCz48dQwAJrwEAAAkHAAAACQEAAAAJsAEAAAE6AQAANAEAAAmxAQAACgmyAQAACQcAAAABMzMzMzMz0z8BswEAACEAAAD07xdCSzEBQwG0AQAAIQAAAPTvB0JLMQFDAAm1AQAACQcAAAAJAQAAAAm2AQAAATsBAAA0AQAACbcBAAAKCbgBAAAJBwAAAAFmZmZmZmbWPwG5AQAAIQAAAPTvF0KPpclCAboBAAAhAAAA9O8HQo+lyUIACbsBAAAJBwAAAAkBAAAACbwBAAABPAEAADQBAAAJvQEAAAoJvgEAAAkHAAAAAZqZmZmZmdk/Ab8BAAAhAAAA9O8XQofokEIBwAEAACEAAAD07wdCh+iQQgAJwQEAAAkHAAAACQEAAAAJwgEAAAE9AQAANAEAAAnDAQAACgnEAQAACQcAAAABzczMzMzM3D8BxQEAACEAAAD07xdC/1YwQgHGAQAAIQAAAPTvB0L/VjBCAAnHAQAACQcAAAAJAQAAAAnIAQAAAT4BAAA0AQAACckBAAAKCcoBAAAJBwAAAAEAAAAAAADgPwHLAQAAIQAAAPTvF0K/c3tBAcwBAAAhAAAA9O8HQr9ze0EACc0BAAAJBwAAAAkBAAAACc4BAAAHRAEAAAABAAAACAAAAAQeQXBsb3Jpcy5DaGFydC5EYXRhLkRhdGFFbGVtZW50AgAAAAnPAQAACdABAAAJ0QEAAAnSAQAACdMBAAAJ1AEAAAnVAQAACdYBAAAHRQEAAAABAAAACAAAAAQeQXBsb3Jpcy5DaGFydC5EYXRhLkRhdGFFbGVtZW50AgAAAAnXAQAACdgBAAAJ2QEAAAnaAQAACdsBAAAJ3AEAAAndAQAACd4BAAAHRgEAAAABAAAACAAAAAQeQXBsb3Jpcy5DaGFydC5EYXRhLkRhdGFFbGVtZW50AgAAAAnfAQAACeABAAAJ4QEAAAniAQAACeMBAAAJ5AEAAAnlAQAACeYBAAAHRwEAAAABAAAACAAAAAQeQXBsb3Jpcy5DaGFydC5EYXRhLkRhdGFFbGVtZW50AgAAAAnnAQAACegBAAAJ6QEAAAnqAQAACesBAAAJ7AEAAAntAQAACe4BAAAHSAEAAAABAAAACAAAAAQeQXBsb3Jpcy5DaGFydC5EYXRhLkRhdGFFbGVtZW50AgAAAAnvAQAACfABAAAJ8QEAAAnyAQAACfMBAAAJ9AEAAAn1AQAACfYBAAAHSQEAAAABAAAACAAAAAQeQXBsb3Jpcy5DaGFydC5EYXRhLkRhdGFFbGVtZW50AgAAAAn3AQAACfgBAAAJ+QEAAAn6AQAACfsBAAAJ/AEAAAn9AQAACf4BAAAFSwEAAKIBQXBsb3Jpcy5CYXNlLk9iamVjdHMuRGF0YU9iamVjdENvbGxlY3Rpb25gMVtbQXBsb3Jpcy5DaGFydC5DaGFydERhdGF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C4wLjE0ODYsIEN1bHR1cmU9bmV1dHJhbCwgUHVibGljS2V5VG9rZW49MTZmYzEzYTIyNmMwZTk1MV1dAwAAAJgBU3lzdGVtLkNvbGxlY3Rpb25zLkdlbmVyaWMuTGlzdGAxW1tBcGxvcmlzLkNoYXJ0LkNoYXJ0RGF0YU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wEAAAkAAgAACSMBAAAJAQAAAAkBAgAABU0BAAAcQXBsb3Jpcy5DaGFydC5Db25uZWN0ZWRMYWJlbCQAAAAObUNvbm5lY3RvckxpbmUQbVpPcmRlckNvbm5lY3Rvcg5tQ29ubmVjdG9yTW9kZRltQW5nbGVkQ29ubmVjdG9yRGlyZWN0aW9uEG1Db25uZWN0b3JUYXJnZXQZbUNvbm5lY3RvclRhcmdldEFyZWFTaGFwZRptQ29ubmVjdG9yRGlzcGxheVRocmVzaG9sZBNtQ29ubmVjdEFuY2hvclBvaW5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QEAAAABAAE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gAAAApYAgAABQICAAArQXBsb3Jpcy5DaGFydC5Db25uZWN0ZWRMYWJlbCtlQ29ubmVjdG9yTW9kZQEAAAAHdmFsdWVfXwAIAgAAAAEAAAAFAwIAADZBcGxvcmlzLkNoYXJ0LkNvbm5lY3RlZExhYmVsK2VBbmdsZWRDb25uZWN0b3JEaXJlY3Rpb24BAAAAB3ZhbHVlX18ACAIAAAAAAAAAAQQCAAAVAAAAtwcSREY2b0PA6iRCcMhkQgUFAgAALUFwbG9yaXMuQ2hhcnQuQ29ubmVjdGVkTGFiZWwrZVRhcmdldEFyZWFTaGFwZQEAAAAHdmFsdWVfXwAIAgAAAAAAAAAAABBBAQEGAgAAIQAAAGNWHkSq54VDAQcCAACgAAAABAAAAAAAAAAAAAAAAAkIAgAAAAAAAAkJAgAAAAABCgIAAKkAAAAAAAAAAQsCAAByAAAAAADgQQAAYEEBDAIAABUAAAAAAAAAAAAAAAAAAAAAAAAAXrrZPwlMAQAACgkNAgAABg4CAAAAIAMAAP////8AAQoJDwIAAAEACgAHTgEAAAABAAAAAgAAAAQVU3lzdGVtLkRyYXdpbmcuUG9pbnRGBAAAAAEQAgAAIQAAAGNWHkSq54VDARECAAAhAAAA9O8DQha4hUMHTwEAAAABAAAAAgAAAAQXQXBsb3Jpcy5CYXNlLkFuY2hvck1vZGUDAAAAARICAACgAAAABAAAAAETAgAAoAAAAAIAAAABUAEAACUAAAAJFAIAAAEAAAABAAAAAVEBAAAmAAAACRUCAAABAAAAAwAAAAFTAQAASwEAAAoJFgIAAAkXAgAACSQBAAAJAQAAAAkYAgAAAVUBAABNAQAAClgCAAABGQIAAAICAAABAAAAARoCAAADAgAAAAAAAAEbAgAAFQAAALcHEkSCWphCwOokQgUJHUMBHAIAAAUCAAAAAAAAAAAQQQEBHQIAACEAAABjVh5ExLEaQwEeAgAAoAAAAAQAAAAAAAAAAAAAAAAJHwIAAAAAAAAJIAIAAAAAASECAACpAAAAAAAAAAEiAgAAcgAAAAAAAAAAAAAAASMCAAAVAAAAAAAAAAAAAAAAAAAAAAAAAAAAAAAJVAEAAAoJJAIAAAkOAgAAIAMAAP////8AAQoJJQIAAAEACgAHVgEAAAABAAAAAgAAAAQVU3lzdGVtLkRyYXdpbmcuUG9pbnRGBAAAAAEmAgAAIQAAAGNWHkTEsRpDAScCAAAhAAAA9O8DQu3/I0MHVwEAAAABAAAAAgAAAAQXQXBsb3Jpcy5CYXNlLkFuY2hvck1vZGUDAAAAASgCAACgAAAABAAAAAEpAgAAoAAAAAIAAAABWAEAACUAAAAJKgIAAAEAAAABAAAAAVkBAAAmAAAACSsCAAABAAAAAQAAAA9cAQAAAQAAAAgAAAAAB10BAAAAAQAAAAEAAAAEFUFwbG9yaXMuQmFzZS5VSS5MYWJlbAMAAAAJLAIAAAFeAQAANAAAAAEtAgAAIQAAABKJl0IxNJhDAS4CAACgAAAAAwAAAAAAAAAAAAAAAAkvAgAAAAAAAAkwAgAAAAABMQIAAKkAAAAAAAAAATICAAByAAAAAADIQQAAQEEBMwIAABUAAAC66HpC0UWYQ9ehzUGjiy5BEoO+PwlaAQAACgk0AgAACQ4CAAAgAwAA/////wEBCgk1AgAAAQAKAAFfAQAAJQAAAAnuAAAAAAAAAAAAAAABYAEAACYAAAAJNgIAAAIAAAAKAAAAD2MBAAABAAAACAAAAAAHZAEAAAABAAAAAQAAAAQVQXBsb3Jpcy5CYXNlLlVJLkxhYmVsAwAAAAk3AgAAAWUBAAA0AAAAATgCAAAhAAAAuuZiQzE0mEMBOQIAAKAAAAADAAAAAAAAAAAAAAAACToCAAAAAAAACTsCAAAAAAE8AgAAqQAAAAAAAAABPQIAAHIAAAAAAFRCAADIQQE+AgAAFQAAALroSEPRRZhDYKJMQnTRtUESg74/CWEBAAAKCT8CAAAJDgIAACADAAD/////AQEKCUACAAABAAoAAWYBAAAlAAAACUECAAAAAAAAAAAAAAFnAQAAJgAAAAlCAgAAAgAAAAIAAAAPagEAAAEAAAAIAAAAAAdrAQAAAAEAAAABAAAABBVBcGxvcmlzLkJhc2UuVUkuTGFiZWwDAAAACUMCAAABbAEAADQAAAABRAIAACEAAADpO5dDMTSYQwFFAgAAoAAAAAMAAAAAAAAAAAAAAAAJRgIAAAAAAAAJRwIAAAAAAUgCAACpAAAAAAAAAAFJAgAAcgAAAAAAXEIAAMhBAUoCAAAVAAAAiy6KQ9FFmEMx6FNCdNG1QRKDvj8JaAEAAAoJSwIAAAkOAgAAIAMAAP////8BAQoJTAIAAAEACgABbQEAACUAAAAJTQIAAAAAAAAAAAAAAW4BAAAmAAAACU4CAAACAAAAAgAAAA9xAQAAAQAAAAgAAAAAB3IBAAAAAQAAAAEAAAAEFUFwbG9yaXMuQmFzZS5VSS5MYWJlbAMAAAAJTwIAAAFzAQAANAAAAAFQAgAAIQAAAHYEvUMxNJhDAVECAACgAAAAAwAAAAAAAAAAAAAAAAlSAgAAAAAAAAlTAgAAAAABVAIAAKkAAAAAAAAAAVUCAAByAAAAAAAUQgAAGEIBVgIAABUAAAAAALRD0UWYQ9RzEkKLLgpCEoO+PwlvAQAACglXAgAACQ4CAAAgAwAA/////wEBCglYAgAAAQAKAAF0AQAAJQAAAAlNAgAAAAAAAAAAAAABdQEAACYAAAAJWQIAAAIAAAACAAAAD3gBAAABAAAACAAAAAAHeQEAAAABAAAAAQAAAAQVQXBsb3Jpcy5CYXNlLlVJLkxhYmVsAwAAAAlaAgAAAXoBAAA0AAAAAVsCAAAhAAAAAs3iQzE0mEMBXAIAAKAAAAADAAAAAAAAAAAAAAAACV0CAAAAAAAACV4CAAAAAAFfAgAAqQAAAAAAAAABYAIAAHIAAAAAAFxCAAAYQgFhAgAAFQAAAOii1UPRRZhDMehTQosuCkISg74/CXYBAAAKCWICAAAJDgIAACADAAD/////AQEKCWMCAAABAAoAAXsBAAAlAAAACUECAAAAAAAAAAAAAAF8AQAAJgAAAAlkAgAAAgAAAAIAAAAPfwEAAAEAAAAIAAAAAAeAAQAAAAEAAAABAAAABBVBcGxvcmlzLkJhc2UuVUkuTGFiZWwDAAAACWUCAAABgQEAADQAAAABZgIAACEAAADHSgREMTSYQwFnAgAAoAAAAAMAAAAAAAAAAAAAAAAJaAIAAAAAAAAJaQIAAAAAAWoCAACpAAAAAAAAAAFrAgAAcgAAAAAAJEIAABhCAWwCAAAVAAAAo4v+Q9FFmEN3/yBCiy4KQhKDvj8JfQEAAAoJbQIAAAkOAgAAIAMAAP////8BAQoJbgIAAAEACgABggEAACUAAAAJQQIAAAAAAAAAAAAAAYMBAAAmAAAACW8CAAACAAAAAgAAAA+GAQAAAQAAAAgAAAAAB4cBAAAAAQAAAAEAAAAEFUFwbG9yaXMuQmFzZS5VSS5MYWJlbAMAAAAJcAIAAAGIAQAANAAAAAFxAgAAIQAAAA0vF0QxNJhDAXICAACgAAAAAwAAAAAAAAAAAAAAAAlzAgAAAAAAAAl0AgAAAAABdQIAAKkAAAAAAAAAAXYCAAByAAAAAABcQgAAGEIBdwIAABUAAACjixBE0UWYQzHoU0KLLgpCEoO+PwmEAQAACgl4AgAACQ4CAAAgAwAA/////wEBCgl5AgAAAQAKAAGJAQAAJQAAAAlBAgAAAAAAAAAAAAABigEAACYAAAAJegIAAAIAAAACAAAABYsBAAApQXBsb3Jpcy5DaGFydC5Db2x1bW5PcmllbnRlZExlZ2VuZEVsZW1lbnQNAAAAB21MZWdlbmQLbURhdGFTZXJpZXMUTGVnZW5kRWxlbWVudCttTGFiZWwYTGVnZW5kRWxlbWVudCttUmVjdGFuZ2xlE0xlZ2VuZEVsZW1lbnQrbUxpbmUVTGVnZW5kRWxlbWVudCttQ2lyY2xlFUxlZ2VuZEVsZW1lbnQrbU1hcmtlchRMZWdlbmRFbGVtZW50K21JbmRleB1MZWdlbmRFbGVtZW50K21MYWJlbFBvc2l0aW9ucxhEYXRhT2JqZWN0K21DaGlsZE9iamVjdHMSRGF0YU9iamVjdCttUGFyZW50FURhdGFPYmplY3QrbUNvbnRhaW5lchlEYXRhT2JqZWN0K21WaXN1YWxPYmplY3RzBAQEBAQEBAAEAwQEAyJBcGxvcmlzLkNoYXJ0LkNvbHVtbk9yaWVudGVkTGVnZW5kAgAAAB1BcGxvcmlzLkNoYXJ0LkNoYXJ0RGF0YVNlcmllcwIAAAAVQXBsb3Jpcy5CYXNlLlVJLkxhYmVsAwAAABpBcGxvcmlzLkJhc2UuVUkuVmlzdWFsUmVjdAMAAAAaQXBsb3Jpcy5CYXNlLlVJLlZpc3VhbExpbmUDAAAAHUFwbG9yaXMuQmFzZS5VSS5WaXN1YWxFbGxpcHNlAwAAABpBcGxvcmlzLkNoYXJ0LlZpc3VhbE1hcmtlcgIAAAAIF1N5c3RlbS5EcmF3aW5nLlBvaW50RltdBA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RQAAAAJIwEAAAl7AgAACXwCAAAKCgoAAAAACgl9AgAACRQAAAAJAQAAAAl+AgAAAYwBAACLAQAACRQAAAAJJAEAAAl/AgAACYACAAAKCgoBAAAACgmBAgAACRQAAAAJAQAAAAmCAgAAAY0BAAAwAAAAAYMCAAAhAAAA9O8XQjG0lUMBhAIAACEAAAD07wdCMbSVQwmFAgAAzAEAAP////8BAQoJhgIAAAEACgABjgEAADQAAAABhwIAACEAAAD07wFCMbSVQwGIAgAAoAAAAAIAAAAAAAAAAAAAAAAJiQIAAAAAAAAJigIAAAAAAYsCAACpAAAAAAAAAAGMAgAAcgAAAAAAgEEAAEBBAY0CAAAVAAAAuuiCQXTRkkN6LYxBo4suQRKDvj8GjgIAAAIwJQoJjwIAAAkOAgAA0AIAAP////8BAQoJkAIAAAEACgABkQEAACUAAAAJ7gAAAAAAAAAAAAAAAZIBAAAmAAAACZECAAACAAAAAgAAAAGTAQAAMAAAAAGSAgAAIQAAAPTvF0LvhIdDAZMCAAAhAAAA9O8HQu+Eh0MJlAIAAMwBAAD/////AQEKCZUCAAABAAoAAZQBAAA0AAAAAZYCAAAhAAAA9O8BQu+Eh0MBlwIAAKAAAAACAAAAAAAAAAAAAAAACZgCAAAAAAAACZkCAAAAAAGaAgAAqQAAAAAAAAABmwIAAHIAAAAAAIBBAABAQQGcAgAAFQAAALrogkEuuoRDei2MQaOLLkESg74/Bp0CAAACNSUKCZ4CAAAJDgIAANACAAD/////AQEKCZ8CAAABAAoAAZcBAAAlAAAACe4AAAAAAAAAAAAAAAGYAQAAJgAAAAmgAgAAAgAAAAIAAAABmQEAADAAAAABoQIAACEAAAD07xdCWqtyQwGiAgAAIQAAAPTvB0Jaq3JDCaMCAADMAQAA/////wEBCgmkAgAAAQAKAAGaAQAANAAAAAGlAgAAIQAAAPTvAUJaq3JDAaYCAACgAAAAAgAAAAAAAAAAAAAAAAmnAgAAAAAAAAmoAgAAAAABqQIAAKkAAAAAAAAAAaoCAAByAAAAAAC4QQAAQEEBqwIAABUAAAAAACBB0UVtQzQWv0Gjiy5BEoO+PwasAgAAAzEwJQoJrQIAAAkOAgAA0AIAAP////8BAQoJrgIAAAEACgABnQEAACUAAAAJ7gAAAAAAAAAAAAAAAZ4BAAAmAAAACa8CAAACAAAAAgAAAAGfAQAAMAAAAAGwAgAAIQAAAPTvF0LXTFZDAbECAAAhAAAA9O8HQtdMVkMJsgIAAMwBAAD/////AQEKCbMCAAABAAoAAaABAAA0AAAAAbQCAAAhAAAA9O8BQtdMVkMBtQIAAKAAAAACAAAAAAAAAAAAAAAACbYCAAAAAAAACbcCAAAAAAG4AgAAqQAAAAAAAAABuQIAAHIAAAAAALhBAABAQQG6AgAAFQAAAAAAIEFGF1FDNBa/QaOLLkESg74/BrsCAAADMTUlCgm8AgAACQ4CAADQAgAA/////wEBCgm9AgAAAQAKAAGjAQAAJQAAAAnuAAAAAAAAAAAAAAABpAEAACYAAAAJvgIAAAIAAAACAAAAAaUBAAAwAAAAAb8CAAAhAAAA9O8XQlPuOUMBwAIAACEAAAD07wdCU+45QwnBAgAAzAEAAP////8BAQoJwgIAAAEACgABpgEAADQAAAABwwIAACEAAAD07wFCU+45QwHEAgAAoAAAAAIAAAAAAAAAAAAAAAAJxQIAAAAAAAAJxgIAAAAAAccCAACpAAAAAAAAAAHIAgAAcgAAAAAAuEEAAEBBAckCAAAVAAAAAAAgQbroNEM0Fr9Bo4suQRKDvj8GygIAAAMyMCUKCcsCAAAJDgIAANACAAD/////AQEKCcwCAAABAAoAAakBAAAlAAAACe4AAAAAAAAAAAAAAAGqAQAAJgAAAAnNAgAAAgAAAAIAAAABqwEAADAAAAABzgIAACEAAAD07xdCz48dQwHPAgAAIQAAAPTvB0LPjx1DCdACAADMAQAA/////wEBCgnRAgAAAQAKAAGsAQAANAAAAAHSAgAAIQAAAPTvAULPjx1DAdMCAACgAAAAAgAAAAAAAAAAAAAAAAnUAgAAAAAAAAnVAgAAAAAB1gIAAKkAAAAAAAAAAdcCAAByAAAAAAC4QQAAQEEB2AIAABUAAAAAACBBdNEXQzQWv0Gjiy5BEoO+PwbZAgAAAzI1JQoJ2gIAAAkOAgAA0AIAAP////8BAQoJ2wIAAAEACgABrwEAACUAAAAJ7gAAAAAAAAAAAAAAAbABAAAmAAAACdwCAAACAAAAAgAAAAGxAQAAMAAAAAHdAgAAIQAAAPTvF0JLMQFDAd4CAAAhAAAA9O8HQksxAUMJ3wIAAMwBAAD/////AQEKCeACAAABAAoAAbIBAAA0AAAAAeECAAAhAAAA9O8BQksxAUMB4gIAAKAAAAACAAAAAAAAAAAAAAAACeMCAAAAAAAACeQCAAAAAAHlAgAAqQAAAAAAAAAB5gIAAHIAAAAAALhBAABAQQHnAgAAFQAAAAAAIEHRRfdCNBa/QaOLLkESg74/BugCAAADMzAlCgnpAgAACQ4CAADQAgAA/////wEBCgnqAgAAAQAKAAG1AQAAJQAAAAnuAAAAAAAAAAAAAAABtgEAACYAAAAJ6wIAAAIAAAACAAAAAbcBAAAwAAAAAewCAAAhAAAA9O8XQo+lyUIB7QIAACEAAAD07wdCj6XJQgnuAgAAzAEAAP////8BAQoJ7wIAAAEACgABuAEAADQAAAAB8AIAACEAAAD07wFCj6XJQgHxAgAAoAAAAAIAAAAAAAAAAAAAAAAJ8gIAAAAAAAAJ8wIAAAAAAfQCAACpAAAAAAAAAAH1AgAAcgAAAAAAuEEAAEBBAfYCAAAVAAAAAAAgQbrovkI0Fr9Bo4suQRKDvj8G9wIAAAMzNSUKCfgCAAAJDgIAANACAAD/////AQEKCfkCAAABAAoAAbsBAAAlAAAACe4AAAAAAAAAAAAAAAG8AQAAJgAAAAn6AgAAAgAAAAIAAAABvQEAADAAAAAB+wIAACEAAAD07xdCh+iQQgH8AgAAIQAAAPTvB0KH6JBCCf0CAADMAQAA/////wEBCgn+AgAAAQAKAAG+AQAANAAAAAH/AgAAIQAAAPTvAUKH6JBCAQADAACgAAAAAgAAAAAAAAAAAAAAAAkBAwAAAAAAAAkCAwAAAAABAwMAAKkAAAAAAAAAAQQDAAByAAAAAAC4QQAAQEEBBQMAABUAAAAAACBBo4uGQjQWv0Gjiy5BEoO+PwYGAwAAAzQwJQoJBwMAAAkOAgAA0AIAAP////8BAQoJCAMAAAEACgABwQEAACUAAAAJCQMAAAAAAAAAAAAAAcIBAAAmAAAACQoDAAACAAAAAgAAAAHDAQAAMAAAAAELAwAAIQAAAPTvF0L/VjBCAQwDAAAhAAAA9O8HQv9WMEIJDQMAAMwBAAD/////AQEKCQ4DAAABAAoAAcQBAAA0AAAAAQ8DAAAhAAAA9O8BQv9WMEIBEAMAAKAAAAACAAAAAAAAAAAAAAAACREDAAAAAAAACRIDAAAAAAETAwAAqQAAAAAAAAABFAMAAHIAAAAAALhBAABAQQEVAwAAFQAAAAAAIEEuuhhCNBa/QaOLLkESg74/BhYDAAADNDUlCgkXAwAACQ4CAADQAgAA/////wEBCgkYAwAAAQAKAAHHAQAAJQAAAAkJAwAAAAAAAAAAAAAByAEAACYAAAAJGQMAAAIAAAACAAAAAckBAAAwAAAAARoDAAAhAAAA9O8XQr9ze0EBGwMAACEAAAD07wdCv3N7QQkcAwAAzAEAAP////8BAQoJHQMAAAEACgABygEAADQAAAABHgMAACEAAAD07wFCv3N7QQEfAwAAoAAAAAIAAAAAAAAAAAAAAAAJIAMAAAAAAAAJIQMAAAAAASIDAACpAAAAAAAAAAEjAwAAcgAAAAAAuEEAAEBBASQDAAAVAAAAAAAgQQAAIEE0Fr9Bo4suQRKDvj8GJQMAAAM1MCUKCSYDAAAJDgIAANACAAD/////AQEKCScDAAABAAoAAc0BAAAlAAAACQkDAAAAAAAAAAAAAAHOAQAAJgAAAAkoAwAAAgAAAAIAAAAFzwEAAB5BcGxvcmlzLkNoYXJ0LkRhdGEuRGF0YUVsZW1lbnQFAAAABm1WYWx1ZQVtVGV4dA1tTnVtYmVyRm9ybWF0Cm1CYWNrQ29sb3ILbUJhY2tDb2xvcjICAQEAAAgPAgAAAAYpAwAADEkgZG9uJ3Qga25vdwkpAwAACQ4CAAAAAAAAzMzM/wHQAQAAzwEAAAgGYyJHCfmxlj8KBioDAAAHIyMjMC4wJQAAAADMzMz/AdEBAADPAQAACAb30XUUlKqWPwoJKgMAAAAAAADMzMz/AdIBAADPAQAACAY+b6H/J5eSPwoJKgMAAAAAAADMzMz/AdMBAADPAQAACAZvFcf0BCuiPwoJKgMAAAAAAADMzMz/AdQBAADPAQAACAY6gzpkLriRPwoJKgMAAAAAAADMzMz/AdUBAADPAQAACAbXLziru/aZPwoJKgMAAAAAAADMzMz/AdYBAADPAQAACAYBB1ZarhSgPwoJKgMAAAAAAADMzMz/AdcBAADPAQAABisDAAAQSXQncyBjb21wbGljYXRlZAkrAwAACQ4CAAAAAAAAzMzM/wHYAQAAzwEAAAgGCapBsZmbqz8KCSoDAAAAAAAAzMzM/wHZAQAAzwEAAAgGVMeuIZaHsD8KCSoDAAAAAAAAzMzM/wHaAQAAzwEAAAgGwmTj9LUpsj8KCSoDAAAAAAAAzMzM/wHbAQAAzwEAAAgGbxXH9AQrsj8KCSoDAAAAAAAAzMzM/wHcAQAAzwEAAAgGT1bCLlT3kz8KCSoDAAAAAAAAzMzM/wHdAQAAzwEAAAgG1nHtUQ/ksT8KCSoDAAAAAAAAzMzM/wHeAQAAzwEAAAgGDCQEFd4upz8KCSoDAAAAAAAAzMzM/wHfAQAAzwEAAAYsAwAAEVJlbWFpbmVkIENvbnN0YW50CSwDAAAJDgIAAAAAAADMzMz/AeABAADPAQAACAZOHL3l94DbPwoJKgMAAAAAAADMzMz/AeEBAADPAQAACAZDWgNxG7nWPwoJKgMAAAAAAADMzMz/AeIBAADPAQAACAYM4XtxJ6LbPwoJKgMAAAAAAADMzMz/AeMBAADPAQAACAZ6QTy6POjePwoJKgMAAAAAAADMzMz/AeQBAADPAQAACAYTnigIwc/XPwoJKgMAAAAAAADMzMz/AeUBAADPAQAACAZM/AZm2YDhPwoJKgMAAAAAAADMzMz/AeYBAADPAQAACAbJwDhb+03bPwoJKgMAAAAAAADMzMz/AecBAADPAQAABi0DAAATRGVjbGluZWQgTW9kZXJhdGVseQktAwAACQ4CAAAAAAAAzMzM/wHoAQAAzwEAAAgGv06w6lyXuT8KCSoDAAAAAAAAzMzM/wHpAQAAzwEAAAgG/SqGMmHLyD8KCSoDAAAAAAAAzMzM/wHqAQAAzwEAAAgGccTYsy7Vsj8KCSoDAAAAAAAAzMzM/wHrAQAAzwEAAAgGbxXH9AQrsj8KCSoDAAAAAAAAzMzM/wHsAQAAzwEAAAgGjmYvbRiKuj8KCSoDAAAAAAAAzMzM/wHtAQAAzwEAAAgGY5gRwRQTqz8KCSoDAAAAAAAAzMzM/wHuAQAAzwEAAAgGWuu6iUp6tT8KCSoDAAAAAAAAzMzM/wHvAQAAzwEAAAYuAwAAJURlY2xpbmVkIFNpZ25pZmljYW50bHkgKGF0IGxlYXN0IDI1JSkJLgMAAAkOAgAAAAAAAMzMzP8B8AEAAM8BAAAIBpgyNzojTJ4/CgkqAwAAAAAAAMzMzP8B8QEAAM8BAAAIBo0ljZv8FLc/CgkqAwAAAAAAAMzMzP8B8gEAAM8BAAAIBq1Gu04ObZc/CgkqAwAAAAAAAMzMzP8B8wEAAM8BAAAIBgAAAAAAAAAACgkqAwAAAAAAAMzMzP8B9AEAAM8BAAAIBiAO5HSYfXE/CgkqAwAAAAAAAMzMzP8B9QEAAM8BAAAIBocvPw6XkaA/CgkqAwAAAAAAAMzMzP8B9gEAAM8BAAAIBigXGlKWyIw/CgkqAwAAAAAAAMzMzP8B9wEAAM8BAAAGLwMAACQiSSBkb24ndCBrbm93IiBvZiAiSXQncyBjb21wbGljYXRlZCIJLwMAAAkOAgAAAAAAAMzMzP8B+AEAAM8BAAAIBp2d8hpLerM/CgkqAwAAAAAAAMzMzP8B+QEAAM8BAAAIBtI7zCY7MrY/CgkqAwAAAAAAAMzMzP8B+gEAAM8BAAAIBpLAy/R/z7Y/CgkqAwAAAAAAAMzMzP8B+wEAAM8BAAAIBiagKm+HQLs/CgkqAwAAAAAAAMzMzP8B/AEAAM8BAAAIBsRsfknB16I/CgkqAwAAAAAAAMzMzP8B/QEAAM8BAAAIBsx9uzy+Ybg/CgkqAwAAAAAAAMzMzP8B/gEAAM8BAAAIBoYVrTfGobM/CgkqAwAAAAAAAMzMzP8E/wEAAJgBU3lzdGVtLkNvbGxlY3Rpb25zLkdlbmVyaWMuTGlzdGAxW1tBcGxvcmlzLkNoYXJ0LkNoYXJ0RGF0YUVsZW1lbnQsIEFwbG9yaXMuQ2hhcnQsIFZlcnNpb249NC4wLjAuMTQ4NiwgQ3VsdHVyZT1uZXV0cmFsLCBQdWJsaWNLZXlUb2tlbj0xNmZjMTNhMjI2YzBlOTUxXV0DAAAABl9pdGVtcwVfc2l6ZQhfdmVyc2lvbgQAACBBcGxvcmlzLkNoYXJ0LkNoYXJ0RGF0YUVsZW1lbnRbXQIAAAAICAkwAwAABwAAACcAAAABAAIAACUAAAAJMQMAAAcAAAAXAAAAAQECAAAmAAAACewAAAAAAAAAAAAAAAUI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IwEAAAoAAAAAAEBBCXYAAAAJdwAAAAkyAwAAAQAJMwMAAAEJAgAAeAAAAAoKAAAAAP///wAOAAAAAAEBDQIAAK0AAAAJNAMAAAEAAAABAAAAAQ8CAAB1AAAACTUDAAAKBxQCAAAAAQAAAAQAAAAEH0FwbG9yaXMuQmFzZS5PYmplY3RzLkRhdGFPYmplY3QDAAAACUsBAAANAwcVAgAAAAEAAAAEAAAABBxBcGxvcmlzLkJhc2UuVUkuVmlzdWFsT2JqZWN0AwAAAAlNAQAADQMBFgIAAP8BAAAJNgMAAAcAAAAbAAAAARcCAAAlAAAACTcDAAAHAAAADwAAAAEYAgAAJgAAAAk4AwAAAAAAAAAAAAAFHw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SQBAAAKAAAAAABAQQl2AAAACXcAAAAJOQMAAAEACToDAAABIAIAAHgAAAAKCgEAAAAAAAAA/////wABASQCAACtAAAACTsDAAABAAAAAQAAAAElAgAAdQAAAAk8AwAACgcqAgAAAAEAAAAEAAAABB9BcGxvcmlzLkJhc2UuT2JqZWN0cy5EYXRhT2JqZWN0AwAAAAlTAQAADQMHKwIAAAABAAAABAAAAAQcQXBsb3Jpcy5CYXNlLlVJLlZpc3VhbE9iamVjdAMAAAAJVQEAAA0DASwCAAA0AAAAAT0DAAAhAAAAEomXQsUPs0IBPgMAAKAAAAABAAAAAAAAAAAAAAAACT8DAAAAAAAACUADAAAAAAFBAwAAqQAAAAAAAAABQgMAAHIAAAAAAABCAABAQQFDAwAAFQAAAAAAcEIXXZxCSEUAQqOLLkESg74/BkQDAAAFMzYuNSUKCUUDAAAJDgIAADQDAAD/////AQEKCUYDAAABAAoAAS8CAAAjAAAACgoAAAAAAChBCXYAAAAJdwAAAAlHAwAAAAAJSAMAAAEwAgAAeAAAAAoKAAAAAP///wAOAAAAAAEBNAIAAK0AAAAJSQMAAAEAAAABAAAAATUCAAB1AAAACUoDAAAKBzYCAAAAAQAAAAQAAAAEHEFwbG9yaXMuQmFzZS5VSS5WaXN1YWxPYmplY3QDAAAACV4BAAAJLAIAAAoKATcCAAA0AAAAAUsDAAAhAAAAuuZiQ/66DEMBTAMAAKAAAAABAAAAAAAAAAAAAAAACU0DAAAAAAAACU4DAAAAAAFPAwAAqQAAAAAAAAABUAMAAHIAAAAAAABCAABAQQFRAwAAFQAAALroUkMAAAJDSEUAQqOLLkESg74/BlIDAAAFMjcuNCUKCVMDAAAJDgIAADQDAAD/////AQEKCVQDAAABAAoAAToCAAAjAAAACgoAAAAAAChBCXYAAAAJdwAAAAlVAwAAAAAJVgMAAAE7AgAAeAAAAAoKAAAAAP///wAOAAAAAAEBPwIAAK0AAAAJVwMAAAEAAAABAAAAAUACAAB1AAAACVgDAAAKB0ECAAAAAQAAAAAAAAAEH0FwbG9yaXMuQmFzZS5PYmplY3RzLkRhdGFPYmplY3QDAAAAB0ICAAAAAQAAAAQAAAAEHEFwbG9yaXMuQmFzZS5VSS5WaXN1YWxPYmplY3QDAAAACWUBAAAJNwIAAAoKAUMCAAA0AAAAAVkDAAAhAAAA6TuXQ3aPnkIBWgMAAKAAAAABAAAAAAAAAAAAAAAACVsDAAAAAAAACVwDAAAAAAFdAwAAqQAAAAAAAAABXgMAAHIAAAAAAABCAABAQQFfAwAAFQAAAIsuj0MXXYhCSEUAQqOLLkESg74/BmADAAAFMzguMyUKCWEDAAAJDgIAADQDAAD/////AQEKCWIDAAABAAoAAUYCAAAjAAAACgoAAAAAAChBCXYAAAAJdwAAAAljAwAAAAAJZAMAAAFHAgAAeAAAAAoKAAAAAP///wAOAAAAAAEBSwIAAK0AAAAJZQMAAAEAAAABAAAAAUwCAAB1AAAACWYDAAAKB00CAAAAAQAAAAAAAAAEH0FwbG9yaXMuQmFzZS5PYmplY3RzLkRhdGFPYmplY3QDAAAAB04CAAAAAQAAAAQAAAAEHEFwbG9yaXMuQmFzZS5VSS5WaXN1YWxPYmplY3QDAAAACWwBAAAJQwIAAAoKAU8CAAA0AAAAAWcDAAAhAAAAdgS9Q1pjz0IBaAMAAKAAAAABAAAAAAAAAAAAAAAACWkDAAAAAAAACWoDAAAAAAFrAwAAqQAAAAAAAAABbAMAAHIAAAAAAABCAABAQQFtAwAAFQAAALrotENddLlCSEUAQqOLLkESg74/Bm4DAAAFMzQuMCUKCW8DAAAJDgIAADQDAAD/////AQEKCXADAAABAAoAAVICAAAjAAAACgoAAAAAAChBCXYAAAAJdwAAAAlxAwAAAAAJcgMAAAFTAgAAeAAAAAoKAAAAAP///wAOAAAAAAEBVwIAAK0AAAAJcwMAAAEAAAABAAAAAVgCAAB1AAAACXQDAAAKB1kCAAAAAQAAAAQAAAAEHEFwbG9yaXMuQmFzZS5VSS5WaXN1YWxPYmplY3QDAAAACXMBAAAJTwIAAAoKAVoCAAA0AAAAAXUDAAAhAAAAAs3iQ5L4sUEBdgMAAKAAAAABAAAAAAAAAAAAAAAACXcDAAAAAAAACXgDAAAAAAF5AwAAqQAAAAAAAAABegMAAHIAAAAAAABCAABAQQF7AwAAFQAAAOii2kOjiy5BSEUAQqOLLkESg74/BnwDAAAFNDguMyUKCX0DAAAJDgIAADQDAAD/////AQEKCX4DAAABAAoAAV0CAAAjAAAACgoAAAAAAChBCXYAAAAJdwAAAAl/AwAAAAAJgAMAAAFeAgAAeAAAAAoKAAAAAP///wAOAAAAAAEBYgIAAK0AAAAJgQMAAAEAAAABAAAAAWMCAAB1AAAACYIDAAAKB2QCAAAAAQAAAAQAAAAEHEFwbG9yaXMuQmFzZS5VSS5WaXN1YWxPYmplY3QDAAAACXoBAAAJWgIAAAoKAWUCAAA0AAAAAYMDAAAhAAAAx0oERPzFDUMBhAMAAKAAAAABAAAAAAAAAAAAAAAACYUDAAAAAAAACYYDAAAAAAGHAwAAqQAAAAAAAAABiAMAAHIAAAAAAABCAABAQQGJAwAAFQAAAIsuAES66AJDSEUAQqOLLkESg74/BooDAAAFMjcuMyUKCYsDAAAJDgIAADQDAAD/////AQEKCYwDAAABAAoAAWgCAAAjAAAACgoAAAAAAChBCXYAAAAJdwAAAAmNAwAAAAAJjgMAAAFpAgAAeAAAAAoKAAAAAP///wAOAAAAAAEBbQIAAK0AAAAJjwMAAAEAAAABAAAAAW4CAAB1AAAACZADAAAKB28CAAAAAQAAAAQAAAAEHEFwbG9yaXMuQmFzZS5VSS5WaXN1YWxPYmplY3QDAAAACYEBAAAJZQIAAAoKAXACAAA0AAAAAZEDAAAhAAAADS8XRIJajEIBkgMAAKAAAAABAAAAAAAAAAAAAAAACZMDAAAAAAAACZQDAAAAAAGVAwAAqQAAAAAAAAABlgMAAHIAAAAAAABCAABAQQGXAwAAFQAAANFFE0QXXWxCSEUAQqOLLkESg74/BpgDAAAFMzkuOSUKCZkDAAAJDgIAADQDAAD/////AQEKCZoDAAABAAoAAXMCAAAjAAAACgoAAAAAAChBCXYAAAAJdwAAAAmbAwAAAAAJnAMAAAF0AgAAeAAAAAoKAAAAAP///wAOAAAAAAEBeAIAAK0AAAAJnQMAAAEAAAABAAAAAXkCAAB1AAAACZ4DAAAKB3oCAAAAAQAAAAQAAAAEHEFwbG9yaXMuQmFzZS5VSS5WaXN1YWxPYmplY3QDAAAACYgBAAAJcAIAAAoKAXsCAAA0AAAAAZ8DAAAhAAAARGRXQpYNrkMBoAMAAKAAAAAFAAAAAAAAAAAAAAAACaEDAAAAAAAACaIDAAAAAAGjAwAAqQAAAAAAAAABpAMAAHIAAAAAAC1DAABAQQGlAwAAFQAAALroUkJGF65D3j8gQ6OLLkESg74/CUwBAAAKCaYDAAAJDgIAAIQDAAD/////AQEKCacDAAABAAoAAXwCAAAcAAAAAagDAAAhAAAA02YdQpYNrkMBqQMAACEAAABEZEtCRM2zQwmqAwAACasDAAAAAAAACgGsAwAAcgAAAAAAAAAAAAAAAa0DAAByAAAAAAAAAAAAAAAAAAAAAa4DAAAVAAAAAAAAAAAAAAAAAAAAAAAAAJgDAAD/////AQEKCa8DAAABAAoAAX0CAAAlAAAACbADAAAAAAAAAAAAAAF+AgAAJgAAAAmxAwAAAgAAAAIAAAABfwIAADQAAAABsgMAACEAAACqe3ZDlg2uQwGzAwAAoAAAAAUAAAAAAAAAAAAAAAAJtAMAAAAAAAAJtQMAAAAAAbYDAACpAAAAAAAAAAG3AwAAcgAAAAAAvEIAAEBBAbgDAAAVAAAAo4t0Q0YXrkPS3LBCo4suQRKDvj8JVAEAAAoJuQMAAAkOAgAAhAMAAP////8BAQoJugMAAAEACgABgAIAABwAAAABuwMAACEAAABO/GdDlg2uQwG8AwAAIQAAAKp7c0NEzbNDCb0DAAAJvgMAAAAAAAAKAb8DAAByAAAAAAAAAAAAAAABwAMAAHIAAAAAAAAAAAAAAAAAAAABwQMAABUAAAAAAAAAAAAAAAAAAAAAAAAAmAMAAP////8BAQoJwgMAAAEACgABgQIAACUAAAAJsAMAAAAAAAAAAAAAAYICAAAmAAAACcMDAAACAAAAAgAAAAGFAgAAcAAAAAoKAAAAQD8JxAMAAAnFAwAAAQAAAP7///8AAAAAAQAAAAAAAAAAAAAAAQAAAAAAAAAAAAABhgIAAHUAAAAJxgMAAAoBiQIAACMAAAAKCgAAAAAAKEEJdgAAAAl3AAAACccDAAAAAAnIAwAAAYoCAAB4AAAACgoAAAAA////AA4AAAAAAQGPAgAArQAAAAnJAwAAAQAAAAEAAAABkAIAAHUAAAAJygMAAAoHkQIAAAABAAAABAAAAAQcQXBsb3Jpcy5CYXNlLlVJLlZpc3VhbE9iamVjdAMAAAAJjQEAAAmOAQAACgoBlAIAAHAAAAAKCgAAAEA/CcsDAAAJzAMAAAEAAAD+////AAAAAAEAAAAAAAAAAAAAAAEAAAAAAAAAAAAAAZUCAAB1AAAACc0DAAAKAZgCAAAjAAAACgoAAAAAAChBCXYAAAAJdwAAAAnOAwAAAAAJzwMAAAGZAgAAeAAAAAoKAAAAAP///wAOAAAAAAEBngIAAK0AAAAJ0AMAAAEAAAADAAAAAZ8CAAB1AAAACdEDAAAKB6ACAAAAAQAAAAQAAAAEHEFwbG9yaXMuQmFzZS5VSS5WaXN1YWxPYmplY3QDAAAACZMBAAAJlAEAAAoKAaMCAABwAAAACgoAAABAPwnSAwAACdMDAAABAAAA/v///wAAAAABAAAAAAAAAAAAAAABAAAAAAAAAAAAAAGkAgAAdQAAAAnUAwAACgGnAgAAIwAAAAoKAAAAAAAoQQl2AAAACXcAAAAJ1QMAAAAACdYDAAABqAIAAHgAAAAKCgAAAAD///8ADgAAAAABAa0CAACtAAAACdcDAAABAAAAAwAAAAGuAgAAdQAAAAnYAwAACgevAgAAAAEAAAAEAAAABBxBcGxvcmlzLkJhc2UuVUkuVmlzdWFsT2JqZWN0AwAAAAmZAQAACZoBAAAKCgGyAgAAcAAAAAoKAAAAQD8J2QMAAAnaAwAAAQAAAP7///8AAAAAAQAAAAAAAAAAAAAAAQAAAAAAAAAAAAABswIAAHUAAAAJ2wMAAAoBtgIAACMAAAAKCgAAAAAAKEEJdgAAAAl3AAAACdwDAAAAAAndAwAAAbcCAAB4AAAACgoAAAAA////AA4AAAAAAQG8AgAArQAAAAneAwAAAQAAAAMAAAABvQIAAHUAAAAJ3wMAAAoHvgIAAAABAAAABAAAAAQcQXBsb3Jpcy5CYXNlLlVJLlZpc3VhbE9iamVjdAMAAAAJnwEAAAmgAQAACgoBwQIAAHAAAAAKCgAAAEA/CeADAAAJ4QMAAAEAAAD+////AAAAAAEAAAAAAAAAAAAAAAEAAAAAAAAAAAAAAcICAAB1AAAACeIDAAAKAcUCAAAjAAAACgoAAAAAAChBCXYAAAAJdwAAAAnjAwAAAAAJ5AMAAAHGAgAAeAAAAAoKAAAAAP///wAOAAAAAAEBywIAAK0AAAAJ5QMAAAEAAAADAAAAAcwCAAB1AAAACeYDAAAKB80CAAAAAQAAAAQAAAAEHEFwbG9yaXMuQmFzZS5VSS5WaXN1YWxPYmplY3QDAAAACaUBAAAJpgEAAAoKAdACAABwAAAACgoAAABAPwnnAwAACegDAAABAAAA/v///wAAAAABAAAAAAAAAAAAAAABAAAAAAAAAAAAAAHRAgAAdQAAAAnpAwAACgHUAgAAIwAAAAoKAAAAAAAoQQl2AAAACXcAAAAJ6gMAAAAACesDAAAB1QIAAHgAAAAKCgAAAAD///8ADgAAAAABAdoCAACtAAAACewDAAABAAAAAwAAAAHbAgAAdQAAAAntAwAACgfcAgAAAAEAAAAEAAAABBxBcGxvcmlzLkJhc2UuVUkuVmlzdWFsT2JqZWN0AwAAAAmrAQAACawBAAAKCgHfAgAAcAAAAAoKAAAAQD8J7gMAAAnvAwAAAQAAAP7///8AAAAAAQAAAAAAAAAAAAAAAQAAAAAAAAAAAAAB4AIAAHUAAAAJ8AMAAAoB4wIAACMAAAAKCgAAAAAAKEEJdgAAAAl3AAAACfEDAAAAAAnyAwAAAeQCAAB4AAAACgoAAAAA////AA4AAAAAAQHpAgAArQAAAAnzAwAAAQAAAAMAAAAB6gIAAHUAAAAJ9AMAAAoH6wIAAAABAAAABAAAAAQcQXBsb3Jpcy5CYXNlLlVJLlZpc3VhbE9iamVjdAMAAAAJsQEAAAmyAQAACgoB7gIAAHAAAAAKCgAAAEA/CfUDAAAJ9gMAAAEAAAD+////AAAAAAEAAAAAAAAAAAAAAAEAAAAAAAAAAAAAAe8CAAB1AAAACfcDAAAKAfICAAAjAAAACgoAAAAAAChBCXYAAAAJdwAAAAn4AwAAAAAJ+QMAAAHzAgAAeAAAAAoKAAAAAP///wAOAAAAAAEB+AIAAK0AAAAJ+gMAAAEAAAADAAAAAfkCAAB1AAAACfsDAAAKB/oCAAAAAQAAAAQAAAAEHEFwbG9yaXMuQmFzZS5VSS5WaXN1YWxPYmplY3QDAAAACbcBAAAJuAEAAAoKAf0CAABwAAAACgoAAABAPwn8AwAACf0DAAABAAAA/v///wAAAAABAAAAAAAAAAAAAAABAAAAAAAAAAAAAAH+AgAAdQAAAAn+AwAACgEBAwAAIwAAAAoKAAAAAAAoQQl2AAAACXcAAAAJ/wMAAAAACQAEAAABAgMAAHgAAAAKCgAAAAD///8ADgAAAAABAQcDAACtAAAACQEEAAABAAAAAwAAAAEIAwAAdQAAAAkCBAAACgcJAwAAAAEAAAAAAAAABB9BcGxvcmlzLkJhc2UuT2JqZWN0cy5EYXRhT2JqZWN0AwAAAAcKAwAAAAEAAAAEAAAABBxBcGxvcmlzLkJhc2UuVUkuVmlzdWFsT2JqZWN0AwAAAAm9AQAACb4BAAAKCgENAwAAcAAAAAoKAAAAQD8JAwQAAAkEBAAAAQAAAP7///8AAAAAAQAAAAAAAAAAAAAAAQAAAAAAAAAAAAABDgMAAHUAAAAJBQQAAAoBEQMAACMAAAAKCgAAAAAAKEEJdgAAAAl3AAAACQYEAAAAAAkHBAAAARIDAAB4AAAACgoAAAAA////AA4AAAAAAQEXAwAArQAAAAkIBAAAAQAAAAMAAAABGAMAAHUAAAAJCQQAAAoHGQMAAAABAAAABAAAAAQcQXBsb3Jpcy5CYXNlLlVJLlZpc3VhbE9iamVjdAMAAAAJwwEAAAnEAQAACgoBHAMAAHAAAAAKCgAAAEA/CQoEAAAJCwQAAAEAAAD+////AAAAAAEAAAAAAAAAAAAAAAEAAAAAAAAAAAAAAR0DAAB1AAAACQwEAAAKASADAAAjAAAACgoAAAAAAChBCXYAAAAJdwAAAAkNBAAAAAAJDgQAAAEhAwAAeAAAAAoKAAAAAP///wAOAAAAAAEBJgMAAK0AAAAJDwQAAAEAAAADAAAAAScDAAB1AAAACRAEAAAKBygDAAAAAQAAAAQAAAAEHEFwbG9yaXMuQmFzZS5VSS5WaXN1YWxPYmplY3QDAAAACckBAAAJygEAAAoKBzADAAAAAQAAABAAAAAEHkFwbG9yaXMuQ2hhcnQuQ2hhcnREYXRhRWxlbWVudAIAAAAJEQQAAAkSBAAACRMEAAAJFAQAAAkVBAAACRYEAAAJFwQAAA0JBzEDAAAAAQAAABAAAAAEH0FwbG9yaXMuQmFzZS5PYmplY3RzLkRhdGFPYmplY3QDAAAACREEAAAJEwQAAAkUBAAACRIEAAAJFQQAAAkWBAAACRcEAAANCQEyAwAAeAAAAAoKAAAAAAAAAAANAAAAAAEBMwMAAHgAAAAKCgEAAAAAAAAA/////wABBzQDAAAAAQAAAAQAAAAEHUFwbG9yaXMuQmFzZS5PYmplY3RzLlZhcmlhYmxlAwAAAAUYBAAAHUFwbG9yaXMuQmFzZS5PYmplY3RzLlZhcmlhYmxlAgAAAAZOdW1iZXIIUG9zaXRpb24AAAgIAwAAAAEAAAAAAAAAARkEAAAYBAAAAAAAAAAAAAABGgQAABgEAAAAAAAAAAAAAAEbBAAAGAQAAAAAAAAAAAAADzUDAAABAAAACAAAAAAHNgMAAAABAAAAEAAAAAQeQXBsb3Jpcy5DaGFydC5DaGFydERhdGFFbGVtZW50AgAAAAkcBAAACR0EAAAJHgQAAAkfBAAACSAEAAAJIQQAAAkiBAAADQkHNwMAAAABAAAAEAAAAAQfQXBsb3Jpcy5CYXNlLk9iamVjdHMuRGF0YU9iamVjdAMAAAAJHAQAAAkeBAAACR8EAAAJHQQAAAkgBAAACSEEAAAJIgQAAA0JBzgDAAAAAQAAAAAAAAAEHEFwbG9yaXMuQmFzZS5VSS5WaXN1YWxPYmplY3QDAAAAATkDAAB4AAAACgoAAAAAAAAAAA0AAAAAAQE6AwAAeAAAAAoKAQAAAAAAAAD/////AAEHOwMAAAABAAAABAAAAAQdQXBsb3Jpcy5CYXNlLk9iamVjdHMuVmFyaWFibGUDAAAAASMEAAAYBAAAAQAAAAAAAAABJAQAABgEAAAAAAAAAAAAAAElBAAAGAQAAAAAAAAAAAAAASYEAAAYBAAAAAAAAAAAAAAPPAMAAAEAAAAIAAAAAAU/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lAQAACgAAAAAAKEEJdgAAAAl3AAAACScEAAAAAAkoBAAAAUADAAB4AAAACgoAAAAA////AA4AAAAAAQFFAwAArQAAAAkpBAAAAQAAABEAAAABRgMAAHUAAAAJKgQAAAoBRwMAAHgAAAAKCgAAAAAAAAAADQAAAAAAAUgDAAB4AAAACgoAAAAAAAAAAA0AAAAAAQdJAwAAAAEAAAAEAAAABB1BcGxvcmlzLkJhc2UuT2JqZWN0cy5WYXJpYWJsZQMAAAABKwQAABgEAAABAAAAAAAAAAEsBAAAGAQAAAAAAAAAAAAAAS0EAAAYBAAAAAAAAAAAAAABLgQAABgEAAAAAAAAAAAAAA9KAwAAAQAAAAhSAQAABU0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SYBAAAKAAAAAAAoQQl2AAAACXcAAAAJLwQAAAAACTAEAAABTgMAAHgAAAAKCgAAAAD///8ADgAAAAABAVMDAACtAAAACTEEAAABAAAAEgAAAAFUAwAAdQAAAAkyBAAACgFVAwAAeAAAAAoKAAAAAAAAAAANAAAAAAABVgMAAHgAAAAKCgAAAAAAAAAADQAAAAABB1cDAAAAAQAAAAQAAAAEHUFwbG9yaXMuQmFzZS5PYmplY3RzLlZhcmlhYmxlAwAAAAEzBAAAGAQAAAEAAAAAAAAAATQEAAAYBAAAAAAAAAAAAAABNQQAABgEAAAAAAAAAAAAAAE2BAAAGAQAAAAAAAAAAAAAD1gDAAABAAAACE0BAAAFWw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JwEAAAoAAAAAAChBCXYAAAAJdwAAAAk3BAAAAAAJOAQAAAFcAwAAeAAAAAoKAAAAAP///wAOAAAAAAEBYQMAAK0AAAAJOQQAAAEAAAAPAAAAAWIDAAB1AAAACToEAAAKAWMDAAB4AAAACgoAAAAAAAAAAA0AAAAAAAFkAwAAeAAAAAoKAAAAAAAAAAANAAAAAAEHZQMAAAABAAAABAAAAAQdQXBsb3Jpcy5CYXNlLk9iamVjdHMuVmFyaWFibGUDAAAAATsEAAAYBAAAAQAAAAAAAAABPAQAABgEAAAAAAAAAAAAAAE9BAAAGAQAAAAAAAAAAAAAAT4EAAAYBAAAAAAAAAAAAAAPZgMAAAEAAAAIxQAAAAVp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oAQAACgAAAAAAKEEJdgAAAAl3AAAACT8EAAAAAAlABAAAAWoDAAB4AAAACgoAAAAA////AA4AAAAAAQFvAwAArQAAAAlBBAAAAQAAABEAAAABcAMAAHUAAAAJQgQAAAoBcQMAAHgAAAAKCgAAAAAAAAAADQAAAAAAAXIDAAB4AAAACgoAAAAAAAAAAA0AAAAAAQdzAwAAAAEAAAAEAAAABB1BcGxvcmlzLkJhc2UuT2JqZWN0cy5WYXJpYWJsZQMAAAABQwQAABgEAAABAAAAAAAAAAFEBAAAGAQAAAAAAAAAAAAAAUUEAAAYBAAAAAAAAAAAAAABRgQAABgEAAAAAAAAAAAAAA90AwAAAQAAAAjEAAAABXc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SkBAAAKAAAAAAAoQQl2AAAACXcAAAAJRwQAAAAACUgEAAABeAMAAHgAAAAKCgAAAAD///8ADgAAAAABAX0DAACtAAAACUkEAAABAAAAEQAAAAF+AwAAdQAAAAlKBAAACgF/AwAAeAAAAAoKAAAAAAAAAAANAAAAAAABgAMAAHgAAAAKCgAAAAAAAAAADQAAAAABB4EDAAAAAQAAAAQAAAAEHUFwbG9yaXMuQmFzZS5PYmplY3RzLlZhcmlhYmxlAwAAAAFLBAAAGAQAAAEAAAAAAAAAAUwEAAAYBAAAAAAAAAAAAAABTQQAABgEAAAAAAAAAAAAAAFOBAAAGAQAAAAAAAAAAAAAD4IDAAABAAAACEwBAAAFhQ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KgEAAAoAAAAAAChBCXYAAAAJdwAAAAlPBAAAAAAJUAQAAAGGAwAAeAAAAAoKAAAAAP///wAOAAAAAAEBiwMAAK0AAAAJUQQAAAEAAAARAAAAAYwDAAB1AAAACVIEAAAKAY0DAAB4AAAACgoAAAAAAAAAAA0AAAAAAAGOAwAAeAAAAAoKAAAAAAAAAAANAAAAAAEHjwMAAAABAAAABAAAAAQdQXBsb3Jpcy5CYXNlLk9iamVjdHMuVmFyaWFibGUDAAAAAVMEAAAYBAAAAQAAAAAAAAABVAQAABgEAAAAAAAAAAAAAAFVBAAAGAQAAAAAAAAAAAAAAVYEAAAYBAAAAAAAAAAAAAAPkAMAAAEAAAAITgEAAAWT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rAQAACgAAAAAAKEEJdgAAAAl3AAAACVcEAAAAAAlYBAAAAZQDAAB4AAAACgoAAAAA////AA4AAAAAAQGZAwAArQAAAAlZBAAAAQAAABEAAAABmgMAAHUAAAAJWgQAAAoBmwMAAHgAAAAKCgAAAAAAAAAADQAAAAAAAZwDAAB4AAAACgoAAAAAAAAAAA0AAAAAAQedAwAAAAEAAAAEAAAABB1BcGxvcmlzLkJhc2UuT2JqZWN0cy5WYXJpYWJsZQMAAAABWwQAABgEAAABAAAAAAAAAAFcBAAAGAQAAAAAAAAAAAAAAV0EAAAYBAAAAAAAAAAAAAABXgQAABgEAAAAAAAAAAAAAA+eAwAAAQAAAAhPAQAAAaEDAAAjAAAACgoAAAAAAChBCXYAAAAJdwAAAAlfBAAAAAAJYAQAAAGiAwAAeAAAAAoKAQAAAAAAAAD/////AAEBpgMAAK0AAAAJYQQAAAEAAAABAAAAAacDAAB1AAAACWIEAAAKAaoDAABwAAAACgoAAABAPwljBAAACWQEAAABAAAA/v///wAAAAABAAAAAAAAAAAAAAABAAAAAAAAAAAAAAGrAwAAcQAAAAoKCWUEAAAJZgQAAAEAAAD+////AAAAAP////8BAAGvAwAAdQAAAAlnBAAACgewAwAAAAEAAAAAAAAABB9BcGxvcmlzLkJhc2UuT2JqZWN0cy5EYXRhT2JqZWN0AwAAAAexAwAAAAEAAAAEAAAABBxBcGxvcmlzLkJhc2UuVUkuVmlzdWFsT2JqZWN0AwAAAAl7AgAACXwCAAAKCgG0AwAAIwAAAAoKAAAAAAAoQQl2AAAACXcAAAAJaAQAAAAACWkEAAABtQMAAHgAAAAKCgEAAAAAAAAA/////wABAbkDAACtAAAACWoEAAABAAAAAQAAAAG6AwAAdQAAAAlrBAAACgG9AwAAcAAAAAoKAAAAQD8JbAQAAAltBAAAAQAAAP7///8AAAAAAQAAAAAAAAAAAAAAAQAAAAAAAAAAAAABvgMAAHEAAAAKCgluBAAACW8EAAABAAAA/v///wAAAAD/////AQABwgMAAHUAAAAJcAQAAAoHwwMAAAABAAAABAAAAAQcQXBsb3Jpcy5CYXNlLlVJLlZpc3VhbE9iamVjdAMAAAAJfwIAAAmAAgAACgoBxAMAAHgAAAAKCgAAAAAAAAAADQAAAAAABcUDAAAaQXBsb3Jpcy5CYXNlLk9iamVjdHMuQ29sb3IHAAAAEkRhdGFPYmplY3QrbVBhcmVudBVEYXRhT2JqZWN0K21Db250YWluZXIFbVR5cGUEbVJHQhBtVGhlbWVDb2xvckluZGV4DG1BdXRvVXBkYXRlZAltTW9kaWZpZWQEAgAAAAAAH0FwbG9yaXMuQmFzZS5PYmplY3RzLkxpbmVGb3JtYXQDAAAACAgIAQEDAAAACYUCAAAKAQAAAAAAAAD/////AAEPxgMAAAEAAAAIOgIAAAHHAwAAeAAAAAoKAAAAAAAAAAANAAAAAAAByAMAAHgAAAAKCgAAAAAAAAAADQAAAAABB8kDAAAAAQAAAAQAAAAEHUFwbG9yaXMuQmFzZS5PYmplY3RzLlZhcmlhYmxlAwAAAAFxBAAAGAQAAAEAAAAAAAAAAXIEAAAYBAAAAAAAAAAAAAABcwQAABgEAAAAAAAAAAAAAAF0BAAAGAQAAAAAAAAAAAAAD8oDAAABAAAACCYAAAABywMAAHgAAAAKCgAAAAAAAAAADQAAAAAABcwDAAAaQXBsb3Jpcy5CYXNlLk9iamVjdHMuQ29sb3IHAAAAEkRhdGFPYmplY3QrbVBhcmVudBVEYXRhT2JqZWN0K21Db250YWluZXIFbVR5cGUEbVJHQhBtVGhlbWVDb2xvckluZGV4DG1BdXRvVXBkYXRlZAltTW9kaWZpZWQEAgAAAAAAH0FwbG9yaXMuQmFzZS5PYmplY3RzLkxpbmVGb3JtYXQDAAAACAgIAQEDAAAACZQCAAAKAQAAAAAAAAD/////AAEPzQMAAAEAAAAIOQIAAAHOAwAAeAAAAAoKAAAAAAAAAAANAAAAAAABzwMAAHgAAAAKCgAAAAAAAAAADQAAAAABB9ADAAAAAQAAAAQAAAAEHUFwbG9yaXMuQmFzZS5PYmplY3RzLlZhcmlhYmxlAwAAAAF1BAAAGAQAAAEAAAAAAAAAAXYEAAAYBAAAAAAAAAAAAAABdwQAABgEAAAAAAAAAAAAAAF4BAAAGAQAAAAAAAAAAAAAD9EDAAABAAAACCMAAAAB0gMAAHgAAAAKCgAAAAAAAAAADQAAAAAABdMDAAAaQXBsb3Jpcy5CYXNlLk9iamVjdHMuQ29sb3IHAAAAEkRhdGFPYmplY3QrbVBhcmVudBVEYXRhT2JqZWN0K21Db250YWluZXIFbVR5cGUEbVJHQhBtVGhlbWVDb2xvckluZGV4DG1BdXRvVXBkYXRlZAltTW9kaWZpZWQEAgAAAAAAH0FwbG9yaXMuQmFzZS5PYmplY3RzLkxpbmVGb3JtYXQDAAAACAgIAQEDAAAACaMCAAAKAQAAAAAAAAD/////AAEP1AMAAAEAAAAIMwIAAAHVAwAAeAAAAAoKAAAAAAAAAAANAAAAAAAB1gMAAHgAAAAKCgAAAAAAAAAADQAAAAABB9cDAAAAAQAAAAQAAAAEHUFwbG9yaXMuQmFzZS5PYmplY3RzLlZhcmlhYmxlAwAAAAF5BAAAGAQAAAEAAAAAAAAAAXoEAAAYBAAAAAAAAAAAAAABewQAABgEAAAAAAAAAAAAAAF8BAAAGAQAAAAAAAAAAAAAD9gDAAABAAAACCsAAAAB2QMAAHgAAAAKCgAAAAAAAAAADQAAAAAABdoDAAAaQXBsb3Jpcy5CYXNlLk9iamVjdHMuQ29sb3IHAAAAEkRhdGFPYmplY3QrbVBhcmVudBVEYXRhT2JqZWN0K21Db250YWluZXIFbVR5cGUEbVJHQhBtVGhlbWVDb2xvckluZGV4DG1BdXRvVXBkYXRlZAltTW9kaWZpZWQEAgAAAAAAH0FwbG9yaXMuQmFzZS5PYmplY3RzLkxpbmVGb3JtYXQDAAAACAgIAQEDAAAACbICAAAKAQAAAAAAAAD/////AAEP2wMAAAEAAAAINQIAAAHcAwAAeAAAAAoKAAAAAAAAAAANAAAAAAAB3QMAAHgAAAAKCgAAAAAAAAAADQAAAAABB94DAAAAAQAAAAQAAAAEHUFwbG9yaXMuQmFzZS5PYmplY3RzLlZhcmlhYmxlAwAAAAF9BAAAGAQAAAEAAAAAAAAAAX4EAAAYBAAAAAAAAAAAAAABfwQAABgEAAAAAAAAAAAAAAGABAAAGAQAAAAAAAAAAAAAD98DAAABAAAACCoAAAAB4AMAAHgAAAAKCgAAAAAAAAAADQAAAAAABeEDAAAaQXBsb3Jpcy5CYXNlLk9iamVjdHMuQ29sb3IHAAAAEkRhdGFPYmplY3QrbVBhcmVudBVEYXRhT2JqZWN0K21Db250YWluZXIFbVR5cGUEbVJHQhBtVGhlbWVDb2xvckluZGV4DG1BdXRvVXBkYXRlZAltTW9kaWZpZWQEAgAAAAAAH0FwbG9yaXMuQmFzZS5PYmplY3RzLkxpbmVGb3JtYXQDAAAACAgIAQEDAAAACcECAAAKAQAAAAAAAAD/////AAEP4gMAAAEAAAAINAIAAAHjAwAAeAAAAAoKAAAAAAAAAAANAAAAAAAB5AMAAHgAAAAKCgAAAAAAAAAADQAAAAABB+UDAAAAAQAAAAQAAAAEHUFwbG9yaXMuQmFzZS5PYmplY3RzLlZhcmlhYmxlAwAAAAGBBAAAGAQAAAEAAAAAAAAAAYIEAAAYBAAAAAAAAAAAAAABgwQAABgEAAAAAAAAAAAAAAGEBAAAGAQAAAAAAAAAAAAAD+YDAAABAAAACCcAAAAB5wMAAHgAAAAKCgAAAAAAAAAADQAAAAAABegDAAAaQXBsb3Jpcy5CYXNlLk9iamVjdHMuQ29sb3IHAAAAEkRhdGFPYmplY3QrbVBhcmVudBVEYXRhT2JqZWN0K21Db250YWluZXIFbVR5cGUEbVJHQhBtVGhlbWVDb2xvckluZGV4DG1BdXRvVXBkYXRlZAltTW9kaWZpZWQEAgAAAAAAH0FwbG9yaXMuQmFzZS5PYmplY3RzLkxpbmVGb3JtYXQDAAAACAgIAQEDAAAACdACAAAKAQAAAAAAAAD/////AAEP6QMAAAEAAAAINgIAAAHqAwAAeAAAAAoKAAAAAAAAAAANAAAAAAAB6wMAAHgAAAAKCgAAAAAAAAAADQAAAAABB+wDAAAAAQAAAAQAAAAEHUFwbG9yaXMuQmFzZS5PYmplY3RzLlZhcmlhYmxlAwAAAAGFBAAAGAQAAAEAAAAAAAAAAYYEAAAYBAAAAAAAAAAAAAABhwQAABgEAAAAAAAAAAAAAAGIBAAAGAQAAAAAAAAAAAAAD+0DAAABAAAACCkAAAAB7gMAAHgAAAAKCgAAAAAAAAAADQAAAAAABe8DAAAaQXBsb3Jpcy5CYXNlLk9iamVjdHMuQ29sb3IHAAAAEkRhdGFPYmplY3QrbVBhcmVudBVEYXRhT2JqZWN0K21Db250YWluZXIFbVR5cGUEbVJHQhBtVGhlbWVDb2xvckluZGV4DG1BdXRvVXBkYXRlZAltTW9kaWZpZWQEAgAAAAAAH0FwbG9yaXMuQmFzZS5PYmplY3RzLkxpbmVGb3JtYXQDAAAACAgIAQEDAAAACd8CAAAKAQAAAAAAAAD/////AAEP8AMAAAEAAAAIMgIAAAHxAwAAeAAAAAoKAAAAAAAAAAANAAAAAAAB8gMAAHgAAAAKCgAAAAAAAAAADQAAAAABB/MDAAAAAQAAAAQAAAAEHUFwbG9yaXMuQmFzZS5PYmplY3RzLlZhcmlhYmxlAwAAAAGJBAAAGAQAAAEAAAAAAAAAAYoEAAAYBAAAAAAAAAAAAAABiwQAABgEAAAAAAAAAAAAAAGMBAAAGAQAAAAAAAAAAAAAD/QDAAABAAAACCgAAAAB9QMAAHgAAAAKCgAAAAAAAAAADQAAAAAABfYDAAAaQXBsb3Jpcy5CYXNlLk9iamVjdHMuQ29sb3IHAAAAEkRhdGFPYmplY3QrbVBhcmVudBVEYXRhT2JqZWN0K21Db250YWluZXIFbVR5cGUEbVJHQhBtVGhlbWVDb2xvckluZGV4DG1BdXRvVXBkYXRlZAltTW9kaWZpZWQEAgAAAAAAH0FwbG9yaXMuQmFzZS5PYmplY3RzLkxpbmVGb3JtYXQDAAAACAgIAQEDAAAACe4CAAAKAQAAAAAAAAD/////AAEP9wMAAAEAAAAINwIAAAH4AwAAeAAAAAoKAAAAAAAAAAANAAAAAAAB+QMAAHgAAAAKCgAAAAAAAAAADQAAAAABB/oDAAAAAQAAAAQAAAAEHUFwbG9yaXMuQmFzZS5PYmplY3RzLlZhcmlhYmxlAwAAAAGNBAAAGAQAAAEAAAAAAAAAAY4EAAAYBAAAAAAAAAAAAAABjwQAABgEAAAAAAAAAAAAAAGQBAAAGAQAAAAAAAAAAAAAD/sDAAABAAAACCwAAAAB/AMAAHgAAAAKCgAAAAAAAAAADQAAAAAABf0DAAAaQXBsb3Jpcy5CYXNlLk9iamVjdHMuQ29sb3IHAAAAEkRhdGFPYmplY3QrbVBhcmVudBVEYXRhT2JqZWN0K21Db250YWluZXIFbVR5cGUEbVJHQhBtVGhlbWVDb2xvckluZGV4DG1BdXRvVXBkYXRlZAltTW9kaWZpZWQEAgAAAAAAH0FwbG9yaXMuQmFzZS5PYmplY3RzLkxpbmVGb3JtYXQDAAAACAgIAQEDAAAACf0CAAAKAQAAAAAAAAD/////AAEP/gMAAAEAAAAIOAIAAAH/AwAAeAAAAAoKAAAAAAAAAAANAAAAAAABAAQAAHgAAAAKCgAAAAAAAAAADQAAAAABBwEEAAAAAQAAAAQAAAAEHUFwbG9yaXMuQmFzZS5PYmplY3RzLlZhcmlhYmxlAwAAAAGRBAAAGAQAAAEAAAAAAAAAAZIEAAAYBAAAAAAAAAAAAAABkwQAABgEAAAAAAAAAAAAAAGUBAAAGAQAAAAAAAAAAAAADwIEAAABAAAACC4CAAABAwQAAHgAAAAKCgAAAAAAAAAADQAAAAAABQQEAAAaQXBsb3Jpcy5CYXNlLk9iamVjdHMuQ29sb3IHAAAAEkRhdGFPYmplY3QrbVBhcmVudBVEYXRhT2JqZWN0K21Db250YWluZXIFbVR5cGUEbVJHQhBtVGhlbWVDb2xvckluZGV4DG1BdXRvVXBkYXRlZAltTW9kaWZpZWQEAgAAAAAAH0FwbG9yaXMuQmFzZS5PYmplY3RzLkxpbmVGb3JtYXQDAAAACAgIAQEDAAAACQ0DAAAKAQAAAAAAAAD/////AAEPBQQAAAEAAAAIOwIAAAEGBAAAeAAAAAoKAAAAAAAAAAANAAAAAAABBwQAAHgAAAAKCgAAAAAAAAAADQAAAAABBwgEAAAAAQAAAAQAAAAEHUFwbG9yaXMuQmFzZS5PYmplY3RzLlZhcmlhYmxlAwAAAAGVBAAAGAQAAAEAAAAAAAAAAZYEAAAYBAAAAAAAAAAAAAABlwQAABgEAAAAAAAAAAAAAAGYBAAAGAQAAAAAAAAAAAAADwkEAAABAAAACC0CAAABCgQAAHgAAAAKCgAAAAAAAAAADQAAAAAABQsEAAAaQXBsb3Jpcy5CYXNlLk9iamVjdHMuQ29sb3IHAAAAEkRhdGFPYmplY3QrbVBhcmVudBVEYXRhT2JqZWN0K21Db250YWluZXIFbVR5cGUEbVJHQhBtVGhlbWVDb2xvckluZGV4DG1BdXRvVXBkYXRlZAltTW9kaWZpZWQEAgAAAAAAH0FwbG9yaXMuQmFzZS5PYmplY3RzLkxpbmVGb3JtYXQDAAAACAgIAQEDAAAACRwDAAAKAQAAAAAAAAD/////AAEPDAQAAAEAAAAIMQIAAAENBAAAeAAAAAoKAAAAAAAAAAANAAAAAAABDgQAAHgAAAAKCgAAAAAAAAAADQAAAAABBw8EAAAAAQAAAAQAAAAEHUFwbG9yaXMuQmFzZS5PYmplY3RzLlZhcmlhYmxlAwAAAAGZBAAAGAQAAAEAAAAAAAAAAZoEAAAYBAAAAAAAAAAAAAABmwQAABgEAAAAAAAAAAAAAAGcBAAAGAQAAAAAAAAAAAAADxAEAAABAAAACCwCAAAFEQQ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mdBAAACZ4EAAAKCZ8EAAAKCSMBAAAIBk6ZgCtT2bw/CgAAAAAJoAQAAAmhBAAAAAAAAAAJogQAAAkjAQAACQEAAAAJowQAAAESBAAAEQQAAAmkBAAACaUEAAAKCaYEAAAKCSMBAAAIBk8q8Y8sQqs/CgEAAAAJpwQAAAmoBAAAAAAAAAAJqQQAAAkjAQAACQEAAAAJqgQAAAETBAAAEQQAAAmrBAAACawEAAAKCa0EAAAKCSMBAAAIBt0k5joHv8U/CgIAAAAJrgQAAAmvBAAAAAAAAAAJsAQAAAkjAQAACQEAAAAJsQQAAAEUBAAAEQQAAAmyBAAACbMEAAAKCbQEAAAKCSMBAAAIBmb3hXiUJq8/CgMAAAAJtQQAAAm2BAAAAAAAAAAJtwQAAAkjAQAACQEAAAAJuAQAAAEVBAAAEQQAAAm5BAAACboEAAAKCbsEAAAKCSMBAAAIBhJ+uIJYdcI/CgQAAAAJvAQAAAm9BAAAAAAAAAAJvgQAAAkjAQAACQEAAAAJvwQAAAEWBAAAEQQAAAnABAAACcEEAAAKCcIEAAAKCSMBAAAIBuD/rgpbqLI/CgUAAAAJwwQAAAnEBAAAAAAAAAAJxQQAAAkjAQAACQEAAAAJxgQAAAEXBAAAEQQAAAnHBAAACcgEAAAKCckEAAAKCSMBAAAIBvHnvHR1g7w/CgYAAAAJygQAAAnLBAAAAAAAAAAJzAQAAAkjAQAACQEAAAAJzQQAAAEcBAAAEQQAAAnOBAAACc8EAAAKCdAEAAAKCSQBAAAIBm2PVhqHH9A/CgAAAAAJ0QQAAAnSBAAAAAAAAAAJ0wQAAAkkAQAACQEAAAAJ1AQAAAEdBAAAEQQAAAnVBAAACdYEAAAKCdcEAAAKCSQBAAAIBiwlSuZATsw/CgEAAAAJ2AQAAAnZBAAAAAAAAAAJ2gQAAAkkAQAACQEAAAAJ2wQAAAEeBAAAEQQAAAncBAAACd0EAAAKCd4EAAAKCSQBAAAIBsxt+MOwPMs/CgIAAAAJ3wQAAAngBAAAAAAAAAAJ4QQAAAkkAQAACQEAAAAJ4gQAAAEfBAAAEQQAAAnjBAAACeQEAAAKCeUEAAAKCSQBAAAIBjiStp0N2NE/CgMAAAAJ5gQAAAnnBAAAAAAAAAAJ6AQAAAkkAQAACQEAAAAJ6QQAAAEgBAAAEQQAAAnqBAAACesEAAAKCewEAAAKCSQBAAAIBo7rKxAestU/CgQAAAAJ7QQAAAnuBAAAAAAAAAAJ7wQAAAkkAQAACQEAAAAJ8AQAAAEhBAAAEQQAAAnxBAAACfIEAAAKCfMEAAAKCSQBAAAIBtadWtBijsk/CgUAAAAJ9AQAAAn1BAAAAAAAAAAJ9gQAAAkkAQAACQEAAAAJ9wQAAAEiBAAAEQQAAAn4BAAACfkEAAAKCfoEAAAKCSQBAAAIBiw0rWTeY9I/CgYAAAAJ+wQAAAn8BAAAAAAAAAAJ/QQAAAkkAQAACQEAAAAJ/gQAAAEnBAAAeAAAAAoKAAAAAAAAAAANAAAAAAABKAQAAHgAAAAKCgAAAAAAAAAADQAAAAABBykEAAAAAQAAAAQAAAAEHUFwbG9yaXMuQmFzZS5PYmplY3RzLlZhcmlhYmxlAwAAAAH/BAAAGAQAAAEAAAAAAAAAAQAFAAAYBAAAAAAAAAAAAAABAQUAABgEAAAAAAAAAAAAAAECBQAAGAQAAAAAAAAAAAAADyoEAAABAAAACB4CAAABLwQAAHgAAAAKCgAAAAAAAAAADQAAAAAAATAEAAB4AAAACgoAAAAAAAAAAA0AAAAAAQcxBAAAAAEAAAAEAAAABB1BcGxvcmlzLkJhc2UuT2JqZWN0cy5WYXJpYWJsZQMAAAABAwUAABgEAAABAAAAAAAAAAEEBQAAGAQAAAAAAAAAAAAAAQUFAAAYBAAAAAAAAAAAAAABBgUAABgEAAAAAAAAAAAAAA8yBAAAAQAAAAgYAgAAATcEAAB4AAAACgoAAAAAAAAAAA0AAAAAAAE4BAAAeAAAAAoKAAAAAAAAAAANAAAAAAEHOQQAAAABAAAABAAAAAQdQXBsb3Jpcy5CYXNlLk9iamVjdHMuVmFyaWFibGUDAAAAAQcFAAAYBAAAAQAAAAAAAAABCAUAABgEAAAAAAAAAAAAAAEJBQAAGAQAAAAAAAAAAAAAAQoFAAAYBAAAAAAAAAAAAAAPOgQAAAEAAAAIGgIAAAE/BAAAeAAAAAoKAAAAAAAAAAANAAAAAAABQAQAAHgAAAAKCgAAAAAAAAAADQAAAAABB0EEAAAAAQAAAAQAAAAEHUFwbG9yaXMuQmFzZS5PYmplY3RzLlZhcmlhYmxlAwAAAAELBQAAGAQAAAEAAAAAAAAAAQwFAAAYBAAAAAAAAAAAAAABDQUAABgEAAAAAAAAAAAAAAEOBQAAGAQAAAAAAAAAAAAAD0IEAAABAAAACBkCAAABRwQAAHgAAAAKCgAAAAAAAAAADQAAAAAAAUgEAAB4AAAACgoAAAAAAAAAAA0AAAAAAQdJBAAAAAEAAAAEAAAABB1BcGxvcmlzLkJhc2UuT2JqZWN0cy5WYXJpYWJsZQMAAAABDwUAABgEAAABAAAAAAAAAAEQBQAAGAQAAAAAAAAAAAAAAREFAAAYBAAAAAAAAAAAAAABEgUAABgEAAAAAAAAAAAAAA9KBAAAAQAAAAgdAgAAAU8EAAB4AAAACgoAAAAAAAAAAA0AAAAAAAFQBAAAeAAAAAoKAAAAAAAAAAANAAAAAAEHUQQAAAABAAAABAAAAAQdQXBsb3Jpcy5CYXNlLk9iamVjdHMuVmFyaWFibGUDAAAAARMFAAAYBAAAAQAAAAAAAAABFAUAABgEAAAAAAAAAAAAAAEVBQAAGAQAAAAAAAAAAAAAARYFAAAYBAAAAAAAAAAAAAAPUgQAAAEAAAAIHAIAAAFXBAAAeAAAAAoKAAAAAAAAAAANAAAAAAABWAQAAHgAAAAKCgAAAAAAAAAADQAAAAABB1kEAAAAAQAAAAQAAAAEHUFwbG9yaXMuQmFzZS5PYmplY3RzLlZhcmlhYmxlAwAAAAEXBQAAGAQAAAEAAAAAAAAAARgFAAAYBAAAAAAAAAAAAAABGQUAABgEAAAAAAAAAAAAAAEaBQAAGAQAAAAAAAAAAAAAD1oEAAABAAAACBYCAAABXwQAAHgAAAAKCgAAAAAAAAAADQAAAAAAAWAEAAB4AAAACgoBAAAAAAAAAP////8AAQdhBAAAAAEAAAAEAAAABB1BcGxvcmlzLkJhc2UuT2JqZWN0cy5WYXJpYWJsZQMAAAABGwUAABgEAAABAAAAAAAAAAEcBQAAGAQAAAAAAAAAAAAAAR0FAAAYBAAAAAAAAAAAAAABHgUAABgEAAAAAAAAAAAAAA9iBAAAAQAAAAigAQAAAWMEAAB4AAAACgoAAAAA////AA4AAAAAAAVkBAAAGkFwbG9yaXMuQmFzZS5PYmplY3RzLkNvbG9yBwAAABJEYXRhT2JqZWN0K21QYXJlbnQVRGF0YU9iamVjdCttQ29udGFpbmVyBW1UeXBlBG1SR0IQbVRoZW1lQ29sb3JJbmRleAxtQXV0b1VwZGF0ZWQJbU1vZGlmaWVkBAIAAAAAAB9BcGxvcmlzLkJhc2UuT2JqZWN0cy5MaW5lRm9ybWF0AwAAAAgICAEBAwAAAAmqAwAACgEAAAAAAAAA/////wABAWUEAAB4AAAACgoAAAAAP2l+AAUAAAAAAAFmBAAAeAAAAAoKAQAAAP///wD/////AAAPZwQAAAEAAAAIogEAAAFoBAAAeAAAAAoKAAAAAAAAAAANAAAAAAABaQQAAHgAAAAKCgEAAAAAAAAA/////wABB2oEAAAAAQAAAAQAAAAEHUFwbG9yaXMuQmFzZS5PYmplY3RzLlZhcmlhYmxlAwAAAAEfBQAAGAQAAAEAAAAAAAAAASAFAAAYBAAAAAAAAAAAAAABIQUAABgEAAAAAAAAAAAAAAEiBQAAGAQAAAAAAAAAAAAAD2sEAAABAAAACJ4BAAABbAQAAHgAAAAKCgAAAAD///8ADgAAAAAABW0EAAAaQXBsb3Jpcy5CYXNlLk9iamVjdHMuQ29sb3IHAAAAEkRhdGFPYmplY3QrbVBhcmVudBVEYXRhT2JqZWN0K21Db250YWluZXIFbVR5cGUEbVJHQhBtVGhlbWVDb2xvckluZGV4DG1BdXRvVXBkYXRlZAltTW9kaWZpZWQEAgAAAAAAH0FwbG9yaXMuQmFzZS5PYmplY3RzLkxpbmVGb3JtYXQDAAAACAgIAQEDAAAACb0DAAAKAQAAAAAAAAD/////AAEBbgQAAHgAAAAKCgAAAAByhIwABgAAAAAAAW8EAAB4AAAACgoBAAAA////AP////8AAA9wBAAAAQAAAAijAQAAAZ0EAABNAQAAClgCAAABIwUAAAICAAACAAAAASQFAAADAgAAAQAAAAElBQAAFQAAAMacXEL3d25DvOokQqzBZ0IBJgUAAAUCAAAAAAAAAACgQAABJwUAACEAAAASiZdCFriFQwEoBQAAoAAAAAAAAAAAAAAAAAAAAAAJKQUAAAAAAAAJKgUAAAAAASsFAACpAAAAAAAAAAEsBQAAcgAAAAAAAEIAAEBBAS0FAAAVAAAAAABwQrrogkNIRQBCo4suQRKDvj8GLgUAAAUxMS4zJQoJLwUAAAkOAgAANAMAAP////8BAQoJMAUAAAEACgABngQAABwAAAABMQUAACEAAADGnFBCMbSVQwEyBQAAIQAAAMHDxkL3d2tDCTMFAAAJNAUAAAAAAAAKATUFAAByAAAAAAAAAAAAAAABNgUAAHIAAAAAAAAAAAAAAAAAAAABNwUAABUAAAAAAAAAAAAAAAAAAAAAAAAApAEAAP////8BAQoJOAUAAAEACgAHnwQAAAABAAAAAgAAAAQaQXBsb3Jpcy5CYXNlLlVJLlZpc3VhbExpbmUDAAAACgoHoAQAAAABAAAAAwAAAAQVU3lzdGVtLkRyYXdpbmcuUG9pbnRGBAAAAAE5BQAAIQAAABKJl0IWuIVDAToFAAAhAAAAxpxEQha4hUMBOwUAACEAAADBw8xCFriFQwehBAAAAAEAAAADAAAABBdBcGxvcmlzLkJhc2UuQW5jaG9yTW9kZQMAAAABPAUAAKAAAAAAAAAAAT0FAACgAAAAAgAAAAE+BQAAoAAAAAQAAAABogQAACUAAAAJ7gAAAAAAAAAAAAAAAaMEAAAmAAAACT8FAAACAAAADgAAAAGkBAAATQEAAApYAgAAAUAFAAACAgAAAgAAAAFBBQAAAwIAAAEAAAABQgUAABUAAABiSU5DrxmIQ8DqJEIgqMFBAUMFAAAFAgAAAAAAAAAAoEAAAUQFAAAhAAAAuuZiQ/AmjkMBRQUAAKAAAAAAAAAAAAAAAAAAAAAACUYFAAAAAAAACUcFAAAAAAFIBQAAqQAAAAAAAAABSQUAAHIAAAAAANBBAABAQQFKBQAAFQAAAOiiVUOji4tDqOfUQaOLLkESg74/BksFAAAENS4zJQoJTAUAAAkOAgAANAMAAP////8BAQoJTQUAAAEACgABpQQAABwAAAABTgUAACEAAABiSUtDMbSVQwFPBQAAIQAAABKEekOvmYZDCVAFAAAJUQUAAAAAAAAKAVIFAAByAAAAAAAAAAAAAAABUwUAAHIAAAAAAAAAAAAAAAAAAAABVAUAABUAAAAAAAAAAAAAAAAAAAAAAAAApAEAAP////8BAQoJVQUAAAEACgAHpgQAAAABAAAAAgAAAAQaQXBsb3Jpcy5CYXNlLlVJLlZpc3VhbExpbmUDAAAACgoHpwQAAAABAAAAAwAAAAQVU3lzdGVtLkRyYXdpbmcuUG9pbnRGBAAAAAFWBQAAIQAAALrmYkPwJo5DAVcFAAAhAAAAYklIQ/AmjkMBWAUAACEAAAAShH1D8CaOQweoBAAAAAEAAAADAAAABBdBcGxvcmlzLkJhc2UuQW5jaG9yTW9kZQMAAAABWQUAAKAAAAAAAAAAAVoFAACgAAAAAgAAAAFbBQAAoAAAAAQAAAABqQQAACUAAAAJQQIAAAAAAAAAAAAAAaoEAAAmAAAACVwFAAACAAAAAgAAAAGrBAAATQEAAApYAgAAAV0FAAACAgAAAgAAAAFeBQAAAwIAAAEAAAABXwUAABUAAAA97YxDfQNOQ8DqJELKybRCAWAFAAAFAgAAAAAAAAAAoEAAAWEFAAAhAAAA6TuXQ/A1e0MBYgUAAKAAAAAAAAAAAAAAAAAAAAAACWMFAAAAAAAACWQFAAAAAAFlBQAAqQAAAAAAAAABZgUAAHIAAAAAAABCAABAQQFnBQAAFQAAAIsuj0NddHVDSEUAQqOLLkESg74/BmgFAAAFMTcuMCUKCWkFAAAJDgIAADQDAAD/////AQEKCWoFAAABAAoAAawEAAAcAAAAAWsFAAAhAAAAPW2LQzG0lUMBbAUAACEAAACVCqNDfQNLQwltBQAACW4FAAAAAAAACgFvBQAAcgAAAAAAAAAAAAAAAXAFAAByAAAAAAAAAAAAAAAAAAAAAXEFAAAVAAAAAAAAAAAAAAAAAAAAAAAAAKQBAAD/////AQEKCXIFAAABAAoAB60EAAAAAQAAAAIAAAAEGkFwbG9yaXMuQmFzZS5VSS5WaXN1YWxMaW5lAwAAAAoKB64EAAAAAQAAAAMAAAAEFVN5c3RlbS5EcmF3aW5nLlBvaW50RgQAAAABcwUAACEAAADpO5dD8DV7QwF0BQAAIQAAAD3tiUPwNXtDAXUFAAAhAAAAlYqkQ/A1e0MHrwQAAAABAAAAAwAAAAQXQXBsb3Jpcy5CYXNlLkFuY2hvck1vZGUDAAAAAXYFAACgAAAAAAAAAAF3BQAAoAAAAAIAAAABeAUAAKAAAAAEAAAAAbAEAAAlAAAACU0CAAAAAAAAAAAAAAGxBAAAJgAAAAl5BQAAAgAAAAIAAAABsgQAAE0BAAAKWAIAAAF6BQAAAgIAAAIAAAABewUAAAMCAAABAAAAAXwFAAAVAAAAyrWyQ5fxhUPA6iRCoCnkQQF9BQAABQIAAAAAAAAAAKBAAAF+BQAAIQAAAHYEvUPkEo1DAX8FAACgAAAAAAAAAAAAAAAAAAAAAAmABQAAAAAAAAmBBQAAAAABggUAAKkAAAAAAAAAAYMFAAByAAAAAADQQQAAQEEBhAUAABUAAADRRbZDiy6KQ6jn1EGjiy5BEoO+PwaFBQAABDYuMSUKCYYFAAAJDgIAADQDAAD/////AQEKCYcFAAABAAoAAbMEAAAcAAAAAYgFAAAhAAAAyjWxQzG0lUMBiQUAACEAAAAi08hDl3GEQwmKBQAACYsFAAAAAAAACgGMBQAAcgAAAAAAAAAAAAAAAY0FAAByAAAAAAAAAAAAAAAAAAAAAY4FAAAVAAAAAAAAAAAAAAAAAAAAAAAAAKQBAAD/////AQEKCY8FAAABAAoAB7QEAAAAAQAAAAIAAAAEGkFwbG9yaXMuQmFzZS5VSS5WaXN1YWxMaW5lAwAAAAoKB7UEAAAAAQAAAAMAAAAEFVN5c3RlbS5EcmF3aW5nLlBvaW50RgQAAAABkAUAACEAAAB2BL1D5BKNQwGRBQAAIQAAAMq1r0PkEo1DAZIFAAAhAAAAIlPKQ+QSjUMHtgQAAAABAAAAAwAAAAQXQXBsb3Jpcy5CYXNlLkFuY2hvck1vZGUDAAAAAZMFAACgAAAAAAAAAAGUBQAAoAAAAAIAAAABlQUAAKAAAAAEAAAAAbcEAAAlAAAACU0CAAAAAAAAAAAAAAG4BAAAJgAAAAmWBQAAAgAAAAIAAAABuQQAAE0BAAAKWAIAAAGXBQAAAgIAAAIAAAABmAUAAAMCAAABAAAAAZkFAAAVAAAAVn7YQ2eWXEPA6iRC9qOXQgGaBQAABQIAAAAAAAAAAKBAAAGbBQAAIQAAAALN4kOyP4FDAZwFAACgAAAAAAAAAAAAAAAAAAAAAAmdBQAAAAAAAAmeBQAAAAABnwUAAKkAAAAAAAAAAaAFAAByAAAAAAAAQgAAQEEBoQUAABUAAADootpDLrp8Q0hFAEKjiy5BEoO+PwaiBQAABTE0LjQlCgmjBQAACQ4CAAA0AwAA/////wEBCgmkBQAAAQAKAAG6BAAAHAAAAAGlBQAAIQAAAFb+1kMxtJVDAaYFAAAhAAAArpvuQ2eWWUMJpwUAAAmoBQAAAAAAAAoBqQUAAHIAAAAAAAAAAAAAAAGqBQAAcgAAAAAAAAAAAAAAAAAAAAGrBQAAFQAAAAAAAAAAAAAAAAAAAAAAAACkAQAA/////wEBCgmsBQAAAQAKAAe7BAAAAAEAAAACAAAABBpBcGxvcmlzLkJhc2UuVUkuVmlzdWFsTGluZQMAAAAKCge8BAAAAAEAAAADAAAABBVTeXN0ZW0uRHJhd2luZy5Qb2ludEYEAAAAAa0FAAAhAAAAAs3iQ7I/gUMBrgUAACEAAABWftVDsj+BQwGvBQAAIQAAAK4b8EOyP4FDB70EAAAAAQAAAAMAAAAEF0FwbG9yaXMuQmFzZS5BbmNob3JNb2RlAwAAAAGwBQAAoAAAAAAAAAABsQUAAKAAAAACAAAAAbIFAACgAAAABAAAAAG+BAAAJQAAAAlBAgAAAAAAAAAAAAABvwQAACYAAAAJswUAAAIAAAACAAAAAcAEAABNAQAAClgCAAABtAUAAAICAAACAAAAAbUFAAADAgAAAQAAAAG2BQAAFQAAAOJG/kMrh4JDwOokQjBoDUIBtwUAAAUCAAAAAAAAAACgQAABuAUAACEAAADHSgRErl2LQwG5BQAAoAAAAAAAAAAAAAAAAAAAAAAJugUAAAAAAAAJuwUAAAAAAbwFAACpAAAAAAAAAAG9BQAAcgAAAAAA0EEAAEBBAb4FAAAVAAAAF90ARHTRiEOo59RBo4suQRKDvj8GvwUAAAQ3LjMlCgnABQAACQ4CAAA0AwAA/////wEBCgnBBQAAAQAKAAHBBAAAHAAAAAHCBQAAIQAAAOLG/EMxtJVDAcMFAAAhAAAAHTIKRCsHgUMJxAUAAAnFBQAAAAAAAAoBxgUAAHIAAAAAAAAAAAAAAAHHBQAAcgAAAAAAAAAAAAAAAAAAAAHIBQAAFQAAAAAAAAAAAAAAAAAAAAAAAACkAQAA/////wEBCgnJBQAAAQAKAAfCBAAAAAEAAAACAAAABBpBcGxvcmlzLkJhc2UuVUkuVmlzdWFsTGluZQMAAAAKCgfDBAAAAAEAAAADAAAABBVTeXN0ZW0uRHJhd2luZy5Qb2ludEYEAAAAAcoFAAAhAAAAx0oERK5di0MBywUAACEAAADiRvtDrl2LQwHMBQAAIQAAAB3yCkSuXYtDB8QEAAAAAQAAAAMAAAAEF0FwbG9yaXMuQmFzZS5BbmNob3JNb2RlAwAAAAHNBQAAoAAAAAAAAAABzgUAAKAAAAACAAAAAc8FAACgAAAABAAAAAHFBAAAJQAAAAlBAgAAAAAAAAAAAAABxgQAACYAAAAJ0AUAAAIAAAACAAAAAccEAABNAQAAClgCAAAB0QUAAAICAAACAAAAAdIFAAADAgAAAQAAAAHTBQAAFQAAALcHEkRGNm9DwOokQnDIZEIB1AUAAAUCAAAAAAAAAACgQAAB1QUAACEAAAANLxdEqueFQwHWBQAAoAAAAAAAAAAAAAAAAAAAAAAJ1wUAAAAAAAAJ2AUAAAAAAdkFAACpAAAAAAAAAAHaBQAAcgAAAAAAAEIAAEBBAdsFAAAVAAAA0UUTRBddg0NIRQBCo4suQRKDvj8G3AUAAAUxMS4xJQoJ3QUAAAkOAgAANAMAAP////8BAQoJ3gUAAAEACgAByAQAABwAAAAB3wUAACEAAAC3RxFEMbSVQwHgBQAAIQAAAGMWHURGNmxDCeEFAAAJ4gUAAAAAAAAKAeMFAAByAAAAAAAAAAAAAAAB5AUAAHIAAAAAAAAAAAAAAAAAAAAB5QUAABUAAAAAAAAAAAAAAAAAAAAAAAAApAEAAP////8BAQoJ5gUAAAEACgAHyQQAAAABAAAAAgAAAAQaQXBsb3Jpcy5CYXNlLlVJLlZpc3VhbExpbmUDAAAACgoHygQAAAABAAAAAwAAAAQVU3lzdGVtLkRyYXdpbmcuUG9pbnRGBAAAAAHnBQAAIQAAAA0vF0Sq54VDAegFAAAhAAAAt4cQRKrnhUMB6QUAACEAAABj1h1EqueFQwfLBAAAAAEAAAADAAAABBdBcGxvcmlzLkJhc2UuQW5jaG9yTW9kZQMAAAAB6gUAAKAAAAAAAAAAAesFAACgAAAAAgAAAAHsBQAAoAAAAAQAAAABzAQAACUAAAAJQQIAAAAAAAAAAAAAAc0EAAAmAAAACe0FAAACAAAAAgAAAAHOBAAATQEAAApYAgAAAe4FAAACAgAAAgAAAAHvBQAAAwIAAAEAAAAB8AUAABUAAADGnFxCxQ+/QrzqJEIU8AhDAfEFAAAFAgAAAAAAAAAAoEAAAfIFAAAhAAAAEomXQu3/I0MB8wUAAKAAAAAAAAAAAAAAAAAAACBBCfQFAAAAAAAACfUFAAAAAAH2BQAAqQAAAAAAAAAB9wUAAHIAAAAAAABCAABAQQH4BQAAFQAAAAAAcEKLLihDSEUAQqOLLkESg74/BvkFAAAFMjUuMiUKCfoFAAAJDgIAADQDAAD/////AQEKCfsFAAABAAoAAc8EAAAcAAAAAfwFAAAhAAAAxpxQQvd3a0MB/QUAACEAAADBw8ZCxQ+5Qgn+BQAACf8FAAAAAAAACgEABgAAcgAAAAAAAAAAAAAAAQEGAAByAAAAAAAAAAAAAAAAAAAAAQIGAAAVAAAAAAAAAAAAAAAAAAAAAAAAAKQBAAD/////AQEKCQMGAAABAAoAB9AEAAAAAQAAAAIAAAAEGkFwbG9yaXMuQmFzZS5VSS5WaXN1YWxMaW5lAwAAAAoKB9EEAAAAAQAAAAMAAAAEFVN5c3RlbS5EcmF3aW5nLlBvaW50RgQAAAABBAYAACEAAAASiZdC7f8jQwEFBgAAIQAAAMacRELt/yNDAQYGAAAhAAAAwcPMQu3/I0MH0gQAAAABAAAAAwAAAAQXQXBsb3Jpcy5CYXNlLkFuY2hvck1vZGUDAAAAAQcGAACgAAAAAAAAAAEIBgAAoAAAAAIAAAABCQYAAKAAAAAEAAAAAdMEAAAlAAAACQoGAAAAAAAAAAAAAAHUBAAAJgAAAAkLBgAAAgAAAAYAAAAB1QQAAE0BAAAKWAIAAAEMBgAAAgIAAAIAAAABDQYAAAMCAAABAAAAAQ4GAAAVAAAAYklOQ/66EkPA6iRCwPDuQgEPBgAABQIAAAAAAAAAAKBAAAEQBgAAIQAAALrmYkMud05DAREGAACgAAAAAAAAAAAAAAAAAAAAAAkSBgAAAAAAAAkTBgAAAAABFAYAAKkAAAAAAAAAARUGAAByAAAAAAAAQgAAQEEBFgYAABUAAAC66FJDuuhIQ0hFAEKjiy5BEoO+PwYXBgAABTIyLjElCgkYBgAACQ4CAAA0AwAA/////wEBCgkZBgAAAQAKAAHWBAAAHAAAAAEaBgAAIQAAAGJJS0OvmYZDARsGAAAhAAAAEoR6Q/66D0MJHAYAAAkdBgAAAAAAAAoBHgYAAHIAAAAAAAAAAAAAAAEfBgAAcgAAAAAAAAAAAAAAAAAAAAEgBgAAFQAAAAAAAAAAAAAAAAAAAAAAAACkAQAA/////wEBCgkhBgAAAQAKAAfXBAAAAAEAAAACAAAABBpBcGxvcmlzLkJhc2UuVUkuVmlzdWFsTGluZQMAAAAKCgfYBAAAAAEAAAADAAAABBVTeXN0ZW0uRHJhd2luZy5Qb2ludEYEAAAAASIGAAAhAAAAuuZiQy53TkMBIwYAACEAAABiSUhDLndOQwEkBgAAIQAAABKEfUMud05DB9kEAAAAAQAAAAMAAAAEF0FwbG9yaXMuQmFzZS5BbmNob3JNb2RlAwAAAAElBgAAoAAAAAAAAAABJgYAAKAAAAACAAAAAScGAACgAAAABAAAAAHaBAAAJQAAAAlBAgAAAAAAAAAAAAAB2wQAACYAAAAJKAYAAAIAAAACAAAAAdwEAABNAQAAClgCAAABKQYAAAICAAACAAAAASoGAAADAgAAAQAAAAErBgAAFQAAAD3tjEN2j6pCwOokQoR35UIBLAYAAAUCAAAAAAAAAACgQAABLQYAACEAAADpO5dDnKUOQwEuBgAAoAAAAAAAAAAAAAAAAAAAAAAJLwYAAAAAAAAJMAYAAAAAATEGAACpAAAAAAAAAAEyBgAAcgAAAAAAAEIAAEBBATMGAAAVAAAAiy6PQ9FFCUNIRQBCo4suQRKDvj8GNAYAAAUyMS4zJQoJNQYAAAkOAgAANAMAAP////8BAQoJNgYAAAEACgAB3QQAABwAAAABNwYAACEAAAA9bYtDfQNLQwE4BgAAIQAAAJUKo0N2j6RCCTkGAAAJOgYAAAAAAAAKATsGAAByAAAAAAAAAAAAAAABPAYAAHIAAAAAAAAAAAAAAAAAAAABPQYAABUAAAAAAAAAAAAAAAAAAAAAAAAApAEAAP////8BAQoJPgYAAAEACgAH3gQAAAABAAAAAgAAAAQaQXBsb3Jpcy5CYXNlLlVJLlZpc3VhbExpbmUDAAAACgoH3wQAAAABAAAAAwAAAAQVU3lzdGVtLkRyYXdpbmcuUG9pbnRGBAAAAAE/BgAAIQAAAOk7l0OcpQ5DAUAGAAAhAAAAPe2JQ5ylDkMBQQYAACEAAACViqRDnKUOQwfgBAAAAAEAAAADAAAABBdBcGxvcmlzLkJhc2UuQW5jaG9yTW9kZQMAAAABQgYAAKAAAAAAAAAAAUMGAACgAAAAAgAAAAFEBgAAoAAAAAQAAAAB4QQAACUAAAAJCgYAAAAAAAAAAAAAAeIEAAAmAAAACUUGAAACAAAAAgAAAAHjBAAATQEAAApYAgAAAUYGAAACAgAAAgAAAAFHBgAAAwIAAAEAAAABSAYAABUAAADKtbJDWmPbQsDqJEKBMRhDAUkGAAAFAgAAAAAAAAAAoEAAAUoGAAAhAAAAdgS9Q27KOUMBSwYAAKAAAAAAAAAAAAAAAAAAAAAACUwGAAAAAAAACU0GAAAAAAFOBgAAqQAAAAAAAAABTwYAAHIAAAAAAABCAABAQQFQBgAAFQAAALrotEMAADRDSEUAQqOLLkESg74/BlEGAAAFMjcuOSUKCVIGAAAJDgIAADQDAAD/////AQEKCVMGAAABAAoAAeQEAAAcAAAAAVQGAAAhAAAAyjWxQ5dxhEMBVQYAACEAAAAi08hDWmPVQglWBgAACVcGAAAAAAAACgFYBgAAcgAAAAAAAAAAAAAAAVkGAAByAAAAAAAAAAAAAAAAAAAAAVoGAAAVAAAAAAAAAAAAAAAAAAAAAAAAAKQBAAD/////AQEKCVsGAAABAAoAB+UEAAAAAQAAAAIAAAAEGkFwbG9yaXMuQmFzZS5VSS5WaXN1YWxMaW5lAwAAAAoKB+YEAAAAAQAAAAMAAAAEFVN5c3RlbS5EcmF3aW5nLlBvaW50RgQAAAABXAYAACEAAAB2BL1Dbso5QwFdBgAAIQAAAMq1r0NuyjlDAV4GAAAhAAAAIlPKQ27KOUMH5wQAAAABAAAAAwAAAAQXQXBsb3Jpcy5CYXNlLkFuY2hvck1vZGUDAAAAAV8GAACgAAAAAAAAAAFgBgAAoAAAAAIAAAABYQYAAKAAAAAEAAAAAegEAAAlAAAACQoGAAAAAAAAAAAAAAHpBAAAJgAAAAliBgAAAgAAAAIAAAAB6gQAAE0BAAAKWAIAAAFjBgAAAgIAAAIAAAABZAYAAAMCAAABAAAAAWUGAAAVAAAAVn7YQ5L44UHA6iRCVVc6QwFmBgAABQIAAAAAAAAAAKBAAAFnBgAAIQAAAALN4kN51fJCAWgGAACgAAAAAAAAAAAAAAAAAAAAAAlpBgAAAAAAAAlqBgAAAAABawYAAKkAAAAAAAAAAWwGAAByAAAAAAAAQgAAQEEBbQYAABUAAADootpDLrroQkhFAEKjiy5BEoO+PwZuBgAABTMzLjklCglvBgAACQ4CAAA0AwAA/////wEBCglwBgAAAQAKAAHrBAAAHAAAAAFxBgAAIQAAAFb+1kNnlllDAXIGAAAhAAAArpvuQ5L4yUEJcwYAAAl0BgAAAAAAAAoBdQYAAHIAAAAAAAAAAAAAAAF2BgAAcgAAAAAAAAAAAAAAAAAAAAF3BgAAFQAAAAAAAAAAAAAAAAAAAAAAAACkAQAA/////wEBCgl4BgAAAQAKAAfsBAAAAAEAAAACAAAABBpBcGxvcmlzLkJhc2UuVUkuVmlzdWFsTGluZQMAAAAKCgftBAAAAAEAAAADAAAABBVTeXN0ZW0uRHJhd2luZy5Qb2ludEYEAAAAAXkGAAAhAAAAAs3iQ3nV8kIBegYAACEAAABWftVDedXyQgF7BgAAIQAAAK4b8EN51fJCB+4EAAAAAQAAAAMAAAAEF0FwbG9yaXMuQmFzZS5BbmNob3JNb2RlAwAAAAF8BgAAoAAAAAAAAAABfQYAAKAAAAACAAAAAX4GAACgAAAABAAAAAHvBAAAJQAAAAlBAgAAAAAAAAAAAAAB8AQAACYAAAAJfwYAAAIAAAACAAAAAfEEAABNAQAAClgCAAABgAYAAAICAAACAAAAAYEGAAADAgAAAQAAAAGCBgAAFQAAAOJG/kP8xRNDwOokQrSQ1kIBgwYAAAUCAAAAAAAAAACgQAABhAYAACEAAADHSgREKWpJQwGFBgAAoAAAAAAAAAAAAAAAAAAAAAAJhgYAAAAAAAAJhwYAAAAAAYgGAACpAAAAAAAAAAGJBgAAcgAAAAAAAEIAAEBBAYoGAAAVAAAAiy4ARBddRENIRQBCo4suQRKDvj8GiwYAAAUyMC4wJQoJjAYAAAkOAgAANAMAAP////8BAQoJjQYAAAEACgAB8gQAABwAAAABjgYAACEAAADixvxDKweBQwGPBgAAIQAAAB0yCkT8xRBDCZAGAAAJkQYAAAAAAAAKAZIGAAByAAAAAAAAAAAAAAABkwYAAHIAAAAAAAAAAAAAAAAAAAABlAYAABUAAAAAAAAAAAAAAAAAAAAAAAAApAEAAP////8BAQoJlQYAAAEACgAH8wQAAAABAAAAAgAAAAQaQXBsb3Jpcy5CYXNlLlVJLlZpc3VhbExpbmUDAAAACgoH9AQAAAABAAAAAwAAAAQVU3lzdGVtLkRyYXdpbmcuUG9pbnRGBAAAAAGWBgAAIQAAAMdKBEQpaklDAZcGAAAhAAAA4kb7QylqSUMBmAYAACEAAAAd8gpEKWpJQwf1BAAAAAEAAAADAAAABBdBcGxvcmlzLkJhc2UuQW5jaG9yTW9kZQMAAAABmQYAAKAAAAAAAAAAAZoGAACgAAAAAgAAAAGbBgAAoAAAAAQAAAAB9gQAACUAAAAJQQIAAAAAAAAAAAAAAfcEAAAmAAAACZwGAAACAAAAAgAAAAH4BAAATQEAAApYAgAAAZ0GAAACAgAAAgAAAAGeBgAAAwIAAAEAAAABnwYAABUAAAC3BxJEglqYQsDqJEIFCR1DAaAGAAAFAgAAAAAAAAAAoEAAAaEGAAAhAAAADS8XRMSxGkMBogYAAKAAAAAAAAAAAAAAAAAAAAAACaMGAAAAAAAACaQGAAAAAAGlBgAAqQAAAAAAAAABpgYAAHIAAAAAAABCAABAQQGnBgAAFQAAANFFE0RGFxVDSEUAQqOLLkESg74/BqgGAAAFMjguNyUKCakGAAAJDgIAADQDAAD/////AQEKCaoGAAABAAoAAfkEAAAcAAAAAasGAAAhAAAAt0cRREY2bEMBrAYAACEAAABjFh1EglqSQgmtBgAACa4GAAAAAAAACgGvBgAAcgAAAAAAAAAAAAAAAbAGAAByAAAAAAAAAAAAAAAAAAAAAbEGAAAVAAAAAAAAAAAAAAAAAAAAAAAAAKQBAAD/////AQEKCbIGAAABAAoAB/oEAAAAAQAAAAIAAAAEGkFwbG9yaXMuQmFzZS5VSS5WaXN1YWxMaW5lAwAAAAoKB/sEAAAAAQAAAAMAAAAEFVN5c3RlbS5EcmF3aW5nLlBvaW50RgQAAAABswYAACEAAAANLxdExLEaQwG0BgAAIQAAALeHEETEsRpDAbUGAAAhAAAAY9YdRMSxGkMH/AQAAAABAAAAAwAAAAQXQXBsb3Jpcy5CYXNlLkFuY2hvck1vZGUDAAAAAbYGAACgAAAAAAAAAAG3BgAAoAAAAAIAAAABuAYAAKAAAAAEAAAAAf0EAAAlAAAACUECAAAAAAAAAAAAAAH+BAAAJgAAAAm5BgAAAgAAAAIAAAABKQUAACMAAAAKCgAAAAAAKEEJdgAAAAl3AAAACboGAAAAAAm7BgAAASoFAAB4AAAACgoAAAAAP2l+AAUAAAAAAQEvBQAArQAAAAm8BgAAAQAAAAMAAAABMAUAAHUAAAAJvQYAAAoBMwUAAHAAAAAKCgAAAEA/Cb4GAAAJvwYAAAEAAAD+////AAAAAAEAAAAAAAAAAAAAAAEAAAAAAAAAAAAAATQFAABxAAAACgoJwAYAAAnBBgAAAQAAAP7///8AAAAA/////wEAATgFAAB1AAAACcIGAAAKBz8FAAAAAQAAAAQAAAAEHEFwbG9yaXMuQmFzZS5VSS5WaXN1YWxPYmplY3QDAAAACZ4EAAAJnQQAAAoKAUYFAAAjAAAACgoAAAAAAChBCXYAAAAJdwAAAAnDBgAAAAAJxAYAAAFHBQAAeAAAAAoKAAAAAD9pfgAFAAAAAAEBTAUAAK0AAAAJxQYAAAEAAAADAAAAAU0FAAB1AAAACcYGAAAKAVAFAABwAAAACgoAAABAPwnHBgAACcgGAAABAAAA/v///wAAAAABAAAAAAAAAAAAAAABAAAAAAAAAAAAAAFRBQAAcQAAAAoKCckGAAAJygYAAAEAAAD+////AAAAAP////8BAAFVBQAAdQAAAAnLBgAACgdcBQAAAAEAAAAEAAAABBxBcGxvcmlzLkJhc2UuVUkuVmlzdWFsT2JqZWN0AwAAAAmlBAAACaQEAAAKCgFjBQAAIwAAAAoKAAAAAAAoQQl2AAAACXcAAAAJzAYAAAAACc0GAAABZAUAAHgAAAAKCgAAAAA/aX4ABQAAAAABAWkFAACtAAAACc4GAAABAAAAAwAAAAFqBQAAdQAAAAnPBgAACgFtBQAAcAAAAAoKAAAAQD8J0AYAAAnRBgAAAQAAAP7///8AAAAAAQAAAAAAAAAAAAAAAQAAAAAAAAAAAAABbgUAAHEAAAAKCgnSBgAACdMGAAABAAAA/v///wAAAAD/////AQABcgUAAHUAAAAJ1AYAAAoHeQUAAAABAAAABAAAAAQcQXBsb3Jpcy5CYXNlLlVJLlZpc3VhbE9iamVjdAMAAAAJrAQAAAmrBAAACgoBgAUAACMAAAAKCgAAAAAAKEEJdgAAAAl3AAAACdUGAAAAAAnWBgAAAYEFAAB4AAAACgoAAAAAP2l+AAUAAAAAAQGGBQAArQAAAAnXBgAAAQAAAAMAAAABhwUAAHUAAAAJ2AYAAAoBigUAAHAAAAAKCgAAAEA/CdkGAAAJ2gYAAAEAAAD+////AAAAAAEAAAAAAAAAAAAAAAEAAAAAAAAAAAAAAYsFAABxAAAACgoJ2wYAAAncBgAAAQAAAP7///8AAAAA/////wEAAY8FAAB1AAAACd0GAAAKB5YFAAAAAQAAAAQAAAAEHEFwbG9yaXMuQmFzZS5VSS5WaXN1YWxPYmplY3QDAAAACbMEAAAJsgQAAAoKAZ0FAAAjAAAACgoAAAAAAChBCXYAAAAJdwAAAAneBgAAAAAJ3wYAAAGeBQAAeAAAAAoKAAAAAD9pfgAFAAAAAAEBowUAAK0AAAAJ4AYAAAEAAAADAAAAAaQFAAB1AAAACeEGAAAKAacFAABwAAAACgoAAABAPwniBgAACeMGAAABAAAA/v///wAAAAABAAAAAAAAAAAAAAABAAAAAAAAAAAAAAGoBQAAcQAAAAoKCeQGAAAJ5QYAAAEAAAD+////AAAAAP////8BAAGsBQAAdQAAAAnmBgAACgezBQAAAAEAAAAEAAAABBxBcGxvcmlzLkJhc2UuVUkuVmlzdWFsT2JqZWN0AwAAAAm6BAAACbkEAAAKCgG6BQAAIwAAAAoKAAAAAAAoQQl2AAAACXcAAAAJ5wYAAAAACegGAAABuwUAAHgAAAAKCgAAAAA/aX4ABQAAAAABAcAFAACtAAAACekGAAABAAAAAwAAAAHBBQAAdQAAAAnqBgAACgHEBQAAcAAAAAoKAAAAQD8J6wYAAAnsBgAAAQAAAP7///8AAAAAAQAAAAAAAAAAAAAAAQAAAAAAAAAAAAABxQUAAHEAAAAKCgntBgAACe4GAAABAAAA/v///wAAAAD/////AQAByQUAAHUAAAAJ7wYAAAoH0AUAAAABAAAABAAAAAQcQXBsb3Jpcy5CYXNlLlVJLlZpc3VhbE9iamVjdAMAAAAJwQQAAAnABAAACgoB1wUAACMAAAAKCgAAAAAAKEEJdgAAAAl3AAAACfAGAAAAAAnxBgAAAdgFAAB4AAAACgoAAAAAP2l+AAUAAAAAAQHdBQAArQAAAAnyBgAAAQAAAAMAAAAB3gUAAHUAAAAJ8wYAAAoB4QUAAHAAAAAKCgAAAEA/CfQGAAAJ9QYAAAEAAAD+////AAAAAAEAAAAAAAAAAAAAAAEAAAAAAAAAAAAAAeIFAABxAAAACgoJ9gYAAAn3BgAAAQAAAP7///8AAAAA/////wEAAeYFAAB1AAAACfgGAAAKB+0FAAAAAQAAAAQAAAAEHEFwbG9yaXMuQmFzZS5VSS5WaXN1YWxPYmplY3QDAAAACcgEAAAJxwQAAAoKAfQFAAAjAAAACgoAAAAAAChBCXYAAAAJdwAAAAn5BgAAAAAJ+gYAAAH1BQAAeAAAAAoKAAAAAHKEjAAGAAAAAAEB+gUAAK0AAAAJ+wYAAAEAAAADAAAAAfsFAAB1AAAACfwGAAAKAf4FAABwAAAACgoAAABAPwn9BgAACf4GAAABAAAA/v///wAAAAABAAAAAAAAAAAAAAABAAAAAAAAAAAAAAH/BQAAcQAAAAoKCf8GAAAJAAcAAAEAAAD+////AAAAAP////8BAAEDBgAAdQAAAAkBBwAACgcKBgAAAAEAAAAAAAAABB9BcGxvcmlzLkJhc2UuT2JqZWN0cy5EYXRhT2JqZWN0AwAAAAcLBgAAAAEAAAAEAAAABBxBcGxvcmlzLkJhc2UuVUkuVmlzdWFsT2JqZWN0AwAAAAnPBAAACc4EAAAKCgESBgAAIwAAAAoKAAAAAAAoQQl2AAAACXcAAAAJAgcAAAAACQMHAAABEwYAAHgAAAAKCgAAAAByhIwABgAAAAABARgGAACtAAAACQQHAAABAAAAAwAAAAEZBgAAdQAAAAkFBwAACgEcBgAAcAAAAAoKAAAAQD8JBgcAAAkHBwAAAQAAAP7///8AAAAAAQAAAAAAAAAAAAAAAQAAAAAAAAAAAAABHQYAAHEAAAAKCgkIBwAACQkHAAABAAAA/v///wAAAAD/////AQABIQYAAHUAAAAJCgcAAAoHKAYAAAABAAAABAAAAAQcQXBsb3Jpcy5CYXNlLlVJLlZpc3VhbE9iamVjdAMAAAAJ1gQAAAnVBAAACgoBLwYAACMAAAAKCgAAAAAAKEEJdgAAAAl3AAAACQsHAAAAAAkMBwAAATAGAAB4AAAACgoAAAAAcoSMAAYAAAAAAQE1BgAArQAAAAkNBwAAAQAAAAMAAAABNgYAAHUAAAAJDgcAAAoBOQYAAHAAAAAKCgAAAEA/CQ8HAAAJEAcAAAEAAAD+////AAAAAAEAAAAAAAAAAAAAAAEAAAAAAAAAAAAAAToGAABxAAAACgoJEQcAAAkSBwAAAQAAAP7///8AAAAA/////wEAAT4GAAB1AAAACRMHAAAKB0UGAAAAAQAAAAQAAAAEHEFwbG9yaXMuQmFzZS5VSS5WaXN1YWxPYmplY3QDAAAACd0EAAAJ3AQAAAoKAUwGAAAjAAAACgoAAAAAAChBCXYAAAAJdwAAAAkUBwAAAAAJFQcAAAFNBgAAeAAAAAoKAAAAAHKEjAAGAAAAAAEBUgYAAK0AAAAJFgcAAAEAAAADAAAAAVMGAAB1AAAACRcHAAAKAVYGAABwAAAACgoAAABAPwkYBwAACRkHAAABAAAA/v///wAAAAABAAAAAAAAAAAAAAABAAAAAAAAAAAAAAFXBgAAcQAAAAoKCRoHAAAJGwcAAAEAAAD+////AAAAAP////8BAAFbBgAAdQAAAAkcBwAACgdiBgAAAAEAAAAEAAAABBxBcGxvcmlzLkJhc2UuVUkuVmlzdWFsT2JqZWN0AwAAAAnkBAAACeMEAAAKCgFpBgAAIwAAAAoKAAAAAAAoQQl2AAAACXcAAAAJHQcAAAAACR4HAAABagYAAHgAAAAKCgAAAAByhIwABgAAAAABAW8GAACtAAAACR8HAAABAAAAAwAAAAFwBgAAdQAAAAkgBwAACgFzBgAAcAAAAAoKAAAAQD8JIQcAAAkiBwAAAQAAAP7///8AAAAAAQAAAAAAAAAAAAAAAQAAAAAAAAAAAAABdAYAAHEAAAAKCgkjBwAACSQHAAABAAAA/v///wAAAAD/////AQABeAYAAHUAAAAJJQcAAAoHfwYAAAABAAAABAAAAAQcQXBsb3Jpcy5CYXNlLlVJLlZpc3VhbE9iamVjdAMAAAAJ6wQAAAnqBAAACgoBhgYAACMAAAAKCgAAAAAAKEEJdgAAAAl3AAAACSYHAAAAAAknBwAAAYcGAAB4AAAACgoAAAAAcoSMAAYAAAAAAQGMBgAArQAAAAkoBwAAAQAAAAMAAAABjQYAAHUAAAAJKQcAAAoBkAYAAHAAAAAKCgAAAEA/CSoHAAAJKwcAAAEAAAD+////AAAAAAEAAAAAAAAAAAAAAAEAAAAAAAAAAAAAAZEGAABxAAAACgoJLAcAAAktBwAAAQAAAP7///8AAAAA/////wEAAZUGAAB1AAAACS4HAAAKB5wGAAAAAQAAAAQAAAAEHEFwbG9yaXMuQmFzZS5VSS5WaXN1YWxPYmplY3QDAAAACfIEAAAJ8QQAAAoKAaMGAAAjAAAACgoAAAAAAChBCXYAAAAJdwAAAAkvBwAAAAAJMAcAAAGkBgAAeAAAAAoKAAAAAHKEjAAGAAAAAAEBqQYAAK0AAAAJMQcAAAEAAAADAAAAAaoGAAB1AAAACTIHAAAKAa0GAABwAAAACgoAAABAPwkzBwAACTQHAAABAAAA/v///wAAAAABAAAAAAAAAAAAAAABAAAAAAAAAAAAAAGuBgAAcQAAAAoKCTUHAAAJNgcAAAEAAAD+////AAAAAP////8BAAGyBgAAdQAAAAk3BwAACge5BgAAAAEAAAAEAAAABBxBcGxvcmlzLkJhc2UuVUkuVmlzdWFsT2JqZWN0AwAAAAn5BAAACfgEAAAKCgG6BgAAeAAAAAoKAAAAAP///wAOAAAAAAABuwYAAHgAAAAKCgAAAAD///8ADgAAAAABB7wGAAAAAQAAAAQAAAAEHUFwbG9yaXMuQmFzZS5PYmplY3RzLlZhcmlhYmxlAwAAAAE4BwAAGAQAAAEAAAAAAAAAATkHAAAYBAAAAAAAAAAAAAABOgcAABgEAAAAAAAAAAAAAAE7BwAAGAQAAAAAAAAAAAAAD70GAAABAAAACNcBAAAFvgYAABpBcGxvcmlzLkJhc2UuT2JqZWN0cy5Db2xvcgcAAAASRGF0YU9iamVjdCttUGFyZW50FURhdGFPYmplY3QrbUNvbnRhaW5lcgVtVHlwZQRtUkdCEG1UaGVtZUNvbG9ySW5kZXgMbUF1dG9VcGRhdGVkCW1Nb2RpZmllZAQCAAAAAAAfQXBsb3Jpcy5CYXNlLk9iamVjdHMuTGluZUZvcm1hdAMAAAAICAgBAQMAAAAJMwUAAAoAAAAA////AA4AAAAAAAW/BgAAGkFwbG9yaXMuQmFzZS5PYmplY3RzLkNvbG9yBwAAABJEYXRhT2JqZWN0K21QYXJlbnQVRGF0YU9iamVjdCttQ29udGFpbmVyBW1UeXBlBG1SR0IQbVRoZW1lQ29sb3JJbmRleAxtQXV0b1VwZGF0ZWQJbU1vZGlmaWVkBAIAAAAAAB9BcGxvcmlzLkJhc2UuT2JqZWN0cy5MaW5lRm9ybWF0AwAAAAgICAEBAwAAAAkzBQAACgEAAAAAAAAA/////wABAcAGAAB4AAAACgoAAAAAP2l+AAUAAAAAAAHBBgAAeAAAAAoKAQAAAP///wD/////AAAPwgYAAAEAAAAIwwEAAAHDBgAAeAAAAAoKAAAAAP///wAOAAAAAAABxAYAAHgAAAAKCgAAAAD///8ADgAAAAABB8UGAAAAAQAAAAQAAAAEHUFwbG9yaXMuQmFzZS5PYmplY3RzLlZhcmlhYmxlAwAAAAE8BwAAGAQAAAEAAAAAAAAAAT0HAAAYBAAAAAAAAAAAAAABPgcAABgEAAAAAAAAAAAAAAE/BwAAGAQAAAAAAAAAAAAAD8YGAAABAAAACFcBAAAFxwYAABpBcGxvcmlzLkJhc2UuT2JqZWN0cy5Db2xvcgcAAAASRGF0YU9iamVjdCttUGFyZW50FURhdGFPYmplY3QrbUNvbnRhaW5lcgVtVHlwZQRtUkdCEG1UaGVtZUNvbG9ySW5kZXgMbUF1dG9VcGRhdGVkCW1Nb2RpZmllZAQCAAAAAAAfQXBsb3Jpcy5CYXNlLk9iamVjdHMuTGluZUZvcm1hdAMAAAAICAgBAQMAAAAJUAUAAAoAAAAA////AA4AAAAAAAXIBgAAGkFwbG9yaXMuQmFzZS5PYmplY3RzLkNvbG9yBwAAABJEYXRhT2JqZWN0K21QYXJlbnQVRGF0YU9iamVjdCttQ29udGFpbmVyBW1UeXBlBG1SR0IQbVRoZW1lQ29sb3JJbmRleAxtQXV0b1VwZGF0ZWQJbU1vZGlmaWVkBAIAAAAAAB9BcGxvcmlzLkJhc2UuT2JqZWN0cy5MaW5lRm9ybWF0AwAAAAgICAEBAwAAAAlQBQAACgEAAAAAAAAA/////wABAckGAAB4AAAACgoAAAAAP2l+AAUAAAAAAAHKBgAAeAAAAAoKAQAAAP///wD/////AAAPywYAAAEAAAAIOwEAAAHMBgAAeAAAAAoKAAAAAP///wAOAAAAAAABzQYAAHgAAAAKCgAAAAD///8ADgAAAAABB84GAAAAAQAAAAQAAAAEHUFwbG9yaXMuQmFzZS5PYmplY3RzLlZhcmlhYmxlAwAAAAFABwAAGAQAAAEAAAAAAAAAAUEHAAAYBAAAAAAAAAAAAAABQgcAABgEAAAAAAAAAAAAAAFDBwAAGAQAAAAAAAAAAAAAD88GAAABAAAACGcBAAAF0AYAABpBcGxvcmlzLkJhc2UuT2JqZWN0cy5Db2xvcgcAAAASRGF0YU9iamVjdCttUGFyZW50FURhdGFPYmplY3QrbUNvbnRhaW5lcgVtVHlwZQRtUkdCEG1UaGVtZUNvbG9ySW5kZXgMbUF1dG9VcGRhdGVkCW1Nb2RpZmllZAQCAAAAAAAfQXBsb3Jpcy5CYXNlLk9iamVjdHMuTGluZUZvcm1hdAMAAAAICAgBAQMAAAAJbQUAAAoAAAAA////AA4AAAAAAAXRBgAAGkFwbG9yaXMuQmFzZS5PYmplY3RzLkNvbG9yBwAAABJEYXRhT2JqZWN0K21QYXJlbnQVRGF0YU9iamVjdCttQ29udGFpbmVyBW1UeXBlBG1SR0IQbVRoZW1lQ29sb3JJbmRleAxtQXV0b1VwZGF0ZWQJbU1vZGlmaWVkBAIAAAAAAB9BcGxvcmlzLkJhc2UuT2JqZWN0cy5MaW5lRm9ybWF0AwAAAAgICAEBAwAAAAltBQAACgEAAAAAAAAA/////wABAdIGAAB4AAAACgoAAAAAP2l+AAUAAAAAAAHTBgAAeAAAAAoKAQAAAP///wD/////AAAP1AYAAAEAAAAIPgEAAAHVBgAAeAAAAAoKAAAAAP///wAOAAAAAAAB1gYAAHgAAAAKCgAAAAD///8ADgAAAAABB9cGAAAAAQAAAAQAAAAEHUFwbG9yaXMuQmFzZS5PYmplY3RzLlZhcmlhYmxlAwAAAAFEBwAAGAQAAAEAAAAAAAAAAUUHAAAYBAAAAAAAAAAAAAABRgcAABgEAAAAAAAAAAAAAAFHBwAAGAQAAAAAAAAAAAAAD9gGAAABAAAACGgBAAAF2QYAABpBcGxvcmlzLkJhc2UuT2JqZWN0cy5Db2xvcgcAAAASRGF0YU9iamVjdCttUGFyZW50FURhdGFPYmplY3QrbUNvbnRhaW5lcgVtVHlwZQRtUkdCEG1UaGVtZUNvbG9ySW5kZXgMbUF1dG9VcGRhdGVkCW1Nb2RpZmllZAQCAAAAAAAfQXBsb3Jpcy5CYXNlLk9iamVjdHMuTGluZUZvcm1hdAMAAAAICAgBAQMAAAAJigUAAAoAAAAA////AA4AAAAAAAXaBgAAGkFwbG9yaXMuQmFzZS5PYmplY3RzLkNvbG9yBwAAABJEYXRhT2JqZWN0K21QYXJlbnQVRGF0YU9iamVjdCttQ29udGFpbmVyBW1UeXBlBG1SR0IQbVRoZW1lQ29sb3JJbmRleAxtQXV0b1VwZGF0ZWQJbU1vZGlmaWVkBAIAAAAAAB9BcGxvcmlzLkJhc2UuT2JqZWN0cy5MaW5lRm9ybWF0AwAAAAgICAEBAwAAAAmKBQAACgEAAAAAAAAA/////wABAdsGAAB4AAAACgoAAAAAP2l+AAUAAAAAAAHcBgAAeAAAAAoKAQAAAP///wD/////AAAP3QYAAAEAAAAINwEAAAHeBgAAeAAAAAoKAAAAAP///wAOAAAAAAAB3wYAAHgAAAAKCgAAAAD///8ADgAAAAABB+AGAAAAAQAAAAQAAAAEHUFwbG9yaXMuQmFzZS5PYmplY3RzLlZhcmlhYmxlAwAAAAFIBwAAGAQAAAEAAAAAAAAAAUkHAAAYBAAAAAAAAAAAAAABSgcAABgEAAAAAAAAAAAAAAFLBwAAGAQAAAAAAAAAAAAAD+EGAAABAAAACFMBAAAF4gYAABpBcGxvcmlzLkJhc2UuT2JqZWN0cy5Db2xvcgcAAAASRGF0YU9iamVjdCttUGFyZW50FURhdGFPYmplY3QrbUNvbnRhaW5lcgVtVHlwZQRtUkdCEG1UaGVtZUNvbG9ySW5kZXgMbUF1dG9VcGRhdGVkCW1Nb2RpZmllZAQCAAAAAAAfQXBsb3Jpcy5CYXNlLk9iamVjdHMuTGluZUZvcm1hdAMAAAAICAgBAQMAAAAJpwUAAAoAAAAA////AA4AAAAAAAXjBgAAGkFwbG9yaXMuQmFzZS5PYmplY3RzLkNvbG9yBwAAABJEYXRhT2JqZWN0K21QYXJlbnQVRGF0YU9iamVjdCttQ29udGFpbmVyBW1UeXBlBG1SR0IQbVRoZW1lQ29sb3JJbmRleAxtQXV0b1VwZGF0ZWQJbU1vZGlmaWVkBAIAAAAAAB9BcGxvcmlzLkJhc2UuT2JqZWN0cy5MaW5lRm9ybWF0AwAAAAgICAEBAwAAAAmnBQAACgEAAAAAAAAA/////wABAeQGAAB4AAAACgoAAAAAP2l+AAUAAAAAAAHlBgAAeAAAAAoKAQAAAP///wD/////AAAP5gYAAAEAAAAIOQEAAAHnBgAAeAAAAAoKAAAAAP///wAOAAAAAAAB6AYAAHgAAAAKCgAAAAD///8ADgAAAAABB+kGAAAAAQAAAAQAAAAEHUFwbG9yaXMuQmFzZS5PYmplY3RzLlZhcmlhYmxlAwAAAAFMBwAAGAQAAAEAAAAAAAAAAU0HAAAYBAAAAAAAAAAAAAABTgcAABgEAAAAAAAAAAAAAAFPBwAAGAQAAAAAAAAAAAAAD+oGAAABAAAACGEBAAAF6wYAABpBcGxvcmlzLkJhc2UuT2JqZWN0cy5Db2xvcgcAAAASRGF0YU9iamVjdCttUGFyZW50FURhdGFPYmplY3QrbUNvbnRhaW5lcgVtVHlwZQRtUkdCEG1UaGVtZUNvbG9ySW5kZXgMbUF1dG9VcGRhdGVkCW1Nb2RpZmllZAQCAAAAAAAfQXBsb3Jpcy5CYXNlLk9iamVjdHMuTGluZUZvcm1hdAMAAAAICAgBAQMAAAAJxAUAAAoAAAAA////AA4AAAAAAAXsBgAAGkFwbG9yaXMuQmFzZS5PYmplY3RzLkNvbG9yBwAAABJEYXRhT2JqZWN0K21QYXJlbnQVRGF0YU9iamVjdCttQ29udGFpbmVyBW1UeXBlBG1SR0IQbVRoZW1lQ29sb3JJbmRleAxtQXV0b1VwZGF0ZWQJbU1vZGlmaWVkBAIAAAAAAB9BcGxvcmlzLkJhc2UuT2JqZWN0cy5MaW5lRm9ybWF0AwAAAAgICAEBAwAAAAnEBQAACgEAAAAAAAAA/////wABAe0GAAB4AAAACgoAAAAAP2l+AAUAAAAAAAHuBgAAeAAAAAoKAQAAAP///wD/////AAAP7wYAAAEAAAAIOgEAAAHwBgAAeAAAAAoKAAAAAP///wAOAAAAAAAB8QYAAHgAAAAKCgAAAAD///8ADgAAAAABB/IGAAAAAQAAAAQAAAAEHUFwbG9yaXMuQmFzZS5PYmplY3RzLlZhcmlhYmxlAwAAAAFQBwAAGAQAAAEAAAAAAAAAAVEHAAAYBAAAAAAAAAAAAAABUgcAABgEAAAAAAAAAAAAAAFTBwAAGAQAAAAAAAAAAAAAD/MGAAABAAAACF0BAAAF9AYAABpBcGxvcmlzLkJhc2UuT2JqZWN0cy5Db2xvcgcAAAASRGF0YU9iamVjdCttUGFyZW50FURhdGFPYmplY3QrbUNvbnRhaW5lcgVtVHlwZQRtUkdCEG1UaGVtZUNvbG9ySW5kZXgMbUF1dG9VcGRhdGVkCW1Nb2RpZmllZAQCAAAAAAAfQXBsb3Jpcy5CYXNlLk9iamVjdHMuTGluZUZvcm1hdAMAAAAICAgBAQMAAAAJ4QUAAAoAAAAA////AA4AAAAAAAX1BgAAGkFwbG9yaXMuQmFzZS5PYmplY3RzLkNvbG9yBwAAABJEYXRhT2JqZWN0K21QYXJlbnQVRGF0YU9iamVjdCttQ29udGFpbmVyBW1UeXBlBG1SR0IQbVRoZW1lQ29sb3JJbmRleAxtQXV0b1VwZGF0ZWQJbU1vZGlmaWVkBAIAAAAAAB9BcGxvcmlzLkJhc2UuT2JqZWN0cy5MaW5lRm9ybWF0AwAAAAgICAEBAwAAAAnhBQAACgEAAAAAAAAA/////wABAfYGAAB4AAAACgoAAAAAP2l+AAUAAAAAAAH3BgAAeAAAAAoKAQAAAP///wD/////AAAP+AYAAAEAAAAIPAEAAAH5BgAAeAAAAAoKAAAAAP///wAOAAAAAAAB+gYAAHgAAAAKCgAAAAD///8ADgAAAAABB/sGAAAAAQAAAAQAAAAEHUFwbG9yaXMuQmFzZS5PYmplY3RzLlZhcmlhYmxlAwAAAAFUBwAAGAQAAAEAAAAAAAAAAVUHAAAYBAAAAAAAAAAAAAABVgcAABgEAAAAAAAAAAAAAAFXBwAAGAQAAAAAAAAAAAAAD/wGAAABAAAACNUBAAAF/QYAABpBcGxvcmlzLkJhc2UuT2JqZWN0cy5Db2xvcgcAAAASRGF0YU9iamVjdCttUGFyZW50FURhdGFPYmplY3QrbUNvbnRhaW5lcgVtVHlwZQRtUkdCEG1UaGVtZUNvbG9ySW5kZXgMbUF1dG9VcGRhdGVkCW1Nb2RpZmllZAQCAAAAAAAfQXBsb3Jpcy5CYXNlLk9iamVjdHMuTGluZUZvcm1hdAMAAAAICAgBAQMAAAAJ/gUAAAoAAAAA////AA4AAAAAAAX+BgAAGkFwbG9yaXMuQmFzZS5PYmplY3RzLkNvbG9yBwAAABJEYXRhT2JqZWN0K21QYXJlbnQVRGF0YU9iamVjdCttQ29udGFpbmVyBW1UeXBlBG1SR0IQbVRoZW1lQ29sb3JJbmRleAxtQXV0b1VwZGF0ZWQJbU1vZGlmaWVkBAIAAAAAAB9BcGxvcmlzLkJhc2UuT2JqZWN0cy5MaW5lRm9ybWF0AwAAAAgICAEBAwAAAAn+BQAACgEAAAAAAAAA/////wABAf8GAAB4AAAACgoAAAAAcoSMAAYAAAAAAAEABwAAeAAAAAoKAQAAAP///wD/////AAAPAQcAAAEAAAAIvwEAAAECBwAAeAAAAAoKAAAAAP///wAOAAAAAAABAwcAAHgAAAAKCgAAAAD///8ADgAAAAABBwQHAAAAAQAAAAQAAAAEHUFwbG9yaXMuQmFzZS5PYmplY3RzLlZhcmlhYmxlAwAAAAFYBwAAGAQAAAEAAAAAAAAAAVkHAAAYBAAAAAAAAAAAAAABWgcAABgEAAAAAAAAAAAAAAFbBwAAGAQAAAAAAAAAAAAADwUHAAABAAAACGMBAAAFBgcAABpBcGxvcmlzLkJhc2UuT2JqZWN0cy5Db2xvcgcAAAASRGF0YU9iamVjdCttUGFyZW50FURhdGFPYmplY3QrbUNvbnRhaW5lcgVtVHlwZQRtUkdCEG1UaGVtZUNvbG9ySW5kZXgMbUF1dG9VcGRhdGVkCW1Nb2RpZmllZAQCAAAAAAAfQXBsb3Jpcy5CYXNlLk9iamVjdHMuTGluZUZvcm1hdAMAAAAICAgBAQMAAAAJHAYAAAoAAAAA////AA4AAAAAAAUHBwAAGkFwbG9yaXMuQmFzZS5PYmplY3RzLkNvbG9yBwAAABJEYXRhT2JqZWN0K21QYXJlbnQVRGF0YU9iamVjdCttQ29udGFpbmVyBW1UeXBlBG1SR0IQbVRoZW1lQ29sb3JJbmRleAxtQXV0b1VwZGF0ZWQJbU1vZGlmaWVkBAIAAAAAAB9BcGxvcmlzLkJhc2UuT2JqZWN0cy5MaW5lRm9ybWF0AwAAAAgICAEBAwAAAAkcBgAACgEAAAAAAAAA/////wABAQgHAAB4AAAACgoAAAAAcoSMAAYAAAAAAAEJBwAAeAAAAAoKAQAAAP///wD/////AAAPCgcAAAEAAAAIKwEAAAELBwAAeAAAAAoKAAAAAP///wAOAAAAAAABDAcAAHgAAAAKCgAAAAD///8ADgAAAAABBw0HAAAAAQAAAAQAAAAEHUFwbG9yaXMuQmFzZS5PYmplY3RzLlZhcmlhYmxlAwAAAAFcBwAAGAQAAAEAAAAAAAAAAV0HAAAYBAAAAAAAAAAAAAABXgcAABgEAAAAAAAAAAAAAAFfBwAAGAQAAAAAAAAAAAAADw4HAAABAAAACFwBAAAFDwcAABpBcGxvcmlzLkJhc2UuT2JqZWN0cy5Db2xvcgcAAAASRGF0YU9iamVjdCttUGFyZW50FURhdGFPYmplY3QrbUNvbnRhaW5lcgVtVHlwZQRtUkdCEG1UaGVtZUNvbG9ySW5kZXgMbUF1dG9VcGRhdGVkCW1Nb2RpZmllZAQCAAAAAAAfQXBsb3Jpcy5CYXNlLk9iamVjdHMuTGluZUZvcm1hdAMAAAAICAgBAQMAAAAJOQYAAAoAAAAA////AA4AAAAAAAUQBwAAGkFwbG9yaXMuQmFzZS5PYmplY3RzLkNvbG9yBwAAABJEYXRhT2JqZWN0K21QYXJlbnQVRGF0YU9iamVjdCttQ29udGFpbmVyBW1UeXBlBG1SR0IQbVRoZW1lQ29sb3JJbmRleAxtQXV0b1VwZGF0ZWQJbU1vZGlmaWVkBAIAAAAAAB9BcGxvcmlzLkJhc2UuT2JqZWN0cy5MaW5lRm9ybWF0AwAAAAgICAEBAwAAAAk5BgAACgEAAAAAAAAA/////wABAREHAAB4AAAACgoAAAAAcoSMAAYAAAAAAAESBwAAeAAAAAoKAQAAAP///wD/////AAAPEwcAAAEAAAAIKQEAAAEUBwAAeAAAAAoKAAAAAP///wAOAAAAAAABFQcAAHgAAAAKCgAAAAD///8ADgAAAAABBxYHAAAAAQAAAAQAAAAEHUFwbG9yaXMuQmFzZS5PYmplY3RzLlZhcmlhYmxlAwAAAAFgBwAAGAQAAAEAAAAAAAAAAWEHAAAYBAAAAAAAAAAAAAABYgcAABgEAAAAAAAAAAAAAAFjBwAAGAQAAAAAAAAAAAAADxcHAAABAAAACF8BAAAFGAcAABpBcGxvcmlzLkJhc2UuT2JqZWN0cy5Db2xvcgcAAAASRGF0YU9iamVjdCttUGFyZW50FURhdGFPYmplY3QrbUNvbnRhaW5lcgVtVHlwZQRtUkdCEG1UaGVtZUNvbG9ySW5kZXgMbUF1dG9VcGRhdGVkCW1Nb2RpZmllZAQCAAAAAAAfQXBsb3Jpcy5CYXNlLk9iamVjdHMuTGluZUZvcm1hdAMAAAAICAgBAQMAAAAJVgYAAAoAAAAA////AA4AAAAAAAUZBwAAGkFwbG9yaXMuQmFzZS5PYmplY3RzLkNvbG9yBwAAABJEYXRhT2JqZWN0K21QYXJlbnQVRGF0YU9iamVjdCttQ29udGFpbmVyBW1UeXBlBG1SR0IQbVRoZW1lQ29sb3JJbmRleAxtQXV0b1VwZGF0ZWQJbU1vZGlmaWVkBAIAAAAAAB9BcGxvcmlzLkJhc2UuT2JqZWN0cy5MaW5lRm9ybWF0AwAAAAgICAEBAwAAAAlWBgAACgEAAAAAAAAA/////wABARoHAAB4AAAACgoAAAAAcoSMAAYAAAAAAAEbBwAAeAAAAAoKAQAAAP///wD/////AAAPHAcAAAEAAAAILAEAAAEdBwAAeAAAAAoKAAAAAP///wAOAAAAAAABHgcAAHgAAAAKCgAAAAD///8ADgAAAAABBx8HAAAAAQAAAAQAAAAEHUFwbG9yaXMuQmFzZS5PYmplY3RzLlZhcmlhYmxlAwAAAAFkBwAAGAQAAAEAAAAAAAAAAWUHAAAYBAAAAAAAAAAAAAABZgcAABgEAAAAAAAAAAAAAAFnBwAAGAQAAAAAAAAAAAAADyAHAAABAAAACGABAAAFIQcAABpBcGxvcmlzLkJhc2UuT2JqZWN0cy5Db2xvcgcAAAASRGF0YU9iamVjdCttUGFyZW50FURhdGFPYmplY3QrbUNvbnRhaW5lcgVtVHlwZQRtUkdCEG1UaGVtZUNvbG9ySW5kZXgMbUF1dG9VcGRhdGVkCW1Nb2RpZmllZAQCAAAAAAAfQXBsb3Jpcy5CYXNlLk9iamVjdHMuTGluZUZvcm1hdAMAAAAICAgBAQMAAAAJcwYAAAoAAAAA////AA4AAAAAAAUiBwAAGkFwbG9yaXMuQmFzZS5PYmplY3RzLkNvbG9yBwAAABJEYXRhT2JqZWN0K21QYXJlbnQVRGF0YU9iamVjdCttQ29udGFpbmVyBW1UeXBlBG1SR0IQbVRoZW1lQ29sb3JJbmRleAxtQXV0b1VwZGF0ZWQJbU1vZGlmaWVkBAIAAAAAAB9BcGxvcmlzLkJhc2UuT2JqZWN0cy5MaW5lRm9ybWF0AwAAAAgICAEBAwAAAAlzBgAACgEAAAAAAAAA/////wABASMHAAB4AAAACgoAAAAAcoSMAAYAAAAAAAEkBwAAeAAAAAoKAQAAAP///wD/////AAAPJQcAAAEAAAAIKAEAAAEmBwAAeAAAAAoKAAAAAP///wAOAAAAAAABJwcAAHgAAAAKCgAAAAD///8ADgAAAAABBygHAAAAAQAAAAQAAAAEHUFwbG9yaXMuQmFzZS5PYmplY3RzLlZhcmlhYmxlAwAAAAFoBwAAGAQAAAEAAAAAAAAAAWkHAAAYBAAAAAAAAAAAAAABagcAABgEAAAAAAAAAAAAAAFrBwAAGAQAAAAAAAAAAAAADykHAAABAAAACFYBAAAFKgcAABpBcGxvcmlzLkJhc2UuT2JqZWN0cy5Db2xvcgcAAAASRGF0YU9iamVjdCttUGFyZW50FURhdGFPYmplY3QrbUNvbnRhaW5lcgVtVHlwZQRtUkdCEG1UaGVtZUNvbG9ySW5kZXgMbUF1dG9VcGRhdGVkCW1Nb2RpZmllZAQCAAAAAAAfQXBsb3Jpcy5CYXNlLk9iamVjdHMuTGluZUZvcm1hdAMAAAAICAgBAQMAAAAJkAYAAAoAAAAA////AA4AAAAAAAUrBwAAGkFwbG9yaXMuQmFzZS5PYmplY3RzLkNvbG9yBwAAABJEYXRhT2JqZWN0K21QYXJlbnQVRGF0YU9iamVjdCttQ29udGFpbmVyBW1UeXBlBG1SR0IQbVRoZW1lQ29sb3JJbmRleAxtQXV0b1VwZGF0ZWQJbU1vZGlmaWVkBAIAAAAAAB9BcGxvcmlzLkJhc2UuT2JqZWN0cy5MaW5lRm9ybWF0AwAAAAgICAEBAwAAAAmQBgAACgEAAAAAAAAA/////wABASwHAAB4AAAACgoAAAAAcoSMAAYAAAAAAAEtBwAAeAAAAAoKAQAAAP///wD/////AAAPLgcAAAEAAAAIJQEAAAEvBwAAeAAAAAoKAAAAAP///wAOAAAAAAABMAcAAHgAAAAKCgAAAAD///8ADgAAAAABBzEHAAAAAQAAAAQAAAAEHUFwbG9yaXMuQmFzZS5PYmplY3RzLlZhcmlhYmxlAwAAAAFsBwAAGAQAAAEAAAAAAAAAAW0HAAAYBAAAAAAAAAAAAAABbgcAABgEAAAAAAAAAAAAAAFvBwAAGAQAAAAAAAAAAAAADzIHAAABAAAACFoBAAAFMwcAABpBcGxvcmlzLkJhc2UuT2JqZWN0cy5Db2xvcgcAAAASRGF0YU9iamVjdCttUGFyZW50FURhdGFPYmplY3QrbUNvbnRhaW5lcgVtVHlwZQRtUkdCEG1UaGVtZUNvbG9ySW5kZXgMbUF1dG9VcGRhdGVkCW1Nb2RpZmllZAQCAAAAAAAfQXBsb3Jpcy5CYXNlLk9iamVjdHMuTGluZUZvcm1hdAMAAAAICAgBAQMAAAAJrQYAAAoAAAAA////AA4AAAAAAAU0BwAAGkFwbG9yaXMuQmFzZS5PYmplY3RzLkNvbG9yBwAAABJEYXRhT2JqZWN0K21QYXJlbnQVRGF0YU9iamVjdCttQ29udGFpbmVyBW1UeXBlBG1SR0IQbVRoZW1lQ29sb3JJbmRleAxtQXV0b1VwZGF0ZWQJbU1vZGlmaWVkBAIAAAAAAB9BcGxvcmlzLkJhc2UuT2JqZWN0cy5MaW5lRm9ybWF0AwAAAAgICAEBAwAAAAmtBgAACgEAAAAAAAAA/////wABATUHAAB4AAAACgoAAAAAcoSMAAYAAAAAAAE2BwAAeAAAAAoKAQAAAP///wD/////AAAPNwcAAAEAAAAIJgEAAAs="/>
</p:tagLst>
</file>

<file path=ppt/tags/tag345.xml><?xml version="1.0" encoding="utf-8"?>
<p:tagLst xmlns:a="http://schemas.openxmlformats.org/drawingml/2006/main" xmlns:r="http://schemas.openxmlformats.org/officeDocument/2006/relationships" xmlns:p="http://schemas.openxmlformats.org/presentationml/2006/main">
  <p:tag name="APLORISTAG" val="Mt8SOYQnlfK44nkmw.297"/>
</p:tagLst>
</file>

<file path=ppt/tags/tag346.xml><?xml version="1.0" encoding="utf-8"?>
<p:tagLst xmlns:a="http://schemas.openxmlformats.org/drawingml/2006/main" xmlns:r="http://schemas.openxmlformats.org/officeDocument/2006/relationships" xmlns:p="http://schemas.openxmlformats.org/presentationml/2006/main">
  <p:tag name="APLORISTAG" val="Mt8SOYQnlfK44nkmw.314"/>
</p:tagLst>
</file>

<file path=ppt/tags/tag347.xml><?xml version="1.0" encoding="utf-8"?>
<p:tagLst xmlns:a="http://schemas.openxmlformats.org/drawingml/2006/main" xmlns:r="http://schemas.openxmlformats.org/officeDocument/2006/relationships" xmlns:p="http://schemas.openxmlformats.org/presentationml/2006/main">
  <p:tag name="APLORISTAG" val="Mt8SOYQnlfK44nkmw.316"/>
</p:tagLst>
</file>

<file path=ppt/tags/tag348.xml><?xml version="1.0" encoding="utf-8"?>
<p:tagLst xmlns:a="http://schemas.openxmlformats.org/drawingml/2006/main" xmlns:r="http://schemas.openxmlformats.org/officeDocument/2006/relationships" xmlns:p="http://schemas.openxmlformats.org/presentationml/2006/main">
  <p:tag name="APLORISTAG" val="Mt8SOYQnlfK44nkmw.300"/>
</p:tagLst>
</file>

<file path=ppt/tags/tag349.xml><?xml version="1.0" encoding="utf-8"?>
<p:tagLst xmlns:a="http://schemas.openxmlformats.org/drawingml/2006/main" xmlns:r="http://schemas.openxmlformats.org/officeDocument/2006/relationships" xmlns:p="http://schemas.openxmlformats.org/presentationml/2006/main">
  <p:tag name="APLORISTAG" val="Mt8SOYQnlfK44nkmw.293"/>
</p:tagLst>
</file>

<file path=ppt/tags/tag35.xml><?xml version="1.0" encoding="utf-8"?>
<p:tagLst xmlns:a="http://schemas.openxmlformats.org/drawingml/2006/main" xmlns:r="http://schemas.openxmlformats.org/officeDocument/2006/relationships" xmlns:p="http://schemas.openxmlformats.org/presentationml/2006/main">
  <p:tag name="APLORISTAG" val="MX/IjfW661gLV+xOY.42"/>
</p:tagLst>
</file>

<file path=ppt/tags/tag350.xml><?xml version="1.0" encoding="utf-8"?>
<p:tagLst xmlns:a="http://schemas.openxmlformats.org/drawingml/2006/main" xmlns:r="http://schemas.openxmlformats.org/officeDocument/2006/relationships" xmlns:p="http://schemas.openxmlformats.org/presentationml/2006/main">
  <p:tag name="APLORISTAG" val="Mt8SOYQnlfK44nkmw.294"/>
</p:tagLst>
</file>

<file path=ppt/tags/tag351.xml><?xml version="1.0" encoding="utf-8"?>
<p:tagLst xmlns:a="http://schemas.openxmlformats.org/drawingml/2006/main" xmlns:r="http://schemas.openxmlformats.org/officeDocument/2006/relationships" xmlns:p="http://schemas.openxmlformats.org/presentationml/2006/main">
  <p:tag name="APLORISTAG" val="Mt8SOYQnlfK44nkmw.299"/>
</p:tagLst>
</file>

<file path=ppt/tags/tag352.xml><?xml version="1.0" encoding="utf-8"?>
<p:tagLst xmlns:a="http://schemas.openxmlformats.org/drawingml/2006/main" xmlns:r="http://schemas.openxmlformats.org/officeDocument/2006/relationships" xmlns:p="http://schemas.openxmlformats.org/presentationml/2006/main">
  <p:tag name="APLORISTAG" val="Mt8SOYQnlfK44nkmw.296"/>
</p:tagLst>
</file>

<file path=ppt/tags/tag353.xml><?xml version="1.0" encoding="utf-8"?>
<p:tagLst xmlns:a="http://schemas.openxmlformats.org/drawingml/2006/main" xmlns:r="http://schemas.openxmlformats.org/officeDocument/2006/relationships" xmlns:p="http://schemas.openxmlformats.org/presentationml/2006/main">
  <p:tag name="APLORISTAG" val="Mt8SOYQnlfK44nkmw.313"/>
</p:tagLst>
</file>

<file path=ppt/tags/tag354.xml><?xml version="1.0" encoding="utf-8"?>
<p:tagLst xmlns:a="http://schemas.openxmlformats.org/drawingml/2006/main" xmlns:r="http://schemas.openxmlformats.org/officeDocument/2006/relationships" xmlns:p="http://schemas.openxmlformats.org/presentationml/2006/main">
  <p:tag name="APLORISTAG" val="Mt8SOYQnlfK44nkmw.315"/>
</p:tagLst>
</file>

<file path=ppt/tags/tag355.xml><?xml version="1.0" encoding="utf-8"?>
<p:tagLst xmlns:a="http://schemas.openxmlformats.org/drawingml/2006/main" xmlns:r="http://schemas.openxmlformats.org/officeDocument/2006/relationships" xmlns:p="http://schemas.openxmlformats.org/presentationml/2006/main">
  <p:tag name="APLORISTAG" val="Mt8SOYQnlfK44nkmw.311"/>
</p:tagLst>
</file>

<file path=ppt/tags/tag356.xml><?xml version="1.0" encoding="utf-8"?>
<p:tagLst xmlns:a="http://schemas.openxmlformats.org/drawingml/2006/main" xmlns:r="http://schemas.openxmlformats.org/officeDocument/2006/relationships" xmlns:p="http://schemas.openxmlformats.org/presentationml/2006/main">
  <p:tag name="APLORISTAG" val="Mt8SOYQnlfK44nkmw.318"/>
</p:tagLst>
</file>

<file path=ppt/tags/tag357.xml><?xml version="1.0" encoding="utf-8"?>
<p:tagLst xmlns:a="http://schemas.openxmlformats.org/drawingml/2006/main" xmlns:r="http://schemas.openxmlformats.org/officeDocument/2006/relationships" xmlns:p="http://schemas.openxmlformats.org/presentationml/2006/main">
  <p:tag name="APLORISTAG" val="Mt8SOYQnlfK44nkmw.451"/>
</p:tagLst>
</file>

<file path=ppt/tags/tag358.xml><?xml version="1.0" encoding="utf-8"?>
<p:tagLst xmlns:a="http://schemas.openxmlformats.org/drawingml/2006/main" xmlns:r="http://schemas.openxmlformats.org/officeDocument/2006/relationships" xmlns:p="http://schemas.openxmlformats.org/presentationml/2006/main">
  <p:tag name="APLORISTAG" val="Mt8SOYQnlfK44nkmw.559"/>
</p:tagLst>
</file>

<file path=ppt/tags/tag359.xml><?xml version="1.0" encoding="utf-8"?>
<p:tagLst xmlns:a="http://schemas.openxmlformats.org/drawingml/2006/main" xmlns:r="http://schemas.openxmlformats.org/officeDocument/2006/relationships" xmlns:p="http://schemas.openxmlformats.org/presentationml/2006/main">
  <p:tag name="APLORISTAG" val="Mt8SOYQnlfK44nkmw.560"/>
</p:tagLst>
</file>

<file path=ppt/tags/tag36.xml><?xml version="1.0" encoding="utf-8"?>
<p:tagLst xmlns:a="http://schemas.openxmlformats.org/drawingml/2006/main" xmlns:r="http://schemas.openxmlformats.org/officeDocument/2006/relationships" xmlns:p="http://schemas.openxmlformats.org/presentationml/2006/main">
  <p:tag name="APLORISTAG" val="MX/IjfW661gLV+xOY.40"/>
</p:tagLst>
</file>

<file path=ppt/tags/tag360.xml><?xml version="1.0" encoding="utf-8"?>
<p:tagLst xmlns:a="http://schemas.openxmlformats.org/drawingml/2006/main" xmlns:r="http://schemas.openxmlformats.org/officeDocument/2006/relationships" xmlns:p="http://schemas.openxmlformats.org/presentationml/2006/main">
  <p:tag name="APLORISTAG" val="Mt8SOYQnlfK44nkmw.561"/>
</p:tagLst>
</file>

<file path=ppt/tags/tag361.xml><?xml version="1.0" encoding="utf-8"?>
<p:tagLst xmlns:a="http://schemas.openxmlformats.org/drawingml/2006/main" xmlns:r="http://schemas.openxmlformats.org/officeDocument/2006/relationships" xmlns:p="http://schemas.openxmlformats.org/presentationml/2006/main">
  <p:tag name="APLORISTAG" val="Mt8SOYQnlfK44nkmw.562"/>
</p:tagLst>
</file>

<file path=ppt/tags/tag362.xml><?xml version="1.0" encoding="utf-8"?>
<p:tagLst xmlns:a="http://schemas.openxmlformats.org/drawingml/2006/main" xmlns:r="http://schemas.openxmlformats.org/officeDocument/2006/relationships" xmlns:p="http://schemas.openxmlformats.org/presentationml/2006/main">
  <p:tag name="APLORISTAG" val="Mt8SOYQnlfK44nkmw.563"/>
</p:tagLst>
</file>

<file path=ppt/tags/tag363.xml><?xml version="1.0" encoding="utf-8"?>
<p:tagLst xmlns:a="http://schemas.openxmlformats.org/drawingml/2006/main" xmlns:r="http://schemas.openxmlformats.org/officeDocument/2006/relationships" xmlns:p="http://schemas.openxmlformats.org/presentationml/2006/main">
  <p:tag name="APLORISTAG" val="Mt8SOYQnlfK44nkmw.564"/>
</p:tagLst>
</file>

<file path=ppt/tags/tag364.xml><?xml version="1.0" encoding="utf-8"?>
<p:tagLst xmlns:a="http://schemas.openxmlformats.org/drawingml/2006/main" xmlns:r="http://schemas.openxmlformats.org/officeDocument/2006/relationships" xmlns:p="http://schemas.openxmlformats.org/presentationml/2006/main">
  <p:tag name="APLORISTAG" val="Mt8SOYQnlfK44nkmw.565"/>
</p:tagLst>
</file>

<file path=ppt/tags/tag365.xml><?xml version="1.0" encoding="utf-8"?>
<p:tagLst xmlns:a="http://schemas.openxmlformats.org/drawingml/2006/main" xmlns:r="http://schemas.openxmlformats.org/officeDocument/2006/relationships" xmlns:p="http://schemas.openxmlformats.org/presentationml/2006/main">
  <p:tag name="APLORISTAG" val="Mt8SOYQnlfK44nkmw.566"/>
</p:tagLst>
</file>

<file path=ppt/tags/tag366.xml><?xml version="1.0" encoding="utf-8"?>
<p:tagLst xmlns:a="http://schemas.openxmlformats.org/drawingml/2006/main" xmlns:r="http://schemas.openxmlformats.org/officeDocument/2006/relationships" xmlns:p="http://schemas.openxmlformats.org/presentationml/2006/main">
  <p:tag name="APLORISTAG" val="Mt8SOYQnlfK44nkmw.567"/>
</p:tagLst>
</file>

<file path=ppt/tags/tag367.xml><?xml version="1.0" encoding="utf-8"?>
<p:tagLst xmlns:a="http://schemas.openxmlformats.org/drawingml/2006/main" xmlns:r="http://schemas.openxmlformats.org/officeDocument/2006/relationships" xmlns:p="http://schemas.openxmlformats.org/presentationml/2006/main">
  <p:tag name="APLORISTAG" val="Mt8SOYQnlfK44nkmw.568"/>
</p:tagLst>
</file>

<file path=ppt/tags/tag368.xml><?xml version="1.0" encoding="utf-8"?>
<p:tagLst xmlns:a="http://schemas.openxmlformats.org/drawingml/2006/main" xmlns:r="http://schemas.openxmlformats.org/officeDocument/2006/relationships" xmlns:p="http://schemas.openxmlformats.org/presentationml/2006/main">
  <p:tag name="APLORISTAG" val="Mt8SOYQnlfK44nkmw.569"/>
</p:tagLst>
</file>

<file path=ppt/tags/tag369.xml><?xml version="1.0" encoding="utf-8"?>
<p:tagLst xmlns:a="http://schemas.openxmlformats.org/drawingml/2006/main" xmlns:r="http://schemas.openxmlformats.org/officeDocument/2006/relationships" xmlns:p="http://schemas.openxmlformats.org/presentationml/2006/main">
  <p:tag name="APLORISTAG" val="Mt8SOYQnlfK44nkmw.570"/>
</p:tagLst>
</file>

<file path=ppt/tags/tag37.xml><?xml version="1.0" encoding="utf-8"?>
<p:tagLst xmlns:a="http://schemas.openxmlformats.org/drawingml/2006/main" xmlns:r="http://schemas.openxmlformats.org/officeDocument/2006/relationships" xmlns:p="http://schemas.openxmlformats.org/presentationml/2006/main">
  <p:tag name="APLORISTAG" val="MX/IjfW661gLV+xOY.41"/>
</p:tagLst>
</file>

<file path=ppt/tags/tag370.xml><?xml version="1.0" encoding="utf-8"?>
<p:tagLst xmlns:a="http://schemas.openxmlformats.org/drawingml/2006/main" xmlns:r="http://schemas.openxmlformats.org/officeDocument/2006/relationships" xmlns:p="http://schemas.openxmlformats.org/presentationml/2006/main">
  <p:tag name="APLORISTAG" val="Mt8SOYQnlfK44nkmw.571"/>
</p:tagLst>
</file>

<file path=ppt/tags/tag371.xml><?xml version="1.0" encoding="utf-8"?>
<p:tagLst xmlns:a="http://schemas.openxmlformats.org/drawingml/2006/main" xmlns:r="http://schemas.openxmlformats.org/officeDocument/2006/relationships" xmlns:p="http://schemas.openxmlformats.org/presentationml/2006/main">
  <p:tag name="APLORISTAG" val="Mt8SOYQnlfK44nkmw.38"/>
</p:tagLst>
</file>

<file path=ppt/tags/tag372.xml><?xml version="1.0" encoding="utf-8"?>
<p:tagLst xmlns:a="http://schemas.openxmlformats.org/drawingml/2006/main" xmlns:r="http://schemas.openxmlformats.org/officeDocument/2006/relationships" xmlns:p="http://schemas.openxmlformats.org/presentationml/2006/main">
  <p:tag name="APLORISTAG" val="Mt8SOYQnlfK44nkmw.43"/>
</p:tagLst>
</file>

<file path=ppt/tags/tag373.xml><?xml version="1.0" encoding="utf-8"?>
<p:tagLst xmlns:a="http://schemas.openxmlformats.org/drawingml/2006/main" xmlns:r="http://schemas.openxmlformats.org/officeDocument/2006/relationships" xmlns:p="http://schemas.openxmlformats.org/presentationml/2006/main">
  <p:tag name="APLORISTAG" val="Mt8SOYQnlfK44nkmw.35"/>
</p:tagLst>
</file>

<file path=ppt/tags/tag374.xml><?xml version="1.0" encoding="utf-8"?>
<p:tagLst xmlns:a="http://schemas.openxmlformats.org/drawingml/2006/main" xmlns:r="http://schemas.openxmlformats.org/officeDocument/2006/relationships" xmlns:p="http://schemas.openxmlformats.org/presentationml/2006/main">
  <p:tag name="APLORISTAG" val="Mt8SOYQnlfK44nkmw.42"/>
</p:tagLst>
</file>

<file path=ppt/tags/tag375.xml><?xml version="1.0" encoding="utf-8"?>
<p:tagLst xmlns:a="http://schemas.openxmlformats.org/drawingml/2006/main" xmlns:r="http://schemas.openxmlformats.org/officeDocument/2006/relationships" xmlns:p="http://schemas.openxmlformats.org/presentationml/2006/main">
  <p:tag name="APLORISTAG" val="Mt8SOYQnlfK44nkmw.556"/>
</p:tagLst>
</file>

<file path=ppt/tags/tag376.xml><?xml version="1.0" encoding="utf-8"?>
<p:tagLst xmlns:a="http://schemas.openxmlformats.org/drawingml/2006/main" xmlns:r="http://schemas.openxmlformats.org/officeDocument/2006/relationships" xmlns:p="http://schemas.openxmlformats.org/presentationml/2006/main">
  <p:tag name="APLORISTAG" val="Mt8SOYQnlfK44nkmw.44"/>
</p:tagLst>
</file>

<file path=ppt/tags/tag377.xml><?xml version="1.0" encoding="utf-8"?>
<p:tagLst xmlns:a="http://schemas.openxmlformats.org/drawingml/2006/main" xmlns:r="http://schemas.openxmlformats.org/officeDocument/2006/relationships" xmlns:p="http://schemas.openxmlformats.org/presentationml/2006/main">
  <p:tag name="APLORISTAG" val="Mt8SOYQnlfK44nkmw.557"/>
</p:tagLst>
</file>

<file path=ppt/tags/tag378.xml><?xml version="1.0" encoding="utf-8"?>
<p:tagLst xmlns:a="http://schemas.openxmlformats.org/drawingml/2006/main" xmlns:r="http://schemas.openxmlformats.org/officeDocument/2006/relationships" xmlns:p="http://schemas.openxmlformats.org/presentationml/2006/main">
  <p:tag name="APLORISTAG" val="Mt8SOYQnlfK44nkmw.558"/>
</p:tagLst>
</file>

<file path=ppt/tags/tag379.xml><?xml version="1.0" encoding="utf-8"?>
<p:tagLst xmlns:a="http://schemas.openxmlformats.org/drawingml/2006/main" xmlns:r="http://schemas.openxmlformats.org/officeDocument/2006/relationships" xmlns:p="http://schemas.openxmlformats.org/presentationml/2006/main">
  <p:tag name="APLORISTAG" val="Mt8SOYQnlfK44nkmw.41"/>
</p:tagLst>
</file>

<file path=ppt/tags/tag38.xml><?xml version="1.0" encoding="utf-8"?>
<p:tagLst xmlns:a="http://schemas.openxmlformats.org/drawingml/2006/main" xmlns:r="http://schemas.openxmlformats.org/officeDocument/2006/relationships" xmlns:p="http://schemas.openxmlformats.org/presentationml/2006/main">
  <p:tag name="APLORISTAG" val="MX/IjfW661gLV+xOY.309"/>
</p:tagLst>
</file>

<file path=ppt/tags/tag380.xml><?xml version="1.0" encoding="utf-8"?>
<p:tagLst xmlns:a="http://schemas.openxmlformats.org/drawingml/2006/main" xmlns:r="http://schemas.openxmlformats.org/officeDocument/2006/relationships" xmlns:p="http://schemas.openxmlformats.org/presentationml/2006/main">
  <p:tag name="APLORISTAG" val="Mt8SOYQnlfK44nkmw.39"/>
</p:tagLst>
</file>

<file path=ppt/tags/tag381.xml><?xml version="1.0" encoding="utf-8"?>
<p:tagLst xmlns:a="http://schemas.openxmlformats.org/drawingml/2006/main" xmlns:r="http://schemas.openxmlformats.org/officeDocument/2006/relationships" xmlns:p="http://schemas.openxmlformats.org/presentationml/2006/main">
  <p:tag name="APLORISTAG" val="Mt8SOYQnlfK44nkmw.40"/>
</p:tagLst>
</file>

<file path=ppt/tags/tag382.xml><?xml version="1.0" encoding="utf-8"?>
<p:tagLst xmlns:a="http://schemas.openxmlformats.org/drawingml/2006/main" xmlns:r="http://schemas.openxmlformats.org/officeDocument/2006/relationships" xmlns:p="http://schemas.openxmlformats.org/presentationml/2006/main">
  <p:tag name="APLORISTAG" val="Mt8SOYQnlfK44nkmw.335"/>
</p:tagLst>
</file>

<file path=ppt/tags/tag383.xml><?xml version="1.0" encoding="utf-8"?>
<p:tagLst xmlns:a="http://schemas.openxmlformats.org/drawingml/2006/main" xmlns:r="http://schemas.openxmlformats.org/officeDocument/2006/relationships" xmlns:p="http://schemas.openxmlformats.org/presentationml/2006/main">
  <p:tag name="APLORISTAG" val="Mt8SOYQnlfK44nkmw.196"/>
</p:tagLst>
</file>

<file path=ppt/tags/tag384.xml><?xml version="1.0" encoding="utf-8"?>
<p:tagLst xmlns:a="http://schemas.openxmlformats.org/drawingml/2006/main" xmlns:r="http://schemas.openxmlformats.org/officeDocument/2006/relationships" xmlns:p="http://schemas.openxmlformats.org/presentationml/2006/main">
  <p:tag name="APLORISTAG" val="Mt8SOYQnlfK44nkmw.333"/>
</p:tagLst>
</file>

<file path=ppt/tags/tag385.xml><?xml version="1.0" encoding="utf-8"?>
<p:tagLst xmlns:a="http://schemas.openxmlformats.org/drawingml/2006/main" xmlns:r="http://schemas.openxmlformats.org/officeDocument/2006/relationships" xmlns:p="http://schemas.openxmlformats.org/presentationml/2006/main">
  <p:tag name="APLORISTAG" val="Mt8SOYQnlfK44nkmw.197"/>
</p:tagLst>
</file>

<file path=ppt/tags/tag386.xml><?xml version="1.0" encoding="utf-8"?>
<p:tagLst xmlns:a="http://schemas.openxmlformats.org/drawingml/2006/main" xmlns:r="http://schemas.openxmlformats.org/officeDocument/2006/relationships" xmlns:p="http://schemas.openxmlformats.org/presentationml/2006/main">
  <p:tag name="APLORISTAG" val="Mt8SOYQnlfK44nkmw.338"/>
</p:tagLst>
</file>

<file path=ppt/tags/tag387.xml><?xml version="1.0" encoding="utf-8"?>
<p:tagLst xmlns:a="http://schemas.openxmlformats.org/drawingml/2006/main" xmlns:r="http://schemas.openxmlformats.org/officeDocument/2006/relationships" xmlns:p="http://schemas.openxmlformats.org/presentationml/2006/main">
  <p:tag name="APLORISTAG" val="Mt8SOYQnlfK44nkmw.334"/>
</p:tagLst>
</file>

<file path=ppt/tags/tag388.xml><?xml version="1.0" encoding="utf-8"?>
<p:tagLst xmlns:a="http://schemas.openxmlformats.org/drawingml/2006/main" xmlns:r="http://schemas.openxmlformats.org/officeDocument/2006/relationships" xmlns:p="http://schemas.openxmlformats.org/presentationml/2006/main">
  <p:tag name="APLORISTAG" val="Mt8SOYQnlfK44nkmw.332"/>
</p:tagLst>
</file>

<file path=ppt/tags/tag389.xml><?xml version="1.0" encoding="utf-8"?>
<p:tagLst xmlns:a="http://schemas.openxmlformats.org/drawingml/2006/main" xmlns:r="http://schemas.openxmlformats.org/officeDocument/2006/relationships" xmlns:p="http://schemas.openxmlformats.org/presentationml/2006/main">
  <p:tag name="APLORISTAG" val="Mt8SOYQnlfK44nkmw.349"/>
</p:tagLst>
</file>

<file path=ppt/tags/tag39.xml><?xml version="1.0" encoding="utf-8"?>
<p:tagLst xmlns:a="http://schemas.openxmlformats.org/drawingml/2006/main" xmlns:r="http://schemas.openxmlformats.org/officeDocument/2006/relationships" xmlns:p="http://schemas.openxmlformats.org/presentationml/2006/main">
  <p:tag name="APLORISTAG" val="MX/IjfW661gLV+xOY.196"/>
</p:tagLst>
</file>

<file path=ppt/tags/tag390.xml><?xml version="1.0" encoding="utf-8"?>
<p:tagLst xmlns:a="http://schemas.openxmlformats.org/drawingml/2006/main" xmlns:r="http://schemas.openxmlformats.org/officeDocument/2006/relationships" xmlns:p="http://schemas.openxmlformats.org/presentationml/2006/main">
  <p:tag name="APLORISTAG" val="Mt8SOYQnlfK44nkmw.360"/>
</p:tagLst>
</file>

<file path=ppt/tags/tag391.xml><?xml version="1.0" encoding="utf-8"?>
<p:tagLst xmlns:a="http://schemas.openxmlformats.org/drawingml/2006/main" xmlns:r="http://schemas.openxmlformats.org/officeDocument/2006/relationships" xmlns:p="http://schemas.openxmlformats.org/presentationml/2006/main">
  <p:tag name="APLORISTAG" val="Mt8SOYQnlfK44nkmw.348"/>
</p:tagLst>
</file>

<file path=ppt/tags/tag392.xml><?xml version="1.0" encoding="utf-8"?>
<p:tagLst xmlns:a="http://schemas.openxmlformats.org/drawingml/2006/main" xmlns:r="http://schemas.openxmlformats.org/officeDocument/2006/relationships" xmlns:p="http://schemas.openxmlformats.org/presentationml/2006/main">
  <p:tag name="APLORISTAG" val="Mt8SOYQnlfK44nkmw.469"/>
</p:tagLst>
</file>

<file path=ppt/tags/tag393.xml><?xml version="1.0" encoding="utf-8"?>
<p:tagLst xmlns:a="http://schemas.openxmlformats.org/drawingml/2006/main" xmlns:r="http://schemas.openxmlformats.org/officeDocument/2006/relationships" xmlns:p="http://schemas.openxmlformats.org/presentationml/2006/main">
  <p:tag name="APLORISTAG" val="Mt8SOYQnlfK44nkmw.471"/>
</p:tagLst>
</file>

<file path=ppt/tags/tag394.xml><?xml version="1.0" encoding="utf-8"?>
<p:tagLst xmlns:a="http://schemas.openxmlformats.org/drawingml/2006/main" xmlns:r="http://schemas.openxmlformats.org/officeDocument/2006/relationships" xmlns:p="http://schemas.openxmlformats.org/presentationml/2006/main">
  <p:tag name="APLORISTAG" val="Mt8SOYQnlfK44nkmw.359"/>
</p:tagLst>
</file>

<file path=ppt/tags/tag395.xml><?xml version="1.0" encoding="utf-8"?>
<p:tagLst xmlns:a="http://schemas.openxmlformats.org/drawingml/2006/main" xmlns:r="http://schemas.openxmlformats.org/officeDocument/2006/relationships" xmlns:p="http://schemas.openxmlformats.org/presentationml/2006/main">
  <p:tag name="APLORISTAG" val="Mt8SOYQnlfK44nkmw.343"/>
</p:tagLst>
</file>

<file path=ppt/tags/tag396.xml><?xml version="1.0" encoding="utf-8"?>
<p:tagLst xmlns:a="http://schemas.openxmlformats.org/drawingml/2006/main" xmlns:r="http://schemas.openxmlformats.org/officeDocument/2006/relationships" xmlns:p="http://schemas.openxmlformats.org/presentationml/2006/main">
  <p:tag name="APLORISTAG" val="Mt8SOYQnlfK44nkmw.353"/>
</p:tagLst>
</file>

<file path=ppt/tags/tag397.xml><?xml version="1.0" encoding="utf-8"?>
<p:tagLst xmlns:a="http://schemas.openxmlformats.org/drawingml/2006/main" xmlns:r="http://schemas.openxmlformats.org/officeDocument/2006/relationships" xmlns:p="http://schemas.openxmlformats.org/presentationml/2006/main">
  <p:tag name="APLORISTAG" val="Mt8SOYQnlfK44nkmw.339"/>
</p:tagLst>
</file>

<file path=ppt/tags/tag398.xml><?xml version="1.0" encoding="utf-8"?>
<p:tagLst xmlns:a="http://schemas.openxmlformats.org/drawingml/2006/main" xmlns:r="http://schemas.openxmlformats.org/officeDocument/2006/relationships" xmlns:p="http://schemas.openxmlformats.org/presentationml/2006/main">
  <p:tag name="APLORISTAG" val="Mt8SOYQnlfK44nkmw.351"/>
</p:tagLst>
</file>

<file path=ppt/tags/tag399.xml><?xml version="1.0" encoding="utf-8"?>
<p:tagLst xmlns:a="http://schemas.openxmlformats.org/drawingml/2006/main" xmlns:r="http://schemas.openxmlformats.org/officeDocument/2006/relationships" xmlns:p="http://schemas.openxmlformats.org/presentationml/2006/main">
  <p:tag name="APLORISTAG" val="Mt8SOYQnlfK44nkmw.536"/>
</p:tagLst>
</file>

<file path=ppt/tags/tag4.xml><?xml version="1.0" encoding="utf-8"?>
<p:tagLst xmlns:a="http://schemas.openxmlformats.org/drawingml/2006/main" xmlns:r="http://schemas.openxmlformats.org/officeDocument/2006/relationships" xmlns:p="http://schemas.openxmlformats.org/presentationml/2006/main">
  <p:tag name="APLORISTAG" val="MX/IjfW661gLV+xOY.294"/>
</p:tagLst>
</file>

<file path=ppt/tags/tag40.xml><?xml version="1.0" encoding="utf-8"?>
<p:tagLst xmlns:a="http://schemas.openxmlformats.org/drawingml/2006/main" xmlns:r="http://schemas.openxmlformats.org/officeDocument/2006/relationships" xmlns:p="http://schemas.openxmlformats.org/presentationml/2006/main">
  <p:tag name="APLORISTAG" val="MX/IjfW661gLV+xOY.197"/>
</p:tagLst>
</file>

<file path=ppt/tags/tag400.xml><?xml version="1.0" encoding="utf-8"?>
<p:tagLst xmlns:a="http://schemas.openxmlformats.org/drawingml/2006/main" xmlns:r="http://schemas.openxmlformats.org/officeDocument/2006/relationships" xmlns:p="http://schemas.openxmlformats.org/presentationml/2006/main">
  <p:tag name="APLORISTAG" val="Mt8SOYQnlfK44nkmw.537"/>
</p:tagLst>
</file>

<file path=ppt/tags/tag401.xml><?xml version="1.0" encoding="utf-8"?>
<p:tagLst xmlns:a="http://schemas.openxmlformats.org/drawingml/2006/main" xmlns:r="http://schemas.openxmlformats.org/officeDocument/2006/relationships" xmlns:p="http://schemas.openxmlformats.org/presentationml/2006/main">
  <p:tag name="APLORISTAG" val="Mt8SOYQnlfK44nkmw.541"/>
</p:tagLst>
</file>

<file path=ppt/tags/tag402.xml><?xml version="1.0" encoding="utf-8"?>
<p:tagLst xmlns:a="http://schemas.openxmlformats.org/drawingml/2006/main" xmlns:r="http://schemas.openxmlformats.org/officeDocument/2006/relationships" xmlns:p="http://schemas.openxmlformats.org/presentationml/2006/main">
  <p:tag name="APLORISTAG" val="Mt8SOYQnlfK44nkmw.540"/>
</p:tagLst>
</file>

<file path=ppt/tags/tag403.xml><?xml version="1.0" encoding="utf-8"?>
<p:tagLst xmlns:a="http://schemas.openxmlformats.org/drawingml/2006/main" xmlns:r="http://schemas.openxmlformats.org/officeDocument/2006/relationships" xmlns:p="http://schemas.openxmlformats.org/presentationml/2006/main">
  <p:tag name="APLORISTAG" val="Mt8SOYQnlfK44nkmw.534"/>
</p:tagLst>
</file>

<file path=ppt/tags/tag404.xml><?xml version="1.0" encoding="utf-8"?>
<p:tagLst xmlns:a="http://schemas.openxmlformats.org/drawingml/2006/main" xmlns:r="http://schemas.openxmlformats.org/officeDocument/2006/relationships" xmlns:p="http://schemas.openxmlformats.org/presentationml/2006/main">
  <p:tag name="APLORISTAG" val="Mt8SOYQnlfK44nkmw.538"/>
</p:tagLst>
</file>

<file path=ppt/tags/tag405.xml><?xml version="1.0" encoding="utf-8"?>
<p:tagLst xmlns:a="http://schemas.openxmlformats.org/drawingml/2006/main" xmlns:r="http://schemas.openxmlformats.org/officeDocument/2006/relationships" xmlns:p="http://schemas.openxmlformats.org/presentationml/2006/main">
  <p:tag name="APLORISTAG" val="Mt8SOYQnlfK44nkmw.352"/>
</p:tagLst>
</file>

<file path=ppt/tags/tag406.xml><?xml version="1.0" encoding="utf-8"?>
<p:tagLst xmlns:a="http://schemas.openxmlformats.org/drawingml/2006/main" xmlns:r="http://schemas.openxmlformats.org/officeDocument/2006/relationships" xmlns:p="http://schemas.openxmlformats.org/presentationml/2006/main">
  <p:tag name="APLORISTAG" val="Mt8SOYQnlfK44nkmw.355"/>
</p:tagLst>
</file>

<file path=ppt/tags/tag407.xml><?xml version="1.0" encoding="utf-8"?>
<p:tagLst xmlns:a="http://schemas.openxmlformats.org/drawingml/2006/main" xmlns:r="http://schemas.openxmlformats.org/officeDocument/2006/relationships" xmlns:p="http://schemas.openxmlformats.org/presentationml/2006/main">
  <p:tag name="APLORISTAG" val="Mt8SOYQnlfK44nkmw.342"/>
</p:tagLst>
</file>

<file path=ppt/tags/tag408.xml><?xml version="1.0" encoding="utf-8"?>
<p:tagLst xmlns:a="http://schemas.openxmlformats.org/drawingml/2006/main" xmlns:r="http://schemas.openxmlformats.org/officeDocument/2006/relationships" xmlns:p="http://schemas.openxmlformats.org/presentationml/2006/main">
  <p:tag name="APLORISTAG" val="Mt8SOYQnlfK44nkmw.542"/>
</p:tagLst>
</file>

<file path=ppt/tags/tag409.xml><?xml version="1.0" encoding="utf-8"?>
<p:tagLst xmlns:a="http://schemas.openxmlformats.org/drawingml/2006/main" xmlns:r="http://schemas.openxmlformats.org/officeDocument/2006/relationships" xmlns:p="http://schemas.openxmlformats.org/presentationml/2006/main">
  <p:tag name="APLORISTAG" val="Mt8SOYQnlfK44nkmw.346"/>
</p:tagLst>
</file>

<file path=ppt/tags/tag41.xml><?xml version="1.0" encoding="utf-8"?>
<p:tagLst xmlns:a="http://schemas.openxmlformats.org/drawingml/2006/main" xmlns:r="http://schemas.openxmlformats.org/officeDocument/2006/relationships" xmlns:p="http://schemas.openxmlformats.org/presentationml/2006/main">
  <p:tag name="APLORISTAG" val="MX/IjfW661gLV+xOY.203"/>
</p:tagLst>
</file>

<file path=ppt/tags/tag410.xml><?xml version="1.0" encoding="utf-8"?>
<p:tagLst xmlns:a="http://schemas.openxmlformats.org/drawingml/2006/main" xmlns:r="http://schemas.openxmlformats.org/officeDocument/2006/relationships" xmlns:p="http://schemas.openxmlformats.org/presentationml/2006/main">
  <p:tag name="APLORISTAG" val="Mt8SOYQnlfK44nkmw.414"/>
</p:tagLst>
</file>

<file path=ppt/tags/tag411.xml><?xml version="1.0" encoding="utf-8"?>
<p:tagLst xmlns:a="http://schemas.openxmlformats.org/drawingml/2006/main" xmlns:r="http://schemas.openxmlformats.org/officeDocument/2006/relationships" xmlns:p="http://schemas.openxmlformats.org/presentationml/2006/main">
  <p:tag name="APLORISTAG" val="Mt8SOYQnlfK44nkmw.416"/>
</p:tagLst>
</file>

<file path=ppt/tags/tag412.xml><?xml version="1.0" encoding="utf-8"?>
<p:tagLst xmlns:a="http://schemas.openxmlformats.org/drawingml/2006/main" xmlns:r="http://schemas.openxmlformats.org/officeDocument/2006/relationships" xmlns:p="http://schemas.openxmlformats.org/presentationml/2006/main">
  <p:tag name="APLORISTAG" val="Mt8SOYQnlfK44nkmw.419"/>
</p:tagLst>
</file>

<file path=ppt/tags/tag413.xml><?xml version="1.0" encoding="utf-8"?>
<p:tagLst xmlns:a="http://schemas.openxmlformats.org/drawingml/2006/main" xmlns:r="http://schemas.openxmlformats.org/officeDocument/2006/relationships" xmlns:p="http://schemas.openxmlformats.org/presentationml/2006/main">
  <p:tag name="APLORISTAG" val="Mt8SOYQnlfK44nkmw.418"/>
</p:tagLst>
</file>

<file path=ppt/tags/tag414.xml><?xml version="1.0" encoding="utf-8"?>
<p:tagLst xmlns:a="http://schemas.openxmlformats.org/drawingml/2006/main" xmlns:r="http://schemas.openxmlformats.org/officeDocument/2006/relationships" xmlns:p="http://schemas.openxmlformats.org/presentationml/2006/main">
  <p:tag name="APLORISTAG" val="MeOFJ3hMQTP5TaRXB"/>
</p:tagLst>
</file>

<file path=ppt/tags/tag415.xml><?xml version="1.0" encoding="utf-8"?>
<p:tagLst xmlns:a="http://schemas.openxmlformats.org/drawingml/2006/main" xmlns:r="http://schemas.openxmlformats.org/officeDocument/2006/relationships" xmlns:p="http://schemas.openxmlformats.org/presentationml/2006/main">
  <p:tag name="APLORISTAG" val="MeOFJ3hMQTP5TaRXB.447"/>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AFFQAAABlTeXN0ZW0uRHJhd2luZy5SZWN0YW5nbGVGBAAAAAF4AXkFd2lkdGgGaGVpZ2h0AAAAAAsLCwsEAAAA//9/////f////3////9//wEWAAAAFQAAAP//f////3////9/////f/8AAAAAAAUXAAAALEFwbG9yaXMuQ2hhcnQuQXhpc0JyZWFrK0F4aXNCcmVha0Rpc3BsYXlNb2RlAQAAAAd2YWx1ZV9fAAgCAAAAAQAAAAEBAQoKCRgAAAAKCgAAAAAACRkAAAAKCRoAAAAAAAAACgUbAAAAGUFwbG9yaXMuQ2hhcnQuT3JpZW50YXRpb24BAAAAB3ZhbHVlX18ACAIAAAABAAAACRwAAAABHQAAABUAAAD07xdCIOh8QTEiF0Q2ZJJDAAQeAAAAC1N5c3RlbS5HdWlkCwAAAAJfYQJfYgJfYwJfZAJfZQJfZgJfZwJfaAJfaQJfagJfawAAAAAAAAAAAAAACAcHAgICAgICAgIAAAAAAAAAAAAAAAAAAAAAAAoKCR8AAAAACgoKAQAAAAAAAAD/////AAEBIAAAABUAAAAAACBBAAAgQSZKG0Sji65DShsAQqI6DUMwWSNE3cy8QwUhAAAAFVN5c3RlbS5EcmF3aW5nLlBvaW50RgIAAAABeAF5AAALCwQAAAAIXKhCpOeDQwYiAAAAEGVPRkozaE1RVFA1VGFSWEI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9O8XQndLmkMBLwAAACEAAAAwoSBEd0uaQwkwAAAACTEAAAAJMgAAAAkzAAAAAAAAAAAAAAAAAAAACTQAAAAAAAAAAAAJNQAAAAkBAAAACQEAAAAJNgAAAAEHAAAABgAAAAkBAAAAATcAAAAnAAAAAAAAAM3MTD8AAAAIAQAJAQAAAAk4AAAACTkAAAABAAAAAAAAAAABZmZmZmZm5j8BmpmZmZmZuT8AAAAgQQABCToAAAAKCTsAAAAJPAAAAAk9AAAAAT4AAAAhAAAA9O8XQndLmkMBPwAAACEAAAD07xdCIOh8QQ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S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DTZglCOpmrQy/ImEMvOr9BCWUAAAAD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CAAAAAgBAAAAAgAAAAMAAAAEAAAABQAAAAYAAAAHAAAACAAAAAUc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bgAAACEAAAD07xdCIOh8QQFvAAAAIQAAADChIER3S5pDCXAAAAAJcQAAAAAAAAAKBXIAAAAUU3lzdGVtLkRyYXdpbmcuU2l6ZUYCAAAABXdpZHRoBmhlaWdodAAACwsEAAAAAAAAAAAAAAABcwAAAHIAAAAAAAAAAAAAAAAAAAABdAAAABUAAAAAAAAAAAAAAAAAAAAAAAAAFAAAAP////8BAQoJdQAAAAEACgAPHwAAAEE3AAACUEsDBBQABgAIAAAAIQB5YkOffgEAAPg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MlOwzAQvSPxD5GvKHHbA0KoaQ8UjlCJ8gHGnjRR40Ued/t7Jm5BUIWUqpW4xIrtt00yMxxvdJ2swGNlTc76WY8lYKRVlZnn7G32lN6xBIMwStTWQM62gGw8ur4azrYOMCG0wZyVIbh7zlGWoAVm1oGhk8J6LQK9+jl3Qi7EHPig17vl0poAJqSh4WCj4QQKsaxD8rih7Z0TgrPkYXevkcqZcK6upAhklDenvBW36sStjDowl9qiqCQoK5eaLGWEn3ixpvi/CHioscNZi8I+ekbI6B7LyuHNPsIL1d5XCpKp8OFZaArKNzVfW794t3aRddehRe0gDzoPQmEJEHSdxTXTojJ/0I+Xkcelf2EjTb5IfKKPwT/5CPRjA4/P80sRaY4Ex7CtAS+cdkd6TLkUHtRr8NQDFzfwnfuID2l105F4fr1/9sAnb5c8jYOptw5pUnk4/SN8dnyDTh0RgQ8VdPb8lyKNudMFD5oemjmqQLVo8zi3Rx8AAAD//wMAUEsDBBQABgAIAAAAIQBQfE7B9g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JLPSgMxEIfvgu8Q5t7NtoKINNuLCL2J1AcYk9k/7G4mJNO6fXuDoLiw1h6TzHzzzY9sd9M4qBPF1LE3sC5KUOQtu843Bt4Oz6sHUEnQOxzYk4EzJdhVtzfbVxpQclNqu5BUpvhkoBUJj1on29KIqeBAPr/UHEeUfIyNDmh7bEhvyvJex98MqGZMtXcG4t6tQR3OIU/+n8113Vl6YnscycvCCD2vyGSMDYmBadAfHPt35r7IwqCXXTbXu/y9px5J0KGgthxpFWJOKUqXc/3RcWxf8nX6qrgkdHe90Hz1pXBoEvKO3GUlDOHbSM/+QPUJAAD//wMAUEsDBBQABgAIAAAAIQAT+O2w+QAAAEcD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8ks1qwzAQhO+FvoPYey3b/aGEyLmUQq5t+gBCXlsmtiS02x+/fUVCUweCezE9ziya+djVevM19OIDI3XeKSiyHAQ64+vOtQreds83jyCItat17x0qGJFgU11frV+w15weke0CiZTiSIFlDispyVgcNGU+oEuTxsdBc5KxlUGbvW5Rlnn+IOM0A6qzTLGtFcRtfQtiN4bU/He2b5rO4JM37wM6vlAhOXFhCtSxRVZwkEezyBIoyMsMd0syEI99WuIJ4qjn6u8Xrbc6Yv3KMV14SjG152CKJWE+fdyTReTfdZwskofJ7GHKf4YpfzYjz75/9Q0AAP//AwBQSwMEFAAGAAgAAAAhAK33oZPRAQAABAMAAA8AAAB4bC93b3JrYm9vay54bWyMUk2P0zAQvSPxHyzfWztO0l1VTValH6ISQitYds/GcRtr/RHZDskK8d+ZJGQpcOFkj8czb96bt7nrjUbfpA/K2QInS4qRtMJVyl4K/OXhuLjFKERuK66dlQV+kQHflW/fbDrnn78694yggQ0FrmNs1oQEUUvDw9I10kLm7LzhEUJ/IaHxklehljIaTRilK2K4snjqsPb/08Odz0rIvROtkTZOTbzUPML4oVZNwOXmrLR8nBgh3jQfuYG5e42R5iEeKhVlVeAcQtfJPx5827xrlYYsW1GaYVK+srz3iLfR7ZwBEiHcKxFbuBSYDr8GHR6V7MLvgiFE/ZOylesKnN5QEPZlDhllEHZj8klVsQbEJBm+TG/vpbrUEdbB0mwEIFcIo4CANJ7Ijuy2jXZehT2PHNY1KHwCFglGfq3g4k9VMsx5XfLZGYk+8Q79VcSuithQRGZAwbUAHYZj7J5RSgFCOCta72EdO8j8UkT28UOI5QZO1HpV4O83OUsP+T5dsPyYLrb5gS6SVcoWq+zI8mzHWJazH7MXTP+PGYwS3gV3jkvhDJl8AP4RRPZCjna6nexUbky/3npRn/boqPkFljTxgFmAzTwZmQ1c/gQAAP//AwBQSwMEFAAGAAgAAAAhAHkYLb8BCQAAOXkAAA0AAAB4bC9zdHlsZXMueG1s7F3db9s2EH8fsP9BULHHRKIs2VJgu1jSeivQFQWSAXuVbTkRqg9Dltukw/733ZGiJTm2PkK6TQL2IZXk4/Hux7vjNzl+ex9H2tcg24RpMtHJualrQbJIl2FyO9H/vpmdubq2yf1k6UdpEkz0h2Cjv53++st4kz9EwfVdEOQasEg2E/0uz9cXhrFZ3AWxvzlP10ECv6zSLPZzeM1ujc06C/zlBhPFkWGZ5tCI/TDRGYeLeNGFSexnX7brs0Uar/08nIdRmD9QXroWLy4+3CZp5s8jEPWe2P6C86Yvj9jH4SJLN+kqPwd2RrpahYvgsZSe4RnAaTpOtvEszjfaIt0m+US3dp809suHJUA4tHWNKX2VLkEM89z8TTd44hqlU6d88+YNJzaKrKbjVZqUORIoHqrJxZck/ZbM8DfIEuRAsul481376kfwhWCOizRKMy2H4gAx6JfEjwNGceVH4TwLkWzlx2H0wD5b+IGWYEEXh4AnfjRYDuzvHKmKvDz8lWUVJsvgPgAQ3L3cbvy7NPaR8FFmNb6c56nl757PH2EUadd+snmEwSEe2e18os9mJv2HKUrAjzOaV8DspXh7OW1bWJt1GcWMoi2zPZsQy+wQ+oWl7yl1HPgdD2r1zIR7liC13g2YNZhJLS7gh+kYIlQeZMkMjah4vnlYgzcmEEyZRVG6FurbzH8gllNJYNAMp+N5mi0hePOIhJGAfZqOo2CVQ/Fn4e0d/p+na/g7T/McIt10vAz92zTxI3g0eIriAdRZBFF0jQH+n1XJ23KB+/2qEsEgGmE8wLCHj6BK8cg4shfIoZbIKxNZRxNp/nodPcyAOWXN3oB/+XZJNS/ff4/C2yQOqgk+Z2keLHJas1GjqMlREf64HPvCq0RQAfLyLor+SegNW4r+0zaeB9mMNh7KQkZHKt9kmsDomcmj8IGQ0uB9Ch+Fj0jIV/aj7EfZz+nqU+Vfyr+Ufyn/gg4T7bz96Pa8ij8q/qj4o+KPij9sfE6NbzTHQ4WPwkekvlD2o+xH2c/p2hvKv5R/Kf9S/vWz2vMq/qj4o+KPij8q/rDxBDW+2hwPFT4KH5H64kmLqlQikSVpCj2FXrGStQBCBXEVxFUQr/vEj4uSyvuU94l4n7IfZT/Kfk43ZKP8S/mX8i/lXz9rSPTHtURVTl1GBozqrlG2h7SyfXQwetLuUe1+dXgbKVhd+97TXepiPyndPkj3IR/bCjo4vg+QS1Ldm0qK5c18KyJ/r8RF3JPr882p2l2ahd8BTdylv4DdqkGma98yf30T3MNWVyqacb/a2zJb0RUPFzi8z7bQFWy1sneWy8OiFH97PtIC3C9IWgD/BUkLp0ucRlrcWd7BasmQnm/B5ota7RZak1Ta+kYBbrFsJ/jurfBjlkLImuHokzxcVLwRN8Q/csB+qsBagdeiCpz+8kJUwRjZGBgPN1MaK4POPOvhtU/wP2Ju6C5FndsqBPeK/p4jLCjK1lVMjn9HrKRWiru8QVisZZlR91FfbiUtIM9Jgi+Xp4sJ9ULtFOH1ZML2MTkIjN3CTb3mEqmrDoYKAIN7IB6s0hgBR6dtEYjLx9sAdczqAUMEwV5O3A4nr+dfiLi8Ln8W4gr3s8DajvXh2ksOKE7ZNC6jHpy6RE9tam5Rtgrs9ol5Ev2lVKToqx708VrruF0XXv12qWyeuy68t/0sdanUDdgTa6wbuIHVg0Onup62SA4aRkWAVrMg1mERJFgAazKVtoxOKbcqIBY36jp+P034fi5JrGdtx32V4YNKz9Ip+yrDx5xehTK8AfoqlOGt1VehDG/LPhdl6GQCTB9UzqLcO4lyN9ug4SGrcOxqGkXpt2Cp/QknbGZRmHyBs3Lp5AGemjvfhlEeJjiXAFXRXbhcBnjeMTbOejCCMCmHEXi1HEZghHIYQe9ACiOsxuUwkgW2JQtsSxbYcJKqHIwGssAeyAJ7IAvsgSywB7LAtmWBbcsC25YFti0LbFsW2I4ssB1ZYDuywHZkge3IAnsoC+yhLLDxEH0ptchQFthDWWCPZIE9kgX2SBbYHvS8pJSaBx0FKYyIKUskYsqTCRrbkrSDtqwcTnDxgCxO0hAn0hAn0hAn/RB/1BepJ4eY0tgVeZR8r5j6p68XTv/09SLpn75eEP3TC+KH43QVh+mdvyWIH1ziIJa/IH6WIH4DQfwGgvgNBPGDVYhC+A8E8bMF8bMF8bMF8bMF8bMF8XME8XME8XME8XME8XME8RsK4jcUxA+XBIrE36EgfkNB/EaC+I0E8fPqbf7e9ZdXb+r3Tk9MQQGIKSxBvUf3BBUgiYgNkr3x5P4SEFEQiSiIRBRE0g/ET3iRT8QH5Os9YHrPy/4g/OcgwyUHPEXd7ehNWPsp6IWExLZH7gDmM4mNQ5ps/L8TOXomI2e3gfEbsIrZhX3u6EiM3D40h7BHPkS8GfmwCzkOfjJytwv5aEc+6EA+wj4M4z5qInc91/Fc28Q2a0HeiGRBb2EbuaBvVJbTY51e0HeRx3JLeRrRKfjbOCZZ8Gd3FR4pWk4/2tHDspsD80O8bAt6xyzpD84n7dNjG5TJ4zaaGvAfAZguDhgxeq8NT0rv7kzTa8MH6T1zx5/AY7PCNAH2ywuB2gqM0uMsRUHfVgCUHhupjJ6YbYiOHOLQKXWWwG10AEQU6XE5VUHfiijS43BUQd+qANBb9JpOOvUIZdECKNKXHua2Aor0OBPB5PFaCwzpsdVayN/mwYiPVVqc22pBSF96pNdUXg4YM3HcYSWi4Kqf4wDtEpQK40qbDglwjJ1pjGtbOiTAtbE8QRNGXCRSRnQCAa89B4IzYzyHJqvb5VDGIQJTmB1y8HaBhVjUjsodeTCPvrwv73KkoOd4Te413vK4m1kHu1oGK38b5Te7Hyd6+fxXsAy3MVSsBdXn8GuaUxYTvXz+iFdOAj4gMuxq+7iBi2nhf22bhRP93/eXI+/d+5l15pqX7pk9CJwzz7l8d+bYV5fv3s080zKv/gOk8E7hC7jrVuDOXnq3MCwTJfbFJoKbfbNC2UL46/LbRK+8MPFRegPEZn+pEgaN5PTO4+n/AA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iliQ/3AGAAC/FAAAGAAAAHhsL3dvcmtzaGVldHMvc2hlZXQyLnhtbJRY227jNhB9L9B/EPQemXdKRuzF+n5Luui2u8+KzCTC2pYrKZdt0X/vULIskRQW2wRI7MPDITkzPBrN7Yf348F7VXmRZqeRjwPke+qUZPv09DTy//xjcRP6XlHGp318yE5q5H9Xhf9h/Osvt29Z/q14Vqr0wMKpGPnPZXkeDgZF8qyOcRFkZ3WCkccsP8YlfM2fBsU5V/G+mnQ8DAhCYnCM05NfWxjmP2Mje3xMEzXLkpejOpW1kVwd4hL2Xzyn56Kxdkx+xtwxzr+9nG+S7HgGEw/pIS2/V0Z975gM10+nLI8fDnDud8zipLFdfXHMH9Mkz4rssQzA3KDeqHvmaBANwNL4dp/CCbTbvVw9jvyPeHiPmT8Y31YO+pKqt6Lz2Suz8049llN1OACZ+Z4OwEOWfdPM9X7kI7BZqINKtCu8GP69qgsbEwjiX5dliF5jcF2k+7lZcFEF7VPuPcSFmmaHr+m+fIbsgOTYq8f45VD+nr2tVPr0XAIKe6kcMtx/n6kigbDozTQHmcVlPL7NszcP4othH+dYZwsewrzxbaLRjxoe+QRSDaYWAL+OMbsdvMLekgtncuWA4WrW1EFmDjJ3kIWDLB1k5SBrB9k4yNZBdg5y5yD3XWQAbrr6Ssesx1carkKho9jlU5PvVbGByDdO1uPgZB2Yyn+TGoC/V6cj0+fTmgHxvTKwyZi5DGIy5i6DmoyFy7Biv3QZ3LSxchnCZKxdhjQZG5cRmoyty4hMxs5lYMupdz0Uy6v3NYV3/d661Qg6xKabJFXQpVaC+mLp4ZEvuoYs709qiqwuHQsIjwRlYRgyGmJKw/lNu3B962p+WPFpIDjGmAscCoEJl8Lhz7p8EjDKkJRIRhhJjph0+PMunwWICxlxTHHIeMgw8K39L7p8FGAeEswRRpjhKJShxV522SQgFBMqKSEcc4Kps5lVlw7GIyRERCXGkZCcccv42mJLwSTiYUgoJxHDFntjsUPCOZchiihFgoR26nXZNEDMDJSz812Xj4PaGSQSmAnEmBumuy4/DDCmPEJEUBFhEVLuuP2+5kdVGoBnUMQpZSLkPAqplO1ZjWyFROxma5OlGrbkn1jXd3LlNPI1dZCZg8wdZOEgSwdZOcjaQTYOsnWQXRcx/CB7/bDUcK+06xqs8yiobjkX11uuh2FeVTzU0n5FOsptSea0j2N5fdbHsWRz3sexsnfRwyGWLi4vHHDC9WlDLGFc9dmxBGrdw8GWTG96OKTN2cqH2z6O9WDa9XBwux8j5lFPDMO2BNLDEMOu5hMrYpMLRwf+dQyXjtHI+DGfRVObbjlzZoxHgUDGD3E0ZW5MkIEwFo8iZ8LCmAAbDq0TLQ0CrGjFYGWMowBZR1gb4zyQxgmQe4TN/52wNSZoobNTwCbwNteM+GNd6HUucSN+FW6pH7Xuz6QlXeXPhWYuNHehhQstXWjlQmsX2rjQ1oV2LnTnQvcGZLrOKoWrpwXUSMlLUWbH+mUF7o5f6aJoq5/qtQcGwrbmbaDoCk0vEIGXm1Z4LJGbNSRYpCVZUZr3ktp0qGRl0Ueithb2kqzkX/WSWvWpllv3kqxrtuklWYm+7SVZF3rXkCBiVz/R9qlihlWXuZ0b8cOwgjJeb0xdHkNYtQ5akZrgepRAgdLuwCJNG5I2+jrmUGYyCZUL/CIWIowdJZo1MxrxpRhLqDKhGhRcQl1l+X1u8xmTUB9BoYk4RZJFrU8uaXHZdm0/DBhhPIJaCorZECHiFr5LewWCoRgnUP1CjSo5F1Z2rky+CCSFKjYKBSdIMESg+rXSYm3OgJcDMA+ajzkUvwgqbGfGxpxhZfX2h6O7ZrR+FWnnmjmj685OzlxyYq6bEFbtVLc46vbDUeVPVTOk8JLsRTcoKET+inY6MFoXbFwMoZTrwbFu2WA9MrhOgRbKOX5Sd3H+lJ4K7wAtG+iGBBIe7HndL6m/QDunkqyHrAQNq9ULmmMK2iEoAPJjlpXNF1hA2/ysypezl+UpdFiqftfIP2d5mcdpCdIH+N8ZDBxm53TkM3jjgPCSCC4idPfKNHEHwKx6L3dFWf33XnKY9w+kAmQbxTcfxQTdcP2HCIlupCR4IqcogjLh36YPdnz/uSbYMU4G6j1RVdMvrJt+4Ob34afdF+8u20N/DdT3t5P6BMesPn/9DBuuPmrvwjbrv9VmB29N63H8HwAAAP//AwBQSwMEFAAGAAgAAAAhAPtipW2UBgAApxsAABMAAAB4bC90aGVtZS90aGVtZTEueG1s7FlPb9s2FL8P2HcgdG9tJ7YbB3WK2LGbrU0bxG6HHmmZllhTokDSSX0b2uOAAcO6YZcBu+0wbCvQArt0nyZbh60D+hX2SEqyGMtL0gYb1tWHRCJ/fP/f4yN19dqDiKFDIiTlcdurXa56iMQ+H9M4aHt3hv1LGx6SCsdjzHhM2t6cSO/a1vvvXcWbKiQRQbA+lpu47YVKJZuVivRhGMvLPCExzE24iLCCVxFUxgIfAd2IVdaq1WYlwjT2UIwjIHt7MqE+QUNN0tvKiPcYvMZK6gGfiYEmTZwVBjue1jRCzmWXCXSIWdsDPmN+NCQPlIcYlgom2l7V/LzK1tUK3kwXMbVibWFd3/zSdemC8XTN8BTBKGda69dbV3Zy+gbA1DKu1+t1e7WcngFg3wdNrSxFmvX+Rq2T0SyA7OMy7W61Ua27+AL99SWZW51Op9FKZbFEDcg+1pfwG9VmfXvNwRuQxTeW8PXOdrfbdPAGZPHNJXz/SqtZd/EGFDIaT5fQ2qH9fko9h0w42y2FbwB8o5rCFyiIhjy6NIsJj9WqWIvwfS76ANBAhhWNkZonZIJ9iOIujkaCYs0AbxJcmLFDvlwa0ryQ9AVNVNv7MMGQEQt6r55//+r5U/Tq+ZPjh8+OH/50/OjR8cMfLS1n4S6Og+LCl99+9ufXH6M/nn7z8vEX5XhZxP/6wye//Px5ORAyaCHRiy+f/PbsyYuvPv39u8cl8G2BR0X4kEZEolvkCB3wCHQzhnElJyNxvhXDEFNnBQ6Bdgnpngod4K05ZmW4DnGNd1dA8SgDXp/dd2QdhGKmaAnnG2HkAPc4Zx0uSg1wQ/MqWHg4i4Ny5mJWxB1gfFjGu4tjx7W9WQJVMwtKx/bdkDhi7jMcKxyQmCik5/iUkBLt7lHq2HWP+oJLPlHoHkUdTEtNMqQjJ5AWi3ZpBH6Zl+kMrnZss3cXdTgr03qHHLpISAjMSoQfEuaY8TqeKRyVkRziiBUNfhOrsEzIwVz4RVxPKvB0QBhHvTGRsmzNbQH6Fpx+A0O9KnX7HptHLlIoOi2jeRNzXkTu8Gk3xFFShh3QOCxiP5BTCFGM9rkqg+9xN0P0O/gBxyvdfZcSx92nF4I7NHBEWgSInpmJEl9eJ9yJ38GcTTAxVQZKulOpIxr/XdlmFOq25fCubLe9bdjEypJn90SxXoX7D5boHTyL9wlkxfIW9a5Cv6vQ3ltfoVfl8sXX5UUphiqtGxLba5vOO1rZeE8oYwM1Z+SmNL23hA1o3IdBvc4cOkl+EEtCeNSZDAwcXCCwWYMEVx9RFQ5CnEDfXvM0kUCmpAOJEi7hvGiGS2lrPPT+yp42G/ocYiuHxGqPj+3wuh7Ojhs5GSNVYM60GaN1TeCszNavpERBt9dhVtNCnZlbzYhmiqLDLVdZm9icy8HkuWowmFsTOhsE/RBYuQnHfs0azjuYkbG2u/VR5hbjhYt0kQzxmKQ+0nov+6hmnJTFypIiWg8bDPrseIrVCtxamuwbcDuLk4rs6ivYZd57Ey9lEbzwElA7mY4sLiYni9FR22s11hoe8nHS9iZwVIbHKAGvS91MYhbAfZOvhA37U5PZZPnCm61MMTcJanD7Ye2+pLBTBxIh1Q6WoQ0NM5WGAIs1Jyv/WgPMelEKlFSjs0mxvgHB8K9JAXZ0XUsmE+KrorMLI9p29jUtpXymiBiE4yM0YjNxgMH9OlRBnzGVcONhKoJ+ges5bW0z5RbnNOmKl2IGZ8cxS0KclludolkmW7gpSLkM5q0gHuhWKrtR7vyqmJS/IFWKYfw/U0XvJ3AFsT7WHvDhdlhgpDOl7XGhQg5VKAmp3xfQOJjaAdECV7wwDUEFd9TmvyCH+r/NOUvDpDWcJNUBDZCgsB+pUBCyD2XJRN8pxGrp3mVJspSQiaiCuDKxYo/IIWFDXQObem/3UAihbqpJWgYM7mT8ue9pBo0C3eQU882pZPnea3Pgn+58bDKDUm4dNg1NZv9cxLw9WOyqdr1Znu29RUX0xKLNqmdZAcwKW0ErTfvXFOGcW62tWEsarzUy4cCLyxrDYN4QJXCRhPQf2P+o8Jn94KE31CE/gNqK4PuFJgZhA1F9yTYeSBdIOziCxskO2mDSpKxp09ZJWy3brC+40835njC2luws/j6nsfPmzGXn5OJFGju1sGNrO7bS1ODZkykKQ5PsIGMcY76UFT9m8dF9cPQOfDaYMSVNMMGnKoGhhx6YPIDktxzN0q2/AAAA//8DAFBLAwQUAAYACAAAACEAa9PzVxsEAADbCQAAGAAAAHhsL3dvcmtzaGVldHMvc2hlZXQxLnhtbIxWW2/qOBB+X2n/Q5R3iG9xbAQctaW0lc7RVttzeTaJgahJHDmmhV3tf9/JBUoCOiqV0sTz+fPMN+Oxp1/2eea9aVulppj5eIx8TxexSdJiM/N/fF+OhO9VThWJykyhZ/5BV/6X+Z9/TN+Nfa22WjsPGIpq5m+dKydBUMVbnatqbEpdgGVtbK4cfNpNUJVWq6SZlGcBQYgHuUoLv2WY2M9wmPU6jfXCxLtcF64lsTpTDvyvtmlZHdn2yaf4EqveIdajP2cuLlrLiQ+zC//yNLamMms3jk0etK5dRikD2Yszjy+IroiVK/u6K0dAXEJwqzRL3aEJ1/fyePK0KYxVqwwyssdMxWdeqkv6z/sJTPNpkoK2dUF4Vq9n/g2ePFI/mE+bzP1M9Xt19u45tXrRmY6dTqCAfK8ujJUxrzXwCYZQPTW4mLtsCuPZeitV6TuT/UoTtwUCKMBEr9Uucx+DYiwoQRST8GT827w/6nSzdTCFQfS1CJPksNBVDHXRrRqbDFyFp5endXWDdGrfOtmthsdAWblDLSSYV7pyy7Tm9L14VzmTH92qgzgRkY6IQ7Qt0bmHRzrSmxN1c2A//WYO7s2RR4c5FRDkb+Y1GrfhNkovlFPzqTXvHuwCCKYqVb1H8QSWrzXjCPIc18ab2tpgYLiC0bc5ldPgDXIWd5DbDgJhf2CiPuauxRBw+YRhpI9ZXMPQPub+Gob1MctrmLCPebiG4X3MY4uhUHIfPn/EFYB8Jw0h9qGGjJw0rK2gIT0nwv3FblsMxY3EaIyJFCHBmBDCJBd0AL/r4PUab3OAs1BIijmJJIuEGCp7iUYhg7+QSSbRgPt+iJYUCRYxHNIQSxkNpFxewnmIOexGIUPK6CA7Dz14OCZRiAVHRCAGuzgk96OB84/dBHoMFUG1My4JZRGNxFkV9TICYg8zQsQpI7V1mBE0yEiLoaxbl2ImeEQ44hESoHcffdehww5NOGUSckcjSUlE+aCOFwM4kLNQEokijhiI0Se/H6AJCCukIBGH5FE6hC8HcEYox/ADmSUORTTYvw8DOOEhhBhGoUQEYS4G5QHNvtaO8lOkkYgoDiUPEWHwO/ne5qPt7W3HKdVGf1N2kxaVl+k1bCs0hs5n207dvDtTNqPQeFfGQYs9fm3hcqChI6ExOLA2xh0/oPXWvC/a7UrP2BQafHPez/zSWGdV6qCpwfg/BgzZokxnPiNQ95BMCbUFtxuXxpcGoM30RsWH7qT37CRNZr59SpourPfua+XmU/jv7Sxw/ssZQpBqPLrht2gU1g8CQo6iiODb6A5JjtB/x5M4h4NmcCW6egznKg70PtbNhUi0F4X5NN9Pnr/+9L6ZBA4m6E9/FfoZJGjef71AMM1rfbCCe+2zcTY4Xcvm/wMAAP//AwBQSwMEFAAGAAgAAAAhADyOYQ6fAgAADgcAABsAAAB4bC9kcmF3aW5ncy92bWxEcmF3aW5nMS52bWzsVUtv2zAMvvdXCO4hlwR+tM061Q5QdOhtG7DucSwUW4nV6mFYjOP214+UnaRZsaHADrvMQByKpEh+Hz/AeW80w5/1vCuiTWu5L2tphJ8ZVbbOuxXMSmd4Z3R0Mia6PyW61UqVkg9/+yv9G67IvpSHJgbHqQEaHsdGlN+NvgtzfWtVtDhhueO+Fo3U4sltgHVc9lBEslJAUQqryojmKMAqAaKI0iimAvFRhUXeDQXhqZFMVUV03yf43EOWZBErnWsrr55lEWXpPEmm4R0xrNFgX8rBro2AuohMMk30mDHkHb2TXg4jYkNo3aNkD05ZD08aixsFsg3zMRyI6rF1KyolLQS47rGIgNqWzlpZAk1bRC1aI6gXKPaQXsLxaZJdRGy4d3qEcRhh0jivQDnLxdI7vQF5hciMaNfKzrRcAZ9fNnA1OsA1fH6B562qoOZpdo52LdW6Bp6+R/t5pmwle55SlU55tVRawROvVVVJe2W8m21b0cxCcw50ccJWSuvSadcW0ekKH5kSZCRJgnEVAhYbcDsSKRn3g9nZIZ02TAwiaZXbMmcH2pa+3LQSlzvQtef4Fz6ts3K/BEBlLV3PRnpo4koR48jRTGjgNMyE+rG8Ut0uj65hWK0tJ9YmizzGaBgr7vhYNBx7fqNpwR9Qnezz8gFLfw1r/eRgkArLe/7RdfKHgvpGau0DPPLeoSRfe69tWbs2jMSSKZtfTlk6ZRdTdobGu3DIzvO45y8Ssdg1ArlFNhe3QnsZ4jtPQNfzL267SClAxui7QZEYu0jIPdrEPZ32sDA3R9RBwr+V5fzvZJlm6bEus4MsU7JHWYa0nSyz/7L8N7IkPWZTUie+z4M4yT4LqjvI982qDPJ7rcog1repMsaP4OInAAAA//8DAFBLAwQUAAYACAAAACEAO5jXh/8CAADmCAAAFAAAAHhsL3NoYXJlZFN0cmluZ3MueG1snFZtTxsxDP6OxH+wTprUSZRjCCY0tUVVGRvSKqq1bNrHkPP1LOWSLvGV9d/P6QtUdxQK33LxY/tx/Nht5/JfaWCOPpCz3eTT8UkCaLXLyE67yd3kun2RQGBlM2WcxW6ywJBc9g4POiEwiK8N3aRgnn1J06ALLFU4djO0YsmdLxXLp5+mYeZRZaFA5NKkpycnn9NSkU1Au8pyNzmXtJWlvxUOVhdnF0mvE6jX4d610pXhBTwQF6C0yrAkDSqbUxCS4DHMnA10T4aYMHRS7nXS6Lp2r4xpM5UII+9yDLFQZWDMKs+hH6M4X/fpb7JENgFNEzGSF4tx0iFalnDfURmhtxN/RR41Ow9unVSop8vssYZ+VpKlwF4JpE5GaM9d4Pr1L9KxJAyUCQWQ0OubJRpaZLWpYhtBSc2xhRyO4tlpUoxyRtbHH+thr1DZ9ztvqnxv9oFzXjg/9wyDgjCHG7uSlTQRbvNc3sBDa3Bz+xFSWCEmqAvrjJsutgCT20ah27JyFb9DWbdcxOwjgyoghBlqyheNPL8LxXCPMi0ZBu1JjrBwlQcmNghiXH6RDXJRsRR2We/JZIO8eQLVMWOuljoYo5/LqzTGYGPv57ki3zB/td4ZU0YlDZVVU4zHeo4o0+X8NNzvbIZ+6lVWibRktkR4TQqPU7XRfSP+ZuwmlcyBSLcOuBZpWJGvgT5ldePW4wjgJwZUXhd11CMJGSshXIpurnCmPC9rb43f2sW8sjo2TVIq2XF79fP6yacvPg2KT9uA5gh3lhqdGFX3hvQRnLUXUmUcfnXv5liPNPI0jw2xjtsyN+2ZbEDivd3e4rImdLoktC+Pl9Hb6Xcg11mNrPU2F7K5duB2vMO+fttMXvOZOPk9qD/A+HH5b6m0CTICEy3VDd+8e7AwdDJj0k2zeN4+pqkl2Yiy6M0CWrJY4mJiOD3/0FhK41IZA4cHkwcHUUGNgR5S1v6h/BTXoD/PgTZRztrRLMiVLF8M9hq2GXPVuz2DNsCp/E/p/QcAAP//AwBQSwMEFAAGAAgAAAAhANlmJ4mRAQAALw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JNTxsxEIbvSP0Plu/ES4pQFXmNELTiUNSIBHqeemezFl575RmWpL++3qxCNvRQqbf5eP368Xj09bb1osdELoZSXswKKTDYWLmwKeXT+tv5FymIIVTgY8BS7pDktfl0ppcpdpjYIYlsEaiUDXO3UIpsgy3QLLdD7tQxtcA5TRsV69pZvIv2tcXAal4UVwq3jKHC6rx7N5Sj46Ln/zWtoh346Hm96zKw0Tdd550Fzq80D86mSLFm8QDWBY7UiK9bi16rqUxnzhXa1+R4ZwqtpqleWfB4m68wNXhCrY4FfY8wjG8JLpHRPS96tByTIPc7D3AuxS8gHMBK2UNyEDgDDrIx2ce+I07mZ0wv1CAyaZUFY3EfTrXT2F2a+V6Qg1PhYDCC5MYp4tqxR/pRLyHxv4j3DCPviHPT+Zgc3QHDFPIddxVbFI/wJj4qToA+IHx34YWeunXMh/Aw4tOiXjWQsMq/cugfC/o+Tzf5weS2gbDB6qD5uzGsxvO4/+biclZ8LvJfT2paHTfd/AEAAP//AwBQSwMEFAAGAAgAAAAhAHT+6QQPAQAAIgIAABAAAAB4bC9jb21tZW50czEueG1svFDLTsMwELwj8Q/W3qmTHFBBsSs4FCFxQKJ8gIk3jSU/Iq9bpXw9W9Jw4MQJybI849mZ0babKXhxxEwuRQX1qgKBsUvWxb2C9932Zg2CionW+BRRwQkJNvr6qu1SCBgLCTaIpGAoZbyXkroBg6FVGjHyT59yMIVh3ksaMxpLA2IJXjZVdSuDcRF0aw5lSJmWh9St/KEuOS+Oil5CRcZewWMNYpY9WwUV+xScWJT5vPL1wT70KY7GK7gDBl3yKQsXLU7IE+v6TOZtimUW7cyQgjmTvQnOn2a2ORPy27Hop5wOo7BIXXZj4Z1RKzlScpyc0+Wl8K+yD83/l33D7JD+2HbpPS96QaS/AAAA//8DAFBLAwQUAAYACAAAACEAFZNJlTUBAAAS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FfS8MwFMXfBb9DyXubpsMxQtuByhBxIDhRfLskd1uw+UMS7fbtzeqsk/l4Oef+OOfeer7TXfaJPihrGsKKkmRohJXKbBryvFrkM5KFCEZCZw02ZI+BzNvLi1o4LqzHR28d+qgwZIlkAheuIdsYHac0iC1qCEVymCSurdcQ0+g31IF4hw3SqiynVGMECRHoAZi7kUiOSClGpPvw3QCQgmKHGk0MlBWM/nojeh3+XRiUE6dWce9Sp2PcU7YU3+Lo3gU1Gvu+L/rJECPlZ/R1+fA0VM2VOdxKIGlrKbjwCNH6tqanQzpcByEu043XCuX1vr23BuIWTHZnfQKgMjU9dyXiUIDr42aWMvHvBj/Sy+TmdrUgbVWyaV6ynE1WVcWrGb8q3w4p/gJSsLMvtl8AAAD//wMAUEsBAi0AFAAGAAgAAAAhAHliQ59+AQAA+AUAABMAAAAAAAAAAAAAAAAAAAAAAFtDb250ZW50X1R5cGVzXS54bWxQSwECLQAUAAYACAAAACEAUHxOwfYAAABMAgAACwAAAAAAAAAAAAAAAAC3AwAAX3JlbHMvLnJlbHNQSwECLQAUAAYACAAAACEAE/jtsPkAAABHAwAAGgAAAAAAAAAAAAAAAADeBgAAeGwvX3JlbHMvd29ya2Jvb2sueG1sLnJlbHNQSwECLQAUAAYACAAAACEArfehk9EBAAAEAwAADwAAAAAAAAAAAAAAAAAXCQAAeGwvd29ya2Jvb2sueG1sUEsBAi0AFAAGAAgAAAAhAHkYLb8BCQAAOXkAAA0AAAAAAAAAAAAAAAAAFQsAAHhsL3N0eWxlcy54bWxQSwECLQAUAAYACAAAACEA52V1uNYAAAC4AQAAIwAAAAAAAAAAAAAAAABBFAAAeGwvd29ya3NoZWV0cy9fcmVscy9zaGVldDEueG1sLnJlbHNQSwECLQAUAAYACAAAACEAiliQ/3AGAAC/FAAAGAAAAAAAAAAAAAAAAABYFQAAeGwvd29ya3NoZWV0cy9zaGVldDIueG1sUEsBAi0AFAAGAAgAAAAhAPtipW2UBgAApxsAABMAAAAAAAAAAAAAAAAA/hsAAHhsL3RoZW1lL3RoZW1lMS54bWxQSwECLQAUAAYACAAAACEAa9PzVxsEAADbCQAAGAAAAAAAAAAAAAAAAADDIgAAeGwvd29ya3NoZWV0cy9zaGVldDEueG1sUEsBAi0AFAAGAAgAAAAhADyOYQ6fAgAADgcAABsAAAAAAAAAAAAAAAAAFCcAAHhsL2RyYXdpbmdzL3ZtbERyYXdpbmcxLnZtbFBLAQItABQABgAIAAAAIQA7mNeH/wIAAOYIAAAUAAAAAAAAAAAAAAAAAOwpAAB4bC9zaGFyZWRTdHJpbmdzLnhtbFBLAQItABQABgAIAAAAIQDZZieJkQEAAC8DAAAQAAAAAAAAAAAAAAAAAB0tAABkb2NQcm9wcy9hcHAueG1sUEsBAi0AFAAGAAgAAAAhAHT+6QQPAQAAIgIAABAAAAAAAAAAAAAAAAAA5C8AAHhsL2NvbW1lbnRzMS54bWxQSwECLQAUAAYACAAAACEAFZNJlTUBAAASAgAAEQAAAAAAAAAAAAAAAAAhMQAAZG9jUHJvcHMvY29yZS54bWxQSwUGAAAAAA4ADgCeAwAAjTMAAAAABSM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YAAAAFQXJpYWwGdwAAAAYrbW4tZWEJeAAAAAEACXkAAAAHJAAAAAABAAAAEQAAAAQUU3lzdGVtLkRyYXdpbmcuQ29sb3IEAAAABXoAAAAUU3lzdGVtLkRyYXdpbmcuQ29sb3IEAAAABXZhbHVlBXN0YXRlCmtub3duQ29sb3IEbmFtZQAAAAEJBwcEAAAAAAAAAAAAAAAAAAAACgF7AAAAegAAAAAAAP//////AgAAAAoBfAAAAHoAAAD//////////wIAAAAKAX0AAAB6AAAATkEi//////8CAAAACgF+AAAAegAAAN7c2///////AgAAAAoBfwAAAHoAAAB+aT///////wIAAAAKAYAAAAB6AAAAjIRy//////8CAAAACgGBAAAAegAAACUh7f//////AgAAAAoBggAAAHoAAAA0O0b//////wIAAAAKAYMAAAB6AAAAdJjD//////8CAAAACgGEAAAAegAAAB6U9///////AgAAAAoBhQAAAHoAAAAelPf//////wIAAAAKAYYAAAB6AAAAJSHt//////8CAAAACgGHAAAAegAAAAAAAP//////AgAAAAoBiAAAAHoAAAD//////////wIAAAAKAYkAAAB6AAAATkEi//////8CAAAACgGKAAAAegAAAN7c2///////AgAAAAoEJQAAAJgBU3lzdGVtLkNvbGxlY3Rpb25zLkdlbmVyaWMuTGlzdGAxW1tBcGxvcmlzLkJhc2UuT2JqZWN0cy5EYXRhT2JqZWN0LCBBcGxvcmlzLkJhc2UsIFZlcnNpb249NC4wLjAuMTQ4NiwgQ3VsdHVyZT1uZXV0cmFsLCBQdWJsaWNLZXlUb2tlbj0xNmZjMTNhMjI2YzBlOTUxXV0DAAAABl9pdGVtcwVfc2l6ZQhfdmVyc2lvbgQAACFBcGxvcmlzLkJhc2UuT2JqZWN0cy5EYXRhT2JqZWN0W10DAAAACAgJiwAAAA0AAAANAAAABCYAAACVAVN5c3RlbS5Db2xsZWN0aW9ucy5HZW5lcmljLkxpc3RgMVtbQXBsb3Jpcy5CYXNlLlVJLlZpc3VhbE9iamVjdCwgQXBsb3Jpcy5CYXNlLCBWZXJzaW9uPTQuMC4wLjE0ODYsIEN1bHR1cmU9bmV1dHJhbCwgUHVibGljS2V5VG9rZW49MTZmYzEzYTIyNmMwZTk1MV1dAwAAAAZfaXRlbXMFX3NpemUIX3ZlcnNpb24EAAAeQXBsb3Jpcy5CYXNlLlVJLlZpc3VhbE9iamVjdFtdAwAAAAgICYwAAAABAAAAAQAAAAUoAAAAmwFBcGxvcmlzLkJhc2UuT2JqZWN0cy5EYXRhT2JqZWN0Q29sbGVjdGlvbmAxW1tBcGxvcmlzLkNoYXJ0LlZhbHVl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C4wLjE0ODYsIEN1bHR1cmU9bmV1dHJhbCwgUHVibGljS2V5VG9rZW49MTZmYzEzYTIyNmMwZTk1MV1dAwAAAJEBU3lzdGVtLkNvbGxlY3Rpb25zLkdlbmVyaWMuTGlzdGAxW1tBcGxvcmlzLkNoYXJ0LlZhbHVl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NAAAACY4AAAAJBgAAAAkBAAAACY8AAAAFKQAAAJsBQXBsb3Jpcy5CYXNlLk9iamVjdHMuRGF0YU9iamVjdENvbGxlY3Rpb25gMVtbQXBsb3Jpcy5DaGFydC5BeGlzQnJlYWs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AuMC4xNDg2LCBDdWx0dXJlPW5ldXRyYWwsIFB1YmxpY0tleVRva2VuPTE2ZmMxM2EyMjZjMGU5NTFdXQMAAACRAVN5c3RlbS5Db2xsZWN0aW9ucy5HZW5lcmljLkxpc3RgMVtbQXBsb3Jpcy5DaGFydC5BeGlzQnJlYW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kAAAAAmRAAAACQYAAAAJAQAAAAmSAAAABS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gAAAADAAAACWkAAAAJagAAAAlrAAAAAQAAAAAKCglsAAAAAAAAAAoAAAAAAA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L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aAAAAAMAAAAJaQAAAAlqAAAACWsAAAABAAAAAAoGkwAAAAElCWwAAAABAAAACgAAAAAAAAAABS0AAACaAUFwbG9yaXMuQmFzZS5PYmplY3RzLkRhdGFPYmplY3RDb2xsZWN0aW9uYDFbW0FwbG9yaXMuQ2hhcnQuVGlja01hcms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C4wLjE0ODYsIEN1bHR1cmU9bmV1dHJhbCwgUHVibGljS2V5VG9rZW49MTZmYzEzYTIyNmMwZTk1MV1dAwAAAJABU3lzdGVtLkNvbGxlY3Rpb25zLkdlbmVyaWMuTGlzdGAxW1tBcGxvcmlzLkNoYXJ0LlRpY2tNYXJ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QAAAAJlQAAAAkGAAAACQEAAAAJlgAAAAUw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cAAAAhAAAA9O8XQndLmkMBmAAAACEAAAAwoSBEd0uaQwmZAAAAuAEAAP////8BAQoJmgAAAAEACgAHMQAAAAABAAAABQAAAAQVU3lzdGVtLkRyYXdpbmcuUG9pbnRGBAAAAAGbAAAAIQAAADBhIUR3S5pDAZwAAAAhAAAA9O8XQkgRrkMBnQAAACEAAAAvIKpDSBGuQwGeAAAAIQAAADChIERIEa5DAZ8AAAAhAAAAMGEhRHfLnEMHMgAAAAABAAAABQAAAAQXQXBsb3Jpcy5CYXNlLkFuY2hvck1vZGUDAAAABaAAAAAXQXBsb3Jpcy5CYXNlLkFuY2hvck1vZGUBAAAAB3ZhbHVlX18ACAMAAAAEAAAAAaEAAACgAAAABQAAAAGiAAAAoAAAAAMAAAABowAAAKAAAAAGAAAAAaQAAACgAAAABQAAAA8zAAAABQAAAAEAAAAAAQU0AAAAFUFwbG9yaXMuQmFzZS5VSS5MYWJlbBwAAAAPbUFuY2hvclBvc2l0aW9uC21BbmNob3JNb2RlD21BZGRJbm5lck1hcmdpbhZtT2Zmc2V0RGlyZWN0aW9uQW5jaG9yF21PZmZzZXRPcnRob2dvbmFsQW5jaG9yC21UZXh0Rm9ybWF0CW1Sb3RhdGlvbgptQmFja0NvbG9yDW1Vc2VCYWNrQ29sb3IObVVzZ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EBAQAAQMDAQAAAAAHAgAAAwA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wAAAAGlAAAAIQAAADBhIUR3S5pDAaYAAACgAAAABAAAAAAAAAAAAAAAAAmnAAAAAAAAAAmoAAAAAAAFqQAAACpBcGxvcmlzLkJhc2UuVUkuTGFiZWwrTGluZUFsaWdubWVudE9wdGlvbnMBAAAAB3ZhbHVlX18ACAMAAAAAAAAAAaoAAAByAAAAAAAAAAAAAAABqwAAABUAAAAAAAAAAAAAAAAAAAAAAAAAAAAAAAasAAAADUNhdGVnb3J5IGF4aXMKCa0AAAAJrAAAAOQCAAD/////AAEKCa4AAAABAAoBATUAAAAlAAAACa8AAAAGAAAABgAAAAE2AAAAJgAAAAmwAAAAAgAAAAIAAAABOAAAACgAAAAKCbEAAAAJsgAAAAkHAAAACQEAAAAJswAAAAE5AAAAKQAAAAoJtAAAAAm1AAAACQcAAAAJAQAAAAm2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gAAAADAAAACWkAAAAJagAAAAlrAAAAAQAAAAAKBrcAAAABJQlsAAAAAAAAAAoAAAAAAA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oAAAAAwAAAAlpAAAACWoAAAAJawAAAAEAAAAACga4AAAAASUJbAAAAAAAAAAKAAAAAAAAAAAFP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QAAAAEJaAAAAAMAAAAJaQAAAAlqAAAACWsAAAABAAAAAAoJkwAAAAlsAAAAAQAAAAoAAAAAAAAAAAE9AAAALQAAAAoJuQAAAAm6AAAACQcAAAAJAQAAAAm7AAAAAUAAAAAwAAAAAbwAAAAhAAAA9O8XQndLmkMBvQAAACEAAAD07xdCIOh8QQm+AAAAuAEAAP////8BAQoJvwAAAAEACgAHQQAAAAABAAAABQAAAAQVU3lzdGVtLkRyYXdpbmcuUG9pbnRGBAAAAAHAAAAAIQAAAPTvF0JOoiVBAcEAAAAhAAAAymMhQXdLmkMBwgAAACEAAADKYyFBuDIiQwHDAAAAIQAAAMpjIUEg6HxBAcQAAAAhAAAAymMhQU6iJUEHQgAAAAABAAAABQAAAAQXQXBsb3Jpcy5CYXNlLkFuY2hvck1vZGUDAAAAAcUAAACgAAAAAQAAAAHGAAAAoAAAAAgAAAABxwAAAKAAAAACAAAAAcgAAACgAAAABgAAAAHJAAAAoAAAAAcAAAAPQwAAAAUAAAABAAAAAAEBRAAAADQAAAABygAAACEAAAD07xdCTqIlQQHLAAAAoAAAAAEAAAAAAAAAAAAAAAAJzAAAAAAAAAAJzQAAAAAAAc4AAACpAAAAAAAAAAHPAAAAcgAAAAAAAAAAAAAAAdAAAAAVAAAAAAAAAAAAAAAAAAAAAAAAAAAAAAAG0QAAAApWYWx1ZSBheGlzCgnSAAAACdEAAADkAgAA/////wABCgnTAAAAAQAKAQFFAAAAJQAAAAnUAAAACAAAAAgAAAABRgAAACYAAAAJ1QAAAAIAAAACAAAAB0cAAAAAAQAAAAgAAAAELkFwbG9yaXMuQ2hhcnQuQ29sdW1uT3JpZW50ZWRDaGFydCtVbnVzZWRTZXJpZXMCAAAABdYAAAAuQXBsb3Jpcy5DaGFydC5Db2x1bW5PcmllbnRlZENoYXJ0K1VudXNlZFNlcmllcwMAAAAIRXhjZWxSb3cDUm93C0Rlc2NyaXB0aW9uAAQCCBpBcGxvcmlzLkNoYXJ0LkRhdGEuRGF0YVJvdwIAAAACAAAAAAAAAAoKAdcAAADWAAAAAAAAAAoKAdgAAADWAAAAAAAAAAoKAdkAAADWAAAAAAAAAAoKAdoAAADWAAAAAAAAAAoKAdsAAADWAAAAAAAAAAoKAdwAAADWAAAAAAAAAAoKAd0AAADWAAAAAAAAAAoKBEgAAACXAVN5c3RlbS5Db2xsZWN0aW9ucy5HZW5lcmljLkxpc3RgMVtbQXBsb3Jpcy5DaGFydC5DaGFydERhdGFTZXJpZXMsIEFwbG9yaXMuQ2hhcnQsIFZlcnNpb249NC4wLjAuMTQ4NiwgQ3VsdHVyZT1uZXV0cmFsLCBQdWJsaWNLZXlUb2tlbj0xNmZjMTNhMjI2YzBlOTUxXV0DAAAABl9pdGVtcwVfc2l6ZQhfdmVyc2lvbgQAAB9BcGxvcmlzLkNoYXJ0LkNoYXJ0RGF0YVNlcmllc1tdAgAAAAgICd4AAAACAAAADgEAAAFJAAAAJQAAAAnfAAAAAgAAAGIAAAABSgAAACYAAAAJ4AAAAAAAAAAAAAAABEsAAACcAVN5c3RlbS5Db2xsZWN0aW9ucy5HZW5lcmljLkxpc3RgMVtbQXBsb3Jpcy5DaGFydC5Bbm5vdGF0aW9uRGF0YVNlcmllcywgQXBsb3Jpcy5DaGFydCwgVmVyc2lvbj00LjAuMC4xNDg2LCBDdWx0dXJlPW5ldXRyYWwsIFB1YmxpY0tleVRva2VuPTE2ZmMxM2EyMjZjMGU5NTFdXQMAAAAGX2l0ZW1zBV9zaXplCF92ZXJzaW9uBAAAJEFwbG9yaXMuQ2hhcnQuQW5ub3RhdGlvbkRhdGFTZXJpZXNbXQIAAAAICAnhAAAAAAAAAAAAAAABTAAAACUAAAAJ4gAAAAAAAAAAAAAAAU0AAAAmAAAACeAAAAAAAAAAAAAAAAROAAAAlwFTeXN0ZW0uQ29sbGVjdGlvbnMuR2VuZXJpYy5MaXN0YDFbW0FwbG9yaXMuQ2hhcnQuQW5ub3RhdGlvbkdyb3VwLCBBcGxvcmlzLkNoYXJ0LCBWZXJzaW9uPTQuMC4wLjE0ODYsIEN1bHR1cmU9bmV1dHJhbCwgUHVibGljS2V5VG9rZW49MTZmYzEzYTIyNmMwZTk1MV1dAwAAAAZfaXRlbXMFX3NpemUIX3ZlcnNpb24EAAAfQXBsb3Jpcy5DaGFydC5Bbm5vdGF0aW9uR3JvdXBbXQIAAAAICAnjAAAAAAAAAAAAAAABTwAAACUAAAAJ4gAAAAAAAAAAAAAAAVAAAAAmAAAACeAAAAAAAAAAAAAAAARRAAAAlgFTeXN0ZW0uQ29sbGVjdGlvbnMuR2VuZXJpYy5MaXN0YDFbW0FwbG9yaXMuQ2hhcnQuQ2hhcnREYXRhR3JvdXAsIEFwbG9yaXMuQ2hhcnQsIFZlcnNpb249NC4wLjAuMTQ4NiwgQ3VsdHVyZT1uZXV0cmFsLCBQdWJsaWNLZXlUb2tlbj0xNmZjMTNhMjI2YzBlOTUxXV0DAAAABl9pdGVtcwVfc2l6ZQhfdmVyc2lvbgQAAB5BcGxvcmlzLkNoYXJ0LkNoYXJ0RGF0YUdyb3VwW10CAAAACAgJ5AAAAAcAAAAnAAAAAVIAAAAlAAAACeUAAAAHAAAAFwAAAAFTAAAAJgAAAAngAAAAAAAAAAAAAAAEVAAAAJABU3lzdGVtLkNvbGxlY3Rpb25zLkdlbmVyaWMuTGlzdGAxW1tBcGxvcmlzLkNoYXJ0LkRlbHRhQmFyLCBBcGxvcmlzLkNoYXJ0LCBWZXJzaW9uPTQuMC4wLjE0ODYsIEN1bHR1cmU9bmV1dHJhbCwgUHVibGljS2V5VG9rZW49MTZmYzEzYTIyNmMwZTk1MV1dAwAAAAZfaXRlbXMFX3NpemUIX3ZlcnNpb24EAAAYQXBsb3Jpcy5DaGFydC5EZWx0YUJhcltdAgAAAAgICeYAAAAAAAAAAAAAAAFVAAAAJQAAAAniAAAAAAAAAAAAAAABVgAAACYAAAAJ4AAAAAAAAAAAAAAABFcAAACTAVN5c3RlbS5Db2xsZWN0aW9ucy5HZW5lcmljLkxpc3RgMVtbQXBsb3Jpcy5DaGFydC5EZWx0YUJyaWRnZSwgQXBsb3Jpcy5DaGFydCwgVmVyc2lvbj00LjAuMC4xNDg2LCBDdWx0dXJlPW5ldXRyYWwsIFB1YmxpY0tleVRva2VuPTE2ZmMxM2EyMjZjMGU5NTFdXQMAAAAGX2l0ZW1zBV9zaXplCF92ZXJzaW9uBAAAG0FwbG9yaXMuQ2hhcnQuRGVsdGFCcmlkZ2VbXQIAAAAICAnnAAAAAAAAAAAAAAABWAAAACUAAAAJ4gAAAAAAAAAAAAAAAVkAAAAmAAAACeAAAAAAAAAAAAAAAARaAAAAkwFTeXN0ZW0uQ29sbGVjdGlvbnMuR2VuZXJpYy5MaXN0YDFbW0FwbG9yaXMuQ2hhcnQuR3Jvd3RoQXJyb3csIEFwbG9yaXMuQ2hhcnQsIFZlcnNpb249NC4wLjAuMTQ4NiwgQ3VsdHVyZT1uZXV0cmFsLCBQdWJsaWNLZXlUb2tlbj0xNmZjMTNhMjI2YzBlOTUxXV0DAAAABl9pdGVtcwVfc2l6ZQhfdmVyc2lvbgQAABtBcGxvcmlzLkNoYXJ0Lkdyb3d0aEFycm93W10CAAAACAgJ6AAAAAAAAAAAAAAAAVsAAAAlAAAACeIAAAAAAAAAAAAAAAFcAAAAJgAAAAngAAAAAAAAAAAAAAAEXQAAAJoBU3lzdGVtLkNvbGxlY3Rpb25zLkdlbmVyaWMuTGlzdGAxW1tBcGxvcmlzLkNoYXJ0LldhdGVyZmFsbENvbm5lY3RvciwgQXBsb3Jpcy5DaGFydCwgVmVyc2lvbj00LjAuMC4xNDg2LCBDdWx0dXJlPW5ldXRyYWwsIFB1YmxpY0tleVRva2VuPTE2ZmMxM2EyMjZjMGU5NTFdXQMAAAAGX2l0ZW1zBV9zaXplCF92ZXJzaW9uBAAAIkFwbG9yaXMuQ2hhcnQuV2F0ZXJmYWxsQ29ubmVjdG9yW10CAAAACAgJ6QAAAAAAAAAAAAAAAV4AAAAlAAAACeIAAAAAAAAAAAAAAAFfAAAAJgAAAAngAAAAAAAAAAAAAAAEYAAAAJgBU3lzdGVtLkNvbGxlY3Rpb25zLkdlbmVyaWMuTGlzdGAxW1tBcGxvcmlzLkNoYXJ0LkVsZW1lbnRDb25uZWN0b3IsIEFwbG9yaXMuQ2hhcnQsIFZlcnNpb249NC4wLjAuMTQ4NiwgQ3VsdHVyZT1uZXV0cmFsLCBQdWJsaWNLZXlUb2tlbj0xNmZjMTNhMjI2YzBlOTUxXV0DAAAABl9pdGVtcwVfc2l6ZQhfdmVyc2lvbgQAACBBcGxvcmlzLkNoYXJ0LkVsZW1lbnRDb25uZWN0b3JbXQIAAAAICAnqAAAAAAAAAAAAAAABYQAAACUAAAAJ4gAAAAAAAAAAAAAAAWIAAAAmAAAACeAAAAAAAAAAAAAAAAVjAAAArQFBcGxvcmlzLkJhc2UuT2JqZWN0cy5EYXRhT2JqZWN0Q29sbGVjdGlvbmAxW1tBcGxvcmlzLkNoYXJ0LkNvbHVtbk9yaWVudGVkTGVnZW5kRWxlbWVudCwgQXBsb3Jpcy5DaGFydCwgVmVyc2lvbj00LjAuMC4xNDg2LCBDdWx0dXJlPW5ldXRyYWwsIFB1YmxpY0tleVRva2VuPTE2ZmMxM2EyMjZjMGU5NTFdXQYAAAALbUNvbGxlY3Rpb24FbUxpc3QYRGF0YU9iamVjdCttQ2hpbGRPYmplY3RzEkRhdGFPYmplY3QrbVBhcmVudBVEYXRhT2JqZWN0K21Db250YWluZXIZRGF0YU9iamVjdCttVmlzdWFsT2JqZWN0cwQDAwQEA6sBQXBsb3Jpcy5CYXNlLk9iamVjdHMuU29ydGFibGVDb2xsZWN0aW9uYDFbW0FwbG9yaXMuQ2hhcnQuQ29sdW1uT3JpZW50ZWRMZWdlbmRFbGVtZW50LCBBcGxvcmlzLkNoYXJ0LCBWZXJzaW9uPTQuMC4wLjE0ODYsIEN1bHR1cmU9bmV1dHJhbCwgUHVibGljS2V5VG9rZW49MTZmYzEzYTIyNmMwZTk1MV1dAwAAAKMBU3lzdGVtLkNvbGxlY3Rpb25zLkdlbmVyaWMuTGlzdGAxW1tBcGxvcmlzLkNoYXJ0LkNvbHVtbk9yaWVudGVkTGVnZW5k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nrAAAACewAAAAJFAAAAAkBAAAACe0AAAABZQAAABwAAAAB7gAAACEAAADTZglCOpmrQwHvAAAAIQAAAAn1qUPdjLdDCfAAAAAJ8QAAAAAAAAAKAfIAAAByAAAAAAAAAAAAAAAB8wAAAHIAAAAAAAAAAAAAAAAAAAAB9AAAABUAAAAAAAAAAAAAAAAAAAAAAAAApAEAAP////8BAQoJ9QAAAAEACgABZgAAACUAAAAJ9gAAAAEAAAABAAAAAWcAAAAmAAAACfcAAAABAAAAAQAAAAVw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AAACfgAAAAJ+QAAAAEAAAD+////AQAAAAEAAAABAAAAAQAAAAEAAAABAAAAAAABBXE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gAAAAn7AAAAAQAAAAAAAAAAAAAAAAAAAAABBXUAAAAfQXBsb3Jpcy5CYXNlLk9iamVjdHMuUGVyc0lkRGF0YQIAAAADbUlkC21DdXN0b21EYXRhBwIIAwAAAAn8AAAACgV4AAAAGkFwbG9yaXMuQmFzZS5PYmplY3RzLkNvbG9yBwAAABJEYXRhT2JqZWN0K21QYXJlbnQVRGF0YU9iamVjdCttQ29udGFpbmVyBW1UeXBlBG1SR0IQbVRoZW1lQ29sb3JJbmRleAxtQXV0b1VwZGF0ZWQJbU1vZGlmaWVkAgIAAAAAAAgICAEBAwAAAAoKAAAAAAAAAAANAAAAAAEBeQAAAHgAAAAKCgEAAAAAAAAA/////wABB4sAAAAAAQAAABAAAAAEH0FwbG9yaXMuQmFzZS5PYmplY3RzLkRhdGFPYmplY3QDAAAACQkAAAAJCgAAAAkLAAAACQwAAAAJEAAAAAkRAAAACQ0AAAAJDgAAAAkPAAAACQcAAAAJBgAAAAkYAAAACRQAAAANAweMAAAAAAEAAAAEAAAABBxBcGxvcmlzLkJhc2UuVUkuVmlzdWFsT2JqZWN0AwAAAAkcAAAADQMEjQAAAJEBU3lzdGVtLkNvbGxlY3Rpb25zLkdlbmVyaWMuTGlzdGAxW1tBcGxvcmlzLkNoYXJ0LlZhbHVlTGluZSwgQXBsb3Jpcy5DaGFydCwgVmVyc2lvbj00LjAuMC4xNDg2LCBDdWx0dXJlPW5ldXRyYWwsIFB1YmxpY0tleVRva2VuPTE2ZmMxM2EyMjZjMGU5NTFdXQMAAAAGX2l0ZW1zBV9zaXplCF92ZXJzaW9uBAAAGUFwbG9yaXMuQ2hhcnQuVmFsdWVMaW5lW10CAAAACAgJ/QAAAAAAAAAAAAAAAY4AAAAlAAAACeIAAAAAAAAAAAAAAAGPAAAAJgAAAAngAAAAAAAAAAAAAAAEkAAAAJEBU3lzdGVtLkNvbGxlY3Rpb25zLkdlbmVyaWMuTGlzdGAxW1tBcGxvcmlzLkNoYXJ0LkF4aXNCcmVhaywgQXBsb3Jpcy5DaGFydCwgVmVyc2lvbj00LjAuMC4xNDg2LCBDdWx0dXJlPW5ldXRyYWwsIFB1YmxpY0tleVRva2VuPTE2ZmMxM2EyMjZjMGU5NTFdXQMAAAAGX2l0ZW1zBV9zaXplCF92ZXJzaW9uBAAAGUFwbG9yaXMuQ2hhcnQuQXhpc0JyZWFrW10CAAAACAgJ/gAAAAAAAAAAAAAAAZEAAAAlAAAACeIAAAAAAAAAAAAAAAGSAAAAJgAAAAngAAAAAAAAAAAAAAAElAAAAJABU3lzdGVtLkNvbGxlY3Rpb25zLkdlbmVyaWMuTGlzdGAxW1tBcGxvcmlzLkNoYXJ0LlRpY2tNYXJrLCBBcGxvcmlzLkNoYXJ0LCBWZXJzaW9uPTQuMC4wLjE0ODYsIEN1bHR1cmU9bmV1dHJhbCwgUHVibGljS2V5VG9rZW49MTZmYzEzYTIyNmMwZTk1MV1dAwAAAAZfaXRlbXMFX3NpemUIX3ZlcnNpb24EAAAYQXBsb3Jpcy5DaGFydC5UaWNrTWFya1tdAgAAAAgICf8AAAAAAAAAAAAAAAGVAAAAJQAAAAniAAAAAAAAAAAAAAABlgAAACYAAAAJ4AAAAAAAAAAAAAAAAZkAAABwAAAACgoAAABAPwkAAQAACQEBAAABAAAA/v///wAAAAABAAAAAAAAAAAAAAABAAAAAAAAAAAAAAGaAAAAdQAAAAkCAQAACgWn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QEEJdgAAAAl3AAAACQMBAAABAAkEAQAAAagAAAB4AAAACgoBAAAAAAAAAP////8AAQStAAAAlgFTeXN0ZW0uQ29sbGVjdGlvbnMuR2VuZXJpYy5MaXN0YDFbW0FwbG9yaXMuQmFzZS5PYmplY3RzLlZhcmlhYmxlLCBBcGxvcmlzLkJhc2UsIFZlcnNpb249NC4wLjAuMTQ4NiwgQ3VsdHVyZT1uZXV0cmFsLCBQdWJsaWNLZXlUb2tlbj0xNmZjMTNhMjI2YzBlOTUxXV0DAAAABl9pdGVtcwVfc2l6ZQhfdmVyc2lvbgQAAB9BcGxvcmlzLkJhc2UuT2JqZWN0cy5WYXJpYWJsZVtdAwAAAAgICQUBAAAAAAAAAAAAAAGuAAAAdQAAAAkGAQAACgevAAAAAAEAAAAIAAAABB9BcGxvcmlzLkJhc2UuT2JqZWN0cy5EYXRhT2JqZWN0AwAAAAkqAAAACSsAAAAJLAAAAAktAAAACSgAAAAJKQAAAAoKB7AAAAAAAQAAAAQAAAAEHEFwbG9yaXMuQmFzZS5VSS5WaXN1YWxPYmplY3QDAAAACTAAAAAJNAAAAAoKAbEAAACNAAAACf0AAAAAAAAAAAAAAAGyAAAAJQAAAAniAAAAAAAAAAAAAAABswAAACYAAAAJ4AAAAAAAAAAAAAAAAbQAAACQAAAACf4AAAAAAAAAAAAAAAG1AAAAJQAAAAniAAAAAAAAAAAAAAABtgAAACYAAAAJ4AAAAAAAAAAAAAAAAbkAAACUAAAACQcBAAAIAAAAJAAAAAG6AAAAJQAAAAkIAQAACAAAACQAAAABuwAAACYAAAAJ4AAAAAAAAAAAAAAAAb4AAABwAAAACgoAAABAPwkJAQAACQoBAAABAAAA/v///wAAAAABAAAAAAAAAAAAAAABAAAAAAAAAAAAAAG/AAAAdQAAAAkLAQAACgXM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QEEJdgAAAAl3AAAACQwBAAABAAkNAQAAAc0AAAB4AAAACgoBAAAAAAAAAP////8AAQHSAAAArQAAAAkFAQAAAAAAAAAAAAAB0wAAAHUAAAAJDgEAAAoH1AAAAAABAAAACAAAAAQfQXBsb3Jpcy5CYXNlLk9iamVjdHMuRGF0YU9iamVjdAMAAAAJOgAAAAk7AAAACTwAAAAJPQAAAAk4AAAACTkAAAAJDwEAAAkQAQAAB9UAAAAAAQAAAAQAAAAEHEFwbG9yaXMuQmFzZS5VSS5WaXN1YWxPYmplY3QDAAAACUAAAAAJRAAAAAoKB94AAAAAAQAAACAAAAAEHUFwbG9yaXMuQ2hhcnQuQ2hhcnREYXRhU2VyaWVzAgAAAAkRAQAACRIBAAANHgffAAAAAAEAAAAgAAAABB9BcGxvcmlzLkJhc2UuT2JqZWN0cy5EYXRhT2JqZWN0AwAAAAkRAQAACRIBAAANHgfgAAAAAAEAAAAAAAAABBxBcGxvcmlzLkJhc2UuVUkuVmlzdWFsT2JqZWN0AwAAAAfhAAAAAAEAAAAAAAAABCJBcGxvcmlzLkNoYXJ0LkFubm90YXRpb25EYXRhU2VyaWVzAgAAAAfiAAAAAAEAAAAAAAAABB9BcGxvcmlzLkJhc2UuT2JqZWN0cy5EYXRhT2JqZWN0AwAAAAfjAAAAAAEAAAAAAAAABB1BcGxvcmlzLkNoYXJ0LkFubm90YXRpb25Hcm91cAIAAAAH5AAAAAABAAAAEAAAAAQcQXBsb3Jpcy5DaGFydC5DaGFydERhdGFHcm91cAIAAAAJEwEAAAkUAQAACRUBAAAJFgEAAAkXAQAACRgBAAAJGQEAAA0JB+UAAAAAAQAAABAAAAAEH0FwbG9yaXMuQmFzZS5PYmplY3RzLkRhdGFPYmplY3QDAAAACRMBAAAJFQEAAAkWAQAACRQBAAAJFwEAAAkYAQAACRkBAAANCQfmAAAAAAEAAAAAAAAABBZBcGxvcmlzLkNoYXJ0LkRlbHRhQmFyAgAAAAfnAAAAAAEAAAAAAAAABBlBcGxvcmlzLkNoYXJ0LkRlbHRhQnJpZGdlAgAAAAfoAAAAAAEAAAAAAAAABBlBcGxvcmlzLkNoYXJ0Lkdyb3d0aEFycm93AgAAAAfpAAAAAAEAAAAAAAAABCBBcGxvcmlzLkNoYXJ0LldhdGVyZmFsbENvbm5lY3RvcgIAAAAH6gAAAAABAAAAAAAAAAQeQXBsb3Jpcy5DaGFydC5FbGVtZW50Q29ubmVjdG9yAgAAAATrAAAAowFTeXN0ZW0uQ29sbGVjdGlvbnMuR2VuZXJpYy5MaXN0YDFbW0FwbG9yaXMuQ2hhcnQuQ29sdW1uT3JpZW50ZWRMZWdlbmRFbGVtZW50LCBBcGxvcmlzLkNoYXJ0LCBWZXJzaW9uPTQuMC4wLjE0ODYsIEN1bHR1cmU9bmV1dHJhbCwgUHVibGljS2V5VG9rZW49MTZmYzEzYTIyNmMwZTk1MV1dAwAAAAZfaXRlbXMFX3NpemUIX3ZlcnNpb24EAAArQXBsb3Jpcy5DaGFydC5Db2x1bW5PcmllbnRlZExlZ2VuZEVsZW1lbnRbXQIAAAAICAkaAQAAAgAAAOYAAAAB7AAAACUAAAAJGwEAAAIAAAAOAAAAAe0AAAAmAAAACRwBAAAAAAAAAAAAAAHwAAAAcAAAAAoKAAAAAAAJHQEAAAkeAQAAAQAAAP7///8BAAAAAQAAAAEAAAABAAAAAQAAAAEAAAAAAAEB8QAAAHEAAAAKCgkfAQAACSABAAABAAAAAAAAAAAAAAAAAAAAAAEB9QAAAHUAAAAJIQEAAAoH9gAAAAABAAAABAAAAAQfQXBsb3Jpcy5CYXNlLk9iamVjdHMuRGF0YU9iamVjdAMAAAAJYwAAAA0DB/cAAAAAAQAAAAQAAAAEHEFwbG9yaXMuQmFzZS5VSS5WaXN1YWxPYmplY3QDAAAACWUAAAANAwH4AAAAeAAAAAoKAAAAAAAAAAANAAAAAAEB+QAAAHgAAAAKCgEAAAAAAAAA/////wABAfoAAAB4AAAACgoBAAAA////AP////8AAQH7AAAAeAAAAAoKAQAAAAAAAAD/////AAEP/AAAAAEAAAAIAAAAAAf9AAAAAAEAAAAAAAAABBdBcGxvcmlzLkNoYXJ0LlZhbHVlTGluZQIAAAAH/gAAAAABAAAAAAAAAAQXQXBsb3Jpcy5DaGFydC5BeGlzQnJlYWsCAAAAB/8AAAAAAQAAAAAAAAAEFkFwbG9yaXMuQ2hhcnQuVGlja01hcmsCAAAABQABAAAaQXBsb3Jpcy5CYXNlLk9iamVjdHMuQ29sb3IHAAAAEkRhdGFPYmplY3QrbVBhcmVudBVEYXRhT2JqZWN0K21Db250YWluZXIFbVR5cGUEbVJHQhBtVGhlbWVDb2xvckluZGV4DG1BdXRvVXBkYXRlZAltTW9kaWZpZWQEAgAAAAAAH0FwbG9yaXMuQmFzZS5PYmplY3RzLkxpbmVGb3JtYXQDAAAACAgIAQEDAAAACZkAAAAKAAAAAAAAAAANAAAAAAAFAQEAABpBcGxvcmlzLkJhc2UuT2JqZWN0cy5Db2xvcgcAAAASRGF0YU9iamVjdCttUGFyZW50FURhdGFPYmplY3QrbUNvbnRhaW5lcgVtVHlwZQRtUkdCEG1UaGVtZUNvbG9ySW5kZXgMbUF1dG9VcGRhdGVkCW1Nb2RpZmllZAQCAAAAAAAfQXBsb3Jpcy5CYXNlLk9iamVjdHMuTGluZUZvcm1hdAMAAAAICAgBAQMAAAAJmQAAAAoBAAAAAAAAAP////8AAQ8CAQAAAQAAAAgzAgAAAQMBAAB4AAAACgoAAAAAAAAAAA0AAAAAAQEEAQAAeAAAAAoKAQAAAAAAAAD/////AAEHBQEAAAABAAAAAAAAAAQdQXBsb3Jpcy5CYXNlLk9iamVjdHMuVmFyaWFibGUDAAAADwYBAAABAAAACAAAAAAHBwEAAAABAAAAEAAAAAQWQXBsb3Jpcy5DaGFydC5UaWNrTWFyawIAAAAJIgEAAAkjAQAACSQBAAAJJQEAAAkmAQAACScBAAAJKAEAAAkpAQAADQgHCAEAAAABAAAAEAAAAAQfQXBsb3Jpcy5CYXNlLk9iamVjdHMuRGF0YU9iamVjdAMAAAAJIgEAAAkjAQAACSQBAAAJJQEAAAkmAQAACScBAAAJKAEAAAkpAQAADQgFCQEAABpBcGxvcmlzLkJhc2UuT2JqZWN0cy5Db2xvcgcAAAASRGF0YU9iamVjdCttUGFyZW50FURhdGFPYmplY3QrbUNvbnRhaW5lcgVtVHlwZQRtUkdCEG1UaGVtZUNvbG9ySW5kZXgMbUF1dG9VcGRhdGVkCW1Nb2RpZmllZAQCAAAAAAAfQXBsb3Jpcy5CYXNlLk9iamVjdHMuTGluZUZvcm1hdAMAAAAICAgBAQMAAAAJvgAAAAoAAAAAAAAAAA0AAAAAAAUKAQAAGkFwbG9yaXMuQmFzZS5PYmplY3RzLkNvbG9yBwAAABJEYXRhT2JqZWN0K21QYXJlbnQVRGF0YU9iamVjdCttQ29udGFpbmVyBW1UeXBlBG1SR0IQbVRoZW1lQ29sb3JJbmRleAxtQXV0b1VwZGF0ZWQJbU1vZGlmaWVkBAIAAAAAAB9BcGxvcmlzLkJhc2UuT2JqZWN0cy5MaW5lRm9ybWF0AwAAAAgICAEBAwAAAAm+AAAACgEAAAAAAAAA/////wABDwsBAAABAAAACDQCAAABDAEAAHgAAAAKCgAAAAAAAAAADQAAAAABAQ0BAAB4AAAACgoBAAAAAAAAAP////8AAQ8OAQAAAQAAAAgAAAAABQ8B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gAAAADAAAACWkAAAAJagAAAAlrAAAAAQAAAAAKCZMAAAAJbAAAAAEAAAAKAAAAAAAAAAAFEA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wAAAAkBAAAAAAAAAAAGKgEAAAEuAwAAAAYrAQAAASwGLAEAAAEtBi0BAAABKwEAAAAACgoGLgEAAAhNL2QveXl5eQAAAAAKAAAAAAAAAAAFEQE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AuMC4xNDg2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AS8BAAATAAAAAAAAAAIAAAD/////CQcAAAAJMAEAAAYxAQAAIkdyb3duIFNpZ25pZmljYW50bHkgKGF0IGxlYXN0IDI1JSkKCgAAAAAAAAAAAAAAAAoKAAkyAQAACTMBAAAJNAEAAAAAAAAAAAAAAAAAAAAAAAAAAAk1AQAACQEAAAAJAQAAAAk2AQAAARIBAAARAQAACQEAAAABNwEAABMAAAAAAAAAAwAAAP////8JBwAAAAk4AQAABjkBAAAQR3Jvd24gTW9kZXJhdGVseQoKAAAAAAAAAAAAAAAACgoACToBAAAJOwEAAAk8AQAAAAAAAAABAAAAAAAAAAAAAAAACT0BAAAJAQAAAAkBAAAACT4BAAAFEw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Y/AQAABVRvdGFsAAVAAQAAHkFwbG9yaXMuQ2hhcnQuQ2hhcnRHcm91cEFuY2hvcgEAAAAHdmFsdWVfXwAIAgAAAAAAAAAKAAAAAAEAAAABAAAACUEBAAAJQgEAAAlDAQAACgkHAAAACUQBAAAJAQAAAAkBAAAACUUBAAABFAEAABMBAAAJAQAAAAZGAQAAEVNtYWxsIA0KVHdvIHllYXJzAAFHAQAAQAEAAAAAAAAKAQAAAAEAAAABAAAACUgBAAAJSQEAAAlKAQAACgkHAAAACUsBAAAJAQAAAAkBAAAACUwBAAABFQEAABMBAAAJAQAAAAZNAQAAFU1pZC1MYXJnZSANClR3byBZZWFycwABTgEAAEABAAAAAAAACgAAAAABAAAAAQAAAAlPAQAACVABAAAJUQEAAAoJBwAAAAlSAQAACQEAAAAJAQAAAAlTAQAAARYBAAATAQAACQEAAAAGVAEAABhTbWFsbCANCjQtWWVhciANClB1YmxpY3MAAVUBAABAAQAAAAAAAAoAAAAAAQAAAAEAAAAJVgEAAAlXAQAACVgBAAAKCQcAAAAJWQEAAAkBAAAACQEAAAAJWgEAAAEXAQAAEwEAAAkBAAAABlsBAAAcTWlkLUxhcmdlIA0KNC1ZZWFyIA0KUHVibGljcwABXAEAAEABAAAAAAAACgAAAAABAAAAAQAAAAldAQAACV4BAAAJXwEAAAoJBwAAAAlgAQAACQEAAAAJAQAAAAlhAQAAARgBAAATAQAACQEAAAAGYgEAABlTbWFsbCANCjQtWWVhciANClByaXZhdGVzAAFjAQAAQAEAAAAAAAAKAAAAAAEAAAABAAAACWQBAAAJZQEAAAlmAQAACgkHAAAACWcBAAAJAQAAAAkBAAAACWgBAAABGQEAABMBAAAJAQAAAAZpAQAAHU1pZC1MYXJnZSANCjQtWWVhciANClByaXZhdGVzAAFqAQAAQAEAAAAAAAAKAAAAAAEAAAABAAAACWsBAAAJbAEAAAltAQAACgkHAAAACW4BAAAJAQAAAAkBAAAACW8BAAAHGgEAAAABAAAACAAAAAQpQXBsb3Jpcy5DaGFydC5Db2x1bW5PcmllbnRlZExlZ2VuZEVsZW1lbnQCAAAACXABAAAJcQEAAA0GBxsBAAAAAQAAAAgAAAAEH0FwbG9yaXMuQmFzZS5PYmplY3RzLkRhdGFPYmplY3QDAAAACXABAAAJcQEAAA0GBxwBAAAAAQAAAAAAAAAEHEFwbG9yaXMuQmFzZS5VSS5WaXN1YWxPYmplY3QDAAAAAR0BAAB4AAAACgoAAAAAAAAAAA0AAAAAAQEeAQAAeAAAAAoKAQAAAAAAAAD/////AAEBHwEAAHgAAAAKCgEAAAD///8A/////wABASABAAB4AAAACgoBAAAAAAAAAP////8AAQ8hAQAAAQAAAAgAAAAABSIBAAAWQXBsb3Jpcy5DaGFydC5UaWNrTWFyaw0AAAALbVZpc3VhbExpbmUJbUdyaWRMaW5lBm1MYWJlbAVtQXhpcwhtVmlzaWJsZQltUG9zaXRpb24LbVN0YXJ0UG9pbnQJbUVuZFBvaW50DG1IYXNHcmlkTGluZRhEYXRhT2JqZWN0K21DaGlsZE9iamVjdHMSRGF0YU9iamVjdCttUGFyZW50FURhdGFPYmplY3QrbUNvbnRhaW5lchlEYXRhT2JqZWN0K21WaXN1YWxPYmplY3RzBAQEBAAABAQAAwQEAxpBcGxvcmlzLkJhc2UuVUkuVmlzdWFsTGluZQMAAAAaQXBsb3Jpcy5CYXNlLlVJLlZpc3VhbExpbmUDAAAAFUFwbG9yaXMuQmFzZS5VSS5MYWJlbAMAAAASQXBsb3Jpcy5DaGFydC5BeGlzAgAAAAEGFVN5c3RlbS5EcmF3aW5nLlBvaW50RgQAAAAVU3lzdGVtLkRyYXdpbmcuUG9pbnRG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lyAQAACglzAQAACQcAAAABAAAAAAAAAAABdAEAACEAAAD07xdCd0uaQwF1AQAAIQAAAPTvB0J3S5pDAAl2AQAACQcAAAAJAQAAAAl3AQAAASMBAAAiAQAACXgBAAAKCXkBAAAJBwAAAAGamZmZmZm5PwF6AQAAIQAAAPTvF0K4YYVDAXsBAAAhAAAA9O8HQrhhhUMACXwBAAAJBwAAAAkBAAAACX0BAAABJAEAACIBAAAJfgEAAAoJfwEAAAkHAAAAAZqZmZmZmck/AYABAAAhAAAA9O8XQvTvYEMBgQEAACEAAAD07wdC9O9gQwAJggEAAAkHAAAACQEAAAAJgwEAAAElAQAAIgEAAAmEAQAACgmFAQAACQcAAAABMzMzMzMz0z8BhgEAACEAAAD07xdCdxw3QwGHAQAAIQAAAPTvB0J3HDdDAAmIAQAACQcAAAAJAQAAAAmJAQAAASYBAAAiAQAACYoBAAAKCYsBAAAJBwAAAAGamZmZmZnZPwGMAQAAIQAAAPTvF0L5SA1DAY0BAAAhAAAA9O8HQvlIDUMACY4BAAAJBwAAAAkBAAAACY8BAAABJwEAACIBAAAJkAEAAAoJkQEAAAkHAAAAAQAAAAAAAOA/AZIBAAAhAAAA9O8XQvnqxkIBkwEAACEAAAD07wdC+erGQgAJlAEAAAkHAAAACQEAAAAJlQEAAAEoAQAAIgEAAAmWAQAACgmXAQAACQcAAAABMzMzMzMz4z8BmAEAACEAAAD07xdC/YdmQgGZAQAAIQAAAPTvB0L9h2ZCAAmaAQAACQcAAAAJAQAAAAmbAQAAASkBAAAiAQAACZwBAAAKCZ0BAAAJBwAAAAFmZmZmZmbmPwGeAQAAIQAAAPTvF0Ig6HxBAZ8BAAAhAAAA9O8HQiDofEEACaABAAAJBwAAAAkBAAAACaEBAAAFMAEAAKIBQXBsb3Jpcy5CYXNlLk9iamVjdHMuRGF0YU9iamVjdENvbGxlY3Rpb25gMVtbQXBsb3Jpcy5DaGFydC5DaGFydERhdGF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C4wLjE0ODYsIEN1bHR1cmU9bmV1dHJhbCwgUHVibGljS2V5VG9rZW49MTZmYzEzYTIyNmMwZTk1MV1dAwAAAJgBU3lzdGVtLkNvbGxlY3Rpb25zLkdlbmVyaWMuTGlzdGAxW1tBcGxvcmlzLkNoYXJ0LkNoYXJ0RGF0YU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ogEAAAmjAQAACREBAAAJAQAAAAmkAQAABTIBAAAcQXBsb3Jpcy5DaGFydC5Db25uZWN0ZWRMYWJlbCQAAAAObUNvbm5lY3RvckxpbmUQbVpPcmRlckNvbm5lY3Rvcg5tQ29ubmVjdG9yTW9kZRltQW5nbGVkQ29ubmVjdG9yRGlyZWN0aW9uEG1Db25uZWN0b3JUYXJnZXQZbUNvbm5lY3RvclRhcmdldEFyZWFTaGFwZRptQ29ubmVjdG9yRGlzcGxheVRocmVzaG9sZBNtQ29ubmVjdEFuY2hvclBvaW5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QEAAAABAAE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gAAAApYAgAABaUBAAArQXBsb3Jpcy5DaGFydC5Db25uZWN0ZWRMYWJlbCtlQ29ubmVjdG9yTW9kZQEAAAAHdmFsdWVfXwAIAgAAAAEAAAAFpgEAADZBcGxvcmlzLkNoYXJ0LkNvbm5lY3RlZExhYmVsK2VBbmdsZWRDb25uZWN0b3JEaXJlY3Rpb24BAAAAB3ZhbHVlX18ACAIAAAAAAAAAAacBAAAVAAAAtwcSROMThkPA6iRCoLwVQgWoAQAALUFwbG9yaXMuQ2hhcnQuQ29ubmVjdGVkTGFiZWwrZVRhcmdldEFyZWFTaGFwZQEAAAAHdmFsdWVfXwAIAgAAAAAAAAAAABBBAQGpAQAAIQAAAGNWHkStb49DAaoBAACgAAAABAAAAAAAAAAAAAAAAAmrAQAAAAAAAAmsAQAAAAABrQEAAKkAAAAAAAAAAa4BAAByAAAAAADgQQAAYEEBrwEAABUAAAAAAAAAAAAAAAAAAAAAAAAAXrrZPwkxAQAACgmwAQAABrEBAAAAIAMAAP////8AAQoJsgEAAAEACgEHMwEAAAABAAAAAgAAAAQVU3lzdGVtLkRyYXdpbmcuUG9pbnRGBAAAAAGzAQAAIQAAAGNWHkStb49DAbQBAAAhAAAA9O8DQn23jEMHNAEAAAABAAAAAgAAAAQXQXBsb3Jpcy5CYXNlLkFuY2hvck1vZGUDAAAAAbUBAACgAAAABAAAAAG2AQAAoAAAAAIAAAABNQEAACUAAAAJtwEAAAEAAAABAAAAATYBAAAmAAAACbgBAAABAAAAAwAAAAE4AQAAMAEAAAoJuQEAAAm6AQAACRIBAAAJAQAAAAm7AQAAAToBAAAyAQAAClgCAAABvAEAAKUBAAABAAAAAb0BAACmAQAAAAAAAAG+AQAAFQAAALcHEkRIHRxDwOokQvwU1EIBvwEAAKgBAAAAAAAAAAAQQQEBwAEAACEAAABjVh5EhyJRQwHBAQAAoAAAAAQAAAAAAAAAAAAAAAAJwgEAAAAAAAAJwwEAAAAAAcQBAACpAAAAAAAAAAHFAQAAcgAAAAAAAAAAAAAAAcYBAAAVAAAAAAAAAAAAAAAAAAAAAAAAAAAAAAAJOQEAAAoJxwEAAAmxAQAAIAMAAP////8AAQoJyAEAAAEACgEHOwEAAAABAAAAAgAAAAQVU3lzdGVtLkRyYXdpbmcuUG9pbnRGBAAAAAHJAQAAIQAAAGNWHkSHIlFDAcoBAAAhAAAA9O8DQtdtPEMHPAEAAAABAAAAAgAAAAQXQXBsb3Jpcy5CYXNlLkFuY2hvck1vZGUDAAAAAcsBAACgAAAABAAAAAHMAQAAoAAAAAIAAAABPQEAACUAAAAJzQEAAAEAAAABAAAAAT4BAAAmAAAACc4BAAABAAAAAQAAAA9BAQAAAQAAAAgAAAAAB0IBAAAAAQAAAAEAAAAEFUFwbG9yaXMuQmFzZS5VSS5MYWJlbAMAAAAJzwEAAAFDAQAANAAAAAHQAQAAIQAAABKJl0J3y5xDAdEBAACgAAAAAwAAAAAAAAAAAAAAAAnSAQAAAAAAAAnTAQAAAAAB1AEAAKkAAAAAAAAAAdUBAAByAAAAAADIQQAAQEEB1gEAABUAAAC66HpCdNGcQ9ehzUGjiy5BEoO+Pwk/AQAACgnXAQAACbEBAAAgAwAA/////wEBCgnYAQAAAQAKAQFEAQAAJQAAAAniAAAAAAAAAAAAAAABRQEAACYAAAAJ2QEAAAIAAAAKAAAAD0gBAAABAAAACAAAAAAHSQEAAAABAAAAAQAAAAQVQXBsb3Jpcy5CYXNlLlVJLkxhYmVsAwAAAAnaAQAAAUoBAAA0AAAAAdsBAAAhAAAAuuZiQ3fLnEMB3AEAAKAAAAADAAAAAAAAAAAAAAAACd0BAAAAAAAACd4BAAAAAAHfAQAAqQAAAAAAAAAB4AEAAHIAAAAAAFRCAADIQQHhAQAAFQAAALroSEN00ZxDYKJMQnTRtUESg74/CUYBAAAKCeIBAAAJsQEAACADAAD/////AQEKCeMBAAABAAoBAUsBAAAlAAAACeQBAAAAAAAAAAAAAAFMAQAAJgAAAAnlAQAAAgAAAAIAAAAPTwEAAAEAAAAIAAAAAAdQAQAAAAEAAAABAAAABBVBcGxvcmlzLkJhc2UuVUkuTGFiZWwDAAAACeYBAAABUQEAADQAAAAB5wEAACEAAADpO5dDd8ucQwHoAQAAoAAAAAMAAAAAAAAAAAAAAAAJ6QEAAAAAAAAJ6gEAAAAAAesBAACpAAAAAAAAAAHsAQAAcgAAAAAAXEIAAMhBAe0BAAAVAAAAiy6KQ3TRnEMx6FNCdNG1QRKDvj8JTQEAAAoJ7gEAAAmxAQAAIAMAAP////8BAQoJ7wEAAAEACgEBUgEAACUAAAAJ8AEAAAAAAAAAAAAAAVMBAAAmAAAACfEBAAACAAAAAgAAAA9WAQAAAQAAAAgAAAAAB1cBAAAAAQAAAAEAAAAEFUFwbG9yaXMuQmFzZS5VSS5MYWJlbAMAAAAJ8gEAAAFYAQAANAAAAAHzAQAAIQAAAHYEvUN3y5xDAfQBAACgAAAAAwAAAAAAAAAAAAAAAAn1AQAAAAAAAAn2AQAAAAAB9wEAAKkAAAAAAAAAAfgBAAByAAAAAAAUQgAAGEIB+QEAABUAAAAAALRDdNGcQ9RzEkKLLgpCEoO+PwlUAQAACgn6AQAACbEBAAAgAwAA/////wEBCgn7AQAAAQAKAQFZAQAAJQAAAAnwAQAAAAAAAAAAAAABWgEAACYAAAAJ/AEAAAIAAAACAAAAD10BAAABAAAACAAAAAAHXgEAAAABAAAAAQAAAAQVQXBsb3Jpcy5CYXNlLlVJLkxhYmVsAwAAAAn9AQAAAV8BAAA0AAAAAf4BAAAhAAAAAs3iQ3fLnEMB/wEAAKAAAAADAAAAAAAAAAAAAAAACQACAAAAAAAACQECAAAAAAECAgAAqQAAAAAAAAABAwIAAHIAAAAAAFxCAAAYQgEEAgAAFQAAAOii1UN00ZxDMehTQosuCkISg74/CVsBAAAKCQUCAAAJsQEAACADAAD/////AQEKCQYCAAABAAoBAWABAAAlAAAACeQBAAAAAAAAAAAAAAFhAQAAJgAAAAkHAgAAAgAAAAIAAAAPZAEAAAEAAAAIAAAAAAdlAQAAAAEAAAABAAAABBVBcGxvcmlzLkJhc2UuVUkuTGFiZWwDAAAACQgCAAABZgEAADQAAAABCQIAACEAAADHSgREd8ucQwEKAgAAoAAAAAMAAAAAAAAAAAAAAAAJCwIAAAAAAAAJDAIAAAAAAQ0CAACpAAAAAAAAAAEOAgAAcgAAAAAAJEIAABhCAQ8CAAAVAAAAo4v+Q3TRnEN3/yBCiy4KQhKDvj8JYgEAAAoJEAIAAAmxAQAAIAMAAP////8BAQoJEQIAAAEACgEBZwEAACUAAAAJ5AEAAAAAAAAAAAAAAWgBAAAmAAAACRICAAACAAAAAgAAAA9rAQAAAQAAAAgAAAAAB2wBAAAAAQAAAAEAAAAEFUFwbG9yaXMuQmFzZS5VSS5MYWJlbAMAAAAJEwIAAAFtAQAANAAAAAEUAgAAIQAAAA0vF0R3y5xDARUCAACgAAAAAwAAAAAAAAAAAAAAAAkWAgAAAAAAAAkXAgAAAAABGAIAAKkAAAAAAAAAARkCAAByAAAAAABcQgAAGEIBGgIAABUAAACjixBEdNGcQzHoU0KLLgpCEoO+PwlpAQAACgkbAgAACbEBAAAgAwAA/////wEBCgkcAgAAAQAKAQFuAQAAJQAAAAnkAQAAAAAAAAAAAAABbwEAACYAAAAJHQIAAAIAAAACAAAABXABAAApQXBsb3Jpcy5DaGFydC5Db2x1bW5PcmllbnRlZExlZ2VuZEVsZW1lbnQNAAAAB21MZWdlbmQLbURhdGFTZXJpZXMUTGVnZW5kRWxlbWVudCttTGFiZWwYTGVnZW5kRWxlbWVudCttUmVjdGFuZ2xlE0xlZ2VuZEVsZW1lbnQrbUxpbmUVTGVnZW5kRWxlbWVudCttQ2lyY2xlFUxlZ2VuZEVsZW1lbnQrbU1hcmtlchRMZWdlbmRFbGVtZW50K21JbmRleB1MZWdlbmRFbGVtZW50K21MYWJlbFBvc2l0aW9ucxhEYXRhT2JqZWN0K21DaGlsZE9iamVjdHMSRGF0YU9iamVjdCttUGFyZW50FURhdGFPYmplY3QrbUNvbnRhaW5lchlEYXRhT2JqZWN0K21WaXN1YWxPYmplY3RzBAQEBAQEBAAEAwQEAyJBcGxvcmlzLkNoYXJ0LkNvbHVtbk9yaWVudGVkTGVnZW5kAgAAAB1BcGxvcmlzLkNoYXJ0LkNoYXJ0RGF0YVNlcmllcwIAAAAVQXBsb3Jpcy5CYXNlLlVJLkxhYmVsAwAAABpBcGxvcmlzLkJhc2UuVUkuVmlzdWFsUmVjdAMAAAAaQXBsb3Jpcy5CYXNlLlVJLlZpc3VhbExpbmUDAAAAHUFwbG9yaXMuQmFzZS5VSS5WaXN1YWxFbGxpcHNlAwAAABpBcGxvcmlzLkNoYXJ0LlZpc3VhbE1hcmtlcgIAAAAIF1N5c3RlbS5EcmF3aW5nLlBvaW50RltdBA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RQAAAAJEQEAAAkeAgAACR8CAAAKCgoAAAAACgkgAgAACRQAAAAJAQAAAAkhAgAAAXEBAABwAQAACRQAAAAJEgEAAAkiAgAACSMCAAAKCgoBAAAACgkkAgAACRQAAAAJAQAAAAklAgAAAXIBAAAwAAAAASYCAAAhAAAA9O8XQndLmkMBJwIAACEAAAD07wdCd0uaQwkoAgAAzAEAAP////8BAQoJKQIAAAEACgABcwEAADQAAAABKgIAACEAAAD07wFCd0uaQwErAgAAoAAAAAIAAAAAAAAAAAAAAAAJLAIAAAAAAAAJLQIAAAAAAS4CAACpAAAAAAAAAAEvAgAAcgAAAAAAgEEAAEBBATACAAAVAAAAuuiCQRddl0N6LYxBo4suQRKDvj8GMQIAAAIwJQoJMgIAAAmxAQAA0AIAAP////8BAQoJMwIAAAEACgABdgEAACUAAAAJ4gAAAAAAAAAAAAAAAXcBAAAmAAAACTQCAAACAAAAAgAAAAF4AQAAMAAAAAE1AgAAIQAAAPTvF0K4YYVDATYCAAAhAAAA9O8HQrhhhUMJNwIAAMwBAAD/////AQEKCTgCAAABAAoAAXkBAAA0AAAAATkCAAAhAAAA9O8BQrhhhUMBOgIAAKAAAAACAAAAAAAAAAAAAAAACTsCAAAAAAAACTwCAAAAAAE9AgAAqQAAAAAAAAABPgIAAHIAAAAAALhBAABAQQE/AgAAFQAAAAAAIEFddIJDNBa/QaOLLkESg74/BkACAAADMTAlCglBAgAACbEBAADQAgAA/////wEBCglCAgAAAQAKAAF8AQAAJQAAAAniAAAAAAAAAAAAAAABfQEAACYAAAAJQwIAAAIAAAACAAAAAX4BAAAwAAAAAUQCAAAhAAAA9O8XQvTvYEMBRQIAACEAAAD07wdC9O9gQwlGAgAAzAEAAP////8BAQoJRwIAAAEACgABfwEAADQAAAABSAIAACEAAAD07wFC9O9gQwFJAgAAoAAAAAIAAAAAAAAAAAAAAAAJSgIAAAAAAAAJSwIAAAAAAUwCAACpAAAAAAAAAAFNAgAAcgAAAAAAuEEAAEBBAU4CAAAVAAAAAAAgQUYXW0M0Fr9Bo4suQRKDvj8GTwIAAAMyMCUKCVACAAAJsQEAANACAAD/////AQEKCVECAAABAAoAAYIBAAAlAAAACeIAAAAAAAAAAAAAAAGDAQAAJgAAAAlSAgAAAgAAAAIAAAABhAEAADAAAAABUwIAACEAAAD07xdCdxw3QwFUAgAAIQAAAPTvB0J3HDdDCVUCAADMAQAA/////wEBCglWAgAAAQAKAAGFAQAANAAAAAFXAgAAIQAAAPTvAUJ3HDdDAVgCAACgAAAAAgAAAAAAAAAAAAAAAAlZAgAAAAAAAAlaAgAAAAABWwIAAKkAAAAAAAAAAVwCAAByAAAAAAC4QQAAQEEBXQIAABUAAAAAACBB0UUxQzQWv0Gjiy5BEoO+PwZeAgAAAzMwJQoJXwIAAAmxAQAA0AIAAP////8BAQoJYAIAAAEACgABiAEAACUAAAAJ4gAAAAAAAAAAAAAAAYkBAAAmAAAACWECAAACAAAAAgAAAAGKAQAAMAAAAAFiAgAAIQAAAPTvF0L5SA1DAWMCAAAhAAAA9O8HQvlIDUMJZAIAAMwBAAD/////AQEKCWUCAAABAAoAAYsBAAA0AAAAAWYCAAAhAAAA9O8BQvlIDUMBZwIAAKAAAAACAAAAAAAAAAAAAAAACWgCAAAAAAAACWkCAAAAAAFqAgAAqQAAAAAAAAABawIAAHIAAAAAALhBAABAQQFsAgAAFQAAAAAAIEFddAdDNBa/QaOLLkESg74/Bm0CAAADNDAlCgluAgAACbEBAADQAgAA/////wEBCglvAgAAAQAKAAGOAQAAJQAAAAniAAAAAAAAAAAAAAABjwEAACYAAAAJcAIAAAIAAAACAAAAAZABAAAwAAAAAXECAAAhAAAA9O8XQvnqxkIBcgIAACEAAAD07wdC+erGQglzAgAAzAEAAP////8BAQoJdAIAAAEACgABkQEAADQAAAABdQIAACEAAAD07wFC+erGQgF2AgAAoAAAAAIAAAAAAAAAAAAAAAAJdwIAAAAAAAAJeAIAAAAAAXkCAACpAAAAAAAAAAF6AgAAcgAAAAAAuEEAAEBBAXsCAAAVAAAAAAAgQdFFu0I0Fr9Bo4suQRKDvj8GfAIAAAM1MCUKCX0CAAAJsQEAANACAAD/////AQEKCX4CAAABAAoAAZQBAAAlAAAACeIAAAAAAAAAAAAAAAGVAQAAJgAAAAl/AgAAAgAAAAIAAAABlgEAADAAAAABgAIAACEAAAD07xdC/YdmQgGBAgAAIQAAAPTvB0L9h2ZCCYICAADMAQAA/////wEBCgmDAgAAAQAKAAGXAQAANAAAAAGEAgAAIQAAAPTvAUL9h2ZCAYUCAACgAAAAAgAAAAAAAAAAAAAAAAmGAgAAAAAAAAmHAgAAAAABiAIAAKkAAAAAAAAAAYkCAAByAAAAAAC4QQAAQEEBigIAABUAAAAAACBB0UVPQjQWv0Gjiy5BEoO+PwaLAgAAAzYwJQoJjAIAAAmxAQAA0AIAAP////8BAQoJjQIAAAEACgABmgEAACUAAAAJ4gAAAAAAAAAAAAAAAZsBAAAmAAAACY4CAAACAAAAAgAAAAGcAQAAMAAAAAGPAgAAIQAAAPTvF0Ig6HxBAZACAAAhAAAA9O8HQiDofEEJkQIAAMwBAAD/////AQEKCZICAAABAAoAAZ0BAAA0AAAAAZMCAAAhAAAA9O8BQiDofEEBlAIAAKAAAAACAAAAAAAAAAAAAAAACZUCAAAAAAAACZYCAAAAAAGXAgAAqQAAAAAAAAABmAIAAHIAAAAAALhBAABAQQGZAgAAFQAAAAAAIEEAACBBNBa/QaOLLkESg74/BpoCAAADNzAlCgmbAgAACbEBAADQAgAA/////wEBCgmcAgAAAQAKAAGgAQAAJQAAAAniAAAAAAAAAAAAAAABoQEAACYAAAAJnQIAAAIAAAACAAAABKIBAACYAVN5c3RlbS5Db2xsZWN0aW9ucy5HZW5lcmljLkxpc3RgMVtbQXBsb3Jpcy5DaGFydC5DaGFydERhdGFFbGVtZW50LCBBcGxvcmlzLkNoYXJ0LCBWZXJzaW9uPTQuMC4wLjE0ODYsIEN1bHR1cmU9bmV1dHJhbCwgUHVibGljS2V5VG9rZW49MTZmYzEzYTIyNmMwZTk1MV1dAwAAAAZfaXRlbXMFX3NpemUIX3ZlcnNpb24EAAAgQXBsb3Jpcy5DaGFydC5DaGFydERhdGFFbGVtZW50W10CAAAACAgJngIAAAcAAAAnAAAAAaMBAAAlAAAACZ8CAAAHAAAAFwAAAAGkAQAAJgAAAAngAAAAAAAAAAAAAAAFqw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REBAAAKAAAAAABAQQl2AAAACXcAAAAJoAIAAAEACaECAAABrAEAAHgAAAAKCgAAAAD///8ADgAAAAABAbABAACtAAAACaICAAABAAAAAQAAAAGyAQAAdQAAAAmjAgAACge3AQAAAAEAAAAEAAAABB9BcGxvcmlzLkJhc2UuT2JqZWN0cy5EYXRhT2JqZWN0AwAAAAkwAQAADQMHuAEAAAABAAAABAAAAAQcQXBsb3Jpcy5CYXNlLlVJLlZpc3VhbE9iamVjdAMAAAAJMgEAAA0DAbkBAACiAQAACaQCAAAHAAAAGwAAAAG6AQAAJQAAAAmlAgAABwAAAA8AAAABuwEAACYAAAAJpgIAAAAAAAAAAAAABcI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SAQAACgAAAAAAQEEJdgAAAAl3AAAACacCAAABAAmoAgAAAcMBAAB4AAAACgoBAAAAAAAAAP////8AAQHHAQAArQAAAAmpAgAAAQAAAAEAAAAByAEAAHUAAAAJqgIAAAoHzQEAAAABAAAABAAAAAQfQXBsb3Jpcy5CYXNlLk9iamVjdHMuRGF0YU9iamVjdAMAAAAJOAEAAA0DB84BAAAAAQAAAAQAAAAEHEFwbG9yaXMuQmFzZS5VSS5WaXN1YWxPYmplY3QDAAAACToBAAANAwHPAQAANAAAAAGrAgAAIQAAABKJl0JOKe9CAawCAACgAAAAAQAAAAAAAAAAAAAAAAmtAgAAAAAAAAmuAgAAAAABrwIAAKkAAAAAAAAAAbACAAByAAAAAAC4QQAAQEEBsQIAABUAAACji35Ciy7aQjQWv0Gjiy5BEoO+PwayAgAAAzQ0JQoJswIAAAmxAQAANAMAAP////8BAQoJtAIAAAEACgAB0gEAACMAAAAKCgAAAAAAKEEJdgAAAAl3AAAACbUCAAAAAAm2AgAAAdMBAAB4AAAACgoAAAAA////AA4AAAAAAQHXAQAArQAAAAm3AgAAAQAAAAEAAAAB2AEAAHUAAAAJuAIAAAoH2QEAAAABAAAABAAAAAQcQXBsb3Jpcy5CYXNlLlVJLlZpc3VhbE9iamVjdAMAAAAJQwEAAAnPAQAACgoB2gEAADQAAAABuQIAACEAAAC65mJDCFwGQwG6AgAAoAAAAAEAAAAAAAAAAAAAAAAJuwIAAAAAAAAJvAIAAAAAAb0CAACpAAAAAAAAAAG+AgAAcgAAAAAAuEEAAEBBAb8CAAAVAAAAo4tWQ9FF90I0Fr9Bo4suQRKDvj8GwAIAAAM0MSUKCcECAAAJsQEAADQDAAD/////AQEKCcICAAABAAoAAd0BAAAjAAAACgoAAAAAAChBCXYAAAAJdwAAAAnDAgAAAAAJxAIAAAHeAQAAeAAAAAoKAAAAAP///wAOAAAAAAEB4gEAAK0AAAAJxQIAAAEAAAABAAAAAeMBAAB1AAAACcYCAAAKB+QBAAAAAQAAAAAAAAAEH0FwbG9yaXMuQmFzZS5PYmplY3RzLkRhdGFPYmplY3QDAAAAB+UBAAAAAQAAAAQAAAAEHEFwbG9yaXMuQmFzZS5VSS5WaXN1YWxPYmplY3QDAAAACUoBAAAJ2gEAAAoKAeYBAAA0AAAAAccCAAAhAAAA6TuXQxPJ4kIByAIAAKAAAAABAAAAAAAAAAAAAAAACckCAAAAAAAACcoCAAAAAAHLAgAAqQAAAAAAAAABzAIAAHIAAAAAALhBAABAQQHNAgAAFQAAAF10kUNddM1CNBa/QaOLLkESg74/Bs4CAAADNDYlCgnPAgAACbEBAAA0AwAA/////wEBCgnQAgAAAQAKAAHpAQAAIwAAAAoKAAAAAAAoQQl2AAAACXcAAAAJ0QIAAAAACdICAAAB6gEAAHgAAAAKCgAAAAD///8ADgAAAAABAe4BAACtAAAACdMCAAABAAAAAQAAAAHvAQAAdQAAAAnUAgAACgfwAQAAAAEAAAAAAAAABB9BcGxvcmlzLkJhc2UuT2JqZWN0cy5EYXRhT2JqZWN0AwAAAAfxAQAAAAEAAAAEAAAABBxBcGxvcmlzLkJhc2UuVUkuVmlzdWFsT2JqZWN0AwAAAAlRAQAACeYBAAAKCgHyAQAANAAAAAHVAgAAIQAAAHYEvUMkj8pCAdYCAACgAAAAAQAAAAAAAAAAAAAAAAnXAgAAAAAAAAnYAgAAAAAB2QIAAKkAAAAAAAAAAdoCAAByAAAAAAC4QQAAQEEB2wIAABUAAACLLrdDAAC0QjQWv0Gjiy5BEoO+PwbcAgAAAzQ5JQoJ3QIAAAmxAQAANAMAAP////8BAQoJ3gIAAAEACgAB9QEAACMAAAAKCgAAAAAAKEEJdgAAAAl3AAAACd8CAAAAAAngAgAAAfYBAAB4AAAACgoAAAAA////AA4AAAAAAQH6AQAArQAAAAnhAgAAAQAAAAEAAAAB+wEAAHUAAAAJ4gIAAAoH/AEAAAABAAAABAAAAAQcQXBsb3Jpcy5CYXNlLlVJLlZpc3VhbE9iamVjdAMAAAAJWAEAAAnyAQAACgoB/QEAADQAAAAB4wIAACEAAAACzeJDXqY9QgHkAgAAoAAAAAEAAAAAAAAAAAAAAAAJ5QIAAAAAAAAJ5gIAAAAAAecCAACpAAAAAAAAAAHoAgAAcgAAAAAAuEEAAEBBAekCAAAVAAAAuujcQ110EUI0Fr9Bo4suQRKDvj8G6gIAAAM2MiUKCesCAAAJsQEAADQDAAD/////AQEKCewCAAABAAoAAQACAAAjAAAACgoAAAAAAChBCXYAAAAJdwAAAAntAgAAAAAJ7gIAAAEBAgAAeAAAAAoKAAAAAP///wAOAAAAAAEBBQIAAK0AAAAJ7wIAAAEAAAABAAAAAQYCAAB1AAAACfACAAAKBwcCAAAAAQAAAAQAAAAEHEFwbG9yaXMuQmFzZS5VSS5WaXN1YWxPYmplY3QDAAAACV8BAAAJ/QEAAAoKAQgCAAA0AAAAAfECAAAhAAAAx0oEROJnLEMB8gIAAKAAAAABAAAAAAAAAAAAAAAACfMCAAAAAAAACfQCAAAAAAH1AgAAqQAAAAAAAAAB9gIAAHIAAAAAALhBAABAQQH3AgAAFQAAAHRRAUR00SFDNBa/QaOLLkESg74/BvgCAAADMzIlCgn5AgAACbEBAAA0AwAA/////wEBCgn6AgAAAQAKAAELAgAAIwAAAAoKAAAAAAAoQQl2AAAACXcAAAAJ+wIAAAAACfwCAAABDAIAAHgAAAAKCgAAAAD///8ADgAAAAABARACAACtAAAACf0CAAABAAAAAQAAAAERAgAAdQAAAAn+AgAACgcSAgAAAAEAAAAEAAAABBxBcGxvcmlzLkJhc2UuVUkuVmlzdWFsT2JqZWN0AwAAAAlmAQAACQgCAAAKCgETAgAANAAAAAH/AgAAIQAAAA0vF0RIHRZDAQADAACgAAAAAQAAAAAAAAAAAAAAAAkBAwAAAAAAAAkCAwAAAAABAwMAAKkAAAAAAAAAAQQDAAByAAAAAAC4QQAAQEEBBQMAABUAAACLLhRERhcLQzQWv0Gjiy5BEoO+PwYGAwAAAzM3JQoJBwMAAAmxAQAANAMAAP////8BAQoJCAMAAAEACgABFgIAACMAAAAKCgAAAAAAKEEJdgAAAAl3AAAACQkDAAAAAAkKAwAAARcCAAB4AAAACgoAAAAA////AA4AAAAAAQEbAgAArQAAAAkLAwAAAQAAAAEAAAABHAIAAHUAAAAJDAMAAAoHHQIAAAABAAAABAAAAAQcQXBsb3Jpcy5CYXNlLlVJLlZpc3VhbE9iamVjdAMAAAAJbQEAAAkTAgAACgoBHgIAADQAAAABDQMAACEAAABEZFdCOhmuQwEOAwAAoAAAAAUAAAAAAAAAAAAAAAAJDwMAAAAAAAAJEAMAAAAAAREDAACpAAAAAAAAAAESAwAAcgAAAAAALUMAAEBBARMDAAAVAAAAuuhSQkYXrkPePyBDo4suQRKDvj8JMQEAAAoJFAMAAAmxAQAAhAMAAP////8BAQoJFQMAAAEACgABHwIAABwAAAABFgMAACEAAADTZh1COhmuQwEXAwAAIQAAAERkS0Lo2LNDCRgDAAAJGQMAAAAAAAAKARoDAAByAAAAAAAAAAAAAAABGwMAAHIAAAAAAAAAAAAAAAAAAAABHAMAABUAAAAAAAAAAAAAAAAAAAAAAAAAmAMAAP////8BAQoJHQMAAAEACgABIAIAACUAAAAJHgMAAAAAAAAAAAAAASECAAAmAAAACR8DAAACAAAAAgAAAAEiAgAANAAAAAEgAwAAIQAAAKp7dkM6Ga5DASEDAACgAAAABQAAAAAAAAAAAAAAAAkiAwAAAAAAAAkjAwAAAAABJAMAAKkAAAAAAAAAASUDAAByAAAAAAC8QgAAQEEBJgMAABUAAACji3RDRheuQ9LcsEKjiy5BEoO+Pwk5AQAACgknAwAACbEBAACEAwAA/////wEBCgkoAwAAAQAKAAEjAgAAHAAAAAEpAwAAIQAAAE78Z0M6Ga5DASoDAAAhAAAAqntzQ+jYs0MJKwMAAAksAwAAAAAAAAoBLQMAAHIAAAAAAAAAAAAAAAEuAwAAcgAAAAAAAAAAAAAAAAAAAAEvAwAAFQAAAAAAAAAAAAAAAAAAAAAAAACYAwAA/////wEBCgkwAwAAAQAKAAEkAgAAJQAAAAkeAwAAAAAAAAAAAAABJQIAACYAAAAJMQMAAAIAAAACAAAAASgCAABwAAAACgoAAABAPwkyAwAACTMDAAABAAAA/v///wAAAAABAAAAAAAAAAAAAAABAAAAAAAAAAAAAAEpAgAAdQAAAAk0AwAACgEsAgAAIwAAAAoKAAAAAAAoQQl2AAAACXcAAAAJNQMAAAAACTYDAAABLQIAAHgAAAAKCgAAAAD///8ADgAAAAABATICAACtAAAACTcDAAABAAAAAQAAAAEzAgAAdQAAAAk4AwAACgc0AgAAAAEAAAAEAAAABBxBcGxvcmlzLkJhc2UuVUkuVmlzdWFsT2JqZWN0AwAAAAlyAQAACXMBAAAKCgE3AgAAcAAAAAoKAAAAQD8JOQMAAAk6AwAAAQAAAP7///8AAAAAAQAAAAAAAAAAAAAAAQAAAAAAAAAAAAABOAIAAHUAAAAJOwMAAAoBOwIAACMAAAAKCgAAAAAAKEEJdgAAAAl3AAAACTwDAAAAAAk9AwAAATwCAAB4AAAACgoAAAAA////AA4AAAAAAQFBAgAArQAAAAk+AwAAAQAAAAMAAAABQgIAAHUAAAAJPwMAAAoHQwIAAAABAAAABAAAAAQcQXBsb3Jpcy5CYXNlLlVJLlZpc3VhbE9iamVjdAMAAAAJeAEAAAl5AQAACgoBRgIAAHAAAAAKCgAAAEA/CUADAAAJQQMAAAEAAAD+////AAAAAAEAAAAAAAAAAAAAAAEAAAAAAAAAAAAAAUcCAAB1AAAACUIDAAAKAUoCAAAjAAAACgoAAAAAAChBCXYAAAAJdwAAAAlDAwAAAAAJRAMAAAFLAgAAeAAAAAoKAAAAAP///wAOAAAAAAEBUAIAAK0AAAAJRQMAAAEAAAADAAAAAVECAAB1AAAACUYDAAAKB1ICAAAAAQAAAAQAAAAEHEFwbG9yaXMuQmFzZS5VSS5WaXN1YWxPYmplY3QDAAAACX4BAAAJfwEAAAoKAVUCAABwAAAACgoAAABAPwlHAwAACUgDAAABAAAA/v///wAAAAABAAAAAAAAAAAAAAABAAAAAAAAAAAAAAFWAgAAdQAAAAlJAwAACgFZAgAAIwAAAAoKAAAAAAAoQQl2AAAACXcAAAAJSgMAAAAACUsDAAABWgIAAHgAAAAKCgAAAAD///8ADgAAAAABAV8CAACtAAAACUwDAAABAAAAAwAAAAFgAgAAdQAAAAlNAwAACgdhAgAAAAEAAAAEAAAABBxBcGxvcmlzLkJhc2UuVUkuVmlzdWFsT2JqZWN0AwAAAAmEAQAACYUBAAAKCgFkAgAAcAAAAAoKAAAAQD8JTgMAAAlPAwAAAQAAAP7///8AAAAAAQAAAAAAAAAAAAAAAQAAAAAAAAAAAAABZQIAAHUAAAAJUAMAAAoBaAIAACMAAAAKCgAAAAAAKEEJdgAAAAl3AAAACVEDAAAAAAlSAwAAAWkCAAB4AAAACgoAAAAA////AA4AAAAAAQFuAgAArQAAAAlTAwAAAQAAAAMAAAABbwIAAHUAAAAJVAMAAAoHcAIAAAABAAAABAAAAAQcQXBsb3Jpcy5CYXNlLlVJLlZpc3VhbE9iamVjdAMAAAAJigEAAAmLAQAACgoBcwIAAHAAAAAKCgAAAEA/CVUDAAAJVgMAAAEAAAD+////AAAAAAEAAAAAAAAAAAAAAAEAAAAAAAAAAAAAAXQCAAB1AAAACVcDAAAKAXcCAAAjAAAACgoAAAAAAChBCXYAAAAJdwAAAAlYAwAAAAAJWQMAAAF4AgAAeAAAAAoKAAAAAP///wAOAAAAAAEBfQIAAK0AAAAJWgMAAAEAAAADAAAAAX4CAAB1AAAACVsDAAAKB38CAAAAAQAAAAQAAAAEHEFwbG9yaXMuQmFzZS5VSS5WaXN1YWxPYmplY3QDAAAACZABAAAJkQEAAAoKAYICAABwAAAACgoAAABAPwlcAwAACV0DAAABAAAA/v///wAAAAABAAAAAAAAAAAAAAABAAAAAAAAAAAAAAGDAgAAdQAAAAleAwAACgGGAgAAIwAAAAoKAAAAAAAoQQl2AAAACXcAAAAJXwMAAAAACWADAAABhwIAAHgAAAAKCgAAAAD///8ADgAAAAABAYwCAACtAAAACWEDAAABAAAAAwAAAAGNAgAAdQAAAAliAwAACgeOAgAAAAEAAAAEAAAABBxBcGxvcmlzLkJhc2UuVUkuVmlzdWFsT2JqZWN0AwAAAAmWAQAACZcBAAAKCgGRAgAAcAAAAAoKAAAAQD8JYwMAAAlkAwAAAQAAAP7///8AAAAAAQAAAAAAAAAAAAAAAQAAAAAAAAAAAAABkgIAAHUAAAAJZQMAAAoBlQIAACMAAAAKCgAAAAAAKEEJdgAAAAl3AAAACWYDAAAAAAlnAwAAAZYCAAB4AAAACgoAAAAA////AA4AAAAAAQGbAgAArQAAAAloAwAAAQAAAAMAAAABnAIAAHUAAAAJaQMAAAoHnQIAAAABAAAABAAAAAQcQXBsb3Jpcy5CYXNlLlVJLlZpc3VhbE9iamVjdAMAAAAJnAEAAAmdAQAACgoHngIAAAABAAAAEAAAAAQeQXBsb3Jpcy5DaGFydC5DaGFydERhdGFFbGVtZW50AgAAAAlqAwAACWsDAAAJbAMAAAltAwAACW4DAAAJbwMAAAlwAwAADQkHnwIAAAABAAAAEAAAAAQfQXBsb3Jpcy5CYXNlLk9iamVjdHMuRGF0YU9iamVjdAMAAAAJagMAAAlsAwAACW0DAAAJawMAAAluAwAACW8DAAAJcAMAAA0JAaACAAB4AAAACgoAAAAAAAAAAA0AAAAAAQGhAgAAeAAAAAoKAQAAAAAAAAD/////AAEHogIAAAABAAAABAAAAAQdQXBsb3Jpcy5CYXNlLk9iamVjdHMuVmFyaWFibGUDAAAABXEDAAAdQXBsb3Jpcy5CYXNlLk9iamVjdHMuVmFyaWFibGUCAAAABk51bWJlcghQb3NpdGlvbgAACAgDAAAAAQAAAAAAAAABcgMAAHEDAAAAAAAAAAAAAAFzAwAAcQMAAAAAAAAAAAAAAXQDAABxAwAAAAAAAAAAAAAPowIAAAEAAAAIAAAAAAekAgAAAAEAAAAQAAAABB5BcGxvcmlzLkNoYXJ0LkNoYXJ0RGF0YUVsZW1lbnQCAAAACXUDAAAJdgMAAAl3AwAACXgDAAAJeQMAAAl6AwAACXsDAAANCQelAgAAAAEAAAAQAAAABB9BcGxvcmlzLkJhc2UuT2JqZWN0cy5EYXRhT2JqZWN0AwAAAAl1AwAACXcDAAAJeAMAAAl2AwAACXkDAAAJegMAAAl7AwAADQkHpgIAAAABAAAAAAAAAAQcQXBsb3Jpcy5CYXNlLlVJLlZpc3VhbE9iamVjdAMAAAABpwIAAHgAAAAKCgAAAAAAAAAADQAAAAABAagCAAB4AAAACgoBAAAAAAAAAP////8AAQepAgAAAAEAAAAEAAAABB1BcGxvcmlzLkJhc2UuT2JqZWN0cy5WYXJpYWJsZQMAAAABfAMAAHEDAAABAAAAAAAAAAF9AwAAcQMAAAAAAAAAAAAAAX4DAABxAwAAAAAAAAAAAAABfwMAAHEDAAAAAAAAAAAAAA+qAgAAAQAAAAgAAAAABa0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RMBAAAKAAAAAAAoQQl2AAAACXcAAAAJgAMAAAAACYEDAAABrgIAAHgAAAAKCgAAAAD///8ADgAAAAABAbMCAACtAAAACYIDAAABAAAAEQAAAAG0AgAAdQAAAAmDAwAACgG1AgAAeAAAAAoKAAAAAAAAAAANAAAAAAABtgIAAHgAAAAKCgAAAAAAAAAADQAAAAABB7cCAAAAAQAAAAQAAAAEHUFwbG9yaXMuQmFzZS5PYmplY3RzLlZhcmlhYmxlAwAAAAGEAwAAcQMAAAEAAAAAAAAAAYUDAABxAwAAAAAAAAAAAAABhgMAAHEDAAAAAAAAAAAAAAGHAwAAcQMAAAAAAAAAAAAAD7gCAAABAAAACFIBAAAFuw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FAEAAAoAAAAAAChBCXYAAAAJdwAAAAmIAwAAAAAJiQMAAAG8AgAAeAAAAAoKAAAAAP///wAOAAAAAAEBwQIAAK0AAAAJigMAAAEAAAASAAAAAcICAAB1AAAACYsDAAAKAcMCAAB4AAAACgoAAAAAAAAAAA0AAAAAAAHEAgAAeAAAAAoKAAAAAAAAAAANAAAAAAEHxQIAAAABAAAABAAAAAQdQXBsb3Jpcy5CYXNlLk9iamVjdHMuVmFyaWFibGUDAAAAAYwDAABxAwAAAQAAAAAAAAABjQMAAHEDAAAAAAAAAAAAAAGOAwAAcQMAAAAAAAAAAAAAAY8DAABxAwAAAAAAAAAAAAAPxgIAAAEAAAAITQEAAAXJ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VAQAACgAAAAAAKEEJdgAAAAl3AAAACZADAAAAAAmRAwAAAcoCAAB4AAAACgoAAAAA////AA4AAAAAAQHPAgAArQAAAAmSAwAAAQAAAA8AAAAB0AIAAHUAAAAJkwMAAAoB0QIAAHgAAAAKCgAAAAAAAAAADQAAAAAAAdICAAB4AAAACgoAAAAAAAAAAA0AAAAAAQfTAgAAAAEAAAAEAAAABB1BcGxvcmlzLkJhc2UuT2JqZWN0cy5WYXJpYWJsZQMAAAABlAMAAHEDAAABAAAAAAAAAAGVAwAAcQMAAAAAAAAAAAAAAZYDAABxAwAAAAAAAAAAAAABlwMAAHEDAAAAAAAAAAAAAA/UAgAAAQAAAAjFAAAABdc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RYBAAAKAAAAAAAoQQl2AAAACXcAAAAJmAMAAAAACZkDAAAB2AIAAHgAAAAKCgAAAAD///8ADgAAAAABAd0CAACtAAAACZoDAAABAAAAEQAAAAHeAgAAdQAAAAmbAwAACgHfAgAAeAAAAAoKAAAAAAAAAAANAAAAAAAB4AIAAHgAAAAKCgAAAAAAAAAADQAAAAABB+ECAAAAAQAAAAQAAAAEHUFwbG9yaXMuQmFzZS5PYmplY3RzLlZhcmlhYmxlAwAAAAGcAwAAcQMAAAEAAAAAAAAAAZ0DAABxAwAAAAAAAAAAAAABngMAAHEDAAAAAAAAAAAAAAGfAwAAcQMAAAAAAAAAAAAAD+ICAAABAAAACMQAAAAF5Q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FwEAAAoAAAAAAChBCXYAAAAJdwAAAAmgAwAAAAAJoQMAAAHmAgAAeAAAAAoKAAAAAP///wAOAAAAAAEB6wIAAK0AAAAJogMAAAEAAAARAAAAAewCAAB1AAAACaMDAAAKAe0CAAB4AAAACgoAAAAAAAAAAA0AAAAAAAHuAgAAeAAAAAoKAAAAAAAAAAANAAAAAAEH7wIAAAABAAAABAAAAAQdQXBsb3Jpcy5CYXNlLk9iamVjdHMuVmFyaWFibGUDAAAAAaQDAABxAwAAAQAAAAAAAAABpQMAAHEDAAAAAAAAAAAAAAGmAwAAcQMAAAAAAAAAAAAAAacDAABxAwAAAAAAAAAAAAAP8AIAAAEAAAAITAEAAAXz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YAQAACgAAAAAAKEEJdgAAAAl3AAAACagDAAAAAAmpAwAAAfQCAAB4AAAACgoAAAAA////AA4AAAAAAQH5AgAArQAAAAmqAwAAAQAAABEAAAAB+gIAAHUAAAAJqwMAAAoB+wIAAHgAAAAKCgAAAAAAAAAADQAAAAAAAfwCAAB4AAAACgoAAAAAAAAAAA0AAAAAAQf9AgAAAAEAAAAEAAAABB1BcGxvcmlzLkJhc2UuT2JqZWN0cy5WYXJpYWJsZQMAAAABrAMAAHEDAAABAAAAAAAAAAGtAwAAcQMAAAAAAAAAAAAAAa4DAABxAwAAAAAAAAAAAAABrwMAAHEDAAAAAAAAAAAAAA/+AgAAAQAAAAhOAQAABQE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RkBAAAKAAAAAAAoQQl2AAAACXcAAAAJsAMAAAAACbEDAAABAgMAAHgAAAAKCgAAAAD///8ADgAAAAABAQcDAACtAAAACbIDAAABAAAAEQAAAAEIAwAAdQAAAAmzAwAACgEJAwAAeAAAAAoKAAAAAAAAAAANAAAAAAABCgMAAHgAAAAKCgAAAAAAAAAADQAAAAABBwsDAAAAAQAAAAQAAAAEHUFwbG9yaXMuQmFzZS5PYmplY3RzLlZhcmlhYmxlAwAAAAG0AwAAcQMAAAEAAAAAAAAAAbUDAABxAwAAAAAAAAAAAAABtgMAAHEDAAAAAAAAAAAAAAG3AwAAcQMAAAAAAAAAAAAADwwDAAABAAAACE8BAAABDwMAACMAAAAKCgAAAAAAKEEJdgAAAAl3AAAACbgDAAAAAAm5AwAAARADAAB4AAAACgoBAAAAAAAAAP////8AAQEUAwAArQAAAAm6AwAAAQAAAAEAAAABFQMAAHUAAAAJuwMAAAoBGAMAAHAAAAAKCgAAAEA/CbwDAAAJvQMAAAEAAAD+////AAAAAAEAAAAAAAAAAAAAAAEAAAAAAAAAAAAAARkDAABxAAAACgoJvgMAAAm/AwAAAQAAAP7///8AAAAA/////wEAAR0DAAB1AAAACcADAAAKBx4DAAAAAQAAAAAAAAAEH0FwbG9yaXMuQmFzZS5PYmplY3RzLkRhdGFPYmplY3QDAAAABx8DAAAAAQAAAAQAAAAEHEFwbG9yaXMuQmFzZS5VSS5WaXN1YWxPYmplY3QDAAAACR4CAAAJHwIAAAoKASIDAAAjAAAACgoAAAAAAChBCXYAAAAJdwAAAAnBAwAAAAAJwgMAAAEjAwAAeAAAAAoKAQAAAAAAAAD/////AAEBJwMAAK0AAAAJwwMAAAEAAAABAAAAASgDAAB1AAAACcQDAAAKASsDAABwAAAACgoAAABAPwnFAwAACcYDAAABAAAA/v///wAAAAABAAAAAAAAAAAAAAABAAAAAAAAAAAAAAEsAwAAcQAAAAoKCccDAAAJyAMAAAEAAAD+////AAAAAP////8BAAEwAwAAdQAAAAnJAwAACgcxAwAAAAEAAAAEAAAABBxBcGxvcmlzLkJhc2UuVUkuVmlzdWFsT2JqZWN0AwAAAAkiAgAACSMCAAAKCgEyAwAAeAAAAAoKAAAAAAAAAAANAAAAAAAFMwMAABpBcGxvcmlzLkJhc2UuT2JqZWN0cy5Db2xvcgcAAAASRGF0YU9iamVjdCttUGFyZW50FURhdGFPYmplY3QrbUNvbnRhaW5lcgVtVHlwZQRtUkdCEG1UaGVtZUNvbG9ySW5kZXgMbUF1dG9VcGRhdGVkCW1Nb2RpZmllZAQCAAAAAAAfQXBsb3Jpcy5CYXNlLk9iamVjdHMuTGluZUZvcm1hdAMAAAAICAgBAQMAAAAJKAIAAAoBAAAAAAAAAP////8AAQ80AwAAAQAAAAg8AgAAATUDAAB4AAAACgoAAAAAAAAAAA0AAAAAAAE2AwAAeAAAAAoKAAAAAAAAAAANAAAAAAEHNwMAAAABAAAABAAAAAQdQXBsb3Jpcy5CYXNlLk9iamVjdHMuVmFyaWFibGUDAAAAAcoDAABxAwAAAQAAAAAAAAABywMAAHEDAAAAAAAAAAAAAAHMAwAAcQMAAAAAAAAAAAAAAc0DAABxAwAAAAAAAAAAAAAPOAMAAAEAAAAIJgAAAAE5AwAAeAAAAAoKAAAAAAAAAAANAAAAAAAFOgMAABpBcGxvcmlzLkJhc2UuT2JqZWN0cy5Db2xvcgcAAAASRGF0YU9iamVjdCttUGFyZW50FURhdGFPYmplY3QrbUNvbnRhaW5lcgVtVHlwZQRtUkdCEG1UaGVtZUNvbG9ySW5kZXgMbUF1dG9VcGRhdGVkCW1Nb2RpZmllZAQCAAAAAAAfQXBsb3Jpcy5CYXNlLk9iamVjdHMuTGluZUZvcm1hdAMAAAAICAgBAQMAAAAJNwIAAAoBAAAAAAAAAP////8AAQ87AwAAAQAAAAg1AgAAATwDAAB4AAAACgoAAAAAAAAAAA0AAAAAAAE9AwAAeAAAAAoKAAAAAAAAAAANAAAAAAEHPgMAAAABAAAABAAAAAQdQXBsb3Jpcy5CYXNlLk9iamVjdHMuVmFyaWFibGUDAAAAAc4DAABxAwAAAQAAAAAAAAABzwMAAHEDAAAAAAAAAAAAAAHQAwAAcQMAAAAAAAAAAAAAAdEDAABxAwAAAAAAAAAAAAAPPwMAAAEAAAAIIwAAAAFAAwAAeAAAAAoKAAAAAAAAAAANAAAAAAAFQQMAABpBcGxvcmlzLkJhc2UuT2JqZWN0cy5Db2xvcgcAAAASRGF0YU9iamVjdCttUGFyZW50FURhdGFPYmplY3QrbUNvbnRhaW5lcgVtVHlwZQRtUkdCEG1UaGVtZUNvbG9ySW5kZXgMbUF1dG9VcGRhdGVkCW1Nb2RpZmllZAQCAAAAAAAfQXBsb3Jpcy5CYXNlLk9iamVjdHMuTGluZUZvcm1hdAMAAAAICAgBAQMAAAAJRgIAAAoBAAAAAAAAAP////8AAQ9CAwAAAQAAAAg6AgAAAUMDAAB4AAAACgoAAAAAAAAAAA0AAAAAAAFEAwAAeAAAAAoKAAAAAAAAAAANAAAAAAEHRQMAAAABAAAABAAAAAQdQXBsb3Jpcy5CYXNlLk9iamVjdHMuVmFyaWFibGUDAAAAAdIDAABxAwAAAQAAAAAAAAAB0wMAAHEDAAAAAAAAAAAAAAHUAwAAcQMAAAAAAAAAAAAAAdUDAABxAwAAAAAAAAAAAAAPRgMAAAEAAAAIKwAAAAFHAwAAeAAAAAoKAAAAAAAAAAANAAAAAAAFSAMAABpBcGxvcmlzLkJhc2UuT2JqZWN0cy5Db2xvcgcAAAASRGF0YU9iamVjdCttUGFyZW50FURhdGFPYmplY3QrbUNvbnRhaW5lcgVtVHlwZQRtUkdCEG1UaGVtZUNvbG9ySW5kZXgMbUF1dG9VcGRhdGVkCW1Nb2RpZmllZAQCAAAAAAAfQXBsb3Jpcy5CYXNlLk9iamVjdHMuTGluZUZvcm1hdAMAAAAICAgBAQMAAAAJVQIAAAoBAAAAAAAAAP////8AAQ9JAwAAAQAAAAg3AgAAAUoDAAB4AAAACgoAAAAAAAAAAA0AAAAAAAFLAwAAeAAAAAoKAAAAAAAAAAANAAAAAAEHTAMAAAABAAAABAAAAAQdQXBsb3Jpcy5CYXNlLk9iamVjdHMuVmFyaWFibGUDAAAAAdYDAABxAwAAAQAAAAAAAAAB1wMAAHEDAAAAAAAAAAAAAAHYAwAAcQMAAAAAAAAAAAAAAdkDAABxAwAAAAAAAAAAAAAPTQMAAAEAAAAIKgAAAAFOAwAAeAAAAAoKAAAAAAAAAAANAAAAAAAFTwMAABpBcGxvcmlzLkJhc2UuT2JqZWN0cy5Db2xvcgcAAAASRGF0YU9iamVjdCttUGFyZW50FURhdGFPYmplY3QrbUNvbnRhaW5lcgVtVHlwZQRtUkdCEG1UaGVtZUNvbG9ySW5kZXgMbUF1dG9VcGRhdGVkCW1Nb2RpZmllZAQCAAAAAAAfQXBsb3Jpcy5CYXNlLk9iamVjdHMuTGluZUZvcm1hdAMAAAAICAgBAQMAAAAJZAIAAAoBAAAAAAAAAP////8AAQ9QAwAAAQAAAAg2AgAAAVEDAAB4AAAACgoAAAAAAAAAAA0AAAAAAAFSAwAAeAAAAAoKAAAAAAAAAAANAAAAAAEHUwMAAAABAAAABAAAAAQdQXBsb3Jpcy5CYXNlLk9iamVjdHMuVmFyaWFibGUDAAAAAdoDAABxAwAAAQAAAAAAAAAB2wMAAHEDAAAAAAAAAAAAAAHcAwAAcQMAAAAAAAAAAAAAAd0DAABxAwAAAAAAAAAAAAAPVAMAAAEAAAAIJwAAAAFVAwAAeAAAAAoKAAAAAAAAAAANAAAAAAAFVgMAABpBcGxvcmlzLkJhc2UuT2JqZWN0cy5Db2xvcgcAAAASRGF0YU9iamVjdCttUGFyZW50FURhdGFPYmplY3QrbUNvbnRhaW5lcgVtVHlwZQRtUkdCEG1UaGVtZUNvbG9ySW5kZXgMbUF1dG9VcGRhdGVkCW1Nb2RpZmllZAQCAAAAAAAfQXBsb3Jpcy5CYXNlLk9iamVjdHMuTGluZUZvcm1hdAMAAAAICAgBAQMAAAAJcwIAAAoBAAAAAAAAAP////8AAQ9XAwAAAQAAAAg5AgAAAVgDAAB4AAAACgoAAAAAAAAAAA0AAAAAAAFZAwAAeAAAAAoKAAAAAAAAAAANAAAAAAEHWgMAAAABAAAABAAAAAQdQXBsb3Jpcy5CYXNlLk9iamVjdHMuVmFyaWFibGUDAAAAAd4DAABxAwAAAQAAAAAAAAAB3wMAAHEDAAAAAAAAAAAAAAHgAwAAcQMAAAAAAAAAAAAAAeEDAABxAwAAAAAAAAAAAAAPWwMAAAEAAAAIKQAAAAFcAwAAeAAAAAoKAAAAAAAAAAANAAAAAAAFXQMAABpBcGxvcmlzLkJhc2UuT2JqZWN0cy5Db2xvcgcAAAASRGF0YU9iamVjdCttUGFyZW50FURhdGFPYmplY3QrbUNvbnRhaW5lcgVtVHlwZQRtUkdCEG1UaGVtZUNvbG9ySW5kZXgMbUF1dG9VcGRhdGVkCW1Nb2RpZmllZAQCAAAAAAAfQXBsb3Jpcy5CYXNlLk9iamVjdHMuTGluZUZvcm1hdAMAAAAICAgBAQMAAAAJggIAAAoBAAAAAAAAAP////8AAQ9eAwAAAQAAAAg7AgAAAV8DAAB4AAAACgoAAAAAAAAAAA0AAAAAAAFgAwAAeAAAAAoKAAAAAAAAAAANAAAAAAEHYQMAAAABAAAABAAAAAQdQXBsb3Jpcy5CYXNlLk9iamVjdHMuVmFyaWFibGUDAAAAAeIDAABxAwAAAQAAAAAAAAAB4wMAAHEDAAAAAAAAAAAAAAHkAwAAcQMAAAAAAAAAAAAAAeUDAABxAwAAAAAAAAAAAAAPYgMAAAEAAAAIKAAAAAFjAwAAeAAAAAoKAAAAAAAAAAANAAAAAAAFZAMAABpBcGxvcmlzLkJhc2UuT2JqZWN0cy5Db2xvcgcAAAASRGF0YU9iamVjdCttUGFyZW50FURhdGFPYmplY3QrbUNvbnRhaW5lcgVtVHlwZQRtUkdCEG1UaGVtZUNvbG9ySW5kZXgMbUF1dG9VcGRhdGVkCW1Nb2RpZmllZAQCAAAAAAAfQXBsb3Jpcy5CYXNlLk9iamVjdHMuTGluZUZvcm1hdAMAAAAICAgBAQMAAAAJkQIAAAoBAAAAAAAAAP////8AAQ9lAwAAAQAAAAg4AgAAAWYDAAB4AAAACgoAAAAAAAAAAA0AAAAAAAFnAwAAeAAAAAoKAAAAAAAAAAANAAAAAAEHaAMAAAABAAAABAAAAAQdQXBsb3Jpcy5CYXNlLk9iamVjdHMuVmFyaWFibGUDAAAAAeYDAABxAwAAAQAAAAAAAAAB5wMAAHEDAAAAAAAAAAAAAAHoAwAAcQMAAAAAAAAAAAAAAekDAABxAwAAAAAAAAAAAAAPaQMAAAEAAAAILAAAAAVqAw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eoDAAAJ6wMAAAoJ7AMAAAoJEQEAAAgGOVCpd/6ewD8KAAAAAAntAwAACe4DAAAAAAAAAAnvAwAACREBAAAJAQAAAAnwAwAAAWsDAABqAwAACfEDAAAJ8gMAAAoJ8wMAAAoJEQEAAAgGevF0jaCswj8KAQAAAAn0AwAACfUDAAAAAAAAAAn2AwAACREBAAAJAQAAAAn3AwAAAWwDAABqAwAACfgDAAAJ+QMAAAoJ+gMAAAoJEQEAAAgGwraiuCWRwj8KAgAAAAn7AwAACfwDAAAAAAAAAAn9AwAACREBAAAJAQAAAAn+AwAAAW0DAABqAwAACf8DAAAJAAQAAAoJAQQAAAoJEQEAAAgGsQkgNQC3yD8KAwAAAAkCBAAACQMEAAAAAAAAAAkEBAAACREBAAAJAQAAAAkFBAAAAW4DAABqAwAACQYEAAAJBwQAAAoJCAQAAAoJEQEAAAgGFOJxd5PJyD8KBAAAAAkJBAAACQoEAAAAAAAAAAkLBAAACREBAAAJAQAAAAkMBAAAAW8DAABqAwAACQ0EAAAJDgQAAAoJDwQAAAoJEQEAAAgGm2lqtUoCqz8KBQAAAAkQBAAACREEAAAAAAAAAAkSBAAACREBAAAJAQAAAAkTBAAAAXADAABqAwAACRQEAAAJFQQAAAoJFgQAAAoJEQEAAAgGlMN+1ZCVuj8KBgAAAAkXBAAACRgEAAAAAAAAAAkZBAAACREBAAAJAQAAAAkaBAAAAXUDAABqAwAACRsEAAAJHAQAAAoJHQQAAAoJEgEAAAgGZGLKAskm1D8KAAAAAAkeBAAACR8EAAAAAAAAAAkgBAAACRIBAAAJAQAAAAkhBAAAAXYDAABqAwAACSIEAAAJIwQAAAoJJAQAAAoJEgEAAAgGjN91kg7d0D8KAQAAAAklBAAACSYEAAAAAAAAAAknBAAACRIBAAAJAQAAAAkoBAAAAXcDAABqAwAACSkEAAAJKgQAAAoJKwQAAAoJEgEAAAgGclBv3Bkg1D8KAgAAAAksBAAACS0EAAAAAAAAAAkuBAAACRIBAAAJAQAAAAkvBAAAAXgDAABqAwAACTAEAAAJMQQAAAoJMgQAAAoJEgEAAAgGPQNgvKrn0j8KAwAAAAkzBAAACTQEAAAAAAAAAAk1BAAACRIBAAAJAQAAAAk2BAAAAXkDAABqAwAACTcEAAAJOAQAAAoJOQQAAAoJEgEAAAgG+n0pz3Ec2z8KBAAAAAk6BAAACTsEAAAAAAAAAAk8BAAACRIBAAAJAQAAAAk9BAAAAXoDAABqAwAACT4EAAAJPwQAAAoJQAQAAAoJEgEAAAgGsI3AKL8A0T8KBQAAAAlBBAAACUIEAAAAAAAAAAlDBAAACRIBAAAJAQAAAAlEBAAAAXsDAABqAwAACUUEAAAJRgQAAAoJRwQAAAoJEgEAAAgGmSILd9Uk0T8KBgAAAAlIBAAACUkEAAAAAAAAAAlKBAAACRIBAAAJAQAAAAlLBAAAAYADAAB4AAAACgoAAAAAAAAAAA0AAAAAAAGBAwAAeAAAAAoKAAAAAAAAAAANAAAAAAEHggMAAAABAAAABAAAAAQdQXBsb3Jpcy5CYXNlLk9iamVjdHMuVmFyaWFibGUDAAAAAUwEAABxAwAAAQAAAAAAAAABTQQAAHEDAAAAAAAAAAAAAAFOBAAAcQMAAAAAAAAAAAAAAU8EAABxAwAAAAAAAAAAAAAPgwMAAAEAAAAIHgIAAAGIAwAAeAAAAAoKAAAAAAAAAAANAAAAAAABiQMAAHgAAAAKCgAAAAAAAAAADQAAAAABB4oDAAAAAQAAAAQAAAAEHUFwbG9yaXMuQmFzZS5PYmplY3RzLlZhcmlhYmxlAwAAAAFQBAAAcQMAAAEAAAAAAAAAAVEEAABxAwAAAAAAAAAAAAABUgQAAHEDAAAAAAAAAAAAAAFTBAAAcQMAAAAAAAAAAAAAD4sDAAABAAAACBgCAAABkAMAAHgAAAAKCgAAAAAAAAAADQAAAAAAAZEDAAB4AAAACgoAAAAAAAAAAA0AAAAAAQeSAwAAAAEAAAAEAAAABB1BcGxvcmlzLkJhc2UuT2JqZWN0cy5WYXJpYWJsZQMAAAABVAQAAHEDAAABAAAAAAAAAAFVBAAAcQMAAAAAAAAAAAAAAVYEAABxAwAAAAAAAAAAAAABVwQAAHEDAAAAAAAAAAAAAA+TAwAAAQAAAAgaAgAAAZgDAAB4AAAACgoAAAAAAAAAAA0AAAAAAAGZAwAAeAAAAAoKAAAAAAAAAAANAAAAAAEHmgMAAAABAAAABAAAAAQdQXBsb3Jpcy5CYXNlLk9iamVjdHMuVmFyaWFibGUDAAAAAVgEAABxAwAAAQAAAAAAAAABWQQAAHEDAAAAAAAAAAAAAAFaBAAAcQMAAAAAAAAAAAAAAVsEAABxAwAAAAAAAAAAAAAPmwMAAAEAAAAIGQIAAAGgAwAAeAAAAAoKAAAAAAAAAAANAAAAAAABoQMAAHgAAAAKCgAAAAAAAAAADQAAAAABB6IDAAAAAQAAAAQAAAAEHUFwbG9yaXMuQmFzZS5PYmplY3RzLlZhcmlhYmxlAwAAAAFcBAAAcQMAAAEAAAAAAAAAAV0EAABxAwAAAAAAAAAAAAABXgQAAHEDAAAAAAAAAAAAAAFfBAAAcQMAAAAAAAAAAAAAD6MDAAABAAAACB0CAAABqAMAAHgAAAAKCgAAAAAAAAAADQAAAAAAAakDAAB4AAAACgoAAAAAAAAAAA0AAAAAAQeqAwAAAAEAAAAEAAAABB1BcGxvcmlzLkJhc2UuT2JqZWN0cy5WYXJpYWJsZQMAAAABYAQAAHEDAAABAAAAAAAAAAFhBAAAcQMAAAAAAAAAAAAAAWIEAABxAwAAAAAAAAAAAAABYwQAAHEDAAAAAAAAAAAAAA+rAwAAAQAAAAgcAgAAAbADAAB4AAAACgoAAAAAAAAAAA0AAAAAAAGxAwAAeAAAAAoKAAAAAAAAAAANAAAAAAEHsgMAAAABAAAABAAAAAQdQXBsb3Jpcy5CYXNlLk9iamVjdHMuVmFyaWFibGUDAAAAAWQEAABxAwAAAQAAAAAAAAABZQQAAHEDAAAAAAAAAAAAAAFmBAAAcQMAAAAAAAAAAAAAAWcEAABxAwAAAAAAAAAAAAAPswMAAAEAAAAIFgIAAAG4AwAAeAAAAAoKAAAAAAAAAAANAAAAAAABuQMAAHgAAAAKCgEAAAAAAAAA/////wABB7oDAAAAAQAAAAQAAAAEHUFwbG9yaXMuQmFzZS5PYmplY3RzLlZhcmlhYmxlAwAAAAFoBAAAcQMAAAEAAAAAAAAAAWkEAABxAwAAAAAAAAAAAAABagQAAHEDAAAAAAAAAAAAAAFrBAAAcQMAAAAAAAAAAAAAD7sDAAABAAAACKABAAABvAMAAHgAAAAKCgAAAAD///8ADgAAAAAABb0DAAAaQXBsb3Jpcy5CYXNlLk9iamVjdHMuQ29sb3IHAAAAEkRhdGFPYmplY3QrbVBhcmVudBVEYXRhT2JqZWN0K21Db250YWluZXIFbVR5cGUEbVJHQhBtVGhlbWVDb2xvckluZGV4DG1BdXRvVXBkYXRlZAltTW9kaWZpZWQEAgAAAAAAH0FwbG9yaXMuQmFzZS5PYmplY3RzLkxpbmVGb3JtYXQDAAAACAgIAQEDAAAACRgDAAAKAQAAAAAAAAD/////AAEBvgMAAHgAAAAKCgAAAAA/aX4ABQAAAAAAAb8DAAB4AAAACgoBAAAA////AP////8AAA/AAwAAAQAAAAiiAQAAAcEDAAB4AAAACgoAAAAAAAAAAA0AAAAAAAHCAwAAeAAAAAoKAQAAAAAAAAD/////AAEHwwMAAAABAAAABAAAAAQdQXBsb3Jpcy5CYXNlLk9iamVjdHMuVmFyaWFibGUDAAAAAWwEAABxAwAAAQAAAAAAAAABbQQAAHEDAAAAAAAAAAAAAAFuBAAAcQMAAAAAAAAAAAAAAW8EAABxAwAAAAAAAAAAAAAPxAMAAAEAAAAIngEAAAHFAwAAeAAAAAoKAAAAAP///wAOAAAAAAAFxgMAABpBcGxvcmlzLkJhc2UuT2JqZWN0cy5Db2xvcgcAAAASRGF0YU9iamVjdCttUGFyZW50FURhdGFPYmplY3QrbUNvbnRhaW5lcgVtVHlwZQRtUkdCEG1UaGVtZUNvbG9ySW5kZXgMbUF1dG9VcGRhdGVkCW1Nb2RpZmllZAQCAAAAAAAfQXBsb3Jpcy5CYXNlLk9iamVjdHMuTGluZUZvcm1hdAMAAAAICAgBAQMAAAAJKwMAAAoBAAAAAAAAAP////8AAQHHAwAAeAAAAAoKAAAAAHKEjAAGAAAAAAAByAMAAHgAAAAKCgEAAAD///8A/////wAAD8kDAAABAAAACKMBAAAB6gMAADIBAAAKWAIAAAFwBAAApQEAAAIAAAABcQQAAKYBAAABAAAAAXIEAAAVAAAAxpxcQoSjgEO86iRCnD9BQgFzBAAAqAEAAAAAAAAAAKBAAAF0BAAAIQAAABKJl0J9t4xDAXUEAACgAAAAAAAAAAAAAAAAAAAAAAl2BAAAAAAAAAl3BAAAAAABeAQAAKkAAAAAAAAAAXkEAAByAAAAAAC4QQAAQEEBegQAABUAAACji35Ciy6KQzQWv0Gjiy5BEoO+PwZ7BAAAAzEzJQoJfAQAAAmxAQAANAMAAP////8BAQoJfQQAAAEACgEB6wMAABwAAAABfgQAACEAAADGnFBCd0uaQwF/BAAAIQAAAMHDxkIHR35DCYAEAAAJgQQAAAAAAAAKAYIEAAByAAAAAAAAAAAAAAABgwQAAHIAAAAAAAAAAAAAAAAAAAABhAQAABUAAAAAAAAAAAAAAAAAAAAAAAAApAEAAP////8BAQoJhQQAAAEACgAH7AMAAAABAAAAAgAAAAQaQXBsb3Jpcy5CYXNlLlVJLlZpc3VhbExpbmUDAAAACgoH7QMAAAABAAAAAwAAAAQVU3lzdGVtLkRyYXdpbmcuUG9pbnRGBAAAAAGGBAAAIQAAABKJl0J9t4xDAYcEAAAhAAAAxpxEQn23jEMBiAQAACEAAADBw8xCfbeMQwfuAwAAAAEAAAADAAAABBdBcGxvcmlzLkJhc2UuQW5jaG9yTW9kZQMAAAABiQQAAKAAAAAAAAAAAYoEAACgAAAAAgAAAAGLBAAAoAAAAAQAAAAB7wMAACUAAAAJ4gAAAAAAAAAAAAAAAfADAAAmAAAACYwEAAACAAAADgAAAAHxAwAAMgEAAApYAgAAAY0EAAClAQAAAgAAAAGOBAAApgEAAAEAAAABjwQAABUAAABiSU5DcJF6Q8DqJEL4FVxCAZAEAACoAQAAAAAAAAAAoEAAAZEEAAAhAAAAuuZiQxgKi0MBkgQAAKAAAAAAAAAAAAAAAAAAAAAACZMEAAAAAAAACZQEAAAAAAGVBAAAqQAAAAAAAAABlgQAAHIAAAAAALhBAABAQQGXBAAAFQAAAKOLVkMXXYhDNBa/QaOLLkESg74/BpgEAAADMTUlCgmZBAAACbEBAAA0AwAA/////wEBCgmaBAAAAQAKAQHyAwAAHAAAAAGbBAAAIQAAAGJJS0N3S5pDAZwEAAAhAAAAEoR6Q3CRd0MJnQQAAAmeBAAAAAAAAAoBnwQAAHIAAAAAAAAAAAAAAAGgBAAAcgAAAAAAAAAAAAAAAAAAAAGhBAAAFQAAAAAAAAAAAAAAAAAAAAAAAACkAQAA/////wEBCgmiBAAAAQAKAAfzAwAAAAEAAAACAAAABBpBcGxvcmlzLkJhc2UuVUkuVmlzdWFsTGluZQMAAAAKCgf0AwAAAAEAAAADAAAABBVTeXN0ZW0uRHJhd2luZy5Qb2ludEYEAAAAAaMEAAAhAAAAuuZiQxgKi0MBpAQAACEAAABiSUhDGAqLQwGlBAAAIQAAABKEfUMYCotDB/UDAAAAAQAAAAMAAAAEF0FwbG9yaXMuQmFzZS5BbmNob3JNb2RlAwAAAAGmBAAAoAAAAAAAAAABpwQAAKAAAAACAAAAAagEAACgAAAABAAAAAH2AwAAJQAAAAnkAQAAAAAAAAAAAAAB9wMAACYAAAAJqQQAAAIAAAACAAAAAfgDAAAyAQAAClgCAAABqgQAAKUBAAACAAAAAasEAACmAQAAAQAAAAGsBAAAFQAAAD3tjEM763pDwOokQsyuWkIBrQQAAKgBAAAAAAAAAACgQAABrgQAACEAAADpO5dDiiCLQwGvBAAAoAAAAAAAAAAAAAAAAAAAAAAJsAQAAAAAAAAJsQQAAAAAAbIEAACpAAAAAAAAAAGzBAAAcgAAAAAAuEEAAEBBAbQEAAAVAAAAXXSRQxddiEM0Fr9Bo4suQRKDvj8GtQQAAAMxNSUKCbYEAAAJsQEAADQDAAD/////AQEKCbcEAAABAAoBAfkDAAAcAAAAAbgEAAAhAAAAPW2LQ3dLmkMBuQQAACEAAACVCqNDO+t3Qwm6BAAACbsEAAAAAAAACgG8BAAAcgAAAAAAAAAAAAAAAb0EAAByAAAAAAAAAAAAAAAAAAAAAb4EAAAVAAAAAAAAAAAAAAAAAAAAAAAAAKQBAAD/////AQEKCb8EAAABAAoAB/oDAAAAAQAAAAIAAAAEGkFwbG9yaXMuQmFzZS5VSS5WaXN1YWxMaW5lAwAAAAoKB/sDAAAAAQAAAAMAAAAEFVN5c3RlbS5EcmF3aW5nLlBvaW50RgQAAAABwAQAACEAAADpO5dDiiCLQwHBBAAAIQAAAD3tiUOKIItDAcIEAAAhAAAAlYqkQ4ogi0MH/AMAAAABAAAAAwAAAAQXQXBsb3Jpcy5CYXNlLkFuY2hvck1vZGUDAAAAAcMEAACgAAAAAAAAAAHEBAAAoAAAAAIAAAABxQQAAKAAAAAEAAAAAf0DAAAlAAAACfABAAAAAAAAAAAAAAH+AwAAJgAAAAnGBAAAAgAAAAIAAAAB/wMAADIBAAAKWAIAAAHHBAAApQEAAAIAAAAByAQAAKYBAAABAAAAAckEAAAVAAAAyrWyQ2fUZkPA6iRCDoWVQgHKBAAAqAEAAAAAAAAAAKBAAAHLBAAAIQAAAHYEvUPVGoZDAcwEAACgAAAAAAAAAAAAAAAAAAAAAAnNBAAAAAAAAAnOBAAAAAABzwQAAKkAAAAAAAAAAdAEAAByAAAAAAC4QQAAQEEB0QQAABUAAACLLrdDF12DQzQWv0Gjiy5BEoO+PwbSBAAAAzE5JQoJ0wQAAAmxAQAANAMAAP////8BAQoJ1AQAAAEACgEBAAQAABwAAAAB1QQAACEAAADKNbFDd0uaQwHWBAAAIQAAACLTyENn1GNDCdcEAAAJ2AQAAAAAAAAKAdkEAAByAAAAAAAAAAAAAAAB2gQAAHIAAAAAAAAAAAAAAAAAAAAB2wQAABUAAAAAAAAAAAAAAAAAAAAAAAAApAEAAP////8BAQoJ3AQAAAEACgAHAQQAAAABAAAAAgAAAAQaQXBsb3Jpcy5CYXNlLlVJLlZpc3VhbExpbmUDAAAACgoHAgQAAAABAAAAAwAAAAQVU3lzdGVtLkRyYXdpbmcuUG9pbnRGBAAAAAHdBAAAIQAAAHYEvUPVGoZDAd4EAAAhAAAAyrWvQ9UahkMB3wQAACEAAAAiU8pD1RqGQwcDBAAAAAEAAAADAAAABBdBcGxvcmlzLkJhc2UuQW5jaG9yTW9kZQMAAAAB4AQAAKAAAAAAAAAAAeEEAACgAAAAAgAAAAHiBAAAoAAAAAQAAAABBAQAACUAAAAJ8AEAAAAAAAAAAAAAAQUEAAAmAAAACeMEAAACAAAAAgAAAAEGBAAAMgEAAApYAgAAAeQEAAClAQAAAgAAAAHlBAAApgEAAAEAAAAB5gQAABUAAABWfthDtJdmQ8DqJEJ0/pVCAecEAACoAQAAAAAAAAAAoEAAAegEAAAhAAAAAs3iQ6gLhkMB6QQAAKAAAAAAAAAAAAAAAAAAAAAACeoEAAAAAAAACesEAAAAAAHsBAAAqQAAAAAAAAAB7QQAAHIAAAAAALhBAABAQQHuBAAAFQAAALro3EMXXYNDNBa/QaOLLkESg74/Bu8EAAADMTklCgnwBAAACbEBAAA0AwAA/////wEBCgnxBAAAAQAKAQEHBAAAHAAAAAHyBAAAIQAAAFb+1kN3S5pDAfMEAAAhAAAArpvuQ7SXY0MJ9AQAAAn1BAAAAAAAAAoB9gQAAHIAAAAAAAAAAAAAAAH3BAAAcgAAAAAAAAAAAAAAAAAAAAH4BAAAFQAAAAAAAAAAAAAAAAAAAAAAAACkAQAA/////wEBCgn5BAAAAQAKAAcIBAAAAAEAAAACAAAABBpBcGxvcmlzLkJhc2UuVUkuVmlzdWFsTGluZQMAAAAKCgcJBAAAAAEAAAADAAAABBVTeXN0ZW0uRHJhd2luZy5Qb2ludEYEAAAAAfoEAAAhAAAAAs3iQ6gLhkMB+wQAACEAAABWftVDqAuGQwH8BAAAIQAAAK4b8EOoC4ZDBwoEAAAAAQAAAAMAAAAEF0FwbG9yaXMuQmFzZS5BbmNob3JNb2RlAwAAAAH9BAAAoAAAAAAAAAAB/gQAAKAAAAACAAAAAf8EAACgAAAABAAAAAELBAAAJQAAAAnkAQAAAAAAAAAAAAABDAQAACYAAAAJAAUAAAIAAAACAAAAAQ0EAAAyAQAAClgCAAABAQUAAKUBAAACAAAAAQIFAACmAQAAAQAAAAEDBQAAFQAAAOJG/kNEw5BDwOokQjCDgEEBBAUAAKgBAAAAAAAAAACgQAABBQUAACEAAADHSgREXseUQwEGBQAAoAAAAAAAAAAAAAAAAAAAAAAJBwUAAAAAAAAJCAUAAAAAAQkFAACpAAAAAAAAAAEKBQAAcgAAAAAAgEEAAEBBAQsFAAAVAAAAAAACRLrokUN6LYxBo4suQRKDvj8GDAUAAAI1JQoJDQUAAAmxAQAANAMAAP////8BAQoJDgUAAAEACgEBDgQAABwAAAABDwUAACEAAADixvxDd0uaQwEQBQAAIQAAAB0yCkREQ49DCREFAAAJEgUAAAAAAAAKARMFAAByAAAAAAAAAAAAAAABFAUAAHIAAAAAAAAAAAAAAAAAAAABFQUAABUAAAAAAAAAAAAAAAAAAAAAAAAApAEAAP////8BAQoJFgUAAAEACgAHDwQAAAABAAAAAgAAAAQaQXBsb3Jpcy5CYXNlLlVJLlZpc3VhbExpbmUDAAAACgoHEAQAAAABAAAAAwAAAAQVU3lzdGVtLkRyYXdpbmcuUG9pbnRGBAAAAAEXBQAAIQAAAMdKBERex5RDARgFAAAhAAAA4kb7Q17HlEMBGQUAACEAAAAd8gpEXseUQwcRBAAAAAEAAAADAAAABBdBcGxvcmlzLkJhc2UuQW5jaG9yTW9kZQMAAAABGgUAAKAAAAAAAAAAARsFAACgAAAAAgAAAAEcBQAAoAAAAAQAAAABEgQAACUAAAAJ5AEAAAAAAAAAAAAAARMEAAAmAAAACR0FAAACAAAAAgAAAAEUBAAAMgEAAApYAgAAAR4FAAClAQAAAgAAAAEfBQAApgEAAAEAAAABIAUAABUAAAC3BxJE4xOGQ8DqJEKgvBVCASEFAACoAQAAAAAAAAAAoEAAASIFAAAhAAAADS8XRK1vj0MBIwUAAKAAAAAAAAAAAAAAAAAAAAAACSQFAAAAAAAACSUFAAAAAAEmBQAAqQAAAAAAAAABJwUAAHIAAAAAALhBAABAQQEoBQAAFQAAAIsuFES66IxDNBa/QaOLLkESg74/BikFAAADMTAlCgkqBQAACbEBAAA0AwAA/////wEBCgkrBQAAAQAKAQEVBAAAHAAAAAEsBQAAIQAAALdHEUR3S5pDAS0FAAAhAAAAYxYdROOThEMJLgUAAAkvBQAAAAAAAAoBMAUAAHIAAAAAAAAAAAAAAAExBQAAcgAAAAAAAAAAAAAAAAAAAAEyBQAAFQAAAAAAAAAAAAAAAAAAAAAAAACkAQAA/////wEBCgkzBQAAAQAKAAcWBAAAAAEAAAACAAAABBpBcGxvcmlzLkJhc2UuVUkuVmlzdWFsTGluZQMAAAAKCgcXBAAAAAEAAAADAAAABBVTeXN0ZW0uRHJhd2luZy5Qb2ludEYEAAAAATQFAAAhAAAADS8XRK1vj0MBNQUAACEAAAC3hxBErW+PQwE2BQAAIQAAAGPWHUStb49DBxgEAAAAAQAAAAMAAAAEF0FwbG9yaXMuQmFzZS5BbmNob3JNb2RlAwAAAAE3BQAAoAAAAAAAAAABOAUAAKAAAAACAAAAATkFAACgAAAABAAAAAEZBAAAJQAAAAnkAQAAAAAAAAAAAAABGgQAACYAAAAJOgUAAAIAAAACAAAAARsEAAAyAQAAClgCAAABOwUAAKUBAAACAAAAATwFAACmAQAAAQAAAAE9BQAAFQAAAMacXEJOKftCvOokQsBk+0IBPgUAAKgBAAAAAAAAAACgQAABPwUAACEAAAASiZdC1208QwFABQAAoAAAAAAAAAAAAAAAAAAAIEEJQQUAAAAAAAAJQgUAAAAAAUMFAACpAAAAAAAAAAFEBQAAcgAAAAAAuEEAAEBBAUUFAAAVAAAAo4t+Qi66QEM0Fr9Bo4suQRKDvj8GRgUAAAMzMSUKCUcFAAAJsQEAADQDAAD/////AQEKCUgFAAABAAoBARwEAAAcAAAAAUkFAAAhAAAAxpxQQgdHfkMBSgUAACEAAADBw8ZCTin1QglLBQAACUwFAAAAAAAACgFNBQAAcgAAAAAAAAAAAAAAAU4FAAByAAAAAAAAAAAAAAAAAAAAAU8FAAAVAAAAAAAAAAAAAAAAAAAAAAAAAKQBAAD/////AQEKCVAFAAABAAoABx0EAAAAAQAAAAIAAAAEGkFwbG9yaXMuQmFzZS5VSS5WaXN1YWxMaW5lAwAAAAoKBx4EAAAAAQAAAAMAAAAEFVN5c3RlbS5EcmF3aW5nLlBvaW50RgQAAAABUQUAACEAAAASiZdC1208QwFSBQAAIQAAAMacRELXbTxDAVMFAAAhAAAAwcPMQtdtPEMHHwQAAAABAAAAAwAAAAQXQXBsb3Jpcy5CYXNlLkFuY2hvck1vZGUDAAAAAVQFAACgAAAAAAAAAAFVBQAAoAAAAAIAAAABVgUAAKAAAAAEAAAAASAEAAAlAAAACVcFAAAAAAAAAAAAAAEhBAAAJgAAAAlYBQAAAgAAAAYAAAABIgQAADIBAAAKWAIAAAFZBQAApQEAAAIAAAABWgUAAKYBAAABAAAAAVsFAAAVAAAAYklOQwhcDEPA6iRC0GrQQgFcBQAAqAEAAAAAAAAAAKBAAAFdBQAAIQAAALrmYkO8dkBDAV4FAACgAAAAAAAAAAAAAAAAAAAAAAlfBQAAAAAAAAlgBQAAAAABYQUAAKkAAAAAAAAAAWIFAAByAAAAAAC4QQAAQEEBYwUAABUAAACji1ZD0UU7QzQWv0Gjiy5BEoO+PwZkBQAAAzI2JQoJZQUAAAmxAQAANAMAAP////8BAQoJZgUAAAEACgEBIwQAABwAAAABZwUAACEAAABiSUtDcJF3QwFoBQAAIQAAABKEekMIXAlDCWkFAAAJagUAAAAAAAAKAWsFAAByAAAAAAAAAAAAAAABbAUAAHIAAAAAAAAAAAAAAAAAAAABbQUAABUAAAAAAAAAAAAAAAAAAAAAAAAApAEAAP////8BAQoJbgUAAAEACgAHJAQAAAABAAAAAgAAAAQaQXBsb3Jpcy5CYXNlLlVJLlZpc3VhbExpbmUDAAAACgoHJQQAAAABAAAAAwAAAAQVU3lzdGVtLkRyYXdpbmcuUG9pbnRGBAAAAAFvBQAAIQAAALrmYkO8dkBDAXAFAAAhAAAAYklIQ7x2QEMBcQUAACEAAAAShH1DvHZAQwcmBAAAAAEAAAADAAAABBdBcGxvcmlzLkJhc2UuQW5jaG9yTW9kZQMAAAABcgUAAKAAAAAAAAAAAXMFAACgAAAAAgAAAAF0BQAAoAAAAAQAAAABJwQAACUAAAAJ5AEAAAAAAAAAAAAAASgEAAAmAAAACXUFAAACAAAAAgAAAAEpBAAAMgEAAApYAgAAAXYFAAClAQAAAgAAAAF3BQAApgEAAAEAAAABeAUAABUAAAA97YxDE8nuQsDqJEJkDftCAXkFAACoAQAAAAAAAAAAoEAAAXoFAAAhAAAA6TuXQ+InNkMBewUAAKAAAAAAAAAAAAAAAAAAAAAACXwFAAAAAAAACX0FAAAAAAF+BQAAqQAAAAAAAAABfwUAAHIAAAAAALhBAABAQQGABQAAFQAAAF10kUMXXTBDNBa/QaOLLkESg74/BoEFAAADMzElCgmCBQAACbEBAAA0AwAA/////wEBCgmDBQAAAQAKAQEqBAAAHAAAAAGEBQAAIQAAAD1ti0M763dDAYUFAAAhAAAAlQqjQxPJ6EIJhgUAAAmHBQAAAAAAAAoBiAUAAHIAAAAAAAAAAAAAAAGJBQAAcgAAAAAAAAAAAAAAAAAAAAGKBQAAFQAAAAAAAAAAAAAAAAAAAAAAAACkAQAA/////wEBCgmLBQAAAQAKAAcrBAAAAAEAAAACAAAABBpBcGxvcmlzLkJhc2UuVUkuVmlzdWFsTGluZQMAAAAKCgcsBAAAAAEAAAADAAAABBVTeXN0ZW0uRHJhd2luZy5Qb2ludEYEAAAAAYwFAAAhAAAA6TuXQ+InNkMBjQUAACEAAAA97YlD4ic2QwGOBQAAIQAAAJWKpEPiJzZDBy0EAAAAAQAAAAMAAAAEF0FwbG9yaXMuQmFzZS5BbmNob3JNb2RlAwAAAAGPBQAAoAAAAAAAAAABkAUAAKAAAAACAAAAAZEFAACgAAAABAAAAAEuBAAAJQAAAAlXBQAAAAAAAAAAAAABLwQAACYAAAAJkgUAAAIAAAACAAAAATAEAAAyAQAAClgCAAABkwUAAKUBAAACAAAAAZQFAACmAQAAAQAAAAGVBQAAFQAAAMq1skMkj9ZCwOokQqoZ60IBlgUAAKgBAAAAAAAAAACgQAABlwUAACEAAAB2BL1D/A0mQwGYBQAAoAAAAAAAAAAAAAAAAAAAAAAJmQUAAAAAAAAJmgUAAAAAAZsFAACpAAAAAAAAAAGcBQAAcgAAAAAAuEEAAEBBAZ0FAAAVAAAAiy63Q7roIEM0Fr9Bo4suQRKDvj8GngUAAAMzMCUKCZ8FAAAJsQEAADQDAAD/////AQEKCaAFAAABAAoBATEEAAAcAAAAAaEFAAAhAAAAyjWxQ2fUY0MBogUAACEAAAAi08hDJI/QQgmjBQAACaQFAAAAAAAACgGlBQAAcgAAAAAAAAAAAAAAAaYFAAByAAAAAAAAAAAAAAAAAAAAAacFAAAVAAAAAAAAAAAAAAAAAAAAAAAAAKQBAAD/////AQEKCagFAAABAAoABzIEAAAAAQAAAAIAAAAEGkFwbG9yaXMuQmFzZS5VSS5WaXN1YWxMaW5lAwAAAAoKBzMEAAAAAQAAAAMAAAAEFVN5c3RlbS5EcmF3aW5nLlBvaW50RgQAAAABqQUAACEAAAB2BL1D/A0mQwGqBQAAIQAAAMq1r0P8DSZDAasFAAAhAAAAIlPKQ/wNJkMHNAQAAAABAAAAAwAAAAQXQXBsb3Jpcy5CYXNlLkFuY2hvck1vZGUDAAAAAawFAACgAAAAAAAAAAGtBQAAoAAAAAIAAAABrgUAAKAAAAAEAAAAATUEAAAlAAAACVcFAAAAAAAAAAAAAAE2BAAAJgAAAAmvBQAAAgAAAAIAAAABNwQAADIBAAAKWAIAAAGwBQAApQEAAAIAAAABsQUAAKYBAAABAAAAAbIFAAAVAAAAVn7YQ16mVULA6iRCHC4rQwGzBQAAqAEAAAAAAAAAAKBAAAG0BQAAIQAAAALN4kOmAAtDAbUFAACgAAAAAAAAAAAAAAAAAAAAAAm2BQAAAAAAAAm3BQAAAAABuAUAAKkAAAAAAAAAAbkFAAByAAAAAAC4QQAAQEEBugUAABUAAAC66NxD6aIFQzQWv0Gjiy5BEoO+Pwa7BQAAAzQyJQoJvAUAAAmxAQAANAMAAP////8BAQoJvQUAAAEACgEBOAQAABwAAAABvgUAACEAAABW/tZDtJdjQwG/BQAAIQAAAK6b7kNepklCCcAFAAAJwQUAAAAAAAAKAcIFAAByAAAAAAAAAAAAAAABwwUAAHIAAAAAAAAAAAAAAAAAAAABxAUAABUAAAAAAAAAAAAAAAAAAAAAAAAApAEAAP////8BAQoJxQUAAAEACgAHOQQAAAABAAAAAgAAAAQaQXBsb3Jpcy5CYXNlLlVJLlZpc3VhbExpbmUDAAAACgoHOgQAAAABAAAAAwAAAAQVU3lzdGVtLkRyYXdpbmcuUG9pbnRGBAAAAAHGBQAAIQAAAALN4kOmAAtDAccFAAAhAAAAVn7VQ6YAC0MByAUAACEAAACuG/BDpgALQwc7BAAAAAEAAAADAAAABBdBcGxvcmlzLkJhc2UuQW5jaG9yTW9kZQMAAAAByQUAAKAAAAAAAAAAAcoFAACgAAAAAgAAAAHLBQAAoAAAAAQAAAABPAQAACUAAAAJ5AEAAAAAAAAAAAAAAT0EAAAmAAAACcwFAAACAAAAAgAAAAE+BAAAMgEAAApYAgAAAc0FAAClAQAAAgAAAAHOBQAApgEAAAEAAAABzwUAABUAAADiRv5D4mcyQ8DqJEJMPdJCAdAFAACoAQAAAAAAAAAAoEAAAdEFAAAhAAAAx0oERDX3ZkMB0gUAAKAAAAAAAAAAAAAAAAAAAAAACdMFAAAAAAAACdQFAAAAAAHVBQAAqQAAAAAAAAAB1gUAAHIAAAAAALhBAABAQQHXBQAAFQAAAHRRAURddGFDNBa/QaOLLkESg74/BtgFAAADMjclCgnZBQAACbEBAAA0AwAA/////wEBCgnaBQAAAQAKAQE/BAAAHAAAAAHbBQAAIQAAAOLG/ENEQ49DAdwFAAAhAAAAHTIKROJnL0MJ3QUAAAneBQAAAAAAAAoB3wUAAHIAAAAAAAAAAAAAAAHgBQAAcgAAAAAAAAAAAAAAAAAAAAHhBQAAFQAAAAAAAAAAAAAAAAAAAAAAAACkAQAA/////wEBCgniBQAAAQAKAAdABAAAAAEAAAACAAAABBpBcGxvcmlzLkJhc2UuVUkuVmlzdWFsTGluZQMAAAAKCgdBBAAAAAEAAAADAAAABBVTeXN0ZW0uRHJhd2luZy5Qb2ludEYEAAAAAeMFAAAhAAAAx0oERDX3ZkMB5AUAACEAAADiRvtDNfdmQwHlBQAAIQAAAB3yCkQ192ZDB0IEAAAAAQAAAAMAAAAEF0FwbG9yaXMuQmFzZS5BbmNob3JNb2RlAwAAAAHmBQAAoAAAAAAAAAAB5wUAAKAAAAACAAAAAegFAACgAAAABAAAAAFDBAAAJQAAAAnkAQAAAAAAAAAAAAABRAQAACYAAAAJ6QUAAAIAAAACAAAAAUUEAAAyAQAAClgCAAAB6gUAAKUBAAACAAAAAesFAACmAQAAAQAAAAHsBQAAFQAAALcHEkRIHRxDwOokQvwU1EIB7QUAAKgBAAAAAAAAAACgQAAB7gUAACEAAAANLxdEhyJRQwHvBQAAoAAAAAAAAAAAAAAAAAAAAAAJ8AUAAAAAAAAJ8QUAAAAAAfIFAACpAAAAAAAAAAHzBQAAcgAAAAAAuEEAAEBBAfQFAAAVAAAAiy4UROiiS0M0Fr9Bo4suQRKDvj8G9QUAAAMyNyUKCfYFAAAJsQEAADQDAAD/////AQEKCfcFAAABAAoBAUYEAAAcAAAAAfgFAAAhAAAAt0cRROOThEMB+QUAACEAAABjFh1ESB0ZQwn6BQAACfsFAAAAAAAACgH8BQAAcgAAAAAAAAAAAAAAAf0FAAByAAAAAAAAAAAAAAAAAAAAAf4FAAAVAAAAAAAAAAAAAAAAAAAAAAAAAKQBAAD/////AQEKCf8FAAABAAoAB0cEAAAAAQAAAAIAAAAEGkFwbG9yaXMuQmFzZS5VSS5WaXN1YWxMaW5lAwAAAAoKB0gEAAAAAQAAAAMAAAAEFVN5c3RlbS5EcmF3aW5nLlBvaW50RgQAAAABAAYAACEAAAANLxdEhyJRQwEBBgAAIQAAALeHEESHIlFDAQIGAAAhAAAAY9YdRIciUUMHSQQAAAABAAAAAwAAAAQXQXBsb3Jpcy5CYXNlLkFuY2hvck1vZGUDAAAAAQMGAACgAAAAAAAAAAEEBgAAoAAAAAIAAAABBQYAAKAAAAAEAAAAAUoEAAAlAAAACeQBAAAAAAAAAAAAAAFLBAAAJgAAAAkGBgAAAgAAAAIAAAABdgQAACMAAAAKCgAAAAAAKEEJdgAAAAl3AAAACQcGAAAAAAkIBgAAAXcEAAB4AAAACgoAAAAAP2l+AAUAAAAAAQF8BAAArQAAAAkJBgAAAQAAAAMAAAABfQQAAHUAAAAJCgYAAAoBgAQAAHAAAAAKCgAAAEA/CQsGAAAJDAYAAAEAAAD+////AAAAAAEAAAAAAAAAAAAAAAEAAAAAAAAAAAAAAYEEAABxAAAACgoJDQYAAAkOBgAAAQAAAP7///8AAAAA/////wEAAYUEAAB1AAAACQ8GAAAKB4wEAAAAAQAAAAQAAAAEHEFwbG9yaXMuQmFzZS5VSS5WaXN1YWxPYmplY3QDAAAACesDAAAJ6gMAAAoKAZMEAAAjAAAACgoAAAAAAChBCXYAAAAJdwAAAAkQBgAAAAAJEQYAAAGUBAAAeAAAAAoKAAAAAD9pfgAFAAAAAAEBmQQAAK0AAAAJEgYAAAEAAAADAAAAAZoEAAB1AAAACRMGAAAKAZ0EAABwAAAACgoAAABAPwkUBgAACRUGAAABAAAA/v///wAAAAABAAAAAAAAAAAAAAABAAAAAAAAAAAAAAGeBAAAcQAAAAoKCRYGAAAJFwYAAAEAAAD+////AAAAAP////8BAAGiBAAAdQAAAAkYBgAACgepBAAAAAEAAAAEAAAABBxBcGxvcmlzLkJhc2UuVUkuVmlzdWFsT2JqZWN0AwAAAAnyAwAACfEDAAAKCgGwBAAAIwAAAAoKAAAAAAAoQQl2AAAACXcAAAAJGQYAAAAACRoGAAABsQQAAHgAAAAKCgAAAAA/aX4ABQAAAAABAbYEAACtAAAACRsGAAABAAAAAwAAAAG3BAAAdQAAAAkcBgAACgG6BAAAcAAAAAoKAAAAQD8JHQYAAAkeBgAAAQAAAP7///8AAAAAAQAAAAAAAAAAAAAAAQAAAAAAAAAAAAABuwQAAHEAAAAKCgkfBgAACSAGAAABAAAA/v///wAAAAD/////AQABvwQAAHUAAAAJIQYAAAoHxgQAAAABAAAABAAAAAQcQXBsb3Jpcy5CYXNlLlVJLlZpc3VhbE9iamVjdAMAAAAJ+QMAAAn4AwAACgoBzQQAACMAAAAKCgAAAAAAKEEJdgAAAAl3AAAACSIGAAAAAAkjBgAAAc4EAAB4AAAACgoAAAAAP2l+AAUAAAAAAQHTBAAArQAAAAkkBgAAAQAAAAMAAAAB1AQAAHUAAAAJJQYAAAoB1wQAAHAAAAAKCgAAAEA/CSYGAAAJJwYAAAEAAAD+////AAAAAAEAAAAAAAAAAAAAAAEAAAAAAAAAAAAAAdgEAABxAAAACgoJKAYAAAkpBgAAAQAAAP7///8AAAAA/////wEAAdwEAAB1AAAACSoGAAAKB+MEAAAAAQAAAAQAAAAEHEFwbG9yaXMuQmFzZS5VSS5WaXN1YWxPYmplY3QDAAAACQAEAAAJ/wMAAAoKAeoEAAAjAAAACgoAAAAAAChBCXYAAAAJdwAAAAkrBgAAAAAJLAYAAAHrBAAAeAAAAAoKAAAAAD9pfgAFAAAAAAEB8AQAAK0AAAAJLQYAAAEAAAADAAAAAfEEAAB1AAAACS4GAAAKAfQEAABwAAAACgoAAABAPwkvBgAACTAGAAABAAAA/v///wAAAAABAAAAAAAAAAAAAAABAAAAAAAAAAAAAAH1BAAAcQAAAAoKCTEGAAAJMgYAAAEAAAD+////AAAAAP////8BAAH5BAAAdQAAAAkzBgAACgcABQAAAAEAAAAEAAAABBxBcGxvcmlzLkJhc2UuVUkuVmlzdWFsT2JqZWN0AwAAAAkHBAAACQYEAAAKCgEHBQAAIwAAAAoKAAAAAAAoQQl2AAAACXcAAAAJNAYAAAAACTUGAAABCAUAAHgAAAAKCgAAAAA/aX4ABQAAAAABAQ0FAACtAAAACTYGAAABAAAAAwAAAAEOBQAAdQAAAAk3BgAACgERBQAAcAAAAAoKAAAAQD8JOAYAAAk5BgAAAQAAAP7///8AAAAAAQAAAAAAAAAAAAAAAQAAAAAAAAAAAAABEgUAAHEAAAAKCgk6BgAACTsGAAABAAAA/v///wAAAAD/////AQABFgUAAHUAAAAJPAYAAAoHHQUAAAABAAAABAAAAAQcQXBsb3Jpcy5CYXNlLlVJLlZpc3VhbE9iamVjdAMAAAAJDgQAAAkNBAAACgoBJAUAACMAAAAKCgAAAAAAKEEJdgAAAAl3AAAACT0GAAAAAAk+BgAAASUFAAB4AAAACgoAAAAAP2l+AAUAAAAAAQEqBQAArQAAAAk/BgAAAQAAAAMAAAABKwUAAHUAAAAJQAYAAAoBLgUAAHAAAAAKCgAAAEA/CUEGAAAJQgYAAAEAAAD+////AAAAAAEAAAAAAAAAAAAAAAEAAAAAAAAAAAAAAS8FAABxAAAACgoJQwYAAAlEBgAAAQAAAP7///8AAAAA/////wEAATMFAAB1AAAACUUGAAAKBzoFAAAAAQAAAAQAAAAEHEFwbG9yaXMuQmFzZS5VSS5WaXN1YWxPYmplY3QDAAAACRUEAAAJFAQAAAoKAUEFAAAjAAAACgoAAAAAAChBCXYAAAAJdwAAAAlGBgAAAAAJRwYAAAFCBQAAeAAAAAoKAAAAAHKEjAAGAAAAAAEBRwUAAK0AAAAJSAYAAAEAAAADAAAAAUgFAAB1AAAACUkGAAAKAUsFAABwAAAACgoAAABAPwlKBgAACUsGAAABAAAA/v///wAAAAABAAAAAAAAAAAAAAABAAAAAAAAAAAAAAFMBQAAcQAAAAoKCUwGAAAJTQYAAAEAAAD+////AAAAAP////8BAAFQBQAAdQAAAAlOBgAACgdXBQAAAAEAAAAAAAAABB9BcGxvcmlzLkJhc2UuT2JqZWN0cy5EYXRhT2JqZWN0AwAAAAdYBQAAAAEAAAAEAAAABBxBcGxvcmlzLkJhc2UuVUkuVmlzdWFsT2JqZWN0AwAAAAkcBAAACRsEAAAKCgFfBQAAIwAAAAoKAAAAAAAoQQl2AAAACXcAAAAJTwYAAAAACVAGAAABYAUAAHgAAAAKCgAAAAByhIwABgAAAAABAWUFAACtAAAACVEGAAABAAAAAwAAAAFmBQAAdQAAAAlSBgAACgFpBQAAcAAAAAoKAAAAQD8JUwYAAAlUBgAAAQAAAP7///8AAAAAAQAAAAAAAAAAAAAAAQAAAAAAAAAAAAABagUAAHEAAAAKCglVBgAACVYGAAABAAAA/v///wAAAAD/////AQABbgUAAHUAAAAJVwYAAAoHdQUAAAABAAAABAAAAAQcQXBsb3Jpcy5CYXNlLlVJLlZpc3VhbE9iamVjdAMAAAAJIwQAAAkiBAAACgoBfAUAACMAAAAKCgAAAAAAKEEJdgAAAAl3AAAACVgGAAAAAAlZBgAAAX0FAAB4AAAACgoAAAAAcoSMAAYAAAAAAQGCBQAArQAAAAlaBgAAAQAAAAMAAAABgwUAAHUAAAAJWwYAAAoBhgUAAHAAAAAKCgAAAEA/CVwGAAAJXQYAAAEAAAD+////AAAAAAEAAAAAAAAAAAAAAAEAAAAAAAAAAAAAAYcFAABxAAAACgoJXgYAAAlfBgAAAQAAAP7///8AAAAA/////wEAAYsFAAB1AAAACWAGAAAKB5IFAAAAAQAAAAQAAAAEHEFwbG9yaXMuQmFzZS5VSS5WaXN1YWxPYmplY3QDAAAACSoEAAAJKQQAAAoKAZkFAAAjAAAACgoAAAAAAChBCXYAAAAJdwAAAAlhBgAAAAAJYgYAAAGaBQAAeAAAAAoKAAAAAHKEjAAGAAAAAAEBnwUAAK0AAAAJYwYAAAEAAAADAAAAAaAFAAB1AAAACWQGAAAKAaMFAABwAAAACgoAAABAPwllBgAACWYGAAABAAAA/v///wAAAAABAAAAAAAAAAAAAAABAAAAAAAAAAAAAAGkBQAAcQAAAAoKCWcGAAAJaAYAAAEAAAD+////AAAAAP////8BAAGoBQAAdQAAAAlpBgAACgevBQAAAAEAAAAEAAAABBxBcGxvcmlzLkJhc2UuVUkuVmlzdWFsT2JqZWN0AwAAAAkxBAAACTAEAAAKCgG2BQAAIwAAAAoKAAAAAAAoQQl2AAAACXcAAAAJagYAAAAACWsGAAABtwUAAHgAAAAKCgAAAAByhIwABgAAAAABAbwFAACtAAAACWwGAAABAAAAAwAAAAG9BQAAdQAAAAltBgAACgHABQAAcAAAAAoKAAAAQD8JbgYAAAlvBgAAAQAAAP7///8AAAAAAQAAAAAAAAAAAAAAAQAAAAAAAAAAAAABwQUAAHEAAAAKCglwBgAACXEGAAABAAAA/v///wAAAAD/////AQABxQUAAHUAAAAJcgYAAAoHzAUAAAABAAAABAAAAAQcQXBsb3Jpcy5CYXNlLlVJLlZpc3VhbE9iamVjdAMAAAAJOAQAAAk3BAAACgoB0wUAACMAAAAKCgAAAAAAKEEJdgAAAAl3AAAACXMGAAAAAAl0BgAAAdQFAAB4AAAACgoAAAAAcoSMAAYAAAAAAQHZBQAArQAAAAl1BgAAAQAAAAMAAAAB2gUAAHUAAAAJdgYAAAoB3QUAAHAAAAAKCgAAAEA/CXcGAAAJeAYAAAEAAAD+////AAAAAAEAAAAAAAAAAAAAAAEAAAAAAAAAAAAAAd4FAABxAAAACgoJeQYAAAl6BgAAAQAAAP7///8AAAAA/////wEAAeIFAAB1AAAACXsGAAAKB+kFAAAAAQAAAAQAAAAEHEFwbG9yaXMuQmFzZS5VSS5WaXN1YWxPYmplY3QDAAAACT8EAAAJPgQAAAoKAfAFAAAjAAAACgoAAAAAAChBCXYAAAAJdwAAAAl8BgAAAAAJfQYAAAHxBQAAeAAAAAoKAAAAAHKEjAAGAAAAAAEB9gUAAK0AAAAJfgYAAAEAAAADAAAAAfcFAAB1AAAACX8GAAAKAfoFAABwAAAACgoAAABAPwmABgAACYEGAAABAAAA/v///wAAAAABAAAAAAAAAAAAAAABAAAAAAAAAAAAAAH7BQAAcQAAAAoKCYIGAAAJgwYAAAEAAAD+////AAAAAP////8BAAH/BQAAdQAAAAmEBgAACgcGBgAAAAEAAAAEAAAABBxBcGxvcmlzLkJhc2UuVUkuVmlzdWFsT2JqZWN0AwAAAAlGBAAACUUEAAAKCgEHBgAAeAAAAAoKAAAAAP///wAOAAAAAAABCAYAAHgAAAAKCgAAAAD///8ADgAAAAABBwkGAAAAAQAAAAQAAAAEHUFwbG9yaXMuQmFzZS5PYmplY3RzLlZhcmlhYmxlAwAAAAGFBgAAcQMAAAEAAAAAAAAAAYYGAABxAwAAAAAAAAAAAAABhwYAAHEDAAAAAAAAAAAAAAGIBgAAcQMAAAAAAAAAAAAADwoGAAABAAAACNcBAAAFCwYAABpBcGxvcmlzLkJhc2UuT2JqZWN0cy5Db2xvcgcAAAASRGF0YU9iamVjdCttUGFyZW50FURhdGFPYmplY3QrbUNvbnRhaW5lcgVtVHlwZQRtUkdCEG1UaGVtZUNvbG9ySW5kZXgMbUF1dG9VcGRhdGVkCW1Nb2RpZmllZAQCAAAAAAAfQXBsb3Jpcy5CYXNlLk9iamVjdHMuTGluZUZvcm1hdAMAAAAICAgBAQMAAAAJgAQAAAoAAAAA////AA4AAAAAAAUMBgAAGkFwbG9yaXMuQmFzZS5PYmplY3RzLkNvbG9yBwAAABJEYXRhT2JqZWN0K21QYXJlbnQVRGF0YU9iamVjdCttQ29udGFpbmVyBW1UeXBlBG1SR0IQbVRoZW1lQ29sb3JJbmRleAxtQXV0b1VwZGF0ZWQJbU1vZGlmaWVkBAIAAAAAAB9BcGxvcmlzLkJhc2UuT2JqZWN0cy5MaW5lRm9ybWF0AwAAAAgICAEBAwAAAAmABAAACgEAAAAAAAAA/////wABAQ0GAAB4AAAACgoAAAAAP2l+AAUAAAAAAAEOBgAAeAAAAAoKAQAAAP///wD/////AAAPDwYAAAEAAAAIwwEAAAEQBgAAeAAAAAoKAAAAAP///wAOAAAAAAABEQYAAHgAAAAKCgAAAAD///8ADgAAAAABBxIGAAAAAQAAAAQAAAAEHUFwbG9yaXMuQmFzZS5PYmplY3RzLlZhcmlhYmxlAwAAAAGJBgAAcQMAAAEAAAAAAAAAAYoGAABxAwAAAAAAAAAAAAABiwYAAHEDAAAAAAAAAAAAAAGMBgAAcQMAAAAAAAAAAAAADxMGAAABAAAACFcBAAAFFAYAABpBcGxvcmlzLkJhc2UuT2JqZWN0cy5Db2xvcgcAAAASRGF0YU9iamVjdCttUGFyZW50FURhdGFPYmplY3QrbUNvbnRhaW5lcgVtVHlwZQRtUkdCEG1UaGVtZUNvbG9ySW5kZXgMbUF1dG9VcGRhdGVkCW1Nb2RpZmllZAQCAAAAAAAfQXBsb3Jpcy5CYXNlLk9iamVjdHMuTGluZUZvcm1hdAMAAAAICAgBAQMAAAAJnQQAAAoAAAAA////AA4AAAAAAAUVBgAAGkFwbG9yaXMuQmFzZS5PYmplY3RzLkNvbG9yBwAAABJEYXRhT2JqZWN0K21QYXJlbnQVRGF0YU9iamVjdCttQ29udGFpbmVyBW1UeXBlBG1SR0IQbVRoZW1lQ29sb3JJbmRleAxtQXV0b1VwZGF0ZWQJbU1vZGlmaWVkBAIAAAAAAB9BcGxvcmlzLkJhc2UuT2JqZWN0cy5MaW5lRm9ybWF0AwAAAAgICAEBAwAAAAmdBAAACgEAAAAAAAAA/////wABARYGAAB4AAAACgoAAAAAP2l+AAUAAAAAAAEXBgAAeAAAAAoKAQAAAP///wD/////AAAPGAYAAAEAAAAIOwEAAAEZBgAAeAAAAAoKAAAAAP///wAOAAAAAAABGgYAAHgAAAAKCgAAAAD///8ADgAAAAABBxsGAAAAAQAAAAQAAAAEHUFwbG9yaXMuQmFzZS5PYmplY3RzLlZhcmlhYmxlAwAAAAGNBgAAcQMAAAEAAAAAAAAAAY4GAABxAwAAAAAAAAAAAAABjwYAAHEDAAAAAAAAAAAAAAGQBgAAcQMAAAAAAAAAAAAADxwGAAABAAAACGcBAAAFHQYAABpBcGxvcmlzLkJhc2UuT2JqZWN0cy5Db2xvcgcAAAASRGF0YU9iamVjdCttUGFyZW50FURhdGFPYmplY3QrbUNvbnRhaW5lcgVtVHlwZQRtUkdCEG1UaGVtZUNvbG9ySW5kZXgMbUF1dG9VcGRhdGVkCW1Nb2RpZmllZAQCAAAAAAAfQXBsb3Jpcy5CYXNlLk9iamVjdHMuTGluZUZvcm1hdAMAAAAICAgBAQMAAAAJugQAAAoAAAAA////AA4AAAAAAAUeBgAAGkFwbG9yaXMuQmFzZS5PYmplY3RzLkNvbG9yBwAAABJEYXRhT2JqZWN0K21QYXJlbnQVRGF0YU9iamVjdCttQ29udGFpbmVyBW1UeXBlBG1SR0IQbVRoZW1lQ29sb3JJbmRleAxtQXV0b1VwZGF0ZWQJbU1vZGlmaWVkBAIAAAAAAB9BcGxvcmlzLkJhc2UuT2JqZWN0cy5MaW5lRm9ybWF0AwAAAAgICAEBAwAAAAm6BAAACgEAAAAAAAAA/////wABAR8GAAB4AAAACgoAAAAAP2l+AAUAAAAAAAEgBgAAeAAAAAoKAQAAAP///wD/////AAAPIQYAAAEAAAAIPgEAAAEiBgAAeAAAAAoKAAAAAP///wAOAAAAAAABIwYAAHgAAAAKCgAAAAD///8ADgAAAAABByQGAAAAAQAAAAQAAAAEHUFwbG9yaXMuQmFzZS5PYmplY3RzLlZhcmlhYmxlAwAAAAGRBgAAcQMAAAEAAAAAAAAAAZIGAABxAwAAAAAAAAAAAAABkwYAAHEDAAAAAAAAAAAAAAGUBgAAcQMAAAAAAAAAAAAADyUGAAABAAAACGgBAAAFJgYAABpBcGxvcmlzLkJhc2UuT2JqZWN0cy5Db2xvcgcAAAASRGF0YU9iamVjdCttUGFyZW50FURhdGFPYmplY3QrbUNvbnRhaW5lcgVtVHlwZQRtUkdCEG1UaGVtZUNvbG9ySW5kZXgMbUF1dG9VcGRhdGVkCW1Nb2RpZmllZAQCAAAAAAAfQXBsb3Jpcy5CYXNlLk9iamVjdHMuTGluZUZvcm1hdAMAAAAICAgBAQMAAAAJ1wQAAAoAAAAA////AA4AAAAAAAUnBgAAGkFwbG9yaXMuQmFzZS5PYmplY3RzLkNvbG9yBwAAABJEYXRhT2JqZWN0K21QYXJlbnQVRGF0YU9iamVjdCttQ29udGFpbmVyBW1UeXBlBG1SR0IQbVRoZW1lQ29sb3JJbmRleAxtQXV0b1VwZGF0ZWQJbU1vZGlmaWVkBAIAAAAAAB9BcGxvcmlzLkJhc2UuT2JqZWN0cy5MaW5lRm9ybWF0AwAAAAgICAEBAwAAAAnXBAAACgEAAAAAAAAA/////wABASgGAAB4AAAACgoAAAAAP2l+AAUAAAAAAAEpBgAAeAAAAAoKAQAAAP///wD/////AAAPKgYAAAEAAAAINwEAAAErBgAAeAAAAAoKAAAAAP///wAOAAAAAAABLAYAAHgAAAAKCgAAAAD///8ADgAAAAABBy0GAAAAAQAAAAQAAAAEHUFwbG9yaXMuQmFzZS5PYmplY3RzLlZhcmlhYmxlAwAAAAGVBgAAcQMAAAEAAAAAAAAAAZYGAABxAwAAAAAAAAAAAAABlwYAAHEDAAAAAAAAAAAAAAGYBgAAcQMAAAAAAAAAAAAADy4GAAABAAAACFMBAAAFLwYAABpBcGxvcmlzLkJhc2UuT2JqZWN0cy5Db2xvcgcAAAASRGF0YU9iamVjdCttUGFyZW50FURhdGFPYmplY3QrbUNvbnRhaW5lcgVtVHlwZQRtUkdCEG1UaGVtZUNvbG9ySW5kZXgMbUF1dG9VcGRhdGVkCW1Nb2RpZmllZAQCAAAAAAAfQXBsb3Jpcy5CYXNlLk9iamVjdHMuTGluZUZvcm1hdAMAAAAICAgBAQMAAAAJ9AQAAAoAAAAA////AA4AAAAAAAUwBgAAGkFwbG9yaXMuQmFzZS5PYmplY3RzLkNvbG9yBwAAABJEYXRhT2JqZWN0K21QYXJlbnQVRGF0YU9iamVjdCttQ29udGFpbmVyBW1UeXBlBG1SR0IQbVRoZW1lQ29sb3JJbmRleAxtQXV0b1VwZGF0ZWQJbU1vZGlmaWVkBAIAAAAAAB9BcGxvcmlzLkJhc2UuT2JqZWN0cy5MaW5lRm9ybWF0AwAAAAgICAEBAwAAAAn0BAAACgEAAAAAAAAA/////wABATEGAAB4AAAACgoAAAAAP2l+AAUAAAAAAAEyBgAAeAAAAAoKAQAAAP///wD/////AAAPMwYAAAEAAAAIOQEAAAE0BgAAeAAAAAoKAAAAAP///wAOAAAAAAABNQYAAHgAAAAKCgAAAAD///8ADgAAAAABBzYGAAAAAQAAAAQAAAAEHUFwbG9yaXMuQmFzZS5PYmplY3RzLlZhcmlhYmxlAwAAAAGZBgAAcQMAAAEAAAAAAAAAAZoGAABxAwAAAAAAAAAAAAABmwYAAHEDAAAAAAAAAAAAAAGcBgAAcQMAAAAAAAAAAAAADzcGAAABAAAACGEBAAAFOAYAABpBcGxvcmlzLkJhc2UuT2JqZWN0cy5Db2xvcgcAAAASRGF0YU9iamVjdCttUGFyZW50FURhdGFPYmplY3QrbUNvbnRhaW5lcgVtVHlwZQRtUkdCEG1UaGVtZUNvbG9ySW5kZXgMbUF1dG9VcGRhdGVkCW1Nb2RpZmllZAQCAAAAAAAfQXBsb3Jpcy5CYXNlLk9iamVjdHMuTGluZUZvcm1hdAMAAAAICAgBAQMAAAAJEQUAAAoAAAAA////AA4AAAAAAAU5BgAAGkFwbG9yaXMuQmFzZS5PYmplY3RzLkNvbG9yBwAAABJEYXRhT2JqZWN0K21QYXJlbnQVRGF0YU9iamVjdCttQ29udGFpbmVyBW1UeXBlBG1SR0IQbVRoZW1lQ29sb3JJbmRleAxtQXV0b1VwZGF0ZWQJbU1vZGlmaWVkBAIAAAAAAB9BcGxvcmlzLkJhc2UuT2JqZWN0cy5MaW5lRm9ybWF0AwAAAAgICAEBAwAAAAkRBQAACgEAAAAAAAAA/////wABAToGAAB4AAAACgoAAAAAP2l+AAUAAAAAAAE7BgAAeAAAAAoKAQAAAP///wD/////AAAPPAYAAAEAAAAIOgEAAAE9BgAAeAAAAAoKAAAAAP///wAOAAAAAAABPgYAAHgAAAAKCgAAAAD///8ADgAAAAABBz8GAAAAAQAAAAQAAAAEHUFwbG9yaXMuQmFzZS5PYmplY3RzLlZhcmlhYmxlAwAAAAGdBgAAcQMAAAEAAAAAAAAAAZ4GAABxAwAAAAAAAAAAAAABnwYAAHEDAAAAAAAAAAAAAAGgBgAAcQMAAAAAAAAAAAAAD0AGAAABAAAACF0BAAAFQQYAABpBcGxvcmlzLkJhc2UuT2JqZWN0cy5Db2xvcgcAAAASRGF0YU9iamVjdCttUGFyZW50FURhdGFPYmplY3QrbUNvbnRhaW5lcgVtVHlwZQRtUkdCEG1UaGVtZUNvbG9ySW5kZXgMbUF1dG9VcGRhdGVkCW1Nb2RpZmllZAQCAAAAAAAfQXBsb3Jpcy5CYXNlLk9iamVjdHMuTGluZUZvcm1hdAMAAAAICAgBAQMAAAAJLgUAAAoAAAAA////AA4AAAAAAAVCBgAAGkFwbG9yaXMuQmFzZS5PYmplY3RzLkNvbG9yBwAAABJEYXRhT2JqZWN0K21QYXJlbnQVRGF0YU9iamVjdCttQ29udGFpbmVyBW1UeXBlBG1SR0IQbVRoZW1lQ29sb3JJbmRleAxtQXV0b1VwZGF0ZWQJbU1vZGlmaWVkBAIAAAAAAB9BcGxvcmlzLkJhc2UuT2JqZWN0cy5MaW5lRm9ybWF0AwAAAAgICAEBAwAAAAkuBQAACgEAAAAAAAAA/////wABAUMGAAB4AAAACgoAAAAAP2l+AAUAAAAAAAFEBgAAeAAAAAoKAQAAAP///wD/////AAAPRQYAAAEAAAAIPAEAAAFGBgAAeAAAAAoKAAAAAP///wAOAAAAAAABRwYAAHgAAAAKCgAAAAD///8ADgAAAAABB0gGAAAAAQAAAAQAAAAEHUFwbG9yaXMuQmFzZS5PYmplY3RzLlZhcmlhYmxlAwAAAAGhBgAAcQMAAAEAAAAAAAAAAaIGAABxAwAAAAAAAAAAAAABowYAAHEDAAAAAAAAAAAAAAGkBgAAcQMAAAAAAAAAAAAAD0kGAAABAAAACNUBAAAFSgYAABpBcGxvcmlzLkJhc2UuT2JqZWN0cy5Db2xvcgcAAAASRGF0YU9iamVjdCttUGFyZW50FURhdGFPYmplY3QrbUNvbnRhaW5lcgVtVHlwZQRtUkdCEG1UaGVtZUNvbG9ySW5kZXgMbUF1dG9VcGRhdGVkCW1Nb2RpZmllZAQCAAAAAAAfQXBsb3Jpcy5CYXNlLk9iamVjdHMuTGluZUZvcm1hdAMAAAAICAgBAQMAAAAJSwUAAAoAAAAA////AA4AAAAAAAVLBgAAGkFwbG9yaXMuQmFzZS5PYmplY3RzLkNvbG9yBwAAABJEYXRhT2JqZWN0K21QYXJlbnQVRGF0YU9iamVjdCttQ29udGFpbmVyBW1UeXBlBG1SR0IQbVRoZW1lQ29sb3JJbmRleAxtQXV0b1VwZGF0ZWQJbU1vZGlmaWVkBAIAAAAAAB9BcGxvcmlzLkJhc2UuT2JqZWN0cy5MaW5lRm9ybWF0AwAAAAgICAEBAwAAAAlLBQAACgEAAAAAAAAA/////wABAUwGAAB4AAAACgoAAAAAcoSMAAYAAAAAAAFNBgAAeAAAAAoKAQAAAP///wD/////AAAPTgYAAAEAAAAIvwEAAAFPBgAAeAAAAAoKAAAAAP///wAOAAAAAAABUAYAAHgAAAAKCgAAAAD///8ADgAAAAABB1EGAAAAAQAAAAQAAAAEHUFwbG9yaXMuQmFzZS5PYmplY3RzLlZhcmlhYmxlAwAAAAGlBgAAcQMAAAEAAAAAAAAAAaYGAABxAwAAAAAAAAAAAAABpwYAAHEDAAAAAAAAAAAAAAGoBgAAcQMAAAAAAAAAAAAAD1IGAAABAAAACGMBAAAFUwYAABpBcGxvcmlzLkJhc2UuT2JqZWN0cy5Db2xvcgcAAAASRGF0YU9iamVjdCttUGFyZW50FURhdGFPYmplY3QrbUNvbnRhaW5lcgVtVHlwZQRtUkdCEG1UaGVtZUNvbG9ySW5kZXgMbUF1dG9VcGRhdGVkCW1Nb2RpZmllZAQCAAAAAAAfQXBsb3Jpcy5CYXNlLk9iamVjdHMuTGluZUZvcm1hdAMAAAAICAgBAQMAAAAJaQUAAAoAAAAA////AA4AAAAAAAVUBgAAGkFwbG9yaXMuQmFzZS5PYmplY3RzLkNvbG9yBwAAABJEYXRhT2JqZWN0K21QYXJlbnQVRGF0YU9iamVjdCttQ29udGFpbmVyBW1UeXBlBG1SR0IQbVRoZW1lQ29sb3JJbmRleAxtQXV0b1VwZGF0ZWQJbU1vZGlmaWVkBAIAAAAAAB9BcGxvcmlzLkJhc2UuT2JqZWN0cy5MaW5lRm9ybWF0AwAAAAgICAEBAwAAAAlpBQAACgEAAAAAAAAA/////wABAVUGAAB4AAAACgoAAAAAcoSMAAYAAAAAAAFWBgAAeAAAAAoKAQAAAP///wD/////AAAPVwYAAAEAAAAIKwEAAAFYBgAAeAAAAAoKAAAAAP///wAOAAAAAAABWQYAAHgAAAAKCgAAAAD///8ADgAAAAABB1oGAAAAAQAAAAQAAAAEHUFwbG9yaXMuQmFzZS5PYmplY3RzLlZhcmlhYmxlAwAAAAGpBgAAcQMAAAEAAAAAAAAAAaoGAABxAwAAAAAAAAAAAAABqwYAAHEDAAAAAAAAAAAAAAGsBgAAcQMAAAAAAAAAAAAAD1sGAAABAAAACFwBAAAFXAYAABpBcGxvcmlzLkJhc2UuT2JqZWN0cy5Db2xvcgcAAAASRGF0YU9iamVjdCttUGFyZW50FURhdGFPYmplY3QrbUNvbnRhaW5lcgVtVHlwZQRtUkdCEG1UaGVtZUNvbG9ySW5kZXgMbUF1dG9VcGRhdGVkCW1Nb2RpZmllZAQCAAAAAAAfQXBsb3Jpcy5CYXNlLk9iamVjdHMuTGluZUZvcm1hdAMAAAAICAgBAQMAAAAJhgUAAAoAAAAA////AA4AAAAAAAVdBgAAGkFwbG9yaXMuQmFzZS5PYmplY3RzLkNvbG9yBwAAABJEYXRhT2JqZWN0K21QYXJlbnQVRGF0YU9iamVjdCttQ29udGFpbmVyBW1UeXBlBG1SR0IQbVRoZW1lQ29sb3JJbmRleAxtQXV0b1VwZGF0ZWQJbU1vZGlmaWVkBAIAAAAAAB9BcGxvcmlzLkJhc2UuT2JqZWN0cy5MaW5lRm9ybWF0AwAAAAgICAEBAwAAAAmGBQAACgEAAAAAAAAA/////wABAV4GAAB4AAAACgoAAAAAcoSMAAYAAAAAAAFfBgAAeAAAAAoKAQAAAP///wD/////AAAPYAYAAAEAAAAIKQEAAAFhBgAAeAAAAAoKAAAAAP///wAOAAAAAAABYgYAAHgAAAAKCgAAAAD///8ADgAAAAABB2MGAAAAAQAAAAQAAAAEHUFwbG9yaXMuQmFzZS5PYmplY3RzLlZhcmlhYmxlAwAAAAGtBgAAcQMAAAEAAAAAAAAAAa4GAABxAwAAAAAAAAAAAAABrwYAAHEDAAAAAAAAAAAAAAGwBgAAcQMAAAAAAAAAAAAAD2QGAAABAAAACF8BAAAFZQYAABpBcGxvcmlzLkJhc2UuT2JqZWN0cy5Db2xvcgcAAAASRGF0YU9iamVjdCttUGFyZW50FURhdGFPYmplY3QrbUNvbnRhaW5lcgVtVHlwZQRtUkdCEG1UaGVtZUNvbG9ySW5kZXgMbUF1dG9VcGRhdGVkCW1Nb2RpZmllZAQCAAAAAAAfQXBsb3Jpcy5CYXNlLk9iamVjdHMuTGluZUZvcm1hdAMAAAAICAgBAQMAAAAJowUAAAoAAAAA////AA4AAAAAAAVmBgAAGkFwbG9yaXMuQmFzZS5PYmplY3RzLkNvbG9yBwAAABJEYXRhT2JqZWN0K21QYXJlbnQVRGF0YU9iamVjdCttQ29udGFpbmVyBW1UeXBlBG1SR0IQbVRoZW1lQ29sb3JJbmRleAxtQXV0b1VwZGF0ZWQJbU1vZGlmaWVkBAIAAAAAAB9BcGxvcmlzLkJhc2UuT2JqZWN0cy5MaW5lRm9ybWF0AwAAAAgICAEBAwAAAAmjBQAACgEAAAAAAAAA/////wABAWcGAAB4AAAACgoAAAAAcoSMAAYAAAAAAAFoBgAAeAAAAAoKAQAAAP///wD/////AAAPaQYAAAEAAAAILAEAAAFqBgAAeAAAAAoKAAAAAP///wAOAAAAAAABawYAAHgAAAAKCgAAAAD///8ADgAAAAABB2wGAAAAAQAAAAQAAAAEHUFwbG9yaXMuQmFzZS5PYmplY3RzLlZhcmlhYmxlAwAAAAGxBgAAcQMAAAEAAAAAAAAAAbIGAABxAwAAAAAAAAAAAAABswYAAHEDAAAAAAAAAAAAAAG0BgAAcQMAAAAAAAAAAAAAD20GAAABAAAACGABAAAFbgYAABpBcGxvcmlzLkJhc2UuT2JqZWN0cy5Db2xvcgcAAAASRGF0YU9iamVjdCttUGFyZW50FURhdGFPYmplY3QrbUNvbnRhaW5lcgVtVHlwZQRtUkdCEG1UaGVtZUNvbG9ySW5kZXgMbUF1dG9VcGRhdGVkCW1Nb2RpZmllZAQCAAAAAAAfQXBsb3Jpcy5CYXNlLk9iamVjdHMuTGluZUZvcm1hdAMAAAAICAgBAQMAAAAJwAUAAAoAAAAA////AA4AAAAAAAVvBgAAGkFwbG9yaXMuQmFzZS5PYmplY3RzLkNvbG9yBwAAABJEYXRhT2JqZWN0K21QYXJlbnQVRGF0YU9iamVjdCttQ29udGFpbmVyBW1UeXBlBG1SR0IQbVRoZW1lQ29sb3JJbmRleAxtQXV0b1VwZGF0ZWQJbU1vZGlmaWVkBAIAAAAAAB9BcGxvcmlzLkJhc2UuT2JqZWN0cy5MaW5lRm9ybWF0AwAAAAgICAEBAwAAAAnABQAACgEAAAAAAAAA/////wABAXAGAAB4AAAACgoAAAAAcoSMAAYAAAAAAAFxBgAAeAAAAAoKAQAAAP///wD/////AAAPcgYAAAEAAAAIKAEAAAFzBgAAeAAAAAoKAAAAAP///wAOAAAAAAABdAYAAHgAAAAKCgAAAAD///8ADgAAAAABB3UGAAAAAQAAAAQAAAAEHUFwbG9yaXMuQmFzZS5PYmplY3RzLlZhcmlhYmxlAwAAAAG1BgAAcQMAAAEAAAAAAAAAAbYGAABxAwAAAAAAAAAAAAABtwYAAHEDAAAAAAAAAAAAAAG4BgAAcQMAAAAAAAAAAAAAD3YGAAABAAAACFYBAAAFdwYAABpBcGxvcmlzLkJhc2UuT2JqZWN0cy5Db2xvcgcAAAASRGF0YU9iamVjdCttUGFyZW50FURhdGFPYmplY3QrbUNvbnRhaW5lcgVtVHlwZQRtUkdCEG1UaGVtZUNvbG9ySW5kZXgMbUF1dG9VcGRhdGVkCW1Nb2RpZmllZAQCAAAAAAAfQXBsb3Jpcy5CYXNlLk9iamVjdHMuTGluZUZvcm1hdAMAAAAICAgBAQMAAAAJ3QUAAAoAAAAA////AA4AAAAAAAV4BgAAGkFwbG9yaXMuQmFzZS5PYmplY3RzLkNvbG9yBwAAABJEYXRhT2JqZWN0K21QYXJlbnQVRGF0YU9iamVjdCttQ29udGFpbmVyBW1UeXBlBG1SR0IQbVRoZW1lQ29sb3JJbmRleAxtQXV0b1VwZGF0ZWQJbU1vZGlmaWVkBAIAAAAAAB9BcGxvcmlzLkJhc2UuT2JqZWN0cy5MaW5lRm9ybWF0AwAAAAgICAEBAwAAAAndBQAACgEAAAAAAAAA/////wABAXkGAAB4AAAACgoAAAAAcoSMAAYAAAAAAAF6BgAAeAAAAAoKAQAAAP///wD/////AAAPewYAAAEAAAAIJQEAAAF8BgAAeAAAAAoKAAAAAP///wAOAAAAAAABfQYAAHgAAAAKCgAAAAD///8ADgAAAAABB34GAAAAAQAAAAQAAAAEHUFwbG9yaXMuQmFzZS5PYmplY3RzLlZhcmlhYmxlAwAAAAG5BgAAcQMAAAEAAAAAAAAAAboGAABxAwAAAAAAAAAAAAABuwYAAHEDAAAAAAAAAAAAAAG8BgAAcQMAAAAAAAAAAAAAD38GAAABAAAACFoBAAAFgAYAABpBcGxvcmlzLkJhc2UuT2JqZWN0cy5Db2xvcgcAAAASRGF0YU9iamVjdCttUGFyZW50FURhdGFPYmplY3QrbUNvbnRhaW5lcgVtVHlwZQRtUkdCEG1UaGVtZUNvbG9ySW5kZXgMbUF1dG9VcGRhdGVkCW1Nb2RpZmllZAQCAAAAAAAfQXBsb3Jpcy5CYXNlLk9iamVjdHMuTGluZUZvcm1hdAMAAAAICAgBAQMAAAAJ+gUAAAoAAAAA////AA4AAAAAAAWBBgAAGkFwbG9yaXMuQmFzZS5PYmplY3RzLkNvbG9yBwAAABJEYXRhT2JqZWN0K21QYXJlbnQVRGF0YU9iamVjdCttQ29udGFpbmVyBW1UeXBlBG1SR0IQbVRoZW1lQ29sb3JJbmRleAxtQXV0b1VwZGF0ZWQJbU1vZGlmaWVkBAIAAAAAAB9BcGxvcmlzLkJhc2UuT2JqZWN0cy5MaW5lRm9ybWF0AwAAAAgICAEBAwAAAAn6BQAACgEAAAAAAAAA/////wABAYIGAAB4AAAACgoAAAAAcoSMAAYAAAAAAAGDBgAAeAAAAAoKAQAAAP///wD/////AAAPhAYAAAEAAAAIJgEAAAs="/>
</p:tagLst>
</file>

<file path=ppt/tags/tag416.xml><?xml version="1.0" encoding="utf-8"?>
<p:tagLst xmlns:a="http://schemas.openxmlformats.org/drawingml/2006/main" xmlns:r="http://schemas.openxmlformats.org/officeDocument/2006/relationships" xmlns:p="http://schemas.openxmlformats.org/presentationml/2006/main">
  <p:tag name="APLORISTAG" val="MeOFJ3hMQTP5TaRXB.297"/>
</p:tagLst>
</file>

<file path=ppt/tags/tag417.xml><?xml version="1.0" encoding="utf-8"?>
<p:tagLst xmlns:a="http://schemas.openxmlformats.org/drawingml/2006/main" xmlns:r="http://schemas.openxmlformats.org/officeDocument/2006/relationships" xmlns:p="http://schemas.openxmlformats.org/presentationml/2006/main">
  <p:tag name="APLORISTAG" val="MeOFJ3hMQTP5TaRXB.314"/>
</p:tagLst>
</file>

<file path=ppt/tags/tag418.xml><?xml version="1.0" encoding="utf-8"?>
<p:tagLst xmlns:a="http://schemas.openxmlformats.org/drawingml/2006/main" xmlns:r="http://schemas.openxmlformats.org/officeDocument/2006/relationships" xmlns:p="http://schemas.openxmlformats.org/presentationml/2006/main">
  <p:tag name="APLORISTAG" val="MeOFJ3hMQTP5TaRXB.316"/>
</p:tagLst>
</file>

<file path=ppt/tags/tag419.xml><?xml version="1.0" encoding="utf-8"?>
<p:tagLst xmlns:a="http://schemas.openxmlformats.org/drawingml/2006/main" xmlns:r="http://schemas.openxmlformats.org/officeDocument/2006/relationships" xmlns:p="http://schemas.openxmlformats.org/presentationml/2006/main">
  <p:tag name="APLORISTAG" val="MeOFJ3hMQTP5TaRXB.300"/>
</p:tagLst>
</file>

<file path=ppt/tags/tag42.xml><?xml version="1.0" encoding="utf-8"?>
<p:tagLst xmlns:a="http://schemas.openxmlformats.org/drawingml/2006/main" xmlns:r="http://schemas.openxmlformats.org/officeDocument/2006/relationships" xmlns:p="http://schemas.openxmlformats.org/presentationml/2006/main">
  <p:tag name="APLORISTAG" val="MX/IjfW661gLV+xOY.202"/>
</p:tagLst>
</file>

<file path=ppt/tags/tag420.xml><?xml version="1.0" encoding="utf-8"?>
<p:tagLst xmlns:a="http://schemas.openxmlformats.org/drawingml/2006/main" xmlns:r="http://schemas.openxmlformats.org/officeDocument/2006/relationships" xmlns:p="http://schemas.openxmlformats.org/presentationml/2006/main">
  <p:tag name="APLORISTAG" val="MeOFJ3hMQTP5TaRXB.294"/>
</p:tagLst>
</file>

<file path=ppt/tags/tag421.xml><?xml version="1.0" encoding="utf-8"?>
<p:tagLst xmlns:a="http://schemas.openxmlformats.org/drawingml/2006/main" xmlns:r="http://schemas.openxmlformats.org/officeDocument/2006/relationships" xmlns:p="http://schemas.openxmlformats.org/presentationml/2006/main">
  <p:tag name="APLORISTAG" val="MeOFJ3hMQTP5TaRXB.293"/>
</p:tagLst>
</file>

<file path=ppt/tags/tag422.xml><?xml version="1.0" encoding="utf-8"?>
<p:tagLst xmlns:a="http://schemas.openxmlformats.org/drawingml/2006/main" xmlns:r="http://schemas.openxmlformats.org/officeDocument/2006/relationships" xmlns:p="http://schemas.openxmlformats.org/presentationml/2006/main">
  <p:tag name="APLORISTAG" val="MeOFJ3hMQTP5TaRXB.299"/>
</p:tagLst>
</file>

<file path=ppt/tags/tag423.xml><?xml version="1.0" encoding="utf-8"?>
<p:tagLst xmlns:a="http://schemas.openxmlformats.org/drawingml/2006/main" xmlns:r="http://schemas.openxmlformats.org/officeDocument/2006/relationships" xmlns:p="http://schemas.openxmlformats.org/presentationml/2006/main">
  <p:tag name="APLORISTAG" val="MeOFJ3hMQTP5TaRXB.296"/>
</p:tagLst>
</file>

<file path=ppt/tags/tag424.xml><?xml version="1.0" encoding="utf-8"?>
<p:tagLst xmlns:a="http://schemas.openxmlformats.org/drawingml/2006/main" xmlns:r="http://schemas.openxmlformats.org/officeDocument/2006/relationships" xmlns:p="http://schemas.openxmlformats.org/presentationml/2006/main">
  <p:tag name="APLORISTAG" val="MeOFJ3hMQTP5TaRXB.313"/>
</p:tagLst>
</file>

<file path=ppt/tags/tag425.xml><?xml version="1.0" encoding="utf-8"?>
<p:tagLst xmlns:a="http://schemas.openxmlformats.org/drawingml/2006/main" xmlns:r="http://schemas.openxmlformats.org/officeDocument/2006/relationships" xmlns:p="http://schemas.openxmlformats.org/presentationml/2006/main">
  <p:tag name="APLORISTAG" val="MeOFJ3hMQTP5TaRXB.318"/>
</p:tagLst>
</file>

<file path=ppt/tags/tag426.xml><?xml version="1.0" encoding="utf-8"?>
<p:tagLst xmlns:a="http://schemas.openxmlformats.org/drawingml/2006/main" xmlns:r="http://schemas.openxmlformats.org/officeDocument/2006/relationships" xmlns:p="http://schemas.openxmlformats.org/presentationml/2006/main">
  <p:tag name="APLORISTAG" val="MeOFJ3hMQTP5TaRXB.311"/>
</p:tagLst>
</file>

<file path=ppt/tags/tag427.xml><?xml version="1.0" encoding="utf-8"?>
<p:tagLst xmlns:a="http://schemas.openxmlformats.org/drawingml/2006/main" xmlns:r="http://schemas.openxmlformats.org/officeDocument/2006/relationships" xmlns:p="http://schemas.openxmlformats.org/presentationml/2006/main">
  <p:tag name="APLORISTAG" val="MeOFJ3hMQTP5TaRXB.451"/>
</p:tagLst>
</file>

<file path=ppt/tags/tag428.xml><?xml version="1.0" encoding="utf-8"?>
<p:tagLst xmlns:a="http://schemas.openxmlformats.org/drawingml/2006/main" xmlns:r="http://schemas.openxmlformats.org/officeDocument/2006/relationships" xmlns:p="http://schemas.openxmlformats.org/presentationml/2006/main">
  <p:tag name="APLORISTAG" val="MeOFJ3hMQTP5TaRXB.315"/>
</p:tagLst>
</file>

<file path=ppt/tags/tag429.xml><?xml version="1.0" encoding="utf-8"?>
<p:tagLst xmlns:a="http://schemas.openxmlformats.org/drawingml/2006/main" xmlns:r="http://schemas.openxmlformats.org/officeDocument/2006/relationships" xmlns:p="http://schemas.openxmlformats.org/presentationml/2006/main">
  <p:tag name="APLORISTAG" val="MeOFJ3hMQTP5TaRXB.563"/>
</p:tagLst>
</file>

<file path=ppt/tags/tag43.xml><?xml version="1.0" encoding="utf-8"?>
<p:tagLst xmlns:a="http://schemas.openxmlformats.org/drawingml/2006/main" xmlns:r="http://schemas.openxmlformats.org/officeDocument/2006/relationships" xmlns:p="http://schemas.openxmlformats.org/presentationml/2006/main">
  <p:tag name="APLORISTAG" val="MX/IjfW661gLV+xOY.204"/>
</p:tagLst>
</file>

<file path=ppt/tags/tag430.xml><?xml version="1.0" encoding="utf-8"?>
<p:tagLst xmlns:a="http://schemas.openxmlformats.org/drawingml/2006/main" xmlns:r="http://schemas.openxmlformats.org/officeDocument/2006/relationships" xmlns:p="http://schemas.openxmlformats.org/presentationml/2006/main">
  <p:tag name="APLORISTAG" val="MeOFJ3hMQTP5TaRXB.564"/>
</p:tagLst>
</file>

<file path=ppt/tags/tag431.xml><?xml version="1.0" encoding="utf-8"?>
<p:tagLst xmlns:a="http://schemas.openxmlformats.org/drawingml/2006/main" xmlns:r="http://schemas.openxmlformats.org/officeDocument/2006/relationships" xmlns:p="http://schemas.openxmlformats.org/presentationml/2006/main">
  <p:tag name="APLORISTAG" val="MeOFJ3hMQTP5TaRXB.565"/>
</p:tagLst>
</file>

<file path=ppt/tags/tag432.xml><?xml version="1.0" encoding="utf-8"?>
<p:tagLst xmlns:a="http://schemas.openxmlformats.org/drawingml/2006/main" xmlns:r="http://schemas.openxmlformats.org/officeDocument/2006/relationships" xmlns:p="http://schemas.openxmlformats.org/presentationml/2006/main">
  <p:tag name="APLORISTAG" val="MeOFJ3hMQTP5TaRXB.566"/>
</p:tagLst>
</file>

<file path=ppt/tags/tag433.xml><?xml version="1.0" encoding="utf-8"?>
<p:tagLst xmlns:a="http://schemas.openxmlformats.org/drawingml/2006/main" xmlns:r="http://schemas.openxmlformats.org/officeDocument/2006/relationships" xmlns:p="http://schemas.openxmlformats.org/presentationml/2006/main">
  <p:tag name="APLORISTAG" val="MeOFJ3hMQTP5TaRXB.567"/>
</p:tagLst>
</file>

<file path=ppt/tags/tag434.xml><?xml version="1.0" encoding="utf-8"?>
<p:tagLst xmlns:a="http://schemas.openxmlformats.org/drawingml/2006/main" xmlns:r="http://schemas.openxmlformats.org/officeDocument/2006/relationships" xmlns:p="http://schemas.openxmlformats.org/presentationml/2006/main">
  <p:tag name="APLORISTAG" val="MeOFJ3hMQTP5TaRXB.568"/>
</p:tagLst>
</file>

<file path=ppt/tags/tag435.xml><?xml version="1.0" encoding="utf-8"?>
<p:tagLst xmlns:a="http://schemas.openxmlformats.org/drawingml/2006/main" xmlns:r="http://schemas.openxmlformats.org/officeDocument/2006/relationships" xmlns:p="http://schemas.openxmlformats.org/presentationml/2006/main">
  <p:tag name="APLORISTAG" val="MeOFJ3hMQTP5TaRXB.569"/>
</p:tagLst>
</file>

<file path=ppt/tags/tag436.xml><?xml version="1.0" encoding="utf-8"?>
<p:tagLst xmlns:a="http://schemas.openxmlformats.org/drawingml/2006/main" xmlns:r="http://schemas.openxmlformats.org/officeDocument/2006/relationships" xmlns:p="http://schemas.openxmlformats.org/presentationml/2006/main">
  <p:tag name="APLORISTAG" val="MeOFJ3hMQTP5TaRXB.570"/>
</p:tagLst>
</file>

<file path=ppt/tags/tag437.xml><?xml version="1.0" encoding="utf-8"?>
<p:tagLst xmlns:a="http://schemas.openxmlformats.org/drawingml/2006/main" xmlns:r="http://schemas.openxmlformats.org/officeDocument/2006/relationships" xmlns:p="http://schemas.openxmlformats.org/presentationml/2006/main">
  <p:tag name="APLORISTAG" val="MeOFJ3hMQTP5TaRXB.571"/>
</p:tagLst>
</file>

<file path=ppt/tags/tag438.xml><?xml version="1.0" encoding="utf-8"?>
<p:tagLst xmlns:a="http://schemas.openxmlformats.org/drawingml/2006/main" xmlns:r="http://schemas.openxmlformats.org/officeDocument/2006/relationships" xmlns:p="http://schemas.openxmlformats.org/presentationml/2006/main">
  <p:tag name="APLORISTAG" val="MeOFJ3hMQTP5TaRXB.572"/>
</p:tagLst>
</file>

<file path=ppt/tags/tag439.xml><?xml version="1.0" encoding="utf-8"?>
<p:tagLst xmlns:a="http://schemas.openxmlformats.org/drawingml/2006/main" xmlns:r="http://schemas.openxmlformats.org/officeDocument/2006/relationships" xmlns:p="http://schemas.openxmlformats.org/presentationml/2006/main">
  <p:tag name="APLORISTAG" val="MeOFJ3hMQTP5TaRXB.35"/>
</p:tagLst>
</file>

<file path=ppt/tags/tag44.xml><?xml version="1.0" encoding="utf-8"?>
<p:tagLst xmlns:a="http://schemas.openxmlformats.org/drawingml/2006/main" xmlns:r="http://schemas.openxmlformats.org/officeDocument/2006/relationships" xmlns:p="http://schemas.openxmlformats.org/presentationml/2006/main">
  <p:tag name="APLORISTAG" val="MX/IjfW661gLV+xOY.201"/>
</p:tagLst>
</file>

<file path=ppt/tags/tag440.xml><?xml version="1.0" encoding="utf-8"?>
<p:tagLst xmlns:a="http://schemas.openxmlformats.org/drawingml/2006/main" xmlns:r="http://schemas.openxmlformats.org/officeDocument/2006/relationships" xmlns:p="http://schemas.openxmlformats.org/presentationml/2006/main">
  <p:tag name="APLORISTAG" val="MeOFJ3hMQTP5TaRXB.43"/>
</p:tagLst>
</file>

<file path=ppt/tags/tag441.xml><?xml version="1.0" encoding="utf-8"?>
<p:tagLst xmlns:a="http://schemas.openxmlformats.org/drawingml/2006/main" xmlns:r="http://schemas.openxmlformats.org/officeDocument/2006/relationships" xmlns:p="http://schemas.openxmlformats.org/presentationml/2006/main">
  <p:tag name="APLORISTAG" val="MeOFJ3hMQTP5TaRXB.38"/>
</p:tagLst>
</file>

<file path=ppt/tags/tag442.xml><?xml version="1.0" encoding="utf-8"?>
<p:tagLst xmlns:a="http://schemas.openxmlformats.org/drawingml/2006/main" xmlns:r="http://schemas.openxmlformats.org/officeDocument/2006/relationships" xmlns:p="http://schemas.openxmlformats.org/presentationml/2006/main">
  <p:tag name="APLORISTAG" val="MeOFJ3hMQTP5TaRXB.41"/>
</p:tagLst>
</file>

<file path=ppt/tags/tag443.xml><?xml version="1.0" encoding="utf-8"?>
<p:tagLst xmlns:a="http://schemas.openxmlformats.org/drawingml/2006/main" xmlns:r="http://schemas.openxmlformats.org/officeDocument/2006/relationships" xmlns:p="http://schemas.openxmlformats.org/presentationml/2006/main">
  <p:tag name="APLORISTAG" val="MeOFJ3hMQTP5TaRXB.40"/>
</p:tagLst>
</file>

<file path=ppt/tags/tag444.xml><?xml version="1.0" encoding="utf-8"?>
<p:tagLst xmlns:a="http://schemas.openxmlformats.org/drawingml/2006/main" xmlns:r="http://schemas.openxmlformats.org/officeDocument/2006/relationships" xmlns:p="http://schemas.openxmlformats.org/presentationml/2006/main">
  <p:tag name="APLORISTAG" val="MeOFJ3hMQTP5TaRXB.44"/>
</p:tagLst>
</file>

<file path=ppt/tags/tag445.xml><?xml version="1.0" encoding="utf-8"?>
<p:tagLst xmlns:a="http://schemas.openxmlformats.org/drawingml/2006/main" xmlns:r="http://schemas.openxmlformats.org/officeDocument/2006/relationships" xmlns:p="http://schemas.openxmlformats.org/presentationml/2006/main">
  <p:tag name="APLORISTAG" val="MeOFJ3hMQTP5TaRXB.39"/>
</p:tagLst>
</file>

<file path=ppt/tags/tag446.xml><?xml version="1.0" encoding="utf-8"?>
<p:tagLst xmlns:a="http://schemas.openxmlformats.org/drawingml/2006/main" xmlns:r="http://schemas.openxmlformats.org/officeDocument/2006/relationships" xmlns:p="http://schemas.openxmlformats.org/presentationml/2006/main">
  <p:tag name="APLORISTAG" val="MeOFJ3hMQTP5TaRXB.42"/>
</p:tagLst>
</file>

<file path=ppt/tags/tag447.xml><?xml version="1.0" encoding="utf-8"?>
<p:tagLst xmlns:a="http://schemas.openxmlformats.org/drawingml/2006/main" xmlns:r="http://schemas.openxmlformats.org/officeDocument/2006/relationships" xmlns:p="http://schemas.openxmlformats.org/presentationml/2006/main">
  <p:tag name="APLORISTAG" val="MeOFJ3hMQTP5TaRXB.334"/>
</p:tagLst>
</file>

<file path=ppt/tags/tag448.xml><?xml version="1.0" encoding="utf-8"?>
<p:tagLst xmlns:a="http://schemas.openxmlformats.org/drawingml/2006/main" xmlns:r="http://schemas.openxmlformats.org/officeDocument/2006/relationships" xmlns:p="http://schemas.openxmlformats.org/presentationml/2006/main">
  <p:tag name="APLORISTAG" val="MeOFJ3hMQTP5TaRXB.335"/>
</p:tagLst>
</file>

<file path=ppt/tags/tag449.xml><?xml version="1.0" encoding="utf-8"?>
<p:tagLst xmlns:a="http://schemas.openxmlformats.org/drawingml/2006/main" xmlns:r="http://schemas.openxmlformats.org/officeDocument/2006/relationships" xmlns:p="http://schemas.openxmlformats.org/presentationml/2006/main">
  <p:tag name="APLORISTAG" val="MeOFJ3hMQTP5TaRXB.332"/>
</p:tagLst>
</file>

<file path=ppt/tags/tag45.xml><?xml version="1.0" encoding="utf-8"?>
<p:tagLst xmlns:a="http://schemas.openxmlformats.org/drawingml/2006/main" xmlns:r="http://schemas.openxmlformats.org/officeDocument/2006/relationships" xmlns:p="http://schemas.openxmlformats.org/presentationml/2006/main">
  <p:tag name="APLORISTAG" val="MX/IjfW661gLV+xOY.209"/>
</p:tagLst>
</file>

<file path=ppt/tags/tag450.xml><?xml version="1.0" encoding="utf-8"?>
<p:tagLst xmlns:a="http://schemas.openxmlformats.org/drawingml/2006/main" xmlns:r="http://schemas.openxmlformats.org/officeDocument/2006/relationships" xmlns:p="http://schemas.openxmlformats.org/presentationml/2006/main">
  <p:tag name="APLORISTAG" val="MeOFJ3hMQTP5TaRXB.196"/>
</p:tagLst>
</file>

<file path=ppt/tags/tag451.xml><?xml version="1.0" encoding="utf-8"?>
<p:tagLst xmlns:a="http://schemas.openxmlformats.org/drawingml/2006/main" xmlns:r="http://schemas.openxmlformats.org/officeDocument/2006/relationships" xmlns:p="http://schemas.openxmlformats.org/presentationml/2006/main">
  <p:tag name="APLORISTAG" val="MeOFJ3hMQTP5TaRXB.197"/>
</p:tagLst>
</file>

<file path=ppt/tags/tag452.xml><?xml version="1.0" encoding="utf-8"?>
<p:tagLst xmlns:a="http://schemas.openxmlformats.org/drawingml/2006/main" xmlns:r="http://schemas.openxmlformats.org/officeDocument/2006/relationships" xmlns:p="http://schemas.openxmlformats.org/presentationml/2006/main">
  <p:tag name="APLORISTAG" val="MeOFJ3hMQTP5TaRXB.338"/>
</p:tagLst>
</file>

<file path=ppt/tags/tag453.xml><?xml version="1.0" encoding="utf-8"?>
<p:tagLst xmlns:a="http://schemas.openxmlformats.org/drawingml/2006/main" xmlns:r="http://schemas.openxmlformats.org/officeDocument/2006/relationships" xmlns:p="http://schemas.openxmlformats.org/presentationml/2006/main">
  <p:tag name="APLORISTAG" val="MeOFJ3hMQTP5TaRXB.333"/>
</p:tagLst>
</file>

<file path=ppt/tags/tag454.xml><?xml version="1.0" encoding="utf-8"?>
<p:tagLst xmlns:a="http://schemas.openxmlformats.org/drawingml/2006/main" xmlns:r="http://schemas.openxmlformats.org/officeDocument/2006/relationships" xmlns:p="http://schemas.openxmlformats.org/presentationml/2006/main">
  <p:tag name="APLORISTAG" val="MeOFJ3hMQTP5TaRXB.349"/>
</p:tagLst>
</file>

<file path=ppt/tags/tag455.xml><?xml version="1.0" encoding="utf-8"?>
<p:tagLst xmlns:a="http://schemas.openxmlformats.org/drawingml/2006/main" xmlns:r="http://schemas.openxmlformats.org/officeDocument/2006/relationships" xmlns:p="http://schemas.openxmlformats.org/presentationml/2006/main">
  <p:tag name="APLORISTAG" val="MeOFJ3hMQTP5TaRXB.353"/>
</p:tagLst>
</file>

<file path=ppt/tags/tag456.xml><?xml version="1.0" encoding="utf-8"?>
<p:tagLst xmlns:a="http://schemas.openxmlformats.org/drawingml/2006/main" xmlns:r="http://schemas.openxmlformats.org/officeDocument/2006/relationships" xmlns:p="http://schemas.openxmlformats.org/presentationml/2006/main">
  <p:tag name="APLORISTAG" val="MeOFJ3hMQTP5TaRXB.469"/>
</p:tagLst>
</file>

<file path=ppt/tags/tag457.xml><?xml version="1.0" encoding="utf-8"?>
<p:tagLst xmlns:a="http://schemas.openxmlformats.org/drawingml/2006/main" xmlns:r="http://schemas.openxmlformats.org/officeDocument/2006/relationships" xmlns:p="http://schemas.openxmlformats.org/presentationml/2006/main">
  <p:tag name="APLORISTAG" val="MeOFJ3hMQTP5TaRXB.351"/>
</p:tagLst>
</file>

<file path=ppt/tags/tag458.xml><?xml version="1.0" encoding="utf-8"?>
<p:tagLst xmlns:a="http://schemas.openxmlformats.org/drawingml/2006/main" xmlns:r="http://schemas.openxmlformats.org/officeDocument/2006/relationships" xmlns:p="http://schemas.openxmlformats.org/presentationml/2006/main">
  <p:tag name="APLORISTAG" val="MeOFJ3hMQTP5TaRXB.348"/>
</p:tagLst>
</file>

<file path=ppt/tags/tag459.xml><?xml version="1.0" encoding="utf-8"?>
<p:tagLst xmlns:a="http://schemas.openxmlformats.org/drawingml/2006/main" xmlns:r="http://schemas.openxmlformats.org/officeDocument/2006/relationships" xmlns:p="http://schemas.openxmlformats.org/presentationml/2006/main">
  <p:tag name="APLORISTAG" val="MeOFJ3hMQTP5TaRXB.359"/>
</p:tagLst>
</file>

<file path=ppt/tags/tag46.xml><?xml version="1.0" encoding="utf-8"?>
<p:tagLst xmlns:a="http://schemas.openxmlformats.org/drawingml/2006/main" xmlns:r="http://schemas.openxmlformats.org/officeDocument/2006/relationships" xmlns:p="http://schemas.openxmlformats.org/presentationml/2006/main">
  <p:tag name="APLORISTAG" val="MX/IjfW661gLV+xOY.311"/>
</p:tagLst>
</file>

<file path=ppt/tags/tag460.xml><?xml version="1.0" encoding="utf-8"?>
<p:tagLst xmlns:a="http://schemas.openxmlformats.org/drawingml/2006/main" xmlns:r="http://schemas.openxmlformats.org/officeDocument/2006/relationships" xmlns:p="http://schemas.openxmlformats.org/presentationml/2006/main">
  <p:tag name="APLORISTAG" val="MeOFJ3hMQTP5TaRXB.471"/>
</p:tagLst>
</file>

<file path=ppt/tags/tag461.xml><?xml version="1.0" encoding="utf-8"?>
<p:tagLst xmlns:a="http://schemas.openxmlformats.org/drawingml/2006/main" xmlns:r="http://schemas.openxmlformats.org/officeDocument/2006/relationships" xmlns:p="http://schemas.openxmlformats.org/presentationml/2006/main">
  <p:tag name="APLORISTAG" val="MeOFJ3hMQTP5TaRXB.360"/>
</p:tagLst>
</file>

<file path=ppt/tags/tag462.xml><?xml version="1.0" encoding="utf-8"?>
<p:tagLst xmlns:a="http://schemas.openxmlformats.org/drawingml/2006/main" xmlns:r="http://schemas.openxmlformats.org/officeDocument/2006/relationships" xmlns:p="http://schemas.openxmlformats.org/presentationml/2006/main">
  <p:tag name="APLORISTAG" val="MeOFJ3hMQTP5TaRXB.339"/>
</p:tagLst>
</file>

<file path=ppt/tags/tag463.xml><?xml version="1.0" encoding="utf-8"?>
<p:tagLst xmlns:a="http://schemas.openxmlformats.org/drawingml/2006/main" xmlns:r="http://schemas.openxmlformats.org/officeDocument/2006/relationships" xmlns:p="http://schemas.openxmlformats.org/presentationml/2006/main">
  <p:tag name="APLORISTAG" val="MeOFJ3hMQTP5TaRXB.343"/>
</p:tagLst>
</file>

<file path=ppt/tags/tag464.xml><?xml version="1.0" encoding="utf-8"?>
<p:tagLst xmlns:a="http://schemas.openxmlformats.org/drawingml/2006/main" xmlns:r="http://schemas.openxmlformats.org/officeDocument/2006/relationships" xmlns:p="http://schemas.openxmlformats.org/presentationml/2006/main">
  <p:tag name="APLORISTAG" val="MeOFJ3hMQTP5TaRXB.355"/>
</p:tagLst>
</file>

<file path=ppt/tags/tag465.xml><?xml version="1.0" encoding="utf-8"?>
<p:tagLst xmlns:a="http://schemas.openxmlformats.org/drawingml/2006/main" xmlns:r="http://schemas.openxmlformats.org/officeDocument/2006/relationships" xmlns:p="http://schemas.openxmlformats.org/presentationml/2006/main">
  <p:tag name="APLORISTAG" val="MeOFJ3hMQTP5TaRXB.536"/>
</p:tagLst>
</file>

<file path=ppt/tags/tag466.xml><?xml version="1.0" encoding="utf-8"?>
<p:tagLst xmlns:a="http://schemas.openxmlformats.org/drawingml/2006/main" xmlns:r="http://schemas.openxmlformats.org/officeDocument/2006/relationships" xmlns:p="http://schemas.openxmlformats.org/presentationml/2006/main">
  <p:tag name="APLORISTAG" val="MeOFJ3hMQTP5TaRXB.537"/>
</p:tagLst>
</file>

<file path=ppt/tags/tag467.xml><?xml version="1.0" encoding="utf-8"?>
<p:tagLst xmlns:a="http://schemas.openxmlformats.org/drawingml/2006/main" xmlns:r="http://schemas.openxmlformats.org/officeDocument/2006/relationships" xmlns:p="http://schemas.openxmlformats.org/presentationml/2006/main">
  <p:tag name="APLORISTAG" val="MeOFJ3hMQTP5TaRXB.541"/>
</p:tagLst>
</file>

<file path=ppt/tags/tag468.xml><?xml version="1.0" encoding="utf-8"?>
<p:tagLst xmlns:a="http://schemas.openxmlformats.org/drawingml/2006/main" xmlns:r="http://schemas.openxmlformats.org/officeDocument/2006/relationships" xmlns:p="http://schemas.openxmlformats.org/presentationml/2006/main">
  <p:tag name="APLORISTAG" val="MeOFJ3hMQTP5TaRXB.534"/>
</p:tagLst>
</file>

<file path=ppt/tags/tag469.xml><?xml version="1.0" encoding="utf-8"?>
<p:tagLst xmlns:a="http://schemas.openxmlformats.org/drawingml/2006/main" xmlns:r="http://schemas.openxmlformats.org/officeDocument/2006/relationships" xmlns:p="http://schemas.openxmlformats.org/presentationml/2006/main">
  <p:tag name="APLORISTAG" val="MeOFJ3hMQTP5TaRXB.540"/>
</p:tagLst>
</file>

<file path=ppt/tags/tag47.xml><?xml version="1.0" encoding="utf-8"?>
<p:tagLst xmlns:a="http://schemas.openxmlformats.org/drawingml/2006/main" xmlns:r="http://schemas.openxmlformats.org/officeDocument/2006/relationships" xmlns:p="http://schemas.openxmlformats.org/presentationml/2006/main">
  <p:tag name="APLORISTAG" val="MX/IjfW661gLV+xOY.313"/>
</p:tagLst>
</file>

<file path=ppt/tags/tag470.xml><?xml version="1.0" encoding="utf-8"?>
<p:tagLst xmlns:a="http://schemas.openxmlformats.org/drawingml/2006/main" xmlns:r="http://schemas.openxmlformats.org/officeDocument/2006/relationships" xmlns:p="http://schemas.openxmlformats.org/presentationml/2006/main">
  <p:tag name="APLORISTAG" val="MeOFJ3hMQTP5TaRXB.342"/>
</p:tagLst>
</file>

<file path=ppt/tags/tag471.xml><?xml version="1.0" encoding="utf-8"?>
<p:tagLst xmlns:a="http://schemas.openxmlformats.org/drawingml/2006/main" xmlns:r="http://schemas.openxmlformats.org/officeDocument/2006/relationships" xmlns:p="http://schemas.openxmlformats.org/presentationml/2006/main">
  <p:tag name="APLORISTAG" val="MeOFJ3hMQTP5TaRXB.352"/>
</p:tagLst>
</file>

<file path=ppt/tags/tag472.xml><?xml version="1.0" encoding="utf-8"?>
<p:tagLst xmlns:a="http://schemas.openxmlformats.org/drawingml/2006/main" xmlns:r="http://schemas.openxmlformats.org/officeDocument/2006/relationships" xmlns:p="http://schemas.openxmlformats.org/presentationml/2006/main">
  <p:tag name="APLORISTAG" val="MeOFJ3hMQTP5TaRXB.346"/>
</p:tagLst>
</file>

<file path=ppt/tags/tag473.xml><?xml version="1.0" encoding="utf-8"?>
<p:tagLst xmlns:a="http://schemas.openxmlformats.org/drawingml/2006/main" xmlns:r="http://schemas.openxmlformats.org/officeDocument/2006/relationships" xmlns:p="http://schemas.openxmlformats.org/presentationml/2006/main">
  <p:tag name="APLORISTAG" val="MeOFJ3hMQTP5TaRXB.538"/>
</p:tagLst>
</file>

<file path=ppt/tags/tag474.xml><?xml version="1.0" encoding="utf-8"?>
<p:tagLst xmlns:a="http://schemas.openxmlformats.org/drawingml/2006/main" xmlns:r="http://schemas.openxmlformats.org/officeDocument/2006/relationships" xmlns:p="http://schemas.openxmlformats.org/presentationml/2006/main">
  <p:tag name="APLORISTAG" val="MeOFJ3hMQTP5TaRXB.542"/>
</p:tagLst>
</file>

<file path=ppt/tags/tag475.xml><?xml version="1.0" encoding="utf-8"?>
<p:tagLst xmlns:a="http://schemas.openxmlformats.org/drawingml/2006/main" xmlns:r="http://schemas.openxmlformats.org/officeDocument/2006/relationships" xmlns:p="http://schemas.openxmlformats.org/presentationml/2006/main">
  <p:tag name="APLORISTAG" val="MeOFJ3hMQTP5TaRXB.414"/>
</p:tagLst>
</file>

<file path=ppt/tags/tag476.xml><?xml version="1.0" encoding="utf-8"?>
<p:tagLst xmlns:a="http://schemas.openxmlformats.org/drawingml/2006/main" xmlns:r="http://schemas.openxmlformats.org/officeDocument/2006/relationships" xmlns:p="http://schemas.openxmlformats.org/presentationml/2006/main">
  <p:tag name="APLORISTAG" val="MeOFJ3hMQTP5TaRXB.416"/>
</p:tagLst>
</file>

<file path=ppt/tags/tag477.xml><?xml version="1.0" encoding="utf-8"?>
<p:tagLst xmlns:a="http://schemas.openxmlformats.org/drawingml/2006/main" xmlns:r="http://schemas.openxmlformats.org/officeDocument/2006/relationships" xmlns:p="http://schemas.openxmlformats.org/presentationml/2006/main">
  <p:tag name="APLORISTAG" val="MeOFJ3hMQTP5TaRXB.419"/>
</p:tagLst>
</file>

<file path=ppt/tags/tag478.xml><?xml version="1.0" encoding="utf-8"?>
<p:tagLst xmlns:a="http://schemas.openxmlformats.org/drawingml/2006/main" xmlns:r="http://schemas.openxmlformats.org/officeDocument/2006/relationships" xmlns:p="http://schemas.openxmlformats.org/presentationml/2006/main">
  <p:tag name="APLORISTAG" val="MeOFJ3hMQTP5TaRXB.418"/>
</p:tagLst>
</file>

<file path=ppt/tags/tag479.xml><?xml version="1.0" encoding="utf-8"?>
<p:tagLst xmlns:a="http://schemas.openxmlformats.org/drawingml/2006/main" xmlns:r="http://schemas.openxmlformats.org/officeDocument/2006/relationships" xmlns:p="http://schemas.openxmlformats.org/presentationml/2006/main">
  <p:tag name="APLORISTAG" val="MQssZdDHvvuWdF0PK"/>
</p:tagLst>
</file>

<file path=ppt/tags/tag48.xml><?xml version="1.0" encoding="utf-8"?>
<p:tagLst xmlns:a="http://schemas.openxmlformats.org/drawingml/2006/main" xmlns:r="http://schemas.openxmlformats.org/officeDocument/2006/relationships" xmlns:p="http://schemas.openxmlformats.org/presentationml/2006/main">
  <p:tag name="APLORISTAG" val="MX/IjfW661gLV+xOY.312"/>
</p:tagLst>
</file>

<file path=ppt/tags/tag480.xml><?xml version="1.0" encoding="utf-8"?>
<p:tagLst xmlns:a="http://schemas.openxmlformats.org/drawingml/2006/main" xmlns:r="http://schemas.openxmlformats.org/officeDocument/2006/relationships" xmlns:p="http://schemas.openxmlformats.org/presentationml/2006/main">
  <p:tag name="APLORISTAG" val="MQssZdDHvvuWdF0PK.19"/>
  <p:tag name="APLORISCONTAINERTAG" val="AAEAAAD/////AQAAAAAAAAAMAgAAAAxBcGxvcmlzLkJhc2UFAQAAAClBcGxvcmlzLkJhc2UuT2JqZWN0cy5Db250YWluZXJWZXJzaW9uSW5mbwIAAAANUmVxdWlyZWRCdWlsZAlVc2VkQnVpbGQAAAgIAgAAAHgFAADF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3NywgQ3VsdHVyZT1uZXV0cmFsLCBQdWJsaWNLZXlUb2tlbj0xNmZjMTNhMjI2YzBlOTUxXV2oAVN5c3RlbS5Db2xsZWN0aW9ucy5HZW5lcmljLkxpc3RgMVtbQXBsb3Jpcy5DaGFydC5Db2x1bW5PcmllbnRlZENoYXJ0K1VudXNlZFNlcmllcywgQXBsb3Jpcy5DaGFydCwgVmVyc2lvbj00LjAuMC4xNDc3LCBDdWx0dXJlPW5ldXRyYWwsIFB1YmxpY0tleVRva2VuPTE2ZmMxM2EyMjZjMGU5NTFdXaEBQXBsb3Jpcy5CYXNlLk9iamVjdHMuRGF0YU9iamVjdENvbGxlY3Rpb25gMVtbQXBsb3Jpcy5DaGFydC5DaGFydERhdGFTZXJpZXMsIEFwbG9yaXMuQ2hhcnQsIFZlcnNpb249NC4wLjAuMTQ3NywgQ3VsdHVyZT1uZXV0cmFsLCBQdWJsaWNLZXlUb2tlbj0xNmZjMTNhMjI2YzBlOTUxXV0DAAAApgFBcGxvcmlzLkJhc2UuT2JqZWN0cy5EYXRhT2JqZWN0Q29sbGVjdGlvbmAxW1tBcGxvcmlzLkNoYXJ0LkFubm90YXRpb25EYXRhU2VyaWVzLCBBcGxvcmlzLkNoYXJ0LCBWZXJzaW9uPTQuMC4wLjE0NzcsIEN1bHR1cmU9bmV1dHJhbCwgUHVibGljS2V5VG9rZW49MTZmYzEzYTIyNmMwZTk1MV1dAwAAAKEBQXBsb3Jpcy5CYXNlLk9iamVjdHMuRGF0YU9iamVjdENvbGxlY3Rpb25gMVtbQXBsb3Jpcy5DaGFydC5Bbm5vdGF0aW9uR3JvdXAsIEFwbG9yaXMuQ2hhcnQsIFZlcnNpb249NC4wLjAuMTQ3NywgQ3VsdHVyZT1uZXV0cmFsLCBQdWJsaWNLZXlUb2tlbj0xNmZjMTNhMjI2YzBlOTUxXV0DAAAAoAFBcGxvcmlzLkJhc2UuT2JqZWN0cy5EYXRhT2JqZWN0Q29sbGVjdGlvbmAxW1tBcGxvcmlzLkNoYXJ0LkNoYXJ0RGF0YUdyb3VwLCBBcGxvcmlzLkNoYXJ0LCBWZXJzaW9uPTQuMC4wLjE0NzcsIEN1bHR1cmU9bmV1dHJhbCwgUHVibGljS2V5VG9rZW49MTZmYzEzYTIyNmMwZTk1MV1dAwAAAJoBQXBsb3Jpcy5CYXNlLk9iamVjdHMuRGF0YU9iamVjdENvbGxlY3Rpb25gMVtbQXBsb3Jpcy5DaGFydC5EZWx0YUJhciwgQXBsb3Jpcy5DaGFydCwgVmVyc2lvbj00LjAuMC4xNDc3LCBDdWx0dXJlPW5ldXRyYWwsIFB1YmxpY0tleVRva2VuPTE2ZmMxM2EyMjZjMGU5NTFdXQMAAACdAUFwbG9yaXMuQmFzZS5PYmplY3RzLkRhdGFPYmplY3RDb2xsZWN0aW9uYDFbW0FwbG9yaXMuQ2hhcnQuRGVsdGFCcmlkZ2UsIEFwbG9yaXMuQ2hhcnQsIFZlcnNpb249NC4wLjAuMTQ3NywgQ3VsdHVyZT1uZXV0cmFsLCBQdWJsaWNLZXlUb2tlbj0xNmZjMTNhMjI2YzBlOTUxXV0DAAAAnQFBcGxvcmlzLkJhc2UuT2JqZWN0cy5EYXRhT2JqZWN0Q29sbGVjdGlvbmAxW1tBcGxvcmlzLkNoYXJ0Lkdyb3d0aEFycm93LCBBcGxvcmlzLkNoYXJ0LCBWZXJzaW9uPTQuMC4wLjE0NzcsIEN1bHR1cmU9bmV1dHJhbCwgUHVibGljS2V5VG9rZW49MTZmYzEzYTIyNmMwZTk1MV1dAwAAAKQBQXBsb3Jpcy5CYXNlLk9iamVjdHMuRGF0YU9iamVjdENvbGxlY3Rpb25gMVtbQXBsb3Jpcy5DaGFydC5XYXRlcmZhbGxDb25uZWN0b3IsIEFwbG9yaXMuQ2hhcnQsIFZlcnNpb249NC4wLjAuMTQ3NywgQ3VsdHVyZT1uZXV0cmFsLCBQdWJsaWNLZXlUb2tlbj0xNmZjMTNhMjI2YzBlOTUxXV0DAAAAogFBcGxvcmlzLkJhc2UuT2JqZWN0cy5EYXRhT2JqZWN0Q29sbGVjdGlvbmAxW1tBcGxvcmlzLkNoYXJ0LkVsZW1lbnRDb25uZWN0b3IsIEFwbG9yaXMuQ2hhcnQsIFZlcnNpb249NC4wLjAuMTQ3Ny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Nzc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Nzc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EAAAAABRMAAAAYQXBsb3Jpcy5DaGFydC5TZXJpZXNUeXBlAQAAAAd2YWx1ZV9fAAgCAAAAAAAAAAkUAAAAAAAFFQAAABlTeXN0ZW0uRHJhd2luZy5SZWN0YW5nbGVGBAAAAAF4AXkFd2lkdGgGaGVpZ2h0AAAAAAsLCwsEAAAAdNEZQt6RsUMW3RlEwECiQQEWAAAAFQAAAP//f////3////9/////f/8AAAAAAAUXAAAALEFwbG9yaXMuQ2hhcnQuQXhpc0JyZWFrK0F4aXNCcmVha0Rpc3BsYXlNb2RlAQAAAAd2YWx1ZV9fAAgCAAAAAQAAAAABAQoKCRgAAAAKCgAAAAAACRkAAAAKCRoAAAADAAAACgUbAAAAGUFwbG9yaXMuQ2hhcnQuT3JpZW50YXRpb24BAAAAB3ZhbHVlX18ACAIAAAABAAAACRwAAAABHQAAABUAAAC66JxCGJkOQhbdD0SaOZFDAAQeAAAAC1N5c3RlbS5HdWlkCwAAAAJfYQJfYgJfYwJfZAJfZQJfZgJfZwJfaAJfaQJfagJfawAAAAAAAAAAAAAACAcHAgICAgICAgIAAAAAAAAAAAAAAAAAAAAAAAoKCR8AAAAACgoKAQAAAAAAAAD/////AAEBIAAAABUAAAAAACBBAAAgQV/1HkRtW7RDPBcNQbEO+EItMiZE6rXAQwUhAAAAFVN5c3RlbS5EcmF3aW5nLlBvaW50RgIAAAABeAF5AAALCwQAAABPCwdEwVnYQwYiAAAAEFFzc1pkREh2dnVXZEYwUEs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NzcsIEN1bHR1cmU9bmV1dHJhbCwgUHVibGljS2V5VG9rZW49MTZmYzEzYTIyNmMwZTk1MV1dAwAAAJsBQXBsb3Jpcy5CYXNlLk9iamVjdHMuRGF0YU9iamVjdENvbGxlY3Rpb25gMVtbQXBsb3Jpcy5DaGFydC5BeGlzQnJlYWssIEFwbG9yaXMuQ2hhcnQsIFZlcnNpb249NC4wLjAuMTQ3Ny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3Ny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c3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c3LCBDdWx0dXJlPW5ldXRyYWwsIFB1YmxpY0tleVRva2VuPTE2ZmMxM2EyMjZjMGU5NTFdXQIAAAAJAQAAAAUnAAAAFkFwbG9yaXMuQ2hhcnQuQXhpc1R5cGUBAAAAB3ZhbHVlX18ACAIAAAABAAAAmpkZPwAAAAoJAQAAAAkoAAAACSkAAAABAAAAAAAAAAABAAAAAAAA8D8BmpmZmZmZuT8AAAAgQQABCSoAAAAKCSsAAAAJLAAAAAktAAAAAS4AAAAhAAAAuuicQr0Mo0MBLwAAACEAAAAteiNEvQyjQwkwAAAACTEAAAAJMgAAAAkzAAAAAAAAAAAAAAAAAAAACTQAAAAAAAAAAAAJNQAAAAkBAAAACQEAAAAJNgAAAAEHAAAABgAAAAkBAAAAATcAAAAnAAAAAAAAAM3MTD8AAAAIAQAJAQAAAAk4AAAACTkAAAABAAAAAAAAAAABAAAAAABAf0AAAAAAAAAAWUAAAAAgQQABCToAAAAKCTsAAAAJPAAAAAk9AAAAAT4AAAAhAAAAuuicQr0Mo0MBPwAAACEAAAC66JxCGJkOQglAAAAACUEAAAAJQgAAAAlDAAAAAAAAAAAAAAAAAAAACUQAAAAAAAAAAAAJRQAAAAkBAAAACQEAAAAJRgAAAAQIAAAAqAFTeXN0ZW0uQ29sbGVjdGlvbnMuR2VuZXJpYy5MaXN0YDFbW0FwbG9yaXMuQ2hhcnQuQ29sdW1uT3JpZW50ZWRDaGFydCtVbnVzZWRTZXJpZXMsIEFwbG9yaXMuQ2hhcnQsIFZlcnNpb249NC4wLjAuMTQ3Ny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C4wLjE0Nzc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3NywgQ3VsdHVyZT1uZXV0cmFsLCBQdWJsaWNLZXlUb2tlbj0xNmZjMTNhMjI2YzBlOTUxXV0DAAAAlwFTeXN0ZW0uQ29sbGVjdGlvbnMuR2VuZXJpYy5MaXN0YDFbW0FwbG9yaXMuQ2hhcnQuQ2hhcnREYXRhU2VyaWVzLCBBcGxvcmlzLkNoYXJ0LCBWZXJzaW9uPTQuMC4wLjE0NzcsIEN1bHR1cmU9bmV1dHJhbCwgUHVibGljS2V5VG9rZW49MTZmYzEzYTIyNmMwZTk1MV1dmAFTeXN0ZW0uQ29sbGVjdGlvbnMuR2VuZXJpYy5MaXN0YDFbW0FwbG9yaXMuQmFzZS5PYmplY3RzLkRhdGFPYmplY3QsIEFwbG9yaXMuQmFzZSwgVmVyc2lvbj00LjAuMC4xNDc3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c3LCBDdWx0dXJlPW5ldXRyYWwsIFB1YmxpY0tleVRva2VuPTE2ZmMxM2EyMjZjMGU5NTFdXQMAAAAKCUgAAAAJSQAAAAkBAAAACQEAAAAJSgAAAAUKAAAApgFBcGxvcmlzLkJhc2UuT2JqZWN0cy5EYXRhT2JqZWN0Q29sbGVjdGlvbmAxW1tBcGxvcmlzLkNoYXJ0LkFubm90YXRpb25EYXRhU2VyaWVzLCBBcGxvcmlzLkNoYXJ0LCBWZXJzaW9uPTQuMC4wLjE0Nzc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c3LCBDdWx0dXJlPW5ldXRyYWwsIFB1YmxpY0tleVRva2VuPTE2ZmMxM2EyMjZjMGU5NTFdXQMAAACcAVN5c3RlbS5Db2xsZWN0aW9ucy5HZW5lcmljLkxpc3RgMVtbQXBsb3Jpcy5DaGFydC5Bbm5vdGF0aW9uRGF0YVNlcmllcywgQXBsb3Jpcy5DaGFydCwgVmVyc2lvbj00LjAuMC4xNDc3LCBDdWx0dXJlPW5ldXRyYWwsIFB1YmxpY0tleVRva2VuPTE2ZmMxM2EyMjZjMGU5NTFdXZgBU3lzdGVtLkNvbGxlY3Rpb25zLkdlbmVyaWMuTGlzdGAxW1tBcGxvcmlzLkJhc2UuT2JqZWN0cy5EYXRhT2JqZWN0LCBBcGxvcmlzLkJhc2UsIFZlcnNpb249NC4wLjAuMTQ3Ny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3NywgQ3VsdHVyZT1uZXV0cmFsLCBQdWJsaWNLZXlUb2tlbj0xNmZjMTNhMjI2YzBlOTUxXV0DAAAACglLAAAACUwAAAAJAQAAAAkBAAAACU0AAAAFCwAAAKEBQXBsb3Jpcy5CYXNlLk9iamVjdHMuRGF0YU9iamVjdENvbGxlY3Rpb25gMVtbQXBsb3Jpcy5DaGFydC5Bbm5vdGF0aW9uR3JvdXAsIEFwbG9yaXMuQ2hhcnQsIFZlcnNpb249NC4wLjAuMTQ3Ny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c3LCBDdWx0dXJlPW5ldXRyYWwsIFB1YmxpY0tleVRva2VuPTE2ZmMxM2EyMjZjMGU5NTFdXQMAAACXAVN5c3RlbS5Db2xsZWN0aW9ucy5HZW5lcmljLkxpc3RgMVtbQXBsb3Jpcy5DaGFydC5Bbm5vdGF0aW9uR3JvdXAsIEFwbG9yaXMuQ2hhcnQsIFZlcnNpb249NC4wLjAuMTQ3NywgQ3VsdHVyZT1uZXV0cmFsLCBQdWJsaWNLZXlUb2tlbj0xNmZjMTNhMjI2YzBlOTUxXV2YAVN5c3RlbS5Db2xsZWN0aW9ucy5HZW5lcmljLkxpc3RgMVtbQXBsb3Jpcy5CYXNlLk9iamVjdHMuRGF0YU9iamVjdCwgQXBsb3Jpcy5CYXNlLCBWZXJzaW9uPTQuMC4wLjE0Nzc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NzcsIEN1bHR1cmU9bmV1dHJhbCwgUHVibGljS2V5VG9rZW49MTZmYzEzYTIyNmMwZTk1MV1dAwAAAAoJTgAAAAlPAAAACQEAAAAJAQAAAAlQAAAABQwAAACgAUFwbG9yaXMuQmFzZS5PYmplY3RzLkRhdGFPYmplY3RDb2xsZWN0aW9uYDFbW0FwbG9yaXMuQ2hhcnQuQ2hhcnREYXRhR3JvdXAsIEFwbG9yaXMuQ2hhcnQsIFZlcnNpb249NC4wLjAuMTQ3Ny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NzcsIEN1bHR1cmU9bmV1dHJhbCwgUHVibGljS2V5VG9rZW49MTZmYzEzYTIyNmMwZTk1MV1dAwAAAJYBU3lzdGVtLkNvbGxlY3Rpb25zLkdlbmVyaWMuTGlzdGAxW1tBcGxvcmlzLkNoYXJ0LkNoYXJ0RGF0YUdyb3VwLCBBcGxvcmlzLkNoYXJ0LCBWZXJzaW9uPTQuMC4wLjE0NzcsIEN1bHR1cmU9bmV1dHJhbCwgUHVibGljS2V5VG9rZW49MTZmYzEzYTIyNmMwZTk1MV1dmAFTeXN0ZW0uQ29sbGVjdGlvbnMuR2VuZXJpYy5MaXN0YDFbW0FwbG9yaXMuQmFzZS5PYmplY3RzLkRhdGFPYmplY3QsIEFwbG9yaXMuQmFzZSwgVmVyc2lvbj00LjAuMC4xNDc3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c3LCBDdWx0dXJlPW5ldXRyYWwsIFB1YmxpY0tleVRva2VuPTE2ZmMxM2EyMjZjMGU5NTFdXQMAAAAKCVEAAAAJUgAAAAkBAAAACQEAAAAJUwAAAAUNAAAAmgFBcGxvcmlzLkJhc2UuT2JqZWN0cy5EYXRhT2JqZWN0Q29sbGVjdGlvbmAxW1tBcGxvcmlzLkNoYXJ0LkRlbHRhQmFyLCBBcGxvcmlzLkNoYXJ0LCBWZXJzaW9uPTQuMC4wLjE0Nzc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c3LCBDdWx0dXJlPW5ldXRyYWwsIFB1YmxpY0tleVRva2VuPTE2ZmMxM2EyMjZjMGU5NTFdXQMAAACQAVN5c3RlbS5Db2xsZWN0aW9ucy5HZW5lcmljLkxpc3RgMVtbQXBsb3Jpcy5DaGFydC5EZWx0YUJhciwgQXBsb3Jpcy5DaGFydCwgVmVyc2lvbj00LjAuMC4xNDc3LCBDdWx0dXJlPW5ldXRyYWwsIFB1YmxpY0tleVRva2VuPTE2ZmMxM2EyMjZjMGU5NTFdXZgBU3lzdGVtLkNvbGxlY3Rpb25zLkdlbmVyaWMuTGlzdGAxW1tBcGxvcmlzLkJhc2UuT2JqZWN0cy5EYXRhT2JqZWN0LCBBcGxvcmlzLkJhc2UsIFZlcnNpb249NC4wLjAuMTQ3Ny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3NywgQ3VsdHVyZT1uZXV0cmFsLCBQdWJsaWNLZXlUb2tlbj0xNmZjMTNhMjI2YzBlOTUxXV0DAAAACglUAAAACVUAAAAJAQAAAAkBAAAACVYAAAAFDgAAAJ0BQXBsb3Jpcy5CYXNlLk9iamVjdHMuRGF0YU9iamVjdENvbGxlY3Rpb25gMVtbQXBsb3Jpcy5DaGFydC5EZWx0YUJyaWRnZSwgQXBsb3Jpcy5DaGFydCwgVmVyc2lvbj00LjAuMC4xNDc3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3NywgQ3VsdHVyZT1uZXV0cmFsLCBQdWJsaWNLZXlUb2tlbj0xNmZjMTNhMjI2YzBlOTUxXV0DAAAAkwFTeXN0ZW0uQ29sbGVjdGlvbnMuR2VuZXJpYy5MaXN0YDFbW0FwbG9yaXMuQ2hhcnQuRGVsdGFCcmlkZ2UsIEFwbG9yaXMuQ2hhcnQsIFZlcnNpb249NC4wLjAuMTQ3NywgQ3VsdHVyZT1uZXV0cmFsLCBQdWJsaWNLZXlUb2tlbj0xNmZjMTNhMjI2YzBlOTUxXV2YAVN5c3RlbS5Db2xsZWN0aW9ucy5HZW5lcmljLkxpc3RgMVtbQXBsb3Jpcy5CYXNlLk9iamVjdHMuRGF0YU9iamVjdCwgQXBsb3Jpcy5CYXNlLCBWZXJzaW9uPTQuMC4wLjE0Nzc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NzcsIEN1bHR1cmU9bmV1dHJhbCwgUHVibGljS2V5VG9rZW49MTZmYzEzYTIyNmMwZTk1MV1dAwAAAAoJVwAAAAlYAAAACQEAAAAJAQAAAAlZAAAABQ8AAACdAUFwbG9yaXMuQmFzZS5PYmplY3RzLkRhdGFPYmplY3RDb2xsZWN0aW9uYDFbW0FwbG9yaXMuQ2hhcnQuR3Jvd3RoQXJyb3csIEFwbG9yaXMuQ2hhcnQsIFZlcnNpb249NC4wLjAuMTQ3Ny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NzcsIEN1bHR1cmU9bmV1dHJhbCwgUHVibGljS2V5VG9rZW49MTZmYzEzYTIyNmMwZTk1MV1dAwAAAJMBU3lzdGVtLkNvbGxlY3Rpb25zLkdlbmVyaWMuTGlzdGAxW1tBcGxvcmlzLkNoYXJ0Lkdyb3d0aEFycm93LCBBcGxvcmlzLkNoYXJ0LCBWZXJzaW9uPTQuMC4wLjE0NzcsIEN1bHR1cmU9bmV1dHJhbCwgUHVibGljS2V5VG9rZW49MTZmYzEzYTIyNmMwZTk1MV1dmAFTeXN0ZW0uQ29sbGVjdGlvbnMuR2VuZXJpYy5MaXN0YDFbW0FwbG9yaXMuQmFzZS5PYmplY3RzLkRhdGFPYmplY3QsIEFwbG9yaXMuQmFzZSwgVmVyc2lvbj00LjAuMC4xNDc3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c3LCBDdWx0dXJlPW5ldXRyYWwsIFB1YmxpY0tleVRva2VuPTE2ZmMxM2EyMjZjMGU5NTFdXQMAAAAKCVoAAAAJWwAAAAkBAAAACQEAAAAJXAAAAAUQAAAApAFBcGxvcmlzLkJhc2UuT2JqZWN0cy5EYXRhT2JqZWN0Q29sbGVjdGlvbmAxW1tBcGxvcmlzLkNoYXJ0LldhdGVyZmFsbENvbm5lY3RvciwgQXBsb3Jpcy5DaGFydCwgVmVyc2lvbj00LjAuMC4xNDc3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NzcsIEN1bHR1cmU9bmV1dHJhbCwgUHVibGljS2V5VG9rZW49MTZmYzEzYTIyNmMwZTk1MV1dAwAAAJoBU3lzdGVtLkNvbGxlY3Rpb25zLkdlbmVyaWMuTGlzdGAxW1tBcGxvcmlzLkNoYXJ0LldhdGVyZmFsbENvbm5lY3RvciwgQXBsb3Jpcy5DaGFydCwgVmVyc2lvbj00LjAuMC4xNDc3LCBDdWx0dXJlPW5ldXRyYWwsIFB1YmxpY0tleVRva2VuPTE2ZmMxM2EyMjZjMGU5NTFdXZgBU3lzdGVtLkNvbGxlY3Rpb25zLkdlbmVyaWMuTGlzdGAxW1tBcGxvcmlzLkJhc2UuT2JqZWN0cy5EYXRhT2JqZWN0LCBBcGxvcmlzLkJhc2UsIFZlcnNpb249NC4wLjAuMTQ3Ny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3NywgQ3VsdHVyZT1uZXV0cmFsLCBQdWJsaWNLZXlUb2tlbj0xNmZjMTNhMjI2YzBlOTUxXV0DAAAACgldAAAACV4AAAAJAQAAAAkBAAAACV8AAAAFEQAAAKIBQXBsb3Jpcy5CYXNlLk9iamVjdHMuRGF0YU9iamVjdENvbGxlY3Rpb25gMVtbQXBsb3Jpcy5DaGFydC5FbGVtZW50Q29ubmVjdG9yLCBBcGxvcmlzLkNoYXJ0LCBWZXJzaW9uPTQuMC4wLjE0Nzc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NzcsIEN1bHR1cmU9bmV1dHJhbCwgUHVibGljS2V5VG9rZW49MTZmYzEzYTIyNmMwZTk1MV1dAwAAAJgBU3lzdGVtLkNvbGxlY3Rpb25zLkdlbmVyaWMuTGlzdGAxW1tBcGxvcmlzLkNoYXJ0LkVsZW1lbnRDb25uZWN0b3IsIEFwbG9yaXMuQ2hhcnQsIFZlcnNpb249NC4wLjAuMTQ3NywgQ3VsdHVyZT1uZXV0cmFsLCBQdWJsaWNLZXlUb2tlbj0xNmZjMTNhMjI2YzBlOTUxXV2YAVN5c3RlbS5Db2xsZWN0aW9ucy5HZW5lcmljLkxpc3RgMVtbQXBsb3Jpcy5CYXNlLk9iamVjdHMuRGF0YU9iamVjdCwgQXBsb3Jpcy5CYXNlLCBWZXJzaW9uPTQuMC4wLjE0Nzc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Nzc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c3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Nzc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NzcsIEN1bHR1cmU9bmV1dHJhbCwgUHVibGljS2V5VG9rZW49MTZmYzEzYTIyNmMwZTk1MV1dAgAAAAkBAAAACWMAAAAJAQAAAAEBZAAAABUAAAAusgpEAAA4QQAAoEKii2pCCWUAAAAB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DAAAABBhBcGxvcmlzLkNoYXJ0LkF4aXNOdW1iZXICAAAABW0AAAAYQXBsb3Jpcy5DaGFydC5BeGlzTnVtYmVyAQAAAAd2YWx1ZV9fAAgCAAAAAAAAAAFuAAAAbQAAAAAAAAABbwAAAG0AAAAAAAAADxoAAAAEAAAACAEAAAACAAAAAwAAAAQAAAAFHAAAABpBcGxvcmlzLkJhc2UuVUkuVmlzdWFsUmVjdBQAAAALbVN0YXJ0UG9pbnQJbUVuZFBvaW50C21MaW5lRm9ybWF0C21GaWxsRm9ybWF0CW1Sb3RhdGlvbhJtUmVjdGFuZ2xlUHJvdmlkZXIMbVBhaW50T2Zmc2V0Em1QYWludFNpemVPdmVycmlkZQ5tRXh0cmFSb3RhdGlvbg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QEBAAEAAAAAAcCAAADABVTeXN0ZW0uRHJhd2luZy5Qb2ludEYEAAAAFVN5c3RlbS5EcmF3aW5nLlBvaW50RgQAAAAfQXBsb3Jpcy5CYXNlLk9iamVjdHMuTGluZUZvcm1hdAMAAAAfQXBsb3Jpcy5CYXNlLk9iamVjdHMuRmlsbEZvcm1hdAMAAAALKkFwbG9yaXMuQmFzZS5VSS5JUmVjdGFuZ2xlUG9zaXRpb25Qcm92aWRlcgMAAAAUU3lzdGVtLkRyYXdpbmcuU2l6ZUYEAAAAFFN5c3RlbS5EcmF3aW5nLlNpemVGBAAAAAsZU3lzdGVtLkRyYXdpbmcuUmVjdGFuZ2xlRgQAAAAICAEBCAEBD1N5c3RlbS5JbnRQdHJbXQEDAAAAAXAAAAAhAAAAuuicQhiZDkIBcQAAACEAAAAteiNEvQyjQwlyAAAACXMAAAAAAAAACgV0AAAAFFN5c3RlbS5EcmF3aW5nLlNpemVGAgAAAAV3aWR0aAZoZWlnaHQAAAsLBAAAAAAAAAAAAAAAAXUAAAB0AAAAAAAAAAAAAAAAAAAAAXYAAAAVAAAAAAAAAAAAAAAAAAAAAAAAABQAAAD/////AQEKCXcAAAABAAoADx8AAAAhWgAAAlBLAwQUAAYACAAAACEASRKs94wBAAB4Bg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xFXdTsIwFL438R2W3pqtwIUxhsEF6KWSiA9Q2wNb6Nqmp/y9vWcDjJK5SVjizZqt/f7Ods6G412how14zK1JWT/psQiMtCo3y5S9z5/jBxZhEEYJbQ2kbA/IxqPbm+F87wAjQhtMWRaCe+QcZQaFwMQ6MLSzsL4QgW79kjshV2IJfNDr3XNpTQAT4lBysNFwCgux1iF62tHjgxOCs2hyOFdKpUw4p3MpAhnl5S6vxW0acRujzszFdrHIJSgr1wVZSgg/9WJL8X8R8KCxwVmNwjF6QsjKPWa5w7tjhFeqvc8VRDPhw4soKCjfab61fvVh7SpprkON2lkedB6EwgwgFDqp1qQQufmDfnUYebX0OzZS5quIL/Qx+CcfgT5s4NX1+lJUNC3BMew1YMdpD6RtypnwoN6Cpx7o3MB37hYf0hZlR+L19f7ZAyfeNnmh5SSjTun4HcgTb5M+jaOZtw5pUnq43MBp4pTo2BER+JBD48z5UqQxe7ng2dCBco4rUDXavPpvjD4BAAD//wMAUEsDBBQABgAIAAAAIQBQfE7B9g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JLPSgMxEIfvgu8Q5t7NtoKINNuLCL2J1AcYk9k/7G4mJNO6fXuDoLiw1h6TzHzzzY9sd9M4qBPF1LE3sC5KUOQtu843Bt4Oz6sHUEnQOxzYk4EzJdhVtzfbVxpQclNqu5BUpvhkoBUJj1on29KIqeBAPr/UHEeUfIyNDmh7bEhvyvJex98MqGZMtXcG4t6tQR3OIU/+n8113Vl6YnscycvCCD2vyGSMDYmBadAfHPt35r7IwqCXXTbXu/y9px5J0KGgthxpFWJOKUqXc/3RcWxf8nX6qrgkdHe90Hz1pXBoEvKO3GUlDOHbSM/+QPUJAAD//wMAUEsDBBQABgAIAAAAIQAAQZj4CQEAAMwD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8k81qwzAQhO+FvoPYey3bbUMpkXNoKeTapg8g5LVlYktGu/3x21ck1HEguBfT486imY+RtN58d634xECNdwqyJAWBzviycbWC993LzQMIYu1K3XqHCgYk2BTXV+tXbDXHQ2SbnkR0caTAMvePUpKx2GlKfI8ubiofOs1xDLXstdnrGmWepisZph5QnHmKbakgbMtbELuhj8l/e/uqagw+e/PRoeMLEZIjF0ZDHWpkBYfxKGZJBAV5meFuSQbioY0ljhDHeS7+ftF4qwOWbxziDU8ppvIczGpJGKNb82R14051jNIcRLYkxJcPe7KIfIIYJZKHzezryP8ZJv9tRp79weIHAAD//wMAUEsDBBQABgAIAAAAIQBwR8FY2gEAABADAAAPAAAAeGwvd29ya2Jvb2sueG1sjFLLbtswELwX6D8QvMuUaUt1DEuB6wdqoA0CNE3ODEVZRPgQSKpWUOTfu5Rqx0UvPZHLHc7u7M7qttcK/RTOS2sKPJ2kGAnDbSXNscA/HvbJAiMfmKmYskYU+FV4fFt+/LA6WffybO0LAgLjC9yE0C4J8bwRmvmJbYWBTG2dZgFCdyS+dYJVvhEiaEVomuZEM2nwyLB0/8Nh61pysbW808KEkcQJxQK07xvZelyuaqnE46gIsba9Yxr67hVGivmwq2QQVYEzCO1J/PXguvZzJxVkab6Y3mBSXlTeO8S6YDdWgwjv7yUPHVwKnEZUnMOjFCf//iGGqH+SprKniEKv53tCIToNiSdZhQaqZXl6efsi5LEJsIo8zQdycsU+DA+qDCcyg7J1q6yTfssCg1XF6R5AwRQjt5RwcYdqGnu8/vI9ogBxQdMrNI1oMqSgEmeKg/h4DLTzNE3hZ4y/2QoGG8dyZx/YsxLwbA3vnIPVbADwZzqiD199KFdwos7JAv/6lNHZLtvOEprtZ8k626XJNJ/RJJ/vaTbfUDrP6NvZF7r/xxhacme9rcOEW01GT4CXOBE9F4O1FqO1ypXul2vHm8MW7RU7wsJGedALiDx3Rs5mLn8DAAD//wMAUEsDBBQABgAIAAAAIQARD3OaFAYAAKctAAANAAAAeGwvc3R5bGVzLnhtbOxaW2/rNgx+H7D/YLjYY2s7dq5IcrCm9XaAs4MC7YC9OraSCJWtwHba5Az77yMl+ZK70yRAepA+pJZNkdQnkhIldr/MQ6a9kTihPOrp1p2payTyeUCjcU//+8W9belaknpR4DEekZ6+IIn+pf/rL90kXTDyPCEk1YBFlPT0SZpOO4aR+BMSeskdn5IIvox4HHopNOOxkUxj4gUJdgqZUTPNhhF6NNIlh07oV2ESevHrbHrr83DqpXRIGU0XgpeuhX7n6zjisTdkoOrccjw/4y0aa+xD6sc84aP0DtgZfDSiPlnXsm20DeDU70az0A3TRPP5LEp7ei1/pckvXwOAsOHomhz0gAegxs3NjakbWeclyvoypXln/oaUhpLT7454VIhrwlhwSJ3XiL9HLn4CcaADUvW7yQ/tzWPwxkIePmc81lKYClBBvIm8kEiKgcfoMKZINvJCyhbydQ1fiNlTdCEFLIVCUoL8HSKVktXGr1IUjQIyJwBAa0XaizfhoYeEa8KMMt+M57n13yQnHg97uuua4g9VLcD6gzKmPXtRgq+XFJ7Bi03MMtDlrJ8I9X3CVkA/boo3jWoHRB8VJtBMwC4A4typHDRoeNHvgnunJI5cnAD1/LKYgjlHEInkbAi6PdTj2FtYtXr1DglnNEAtxgPhRGrkrjt4lGyG6kNu8uDyaBwlhdFUqii3VdZjs+0i00NkCZGA55DHAUT0LExhiJCv+l1GRilwjel4gv9TPkUZPE0h/PW7AfXGPPIYPBpZD/UAbH3C2DNG/X9GOW+7Aczno1JUgwUEvRpDIT4CCOpRMpQNELCtU+3aSaJ3BUKZ0RWIg4FoF064HT3Nm07ZwgXmwlVlC/y1aN2LQFK0f2d0HIWk3OEp5inxU7F7FAveNr/GXdHmYCD1+D4LhyR2xW6xkOieTR/ce12SPld8YL3YsS5c8bnic40/54uHV/+6+tfVv67+BUmb2Ameaz9mlNNImVSW8snax/JJbT7am1huz0ZP1Fvtp8WOVRzHbNsKlzSB3Xk5L841+Qgv+1hewGDblljiaynbkDlD3lIjljpnOUP2tRRT8CDCy1IIbcJj+gOSDzyzxGMJXXuPvekLmUM6IuAz5qPtxwR7dQVkS/lNpo3076z1IV19yH9IfGJtYTifSFvYK3wibSHTO4+20mrh8iSlPloxnKaJc8A1u1V3AvJcZ6/lNpS+yxE4s9mT+15mz8U41Bs8BTxyKHBlIaD/CYYC92CXOxRcUdQh0V7zgrOhT+UO1uYdyaf0B7jbumArOixMWdkKe5HOfYhHWGdbfTetEPu3OQfOQ7YaX+Q8HDiWbK3+GcZy4eu4KD7Yd1GnEhKr2kK+eny7NPmlrAced2Q9q3O/yrXk2gDx7owFaJcWux289i6cq7wk50r5TbbHOiTDwWGqCwpQbQdeyznNVn02yRbJOKTfpcvd5avdPFnXsCICaiQ4Y/ydBNqfcBMfMxq9QlGKyL0t2FcMZ5SlNMJUHFoTGgQEi4pwU1ydUQ3WyNMwQthOohG4ymkYgRudhtGpwLZPBbZ9KrDtw8Bet0PYqJcwhtZOO1zrXwO/O6o/HukUVne4fFjOj+oPMfGo/kfiZx+Jn30kfvZh+H3HC2eWBbFl3cV95GrgeiIxRvOsB66MJbhFmdFqF1EqaTlO22pYTqPWtsF7VdC0N8XGZXrbdkCGpK/A3nYsmEFJLsvzsrIdFcJXuDutnLxRQZl6q1B+Iz4r7JtNCAxqsKJKajc4jmXC/Ev6KuS1Rs5elC/u4W6bYB2SewXknUYTgpFSfj82TtPJyZtVyAtoWhXIWyZ4tlJm45K6jLzTwtiu6Ktg02oXM1vBzsCaC3phOcXJPuwngnlRJCbsJMWi3GcsH8t3GOBtARl5M5a+5B97evH8FwnoLAR7UFRP9I2ngkVPL56/YS2bJTSAs+NvCZTCwn9tFtOe/u/jfbP98OjWblvmfevWsUn9tl2/f7itO4P7hwe3bdbMwX8AE1Ywd6C69ogKYVHJDAfWltNJGNQRx2qwSvnn4l1PLzWk+jj/Bqgtf8UgDDGfosK6/z8AAAD//wMAUEsDBBQABgAIAAAAIQDnZXW41gAAALgBAAAjAAAAeGwvd29ya3NoZWV0cy9fcmVscy9zaGVldDEueG1sLnJlbHOskMlqAzEMQO+F/oPRPdZMDqGUeHIJhVxD+gHC1ix0vGC5afL3dSiFDAR66VHb05O2u4uf1ZmzTDEYaHUDioONbgqDgffT2+oFlBQKjuYY2MCVBXbd89P2yDOVOiTjlERVShADYynpFVHsyJ5Ex8ShVvqYPZUa5gET2Q8aGNdNs8F8z4BuwVQHZyAfXAvqdE1189/s2PeT5X20n55DebACz37eZ/qqx1Uq5YGLAa3R/eTkrt7q2gv42Gn9n042+puuLIx+k62u/7tp4OLf3TcAAAD//wMAUEsDBBQABgAIAAAAIQCPgEGuyyYAAHTcAAAYAAAAeGwvd29ya3NoZWV0cy9zaGVldDIueG1spJ1vb+M4koffH3DfITD2XWNi66/loDuLG9mWLNu6xe3d7utM2pkOJon7Ek9Pzx3uux8pVpGscpGR0Zggk7ZY5I+lh0VKRckf//r9+enq2+H17fH48mmSXM8mV4eX++Pnx5dfP03+6z/XP1WTq7fT3cvnu6fjy+HT5M/D2+Svt//6Lx//OL7+9vblcDhdqRpe3j5NvpxOX2+m07f7L4fnu7fr49fDizrycHx9vjupf77+On37+nq4+zwYPT9N09msnD7fPb5MTA03r2PqOD48PN4flsf7358PLydTyevh6e6k9L99efz6hrU934+p7vnu9bffv/50f3z+qqr45fHp8fTnUOnk6vn+ZvPry/H17pcn1e/vSX53j3UP/zir/vnx/vX4dnw4XavqpkboeZ8X08VU1XT78fOj6oF2+9Xr4eHT5Ofkpq+yyfT24+Cgfzwe/njz/r46Hb/uDg+n+vD09Gnyb2U2udJn4Jfj8TdddPP502SmKn07PB3utS+u7tT/vh1M8W2Wq7P430M7+m/VyNS24v+NLa6Hs/a316tf7t4O9fHpn4+fT18UHoqOz4eHu9+fTv9x/KM9PP765aQ+VZUPHrn5/Ofy8HavzosWoxq5Pz6pGtXvq+dHRZcq93z3/dOkUNqxwusqS2dZkqrP3k5/ak8nYGls5mCjMBxto2UODSXJ+1ZTI3Jwx/LudHf78fX4x5ViUdm+fb3TZKc3qouqH/rTpf5YfTScqeGT1dknzdknrf/JVDVgW0lpK1faoYsKW/tZH9YO087Uzdfmg3Jypcq9qWLfbrOP02/qHN6jQFMiVc62RaqSlllJZea0zNqUUf631eS0RCPVwlpqpTKspc15SwVtqTMlFANWC+/SVijC2tmdF5nRdvbnJXg7vVDEtUNOrRqiAkA/64/VOfb6wnxWmxKKYn16EypxaQ6mqTr4cFurk/8glFpBqWQotcym9V8qW/Q6TRZF4n5lq59S2sgaFGjzMwUNUbC21dIqWqKgyaZrpyC/nmeLLCvzRVotZotFUa5+YhRviAJ2mjqiYIMKWKktUdBl041TwIruoDXt1G+3zBl70toOW2OletLaPpvuXGvFdT4r/J+531/CjI7T50HnZ/2xikiqDTsAHHQmMEARHai+3bL+Lc1BhCb/sMReMLpWUHDgZmjry93r4fPETFGr/GZVqoDw9jhMNsv8UqxAYyG5uSEa1/mHBjWq//sBro1qbPObFjWqXjS5D15ynadJNZst8nlVztNFVZyhvyEaWdMd0bjJP3QBjduoxm1+s0WNCrku99HMrqtFmcwy+/tM4g4kloMbWajcE4m7/MMeJTJg+qjEPr/pUWI2ud3nPs+Jkph4P6kvkeCsZ3UBZ/0xw7miJ7mGIjLO5qDB+YzSZXGzLPWqVVGqzOviw1JNXGKUhHrOaDeAqzlXBb8R0RK0GqzZiGqiWpvipkGtynxdfGhQK5ts25jWYcmktVaLYp7lxWKeFGW2qMiJGcLEhmhlMayLau2Kmw61KvQ2xYcOtTIGtzGtqV7LfLstr/NFVszUHGB+pwsfokHrDrQaztlQ3Ee17oubPWqdT253xYc9ak1YbOxjYodVnpoRruez1P8hYgnxamUmEa8/ZsQvGPFQRCbeHDwn3kBuSKX1rcDkR+EGWXLMjskaFq3qRFNZbUwWcJxeV3lWzlSIAZrP0NgQVWyodDFVpcGPOX8bUwXEzq6TpKyqzPtNu7YDUYZX1u99TNTciEqYTR9TBWjm11ma+z9qLeWGNUFTz9xCMNYfMzT5GKmhjMymOXgRm2Dyo2yCLMMmC0JNTBawmbBg3cZ0AZyFmhAyFQwSXEoIawiii8WbLqYrQGdM1mg6QZS8aoiJAjpT5qw+pgroLK7LeeH9hOHUE7YAp/6Yw8l01FBGhtMcvAhOMPlROEGWHDhjshBONuO1MV0AZ3mdlEmSzfN8Ni+qdJERh5sVANHF4YzpCsAZkzUaThBl4HTxa1C8j4lCOJmz+pgqgLNUI7n0f4izSOhUV+sSnfpjTicTX0MZQydDd2kORulk9a3AJEZnep1ni5maFvDXeYhagyyZzpgspJOF2zamC+icXyezxWyW26t/dR3MurchulgbXUwX0JmwxcA2psvhWSXkP6ZqB6oMnuxSZR9TBXhm7MT3MVWAZ3WdzSv/p/K9RfDUNzwlPofPOaBspNRYSI6fcPQiRNHmRxlFZQZS5sIGWxnuhPlXgXpNjJSyFVWLRqI0i+kQOqusqsq0KBbn98c2VBkPotiIqCzEKRqJykaDisIMqcxle2xDFIaoMvZ7NBKFWVbLvPJ+FkmYVX0rXJjp9b36s2DKBnONhQKswl12sXtD1uPs5t4KakzF3g1JDH3550Lp8JcQT1GZYZUR0WArorIgq9AdUdoFrIJjxVHURZUhqywOb9FIVOZYXeTVrEjsb0bjDl0WYDV2MpFVFsv6qDDLKrl5pfSFWdU3+yVWTRKA3I9NmJPqBAoFWDVHL4urYCO6/RJWQZkhgt0XbEC3rAxYTZnjWzQSpQGr6gKaTv8VuwrfoMuMMObQDtsQBxGgmrKRt0UjUZhFNVW3zPKZ+81i4A6FAars8B4bEZUBqznrTo9GojJgVbnMX6Cqv53j6QpApx8kUk1agpLKJsVaH9WhN0CqOSrzEIqqYCP27RJSQZkYuxrQLStDUtkU0qKRKM2R6l9E6ZUAvdWzQZeJwjpsQ+QBSWXhcItGojBH6jwl/7FadijMkHoGauxcIqgsIPRRYR6o/g3S+SwEqk47SKBCUkMJtCmuhCmp9U6DCKiQ0RC9HgIVbESnXwIqKDM8MLc3oDsOKhuVLRqJ0hyoaZam6TyvqqRIyqJiLtugywKgxlyGoLLebKPCHKhVMVf3yOxvOoB2qMtw6mAxV/zYhHgqgdOChfoejUSHOU6zIvF/XHygAVWnBSROISlBOGXRoU6gUCCgQsZB7FyIU7AR+3YJp6BMxKEB3XFOGWEtGonSPE7nizKdVUU2U4vCkm+r2KDLjDB2ajtsQ3RZkNOYz0ZzCg4LLFKhCVEXcspCdI+dER3mcUqv/t3ygXKqcwQSp5CMIJyy9VadQKEAp5B+EDsX4hRsxL5dwikoMziw8dWA7iinmXPYEFNaNBKlOU51DC3n83laJEmV610z/uaDDbrMCGMxu8M2RJchp6w3WzQShVlOs5L+x7q3Q2EAqgtrEFFjJxNILVmdfVSZI5Xc4i9KRxklVecLJFIhMeGTypfxdQKFAqRCKkJ0e4hUsBG9fgmpoCwQUWPKYImaMYpa6Kx8T8KROp+V/t1+dsY36LJARI0JC5Ia89l4UsFjgZAaE4agMo/1UY95oJL7qVkIVJ07kECFJAUBlQX3OoFCAVAhLXERqGDzw6CCsgCoMWUI6tnUH5PmgVpkRZEXszQrF2V5HlJjwjpwqBzrEVR3Jodot0Uj0WcO1HlZpllmf7MRtMNzaUBly+A9tiGeSwSVxfoejURhDlTK6dx1j0ZUnUWQQIV0BQGVya8TKBQAFRIUYudCERVsxL5dElFBmRi4GtAt8xAENSZtPKhEGBv5XVQYgJqxhe0WjUSfOVDtZkCzMZAtSnZ4LgMRFTovnksE1SE2jKA+KswD1bvpX3nrB8JpGkhPDZ+z9BS/s1hjIZlTOCrTEOAUbUSfX8ApKjOcsimpwVZErwOnOTuRLRqJ0iyn6oGJ+SLJy4W6d60enfDCw3DuNlQYi2odtiEKQ06Z0RaNRGGW0zxPiqJyv1ktOxQGnLLBsMdGRGUAKu9sj0aiMguq2rNDLvud4ympOukgRFS1FDtLTqWsdzUWCpAay2eESAUbsW+XkAry5akfdMtjCEllnW3RSJTmkWov+OeaWjYdbtBlYqjvsA2RhyCpMZ+NJxU8JkfUqDAAtWJ092gkeswDlWxJ8cIhBVWncCRQIbVDpn52WVerMx25jQpHZRxCoJoaVRfVUyk8F38JqKAsACq0IvKAoLLOttgdUZoDle7pO+OU6GJntsMmRF1BTmMuG88pCAtwGnMYcsrWMT32RnSYx6n3AIDaqRsKqApEkVP9OZ/62RRaq4fsYpyao5dxCjZi3y7hFJQBpwyIBoTL0gDU4gzUmDYHajkrS7Vlfg65VHZJtkGfGWWM4y4qDEjN2ZXCFo1Ep1lS1QUe+Y9htUNhQCpTtsdGxDEEqC74IhWNRGUOVW8Dqt6M6hxPQ6rOhUghFVI76vTYzFTK3F7rxy3DmSk4KvMQCqmQmhH7dgmqoEycYpuosiCpMWnjSSXCGC5dVBiS6oKOuexHI9FnjlR/iar+Zk3voBZ183N4AIjeAN5jGzFQkxmLCD1aicocqTSFmjreKak66yCRCrkKQiobaPXwpHUw2Q9HLyMVkiBi3y4hFeQbUt0oHc5tE1UGpJbM7S0aidIcqexxEwbEBl1mhDHoOmxDBAJJZVPbFo1EYY5UuislY+dyh8IMqezoHtsQhUFITWbMqkcrUZkjle2hci6jpOqsg0QqpHcIqY724YzXKRQKXE/FEhqhmAo2Yt8uIRWUGSBc34HUmDIklRm10Fl5Be2ROjwvneIigMamDXpMjPUdNiHyEAQ15rLxoILDAiE15jALKsOjx+6IJ9MDVT0O6f043CmoOusggQq5Ch9UfhOvTqFQANRYQiMEKtiIfbsEVFBmgHB9B1BjyhBU5vYWOvsOqOQJKfWwNYt/G3RZIKTGhCGpTNg2KsySyrKoPEu8Q2FAKhume2xEHEOIKs9e9mglnk6Lqv8Un/7b3XKhqOp0iYQqpFEIqkx/nUKhAKrm6GWzP9iIfbsEVVBmiHB9B1RjygDVOZuZW+jse6i656WTWZ6WbGm/QZcZYcyhHbYhAgGo8p1KWzQSfeZQxWej4Tlp5pMdCjOosvXSHtsQhVlSmVWPVqIyR6r/WIr+285DlFSdeJBIhTwKIZVdddYpFDKkMrcv4WiUVKdqYGiFNmLfgNTsWu3/KDL3i2wOH+pZozIAgp2WBpsRHQ+o8m16LRqJ2uz0nyd0t98ZquAzo4wd7bANURiiyoy2aCQKs6iSzdNqIzWbaXZQC1xSpexc77ERURmymjNpPVqJ0hyrC/WiD/9HZjUL5KiGz9mNqoyRVWMhOarC0YtYRRuxbxewisrE4NVgK6LfEVV2Lls0EqV5qNLtKXwBQIWx67YO2xCFhVBFI1HYaFRRmLxUxTZEYZZU5rIerURlllQXSEgUzXQqQoiiw+ecTFfHEKtqLBQgE3IlYm9gacpYX0GN8qR6CZmQYQmQGVOGZLIVYBuV5sikrwA6A5PoOgMzpisIJhiJp388mCAsAGZMmAWTeayPesyBSV9+4uIw5VQnGyROIUVBZnu27qgzKGQ4ZfPDEo5GIyircYU2otOB0/J6tlCbF90v/0kwM9mjMIMpa6TBRsQBBJgu2Jhs0UhU5jBVd9MX8zKbZVky1xuo7Lw1CNtQYWecxjI/QU7BSBQ2nlM4lYZTB8sge4+dFz2GnBZsUPZoJSpznLJnpZzLKKiKRBFU/TkPqExJnUGhQEA1Ry8DFWzEvl0AKggLxNOYMATV+Ws4Vy30VQ71DlS7sS/Ny1xRy0Elws5AjQkLggpGosvGgwrCAgE1JsyCyvDuoy7zQCWv7MlcvKOg6gyJFFEhc6IU2oxUxpTUwytfg/f54ehloMbSPheASvI+jIcmKiwIakzZeFCJMHbF2UWFIahs4Wfeu6veFvsOqIW63aMSk/ib1bLDUxkAFTofj6iszh67IyrzQKUZKRchKKiBhFQmJKR4EqPGQoGICsklsXewRHWqhri1ghplr18AKslHsbDWYCOiMASVrbdaNBK97kB1O/uGR6ZY/zboMRPq2QjqsA1RWBBUcLMozEVUi6jBlUG1Q2EGVOaxfVQYRtTSxcLhZPZoJSpzoLI7Um7apqDqTIMUUSE/QSIqO3l1BoUCoMaSGCFQwUbs2wWggrDA1B8TBqCeJaxb6Kw8hhyp9lU+5kW+7GJxgy4LkBpTFiQ15rPxpILLAiE1JsySyjrbR13mSPVfBKz/tsslSqpOgUikQkbHJzVnIaDOoFCA1Fh2JUQq2PwoqSDM8MAGWAOy5UWJJZVZtWglSrOkmoej3YN9rJYNukwcQx22EY2prMotGonCHKn0GRS+s2iHwoBUdqr32IioDFHlmZEerURpDlW2ccotMSmqOjcjoQoZHYIqW1bVGRQyqLLgv4SjMhGAqlMFsz+kisS+QVCtrv17/GWxOH9T7hqViUQ0UWXIKn+PZotWojbHKn3DZMECzSaqrMM2RCIgqvKNMls0EoU5VueLNJ3N7W83yw6u36GwwPwPJ0YUZlFlp7OPKnOo0oelvUUmRTWQkcqEjBTfB1ljIYMqA3kJR6OosvXSCm1ErwOqi2tyhyqZkVdrDX5fozJxmm2wFdHvYVSNS95ZABTvoUoyUix4dVFlQVRjwsajCsICCwBoQ3SZRZWdzh67I55Oh2qlNl25H+8dtATVPJCQGj5nd6n4c0Q1FpJRhaNRVNlktkIbsW+A6vCCJ0qrXdwYUFGXHFOxDdHrFlQ28Fq0EpV5MRX3TMHGaapsQ5VxULENUVkIVDQShY0GFYUZUNkEucc2RGEI6tmjKGglKvNApQ/3OcdTUHXmQZj+c8hXkOnfrXYHIGosFAA1ltSA6Z/PsSuoUg5cjlT3/SfmL8rDGoUFSI0Js6Syk9VGlTlS4Q0pwwNTC/VWH6psQ5WdkRpTFiQVjEQexpNqasEkP5W9x87HSWUu69FKVOZIZbtRXS2UVJ2ZkEiFjAUhld10qXMoZEhlq5QlHI2GVP46qxUaiZ2zpKoFl8oAuV/Ur2vUZUDlW88abEN0O5Lq3YAehmWLVqIyS+rwdtQ0V+LMiyjYnLGh0tjQ77ANURmSyoy2aCQKs6SSl/SrJ2QdD0P3dijMxFT+ct49NiIqg6Cq1j30RPRoJUqzqBbsZSluDUFRVSyKqOrP+ezPluF1DoUMqixCLOHohaiaKt8Jqu+hCroCMRWaEL1uSWVeb7E3otcdqS6NOryHgtWyQY8ZZcxjHbYhKguSGvPYeFLBZfIyNSrMgsrGUI9Woss8UOlLKFw8pKDq7IMUUyGZovTbHBXfwVXnUCgw+8cSGzj7u/EzDO0VVPkeqPQb0HiAWKOwAKkxYZZU5vY2qswj1T3bp78kjU00G6rsjNSYsiCpYCTyMJ5UU0to9o8Js6SyQNZHXeZIpaBWLtpTUnWKQyIV0jyEVIZVnUOhQEiF7IkYIIKkgpHodjf7v0cqCAuQGhNmSXVDG2b/mDKP1IW6jFUbptVX26XqCSo6HW7QY4GQGhMWBDWmazyoppbA430gW54dLahsVPZoJZ5LD1RyQZW79RIFVWcfJFAhZ0FAdXUM567OoVAA1FhiIwgqGImdGw8qCBN5aEC27PYwqDFlo0ElwtjVVhcVhqCyAbRFI9FjDlT3opThiVQ6gHZ4JgNTP3RdDDmWUxbG+qgwj1N6PeVop5zqZI7EKSR5fE75IxB1DoUCnJqjMg5BTsFI9Pp4TkGY4ZRN4g3IloVZTtmgbNFKVOY4ZW+edG4fhvYGXSaOoA7bEIEIghpz2WhQwWMGVOaxfVQXgsoXYD1aiR6zoLr1AgVTJxokMCHXRMBkA77OoVAAzFgOIwgmGImdGQ8mCDOnn8luQHYcTJ4obtFKVObA9F84oRalNFBt0GOisA6biHLpTuSA+haNRF2OS/qGaeaSHeoyXLpV4dDEHpsQdVkuGc09WonCHJf0635zVwvlVGcZJE4hN0E4ZfrrHAoFOI0lMIKcgpHYufGcgjARhwZkv8MpO5UtWonKPE4r2IJqNk6zaXmDLgsE0JjLMICegRpz2WhQwWOBmT6my4LK+tpHPeaB6mWiVFbK+Z2AWgRyUcPn7G4Uz1bXWMiA6loYhuESjso8IKhsPl2hkYiDA5XcNp3N3Sgcml6jMBGHBtsQ4wPO9PzdIS1aicpGgxpV1mEborIQqGgkChsLKuqSQcUmRF0WVDaCerQShTlQXcJUJ0+9twBSUHUKQoioBaQmSERlPNRYSI6ocPRCUGOJlfGggvoAqNCG6PYwqDFl40ElytjY7qIuQ1DZKneLRiIPDlT1Bazq+9vx94xFiB2eywCpMZdZUpmyPqrMI5W8aTJ3vFNSA7moQshF8Wd/aixkSGWhfwlHo6Tyl1eu0Eh0uyN1kZbqa0XtL3Z9uUZhhlTmwAbbiJPK6mzRSlRmSfW+kFe9bmLOM1obqowtpjpsQ1SGpDLGtmgkCnOkLkrz0l7ze8acskNhQCoLSntsRFSGqPJpqEcrUZpDlbwSNfHeQ09RVVFTDKr6cz77O9yHSbYuoFBg9jdH46gyvldQ5Tu3+LNZXs0r94tetKxRVyCmxnTZmHpGKliJXh9PKnhMVNZh50UegqTGhI0nFYQFYiq0IQqzoLKB12N3RJd5oNJN0+4KlIKqkwzS7A+pCaXQ5qIKNg7rAgoFQI3lL2CZmjL2V1Dle6D6yX2V5mcuWqMwwwM72mAbotuRVH73rUUr0e2OVPp9fc7rw9DeUGE8FYVNiMKCoIKbRV3jQYVTaUBlsvdRYRZUFnR6tBKVOVDpy3u9HR8UVJ2CkECF1AQBlUWZuoBCAVDN0XhEZeyvoMr3QPUmfr0EYFPVGoWJgavBNkQewqBCd0S3jwYVPCYK66LCgqDGdI0HFYQFIiq0IXrMgsqCTo/dET3mgUq+r7dyuFNQdZZBAhVyJgRUtj6qCyhkQGWBawlH46CyKldoJHbOrlIzurnfez0RXPiDMJGHBtsQ3R4G1dQpD6HRoMaEdVFhQVBjusaDCsIMqOxU7qPCLKgsjvVoJZ5LByp9ANXbq0VB1TkICVTITfig8ocf6gIKGVAZc0s4GgXVe95gQGyFRmLnLKh5meXqexzsL9b0GoUZUPlX2zfYSJTUkoXpFq1EaY5U9w1ow1unXICAyR98ZqSxObbDNkRlgOqcYbRFI1GYRXUBb0MrZuXwfjTWvR3UgvtQWHjcYyOiMmSV3yrs0UqUZllVb8FSeyHcj/MKZVUnciRWIcFDWGX3VOoCChlW2aJrCUcvZNVUKYeu8ayCMGCVXm41UWEYVL3vjxkga9FKdLtDtUoWi5l9EiVho2iDLhPDfYdtiEAEUY25bDyq4LLA9A9tiMIsqWxc9tgd0WUeqfRlk/ZsUVB15kECFfIVBFQ2musCCgVAjSU14HrqPKiCkdi38aCCsACoMWEWVBZVWuisPIQ8UEv1Ijr1jbgArIsPEFOJMja2O2xD5CEIasxl40EFYQFQYy6zoDKX9dgd8WR6oJK393rfAEBILQMJquFzdovK+wr1we01FpLXqXA0GlJ5Xn2FRmLnHKnkBpW6VWWH4SBsjcIMqcyBDbYh8oCk8km2RStRmSUVv0wan5dmbW+oMk4qtiEqC5GKRqKw0aSiMEMqc+ge2xCFIan8urZHK1GZI5U+LF26iZuSqlMPQkwtIZNCYipb29RYyJDqWhhwWcLROKnMaIVGYucsqWyWWaMQcUptsE7RzWEyISkjKhlPJvhRVNZFlQXJjAkbTyYIk2NoVJglk52GHq1Elzky6SVU6FslykBGavicx1CmpMZCATJNUitOJltArKBKeU51ZCb0QT5WyxqFybM9thEnlc3TLVqJbvdI9VelacpG3oYqO4uhMZcFSQUjUdh4Uk0teAVFJ6U9dl50mSWV3WHs0UpU5pGqv5/H/bj4R2OoCpJiDNWfc1LZ1FWXUEhel8LRC0k1Vf4oqSAsQCq0IbrdxlTnsGFKaLE7otsdqWTXVMbvM2zQZYGYGlMWJDXmsvGkgssCMTUmzJLK1gh91GUeqeShE+9dEZRUnYmQZnvIUCiFNiPFXzxfl1DIkMqC0BKOxkllYXqFRiIPLqbSzCnfXLFGYYYH5sAG24iS6j2kA6SazspjyJHKHjllg3tDlbGI20WVIanMz1s0El3mSM2rWaG+jhV/s1p2KAxIZbPUHhsRfQaoZmdfKoVWojSLKt3hN6uczyiqOtsgoQo5CoIqO+d1CYUCQTWWyICL/fwMVTASOzceVRAWCKoxYRhUefqghc6+iyq51ueDaIMuCwTVmLIgqjGXjUcVXBYIqjFhllQ28vqoyzxSydYpbycpJVUnIyRSIUlBSGU3A+sSCgUWquZoPKi6ATSErhVUKfPgSPVeM61eOM3fc7hGYYYHFj8abEMMEJZUpqxFK3EMuaDKrvZZcNpQZezUdtiGqAxJZeuSLRqJwhypZOeU2j9Fl6I7FGZIZQFkj22IwiypzGU9WonKHKkpu6ayyiipgaxUKWSl5uwKoMZChlS2oF7C0Sip3gACUk2775BaehkpnZtiTa9RmCGV0dJEhVlS2QTSopXodkcq/faz85hKklLMoR22IQIRJDXmsvGkgjBDKotJ+6gwJDVhfPdoJbrMkcr2+LnTRUnVyQYppkKKwo+pcxYC6hIKBRaqsTwGzP78he8rqPKc1NfDw6eJOnyzqvRl6uOnSTW5XZbVtP6Lnqgf9Fd2zq7JJtVFyt9/uEbFgWVBTLFFmJ3FNi5ZHb5pUfJictsoyWtfcrUo5pn3VVQsZG6o5DO2Y5KDbIPRGUGDk7dK8RYVJ7PJbackb3zJdGerEJ9N/XAjgXVoj/4Sh6Olnnm5RytZszp801vNqoxqZbrzNVdsh5abU+h40DkNaTxAJoSMBzemhjBbl1AI1hjsXC3h8HnoHtyuDt8sbReUc1R1HxTgwDb/Jr0V1nbmEDM2pmZAeBthhy2xLJisUbIZEMzpDbZxdqoGxerwTWMVZ5NbVdsHxTcoThZnwR4SRqLkxQQkL7Iqq9TpKtTbOfU7hpioDZXMYlIXl6wO33RWsjpPqrYPim+QPGfu2WJtomI1NlAy/x4suywYwNihZDMN8Hc17bEV2c3q8M3ealYnSlX3QfENmrOMOajH6mTRdlJdJGRIJO5skRExD6TYhs/ZTTceb2ssZEYEGy9LOHo+IDTCCUyyuqPfbj9O728/msUMWondq/CU+E8rqE2L3oNDQy1rVCYvZrCNszMyKINJNuUX5i2aidIc4Ll+UsElhNk6a0OlsSjSYRuyNJhXz0BGK1HZeJBRmgGZR3ZsRJYGE2jG3xjSo5mszfFK196WCkqrzrYI8XsOWRgSv5n+GgvJ6xk4GqeVr5FWaCV2ztHqvnjQ/GV7B7SCfEOrm7uGow22Ifvd0srMWjQTpTlah68icO8mZNFmA7Uk4kDqsA1ZGtLKRsAWrURlSCuL/DsUYthkUWOPVcpCkE3+0sUezWQljk26q9a7yKd06qWrRCdkXgidbC6q51AoEEvN0XfoZAisoM7z5TZdRCxm6mtp7S82bNYozBDA4lWDTciOD8MJ/REdPx5O8JkorYtLC8IZUxaEE4TACoAO731ciIWTnb0ezUQfJQ5OtzNx2KXohgaFU9Enwqk/5xM9u31Sz6GQgZMNzSUcfQdOxtUKrcTu2dBpsQRAmZPWqExEoME2LqXTdFceN+PpBKeJ0rq4tCCdMWVBOkGIoZOdvX1ciKWTnb4ezcTT59Pp8r5DDtiODUpnIKM2FzJqczaf1FgoQCekoGQGYBnKV1QrqFNGwNHpb/NWN9VYUF+jMhGBBtuQlYVjZyynNp5O8KworYtLC9IZUxakE4QE6IQqZR9ZOpnje9T/Lp0LdW/G/bjoQunU2RFpYoecihpfNt87d/F3WL7VcygUmNhjiRe8SOLEr6DO9+h0k7r+i2+8XaMyEYEG25A9H6YTOiR6fjyd4DRRWheXFqQzpixIJwgJzOxQpewjSycLWD3qF33kxU76XsHKrc0pnYHE2VxInPEL5RoLBWJnLHFm6WTEr6DO9+gs6B4vNi+tUZmIQINtyJ4P0wkdEj0/nk7wrCiti0sL0hlTFqQThARiJ1Qp+8jSyU5fj/pFH/l0+nu65t6T15ROnSORYifkTvzYyb/RoJ5DIUMnu/ZYwtF31p2seyu0ErvnZvb36ARlBgG2OGqwDdnzlk4WF1o0E6U5Osn7WcsZm/s2UAtcsjOnddiGLC1Ip+muPKSDdIKPDJ3MR/u4EKTTu9YeptMezUQfeXSO++aguc5lSHRCjoPQySJUPRirS6dA7IQ0jOxoXHe6mD50bwV1yo52dLqHC4e/3LplqGWNysQA1WAbsrIwndAh0fPj6QTPitK6uLQgnTFlQTpBSCB2QpWyjyydzPE96hd95NHJdm+5IUxjZyBdNRfSVXzrXY2FAnRCskbuH9DJ4/EK6nyPTjUxuC9fny1c74BOkG8QYGmDBtuQlVk62cBp0Uz0vKPTe6IwTaoZa3yDTgvQGXVakE6wEpUF6QQfGToZZnvsrOwjSye7jdOjmazE3VGq6IuCnasJnVUgdTR8zu4o8d12NRaS6YSj8Zm9YvF4hVZi91zsfOfxLFQmItBgG7Lng3SimShtNJ1RaR22IUsL0YlWorIQnShEjp1YpSzE0slWPz2ayUocnRTO0MbXKpAqGj7ndLK1SY2FAnSadM07dLLQsoI6o7GTEb1GHQEWozrCLIKZ6OfxLJpaAqtM7KyMQJDFmLIgiyAkwCJUKQuxLLKLhB71iz7y5nHv3pG6j+Q96U4jpU4PCKvMIe3PWWSzZY2FDItsOW+2lKivopf7h/P4GYuxJAdEyjMWIcchz9qgMqADWfTeRDssBczWKSVf9DOwyIRs0CHioDDbP4IOCZIXc0iQPPCIIY/52OzpCApB8vj+ULPNKeQRJM+5hHKmb/RLnOnPFWfqeszep2Qg1RWUUfvu1F47vppcwuF0OJPmUuX8ozVWonbCqUpSfrqbc5P2/KMNrYXf/Nyhhdq7phrJPA8aZ0zfvhwOp+Xd6e7249e7Xw/7u9dfH1/erp4OD6r3M/XFq5Or18dfv9h/nI5flXMmV78cT6fj8/Dnl8Pd58OrLq0KPxyPJ/yH2hKk6/z74fT716vj6+Ph5XR3ejy+fJp8Pb6eXu8eT5OrL+rz/zmqA0/Lr2qrS54u8oXeEaJw+XZ4PT3enx9Q1R6+n3Zvp+H/V7+/Krv/LfPZTG1yTH76t/Ln2U+F/qW2usx+Uu9wSX6e17NFOZv93+Tq+/PTy9vN8/dPky+n09eb6fTt/svh+e7t+vnx/vX4dnw4Xd8fn6fHh4fH+8P0+e5+evh+f3iaqg0ulfrn44vy4/P3m7/t/nG1P34+qE5Prv795fA31c3h73/+XQke/lQqla3SqH8PYqd/HF9/G/x9+/8CAAAA//8DAFBLAwQUAAYACAAAACEA+2KlbZQGAACnGwAAEwAAAHhsL3RoZW1lL3RoZW1lMS54bWzsWU9v2zYUvw/YdyB0b20nthsHdYrYsZutTRvEboceaZmWWFOiQNJJfRva44ABw7phlwG77TBsK9ACu3SfJluHrQP6FfZISrIYy0vSBhvW1YdEIn98/9/jI3X12oOIoUMiJOVx26tdrnqIxD4f0zhoe3eG/UsbHpIKx2PMeEza3pxI79rW++9dxZsqJBFBsD6Wm7jthUolm5WK9GEYy8s8ITHMTbiIsIJXEVTGAh8B3YhV1qrVZiXCNPZQjCMge3syoT5BQ03S28qI9xi8xkrqAZ+JgSZNnBUGO57WNELOZZcJdIhZ2wM+Y340JA+UhxiWCibaXtX8vMrW1QreTBcxtWJtYV3f/NJ16YLxdM3wFMEoZ1rr11tXdnL6BsDUMq7X63V7tZyeAWDfB02tLEWa9f5GrZPRLIDs4zLtbrVRrbv4Av31JZlbnU6n0UplsUQNyD7Wl/Ab1WZ9e83BG5DFN5bw9c52t9t08AZk8c0lfP9Kq1l38QYUMhpPl9Daof1+Sj2HTDjbLYVvAHyjmsIXKIiGPLo0iwmP1apYi/B9LvoA0ECGFY2Rmidkgn2I4i6ORoJizQBvElyYsUO+XBrSvJD0BU1U2/swwZARC3qvnn//6vlT9Or5k+OHz44f/nT86NHxwx8tLWfhLo6D4sKX337259cfoz+efvPy8RfleFnE//rDJ7/8/Hk5EDJoIdGLL5/89uzJi68+/f27xyXwbYFHRfiQRkSiW+QIHfAIdDOGcSUnI3G+FcMQU2cFDoF2CemeCh3grTlmZbgOcY13V0DxKANen913ZB2EYqZoCecbYeQA9zhnHS5KDXBD8ypYeDiLg3LmYlbEHWB8WMa7i2PHtb1ZAlUzC0rH9t2QOGLuMxwrHJCYKKTn+JSQEu3uUerYdY/6gks+UegeRR1MS00ypCMnkBaLdmkEfpmX6Qyudmyzdxd1OCvTeoccukhICMxKhB8S5pjxOp4pHJWRHOKIFQ1+E6uwTMjBXPhFXE8q8HRAGEe9MZGybM1tAfoWnH4DQ70qdfsem0cuUig6LaN5E3NeRO7waTfEUVKGHdA4LGI/kFMIUYz2uSqD73E3Q/Q7+AHHK919lxLH3acXgjs0cERaBIiemYkSX14n3InfwZxNMDFVBkq6U6kjGv9d2WYU6rbl8K5st71t2MTKkmf3RLFehfsPlugdPIv3CWTF8hb1rkK/q9DeW1+hV+XyxdflRSmGKq0bEttrm847Wtl4TyhjAzVn5KY0vbeEDWjch0G9zhw6SX4QS0J41JkMDBxcILBZgwRXH1EVDkKcQN9e8zSRQKakA4kSLuG8aIZLaWs89P7KnjYb+hxiK4fEao+P7fC6Hs6OGzkZI1VgzrQZo3VN4KzM1q+kREG312FW00KdmVvNiGaKosMtV1mb2JzLweS5ajCYWxM6GwT9EFi5Ccd+zRrOO5iRsba79VHmFuOFi3SRDPGYpD7Sei/7qGaclMXKkiJaDxsM+ux4itUK3Fqa7BtwO4uTiuzqK9hl3nsTL2URvPASUDuZjiwuJieL0VHbazXWGh7ycdL2JnBUhscoAa9L3UxiFsB9k6+EDftTk9lk+cKbrUwxNwlqcPth7b6ksFMHEiHVDpahDQ0zlYYAizUnK/9aA8x6UQqUVKOzSbG+AcHwr0kBdnRdSyYT4quiswsj2nb2NS2lfKaIGITjIzRiM3GAwf06VEGfMZVw42Eqgn6B6zltbTPlFuc06YqXYgZnxzFLQpyWW52iWSZbuClIuQzmrSAe6FYqu1Hu/KqYlL8gVYph/D9TRe8ncAWxPtYe8OF2WGCkM6XtcaFCDlUoCanfF9A4mNoB0QJXvDANQQV31Oa/IIf6v805S8OkNZwk1QENkKCwH6lQELIPZclE3ynEauneZUmylJCJqIK4MrFij8ghYUNdA5t6b/dQCKFuqklaBgzuZPy572kGjQLd5BTzzalk+d5rc+Cf7nxsMoNSbh02DU1m/1zEvD1Y7Kp2vVme7b1FRfTEos2qZ1kBzApbQStN+9cU4Zxbra1YSxqvNTLhwIvLGsNg3hAlcJGE9B/Y/6jwmf3goTfUIT+A2org+4UmBmEDUX3JNh5IF0g7OILGyQ7aYNKkrGnT1klbLdusL7jTzfmeMLaW7Cz+Pqex8+bMZefk4kUaO7WwY2s7ttLU4NmTKQpDk+wgYxxjvpQVP2bx0X1w9A58NpgxJU0wwacqgaGHHpg8gOS3HM3Srb8AAAD//wMAUEsDBBQABgAIAAAAIQDyoyP9hwMAAF0IAAAYAAAAeGwvd29ya3NoZWV0cy9zaGVldDEueG1sjJZdj+o2EIbvK/U/WL6HfAD5EnC0EK260jnqqtuec20cA9YmcWqbBU7V/96xTUICqNqbkMyM33k8HtvMv5yqEn0wqbioFzgY+xixmoqC17sF/uvP51GCkdKkLkgparbAZ6bwl+Wvv8yPQr6rPWMagUKtFnivdZN5nqJ7VhE1Fg2rwbMVsiIaPuXOU41kpLCDqtILfT/yKsJr7BQy+RkNsd1yynJBDxWrtRORrCQa+NWeN6pVOxWf0iskOcJcW54eYu48nV4wveOrOJVCia0eU1F5Du1+lqmXDuZZ0TuhB8WqiHw/NCMQbmByG15yfbbTxaii2cuuFpJsSliRUzAltEdJ7uU/zwlKy3nBobamIZBk2wV+CrJ8hr3l3K7cd86OqveONNm8sZJRzQpoIIxMY2yEeDeBL2DyQVHZAKNIqOYfbM3KcoFXEK3+tjlWQbYK/GkyiyOTyetS9d/btM+2p14l2hDF1qL8wQu9h9zQuwXbkkOpr8ZknExCfxKEs875hzj+xvhur2HIFApn6pcV55wpCi1lgIGAihLSwRNV3GwMqDo5ufldss3GQTT1IyOs9NmsBIhtmNLP3ChjRA9Ki6qFu4g6ufAiN4FyXeTCcdTK/b+I59BshXKiyXIuxRFBs5tqNsRsxSADFDO/MIHiU+N8Ml4wWAxjsMUHA+BDoIK4j2WSzr0PqDi9DFpfBvVjUn8Ykz+KCboYD+A6Qph2j7AlM9YFhlJ0HNfhln3lIgLLGMxuANZ97+TGmfedwewxFqR+gGWsQ6ywG+6wXITDCqObzOu+N75mtkPzvrPHPKgWrOEDLGMdYqW3XC7Ecc38W66+F87g4Zzyvje6Ug/ATMdfG61dRmMdgiXJUHzlQhxYckO97jvD4KYF4AAy6m5oHHe6jssdF24zNGTHvhG547VCJdtCT/njGCPpNrx916KxVtDcCA17tP3aw/XEYG/4Y1ifrRC6/YADwei+MX1okJAczgl74yxwI6SWhGvYb2D/KcBR5g2HwyBMp2kUhyl0INyvmtN7B8iWbEfo+XLXIJnxYoHlSxGYfcpO+qvS9hcdJGj+AyeEH8aTYPQUrfzRzDzCKPZHcRwGq3jtp5Hv/9veBRWcVzeX8sOLoCLUYyfK7JWcuKtqOa9O2evX7+ibKOBkg5P195q9Qgns+483mIx9BUoYC4zmaWG97o/B8j8AAAD//wMAUEsDBBQABgAIAAAAIQAJ3QtPIQIAAFsIAAAUAAAAeGwvc2hhcmVkU3RyaW5ncy54bWyEVl1r4zAQfA/kPwi/t7bk78NxKYXAPRwUrvcDVHvTCCzJteTc5d+f0oR78Dgc5MWjmd3R7jrr5umPHtiJJqes2UX8MYkYmc72ynzsol9v+4cqYs5L08vBGtpFZ3LRU7vdNM55FrTG7aKj9+O3OHbdkbR0j3YkE04OdtLSh8fpI3bjRLJ3RyKvh1gkSRFrqUzEOjsbH/ImIe9s1OdML1ekTqO2captfPtmvRya2LdNfAGuoMj9kb3S1JHxaqDl8Q/qlTRL9DuTmkl2mIfhwStNTPYn5ey0wrscULj53IcEjsnwY6OdfCgTswemz2wiN1rj1LsalFd044RaHcIx6XdaC/uVXnbz4M83Evt9tGyc7En1lxid7Emr7uosNGFpTSyBfAmUS6BaAjwBhAMCiXgKnAwQcMML4IBBDg4FOBTgUIBDAQ4F+BHgR4CfFLKnkCuFyCnEySBOBqocODlUNQdVAaoCHBagKkFVQq4SVBWoKuTA3WtQhXccRiGBjvG14YSecV5DLJwZju3n2FuOreTYOY6N4gW6x/LxCmrMKyhX+EtcXkige4G+BPoSOB0CfYkaTKRoIuUwVylmzFCYIStHVo6sAlnlCoSVKDNoR4XCGqEwmFD8MIaIrTVpRRvKCNpy5fIvs54H6dWJ2OqKu7/dYLHt/2207ebn1wZ6vm42t5yqVzn56+77H3N/W1Pbzb1Y5b0dHIePg/YvAAAA//8DAFBLAwQUAAYACAAAACEAnIZDv2ACAAB4BAAAGwAAAHhsL2RyYXdpbmdzL3ZtbERyYXdpbmcxLnZtbIxUTW/bMAy991cI6iEXG/5A2xWqbaDo0Ns2YF23Y6HYSqxWEg2LcZz++lG2mzYbMMxAHIl8/HiPhIvRGkY/58VQ8l3vhK9bZaWPra578LDBuAYrBmv42QKEfwFhs9G1EvPfMWT8jxA11uq9iKV2WsROJImV9U9rHqa+HnvNqzNWgPCt7JSRB9ghG4QaseSq0Ri8wa0bK7sTB2skypJnPAkJkpMMVTHMCfHQKaabkj+NKT1PmKc5ZzVA33j9qkqeZ1dpGk1vzihHR3UDhqp2EtuS2zRKzYKYcSfvdFRzi1QQe3hR7Bm083gwlNxqVP3UH6OGQj627WWjlcOJLryUHEPZGpxTNYZuS97TaSH1gcWR0kc6Pkvza87muPMTjnMLqw68Rg1OyLUHs0N1Q8ys7LfaxUZtUGTpVYc3iwWhExd03esGW5Hl13Ruld62KPKMzq+xdo0aRRayDNrrtTYaD6LVTaPcjfUQ73vZxVNxgSFwxTbamBoM9CU/39CjskCZRFJooSHCcofwJmIA03wInb/Dw4SDgiRaA3sGbpZt7etdr2i4s1xHjf/Q04FTxyEgbdYaRrbIEzpudFCcNIqlQRGaWYV6rGj08IYLYeTWWyeCaquqSMg7tZUMYkk6XUdxZ8KAP9N2sm/rZ0r9YxrrV8B5VVgxii8wqF8a2ztljJ/oBesDreTf1ltXt9BPLbEsYtllxNKIXUQsj9jVp+mSXxbJKD4AKdktEbknNat7abya/G+Wid0ovsO+yoIjHBbbHS2JdVUazMs5aB9uR1qELYj1tMIkBH1uqt8AAAD//wMAUEsDBBQABgAIAAAAIQDFYfBgMQEAAAw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VFLwzAUhd8F/0PJe5tk0yGh7WDKfHEgOFF8C8ndFmzSkFzt+u/N6qyT+Xg5534596Sc722TfUKIpnUV4QUjGTjVauO2FXleL/MbkkWUTsumdVCRHiKZ15cXpfJCtQEeQ+shoIGYJZKLQvmK7BC9oDSqHVgZi+RwSdy0wUpMY9hSL9W73AKdMDajFlBqiZIegLkfieSI1GpE+o/QDACtKDRgwWGkvOD014sQbPx3YVBOnNZg79NNx7inbK2+xdG9j2Y0dl1XdNMhRsrP6evq4Wk4NTfu0JUCUpdaCRVAYhvqkp4OqbhGRlyljjcG9KKv7yWm+hahlw5Leq4n1hBd2ONOltKI7+w/0sv09m69JPWE8VnOrnJ2vZ5wwZhg/O3w/l9AinT2f/UXAAAA//8DAFBLAwQUAAYACAAAACEAV605TP4AAAB0AQAAEAAAAHhsL2NvbW1lbnRzMS54bWxUkM1qwzAQhO+FvoPYe7OODyUtlkIvKYUeekgfQLXXsUA/RqsEp0/fdR0XCkJoPo1mFjX7KXh1ocwuRQ3bTQWKYps6F08aPo+Hhx0oLjZ21qdIGq7EsDf3d02bQqBYWElAZA1DKeMzIrcDBcubNFKUmz7lYIvIfEIeM9mOB6ISPNZV9YjBugimsecypMzrAU2Df+jW8+64mLVUZeo1vNSgFttbp6GSnEKTmLKsD9m+JIe/1cV6DU8gok0+ZeViRxPJi912hvmQYllMRzukYGfY2+D8daH1DPA3sZjXnM6j6ojb7MYif8YNSiVKHS7teBtYwL/RV8XmBwAA//8DAFBLAwQUAAYACAAAACEAsmAdoI0BAAAo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FP4zAQhe9I/IfId+q0oBWqHCMErDgsolILnAdn0li4tuUZonZ/PU6j0nT3sNLeZuY9PX8eW91sN67oMJENvhLTSSkK9CbU1q8r8bL6eXEtCmLwNbjgsRI7JHGjz8/UIoWIiS1SkSM8VaJljnMpybS4AZpk2WelCWkDnNu0lqFprMH7YD436FnOyvKHxC2jr7G+iN+BYkicd/y/oXUwPR+9rnYxA2t1G6OzBjjfUj9ZkwKFhosnMNZzoLZ42Bp0So5tKnMu0XwmyztdKjlu1dKAw7t8hG7AESp5HKhHhH59C7CJtOp43qHhkAqyv/MCZ6J4B8IerBIdJAueM2BvG5p97SJx0m8hfVCLyKRkNgzDfTn2jmt7pWd7Qy5OjX3AAJKFU8SVZYf03Cwg8b+I9wwD74BzG11Ilu6BYQz5jbvs+adj6YTkj7N/Wf9BL3EVch4edns6VMsWEtb5OQ76caAe81qT60PuWvBrrA+ev4X+T7wOH19PryblZZkfeTRT8vjF9RcAAAD//wMAUEsDBBQABgAIAAAAIQBBW7S4qQYAAGAtAAAQAAAAeGwvY2FsY0NoYWluLnhtbGzay25dxxEF0HkA/wNx5zF134ohyoO43YVuVI2cDyCoa0sAHwJJBPHfhwhiIenloY7ow336sWpD8Icf//Vwf/XPy/PLl6fHm832+3ebq8vj3dOnL4+/3Wz+8cvPf32/uXp5vX38dHv/9Hi52fx+edn8+PG7v3y4u72/+/vn2y+PV29veHy52Xx+ff36w/X1y93ny8Pty/dPXy+Pb3/z69Pzw+3r2x+ff7t++fp8uf308vlyeX24v969e3e6fnh7webjh7ur55vNT/vN1ZebzW5zdf+WZHP9x+PDfx9/e3BcH5zWB+f1wdtX/OfV397xt/XB9u3L//9HtluevGVbfuaPzN9evCXulrxbAm9JvCXylsw7Mu/IvCPzjsw7Mu/IvCPzjsw7Mu/IvCfznsx7Mu/JvCfznsx7Mu/JvCfznswHMh/IfCDzgcwHMh/IfCDzgcwHMh/IfCTzkcxHMh/JfCTzkcxHMh/JfCTzkcwnMp/IfCLzicwnMp/IfCLzicwnMp/IfCbzmcxnMp/JfCbzmcxnMp/JfCbzmczvyfyezO/XzH2N3NfEfQ3c17x9jdvXtH0N24G5A3PfEnZLWmDuwNyBuQNzB+YOzB2YOzB3YO7A3IG5A3MH5g7MHZg7MHdg7sDcgbkDcwfmDswdmDswd2DuwNyBuQNzB+YOzB2YOzB3YO7A3IG5A3MH5g7MHZg7MHdg7sDcgbkDcwfmDswdmDswd2DuwNyBuQNzB+YOzB2YOzB3YO7A3IG5A3MH5g7MHZg7MHdg7sDcgbkDcwfm9idPVs4bb2789kbCxlc0vrSxGo0Va6xqY+Ubu9PYwcYuN05C47Q0TlTj1DVOZuP0Nk544xY0bkrjNjVuXONWNm5u43Y3BGgo0ZCkoU1DpIZaDdka+jWEbCjakLahcUPshuoN+RvToTFBGlOmMYka06ox0RpTrzEZG9OzMWEbU7gxqRvTvDHxG62g0Rwa7aLRQBotpdFkGm2n0YgaranRrBrtq9HQGi2u0fQabbDRGNtaKttaO9taTNtaXdtabttaf9taOQOYA84DmAOYA5gDmAOYA5gDmAOYA5gDmAOYA5gDmAOYA5gDmAOYA5gDmAOYA5gDmAOYA5gDmAOYA5gDmAOYA5gDmAOYA5gDmAOYA5gDmAOYA5gDmAOYA5gDmAOYA5gDmAOYA5gDmAOYA5gDmAOYA5gDmAOYA5gDmAOYA5gDmAOYA5gDmAOYA5gDmAOYA5gDmAOYY4U5VphjhTlWmGOFOVaYY4V58GD9T8b60rH+2rEGG2v0sX7c4PsHazRYx8FaD/ZjsGeDfR3s/eB8DM7Q4JwNzuLgvA7O9ODcD+7G4P4M7tjgHg7u6uA+D+78wIWBHQNfBgYNnBpYNvBuYOLAzYGtA38HRg8cH1g/mAeDmTGYK4PZM5hPgxk2mHODWTiYl4OZOpi7g9k8mN+DGT/oAYOuMOgTg84x6CWD7jLoN4MONOhJgy416FuDTjbobYNuN+h/g4446JGDrjnoo4POOui1g+476MfzT56s/5QxefPkt08STr5i8qWT1Zis2GRVJys/2Z3JDk52eXISJqdlcqImp25yMiend3LCJ7dgclMmt2ly4ya3cnJzJ7d7IsBEiYkkE20mIk3Umsg20W8i5ETRibQTjSdiT1SfyD+ZDpMJMpkyk0k0mVaTiTaZepPJOJmekwk7mcKTST2Z5pOJP2kFk+YwaReTBjJpKZMmM2k7k0Y0aU2TZjVpX5OGNmlxk6Y3aYOTxjjXUjnX2jnXYjrX6jrXcjvX+jvXglzrT9T6jlp/S605ak1a67cUn1ssSbFsxdIWy19sUbGNxVYXx6E4MsWxKo5ecTyLI1wc8+IqFNeluFLFtSuuZnF9iyteMFBQUXBSkFOwVNBV8FYQWDBZUFpwW5BcsF3QXvBfjIhijBSjphhHxcgqxlox+orxWIzQYswWo7gY18VIL8Z+UQ2K+lBUjKKGFFWlqDNF5SlqUVGdinpVVLCiphVVrqh7RSUsamNRLYv6WVTUosYWBbmow7XCnKvDuTqcq8O5Opyrw4nDicOJw4nDicOJw4nDicOJw4nDicOJw4nDicOJw4nDicOJw4nDicOJw4nDicOJw4nDicOJw4nDicOJw4nDicOJw4nDicOJw4nDicOJw4nDicOJw4nDicOJw4nDicOJw4nDicOJw4nDicOJw4nDicOJw4nDicOJw4nDicOJw4nDicOJw4nDicOJw4nDicOJw4nDufbh/B+Yr7/9v9Ef/w0AAP//AwBQSwECLQAUAAYACAAAACEASRKs94wBAAB4BgAAEwAAAAAAAAAAAAAAAAAAAAAAW0NvbnRlbnRfVHlwZXNdLnhtbFBLAQItABQABgAIAAAAIQBQfE7B9gAAAEwCAAALAAAAAAAAAAAAAAAAAMUDAABfcmVscy8ucmVsc1BLAQItABQABgAIAAAAIQAAQZj4CQEAAMwDAAAaAAAAAAAAAAAAAAAAAOwGAAB4bC9fcmVscy93b3JrYm9vay54bWwucmVsc1BLAQItABQABgAIAAAAIQBwR8FY2gEAABADAAAPAAAAAAAAAAAAAAAAADUJAAB4bC93b3JrYm9vay54bWxQSwECLQAUAAYACAAAACEAEQ9zmhQGAACnLQAADQAAAAAAAAAAAAAAAAA8CwAAeGwvc3R5bGVzLnhtbFBLAQItABQABgAIAAAAIQDnZXW41gAAALgBAAAjAAAAAAAAAAAAAAAAAHsRAAB4bC93b3Jrc2hlZXRzL19yZWxzL3NoZWV0MS54bWwucmVsc1BLAQItABQABgAIAAAAIQCPgEGuyyYAAHTcAAAYAAAAAAAAAAAAAAAAAJISAAB4bC93b3Jrc2hlZXRzL3NoZWV0Mi54bWxQSwECLQAUAAYACAAAACEA+2KlbZQGAACnGwAAEwAAAAAAAAAAAAAAAACTOQAAeGwvdGhlbWUvdGhlbWUxLnhtbFBLAQItABQABgAIAAAAIQDyoyP9hwMAAF0IAAAYAAAAAAAAAAAAAAAAAFhAAAB4bC93b3Jrc2hlZXRzL3NoZWV0MS54bWxQSwECLQAUAAYACAAAACEACd0LTyECAABbCAAAFAAAAAAAAAAAAAAAAAAVRAAAeGwvc2hhcmVkU3RyaW5ncy54bWxQSwECLQAUAAYACAAAACEAnIZDv2ACAAB4BAAAGwAAAAAAAAAAAAAAAABoRgAAeGwvZHJhd2luZ3Mvdm1sRHJhd2luZzEudm1sUEsBAi0AFAAGAAgAAAAhAMVh8GAxAQAADAIAABEAAAAAAAAAAAAAAAAAAUkAAGRvY1Byb3BzL2NvcmUueG1sUEsBAi0AFAAGAAgAAAAhAFetOUz+AAAAdAEAABAAAAAAAAAAAAAAAAAAaUsAAHhsL2NvbW1lbnRzMS54bWxQSwECLQAUAAYACAAAACEAsmAdoI0BAAAoAwAAEAAAAAAAAAAAAAAAAACVTAAAZG9jUHJvcHMvYXBwLnhtbFBLAQItABQABgAIAAAAIQBBW7S4qQYAAGAtAAAQAAAAAAAAAAAAAAAAAFhPAAB4bC9jYWxjQ2hhaW4ueG1sUEsFBgAAAAAPAA8A3AMAAC9WAAAAAAUj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4AAAABUFyaWFsBnkAAAAGK21uLWVhCXoAAAABAAl7AAAAByQAAAAAAQAAABEAAAAEFFN5c3RlbS5EcmF3aW5nLkNvbG9yBAAAAAV8AAAAFFN5c3RlbS5EcmF3aW5nLkNvbG9yBAAAAAV2YWx1ZQVzdGF0ZQprbm93bkNvbG9yBG5hbWUAAAABCQcHBAAAAAAAAAAAAAAAAAAAAAoBfQAAAHwAAAAAAAD//////wIAAAAKAX4AAAB8AAAA//////////8CAAAACgF/AAAAfAAAAE5BIv//////AgAAAAoBgAAAAHwAAADe3Nv//////wIAAAAKAYEAAAB8AAAAfmk///////8CAAAACgGCAAAAfAAAAIyEcv//////AgAAAAoBgwAAAHwAAAAlIe3//////wIAAAAKAYQAAAB8AAAANDtG//////8CAAAACgGFAAAAfAAAAHSYw///////AgAAAAoBhgAAAHwAAAAelPf//////wIAAAAKAYcAAAB8AAAAHpT3//////8CAAAACgGIAAAAfAAAACUh7f//////AgAAAAoBiQAAAHwAAAAAAAD//////wIAAAAKAYoAAAB8AAAA//////////8CAAAACgGLAAAAfAAAAE5BIv//////AgAAAAoBjAAAAHwAAADe3Nv//////wIAAAAKBCUAAACYAVN5c3RlbS5Db2xsZWN0aW9ucy5HZW5lcmljLkxpc3RgMVtbQXBsb3Jpcy5CYXNlLk9iamVjdHMuRGF0YU9iamVjdCwgQXBsb3Jpcy5CYXNlLCBWZXJzaW9uPTQuMC4wLjE0NzcsIEN1bHR1cmU9bmV1dHJhbCwgUHVibGljS2V5VG9rZW49MTZmYzEzYTIyNmMwZTk1MV1dAwAAAAZfaXRlbXMFX3NpemUIX3ZlcnNpb24EAAAhQXBsb3Jpcy5CYXNlLk9iamVjdHMuRGF0YU9iamVjdFtdAwAAAAgICY0AAAANAAAAEQAAAAQmAAAAlQFTeXN0ZW0uQ29sbGVjdGlvbnMuR2VuZXJpYy5MaXN0YDFbW0FwbG9yaXMuQmFzZS5VSS5WaXN1YWxPYmplY3QsIEFwbG9yaXMuQmFzZSwgVmVyc2lvbj00LjAuMC4xNDc3LCBDdWx0dXJlPW5ldXRyYWwsIFB1YmxpY0tleVRva2VuPTE2ZmMxM2EyMjZjMGU5NTFdXQMAAAAGX2l0ZW1zBV9zaXplCF92ZXJzaW9uBAAAHkFwbG9yaXMuQmFzZS5VSS5WaXN1YWxPYmplY3RbXQMAAAAICAmOAAAAAQAAAAEAAAAFKAAAAJsBQXBsb3Jpcy5CYXNlLk9iamVjdHMuRGF0YU9iamVjdENvbGxlY3Rpb25gMVtbQXBsb3Jpcy5DaGFydC5WYWx1ZUxpbmUsIEFwbG9yaXMuQ2hhcnQsIFZlcnNpb249NC4wLjAuMTQ3Ny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AuMC4xNDc3LCBDdWx0dXJlPW5ldXRyYWwsIFB1YmxpY0tleVRva2VuPTE2ZmMxM2EyMjZjMGU5NTFdXQMAAACRAVN5c3RlbS5Db2xsZWN0aW9ucy5HZW5lcmljLkxpc3RgMVtbQXBsb3Jpcy5DaGFydC5WYWx1ZUxpbmUsIEFwbG9yaXMuQ2hhcnQsIFZlcnNpb249NC4wLjAuMTQ3NywgQ3VsdHVyZT1uZXV0cmFsLCBQdWJsaWNLZXlUb2tlbj0xNmZjMTNhMjI2YzBlOTUxXV2YAVN5c3RlbS5Db2xsZWN0aW9ucy5HZW5lcmljLkxpc3RgMVtbQXBsb3Jpcy5CYXNlLk9iamVjdHMuRGF0YU9iamVjdCwgQXBsb3Jpcy5CYXNlLCBWZXJzaW9uPTQuMC4wLjE0Nzc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NzcsIEN1bHR1cmU9bmV1dHJhbCwgUHVibGljS2V5VG9rZW49MTZmYzEzYTIyNmMwZTk1MV1dAwAAAAoJjwAAAAmQAAAACQYAAAAJAQAAAAmRAAAABSkAAACbAUFwbG9yaXMuQmFzZS5PYmplY3RzLkRhdGFPYmplY3RDb2xsZWN0aW9uYDFbW0FwbG9yaXMuQ2hhcnQuQXhpc0JyZWFrLCBBcGxvcmlzLkNoYXJ0LCBWZXJzaW9uPTQuMC4wLjE0Nzc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wLjAuMTQ3NywgQ3VsdHVyZT1uZXV0cmFsLCBQdWJsaWNLZXlUb2tlbj0xNmZjMTNhMjI2YzBlOTUxXV0DAAAAkQFTeXN0ZW0uQ29sbGVjdGlvbnMuR2VuZXJpYy5MaXN0YDFbW0FwbG9yaXMuQ2hhcnQuQXhpc0JyZWFrLCBBcGxvcmlzLkNoYXJ0LCBWZXJzaW9uPTQuMC4wLjE0NzcsIEN1bHR1cmU9bmV1dHJhbCwgUHVibGljS2V5VG9rZW49MTZmYzEzYTIyNmMwZTk1MV1dmAFTeXN0ZW0uQ29sbGVjdGlvbnMuR2VuZXJpYy5MaXN0YDFbW0FwbG9yaXMuQmFzZS5PYmplY3RzLkRhdGFPYmplY3QsIEFwbG9yaXMuQmFzZSwgVmVyc2lvbj00LjAuMC4xNDc3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c3LCBDdWx0dXJlPW5ldXRyYWwsIFB1YmxpY0tleVRva2VuPTE2ZmMxM2EyMjZjMGU5NTFdXQMAAAAKCZIAAAAJkwAAAAkGAAAACQEAAAAJlA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aAAAAAMAAAAJaQAAAAlqAAAACWsAAAABAAAAAAoKCWwAAAAAAAAACgAAAAAAAAAABS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gAAAADAAAACWkAAAAJagAAAAlrAAAAAQAAAAAKBpUAAAABJQlsAAAAAQAAAAoAAAAAAAAAAAUtAAAAmgFBcGxvcmlzLkJhc2UuT2JqZWN0cy5EYXRhT2JqZWN0Q29sbGVjdGlvbmAxW1tBcGxvcmlzLkNoYXJ0LlRpY2tNYXJrLCBBcGxvcmlzLkNoYXJ0LCBWZXJzaW9uPTQuMC4wLjE0Nzc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AuMC4xNDc3LCBDdWx0dXJlPW5ldXRyYWwsIFB1YmxpY0tleVRva2VuPTE2ZmMxM2EyMjZjMGU5NTFdXQMAAACQAVN5c3RlbS5Db2xsZWN0aW9ucy5HZW5lcmljLkxpc3RgMVtbQXBsb3Jpcy5DaGFydC5UaWNrTWFyaywgQXBsb3Jpcy5DaGFydCwgVmVyc2lvbj00LjAuMC4xNDc3LCBDdWx0dXJlPW5ldXRyYWwsIFB1YmxpY0tleVRva2VuPTE2ZmMxM2EyMjZjMGU5NTFdXZgBU3lzdGVtLkNvbGxlY3Rpb25zLkdlbmVyaWMuTGlzdGAxW1tBcGxvcmlzLkJhc2UuT2JqZWN0cy5EYXRhT2JqZWN0LCBBcGxvcmlzLkJhc2UsIFZlcnNpb249NC4wLjAuMTQ3Ny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3NywgQ3VsdHVyZT1uZXV0cmFsLCBQdWJsaWNLZXlUb2tlbj0xNmZjMTNhMjI2YzBlOTUxXV0DAAAACgmWAAAACZcAAAAJBgAAAAkBAAAACZgAAAAFMA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ZAAAAIQAAALronEK9DKNDAZoAAAAhAAAALXojRL0Mo0MJmwAAALgBAAD/////AQEKCZwAAAABAAoABzEAAAAAAQAAAAUAAAAEFVN5c3RlbS5EcmF3aW5nLlBvaW50RgQAAAABnQAAACEAAAAtOiREvQyjQwGeAAAAIQAAALronEJ0+rBDAZ8AAAAhAAAARBe3Q3T6sEMBoAAAACEAAAAteiNEdPqwQwGhAAAAIQAAAC06JES9jKVDBzIAAAAAAQAAAAUAAAAEF0FwbG9yaXMuQmFzZS5BbmNob3JNb2RlAwAAAAWiAAAAF0FwbG9yaXMuQmFzZS5BbmNob3JNb2RlAQAAAAd2YWx1ZV9fAAgDAAAABAAAAAGjAAAAogAAAAUAAAABpAAAAKIAAAADAAAAAaUAAACiAAAABgAAAAGmAAAAogAAAAUAAAAPMwAAAAUAAAABAAAAAAEFNAAAABVBcGxvcmlzLkJhc2UuVUkuTGFiZWwcAAAAD21BbmNob3JQb3NpdGlvbgttQW5jaG9yTW9kZQ9tQWRkSW5uZXJNYXJnaW4WbU9mZnNldERpcmVjdGlvbkFuY2hvchdtT2Zmc2V0T3J0aG9nb25hbEFuY2hvcgttVGV4dEZvcm1hdAltUm90YXRpb24KbUJhY2tDb2xvcg1tVXNlQmFja0NvbG9yDm1Vc2V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BAQEAAEDAwEAAAAABwIAAAMA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3NywgQ3VsdHVyZT1uZXV0cmFsLCBQdWJsaWNLZXlUb2tlbj0xNmZjMTNhMjI2YzBlOTUxXV2WAVN5c3RlbS5Db2xsZWN0aW9ucy5HZW5lcmljLkxpc3RgMVtbQXBsb3Jpcy5CYXNlLk9iamVjdHMuVmFyaWFibGUsIEFwbG9yaXMuQmFzZSwgVmVyc2lvbj00LjAuMC4xNDc3LCBDdWx0dXJlPW5ldXRyYWwsIFB1YmxpY0tleVRva2VuPTE2ZmMxM2EyMjZjMGU5NTFdXQgIAQEIAQEPU3lzdGVtLkludFB0cltdAQMAAAABpwAAACEAAAAtOiREvQyjQwGoAAAAogAAAAQAAAAAAAAAAAAAAAAJqQAAAAAAAAAJqgAAAAAABasAAAAqQXBsb3Jpcy5CYXNlLlVJLkxhYmVsK0xpbmVBbGlnbm1lbnRPcHRpb25zAQAAAAd2YWx1ZV9fAAgDAAAAAAAAAAGsAAAAdAAAAAAAAAAAAAAAAa0AAAAVAAAAAAAAAAAAAAAAAAAAAAAAAAAAAAAGrgAAAA1DYXRlZ29yeSBheGlzCgmvAAAACa4AAADkAgAA/////wABCgmwAAAAAQAKAQE1AAAAJQAAAAmxAAAABgAAAAYAAAABNgAAACYAAAAJsgAAAAIAAAACAAAAATgAAAAoAAAACgmzAAAACbQAAAAJBwAAAAkBAAAACbUAAAABOQAAACkAAAAKCbYAAAAJtwAAAAkHAAAACQEAAAAJuA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HAAAACQEAAAAAAAAAAAloAAAAAwAAAAlpAAAACWoAAAAJawAAAAEAAAAACgoJbAAAAAAAAAAKAAAAAAA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wAAAAkBAAAAAAAAAAAJaAAAAAMAAAAJaQAAAAlqAAAACWsAAAABAAAAAAoKCWwAAAAAAAAACgAAAAAAAAAABT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gAAAADAAAACWkAAAAJagAAAAlrAAAAAQAAAAAKCZUAAAAJbAAAAAEAAAAKAAAAAAAAAAABPQAAAC0AAAAKCbkAAAAJugAAAAkHAAAACQEAAAAJuwAAAAFAAAAAMAAAAAG8AAAAIQAAALronEK9DKNDAb0AAAAhAAAAuuicQhiZDkIJvgAAALgBAAD/////AQEKCb8AAAABAAoAB0EAAAAAAQAAAAUAAAAEFVN5c3RlbS5EcmF3aW5nLlBvaW50RgQAAAABwAAAACEAAAC66JxCVHvvQQHBAAAAIQAAABJLWUK9DKNDAcIAAAAhAAAAEktZQuDfNEMBwwAAACEAAAASS1lCGJkOQgHEAAAAIQAAABJLWUJUe+9BB0IAAAAAAQAAAAUAAAAEF0FwbG9yaXMuQmFzZS5BbmNob3JNb2RlAwAAAAHFAAAAogAAAAEAAAABxgAAAKIAAAAIAAAAAccAAACiAAAAAgAAAAHIAAAAogAAAAYAAAAByQAAAKIAAAAHAAAAD0MAAAAFAAAAAQAAAAABAUQAAAA0AAAAAcoAAAAhAAAAuuicQlR770EBywAAAKIAAAABAAAAALroAkEAAAAACcwAAAAAAAAACc0AAAAAAAHOAAAAqwAAAAAAAAABzwAAAHQAAAAAADtDAACAQQHQAAAAFQAAAAAAIEEAACBBVowIQ27bNkESg74/BtEAAAAaTnVtYmVyIG9mIFN0dWRlbnRzIEFkdmlzZWQKCdIAAAAJ0QAAAOQCAAD/////AQEKCdMAAAABAAoBAUUAAAAlAAAACdQAAAAGAAAABgAAAAFGAAAAJgAAAAnVAAAAAgAAAAIAAAAHRwAAAAABAAAAAAAAAAQuQXBsb3Jpcy5DaGFydC5Db2x1bW5PcmllbnRlZENoYXJ0K1VudXNlZFNlcmllcwIAAAAESAAAAJcBU3lzdGVtLkNvbGxlY3Rpb25zLkdlbmVyaWMuTGlzdGAxW1tBcGxvcmlzLkNoYXJ0LkNoYXJ0RGF0YVNlcmllcywgQXBsb3Jpcy5DaGFydCwgVmVyc2lvbj00LjAuMC4xNDc3LCBDdWx0dXJlPW5ldXRyYWwsIFB1YmxpY0tleVRva2VuPTE2ZmMxM2EyMjZjMGU5NTFdXQMAAAAGX2l0ZW1zBV9zaXplCF92ZXJzaW9uBAAAH0FwbG9yaXMuQ2hhcnQuQ2hhcnREYXRhU2VyaWVzW10CAAAACAgJ1gAAAAMAAAAtAAAAAUkAAAAlAAAACdcAAAADAAAADQAAAAFKAAAAJgAAAAnYAAAAAAAAAAAAAAAESwAAAJwBU3lzdGVtLkNvbGxlY3Rpb25zLkdlbmVyaWMuTGlzdGAxW1tBcGxvcmlzLkNoYXJ0LkFubm90YXRpb25EYXRhU2VyaWVzLCBBcGxvcmlzLkNoYXJ0LCBWZXJzaW9uPTQuMC4wLjE0NzcsIEN1bHR1cmU9bmV1dHJhbCwgUHVibGljS2V5VG9rZW49MTZmYzEzYTIyNmMwZTk1MV1dAwAAAAZfaXRlbXMFX3NpemUIX3ZlcnNpb24EAAAkQXBsb3Jpcy5DaGFydC5Bbm5vdGF0aW9uRGF0YVNlcmllc1tdAgAAAAgICdkAAAABAAAAAQAAAAFMAAAAJQAAAAnaAAAAAQAAAAEAAAABTQAAACYAAAAJ2AAAAAAAAAAAAAAABE4AAACXAVN5c3RlbS5Db2xsZWN0aW9ucy5HZW5lcmljLkxpc3RgMVtbQXBsb3Jpcy5DaGFydC5Bbm5vdGF0aW9uR3JvdXAsIEFwbG9yaXMuQ2hhcnQsIFZlcnNpb249NC4wLjAuMTQ3NywgQ3VsdHVyZT1uZXV0cmFsLCBQdWJsaWNLZXlUb2tlbj0xNmZjMTNhMjI2YzBlOTUxXV0DAAAABl9pdGVtcwVfc2l6ZQhfdmVyc2lvbgQAAB9BcGxvcmlzLkNoYXJ0LkFubm90YXRpb25Hcm91cFtdAgAAAAgICdsAAAAAAAAAAAAAAAFPAAAAJQAAAAncAAAAAAAAAAAAAAABUAAAACYAAAAJ2AAAAAAAAAAAAAAABFEAAACWAVN5c3RlbS5Db2xsZWN0aW9ucy5HZW5lcmljLkxpc3RgMVtbQXBsb3Jpcy5DaGFydC5DaGFydERhdGFHcm91cCwgQXBsb3Jpcy5DaGFydCwgVmVyc2lvbj00LjAuMC4xNDc3LCBDdWx0dXJlPW5ldXRyYWwsIFB1YmxpY0tleVRva2VuPTE2ZmMxM2EyMjZjMGU5NTFdXQMAAAAGX2l0ZW1zBV9zaXplCF92ZXJzaW9uBAAAHkFwbG9yaXMuQ2hhcnQuQ2hhcnREYXRhR3JvdXBbXQIAAAAICAndAAAAAwAAAA0AAAABUgAAACUAAAAJ3gAAAAMAAAANAAAAAVMAAAAmAAAACdgAAAAAAAAAAAAAAARUAAAAkAFTeXN0ZW0uQ29sbGVjdGlvbnMuR2VuZXJpYy5MaXN0YDFbW0FwbG9yaXMuQ2hhcnQuRGVsdGFCYXIsIEFwbG9yaXMuQ2hhcnQsIFZlcnNpb249NC4wLjAuMTQ3NywgQ3VsdHVyZT1uZXV0cmFsLCBQdWJsaWNLZXlUb2tlbj0xNmZjMTNhMjI2YzBlOTUxXV0DAAAABl9pdGVtcwVfc2l6ZQhfdmVyc2lvbgQAABhBcGxvcmlzLkNoYXJ0LkRlbHRhQmFyW10CAAAACAgJ3wAAAAAAAAAAAAAAAVUAAAAlAAAACdwAAAAAAAAAAAAAAAFWAAAAJgAAAAnYAAAAAAAAAAAAAAAEVwAAAJMBU3lzdGVtLkNvbGxlY3Rpb25zLkdlbmVyaWMuTGlzdGAxW1tBcGxvcmlzLkNoYXJ0LkRlbHRhQnJpZGdlLCBBcGxvcmlzLkNoYXJ0LCBWZXJzaW9uPTQuMC4wLjE0NzcsIEN1bHR1cmU9bmV1dHJhbCwgUHVibGljS2V5VG9rZW49MTZmYzEzYTIyNmMwZTk1MV1dAwAAAAZfaXRlbXMFX3NpemUIX3ZlcnNpb24EAAAbQXBsb3Jpcy5DaGFydC5EZWx0YUJyaWRnZVtdAgAAAAgICeAAAAAAAAAAAAAAAAFYAAAAJQAAAAncAAAAAAAAAAAAAAABWQAAACYAAAAJ2AAAAAAAAAAAAAAABFoAAACTAVN5c3RlbS5Db2xsZWN0aW9ucy5HZW5lcmljLkxpc3RgMVtbQXBsb3Jpcy5DaGFydC5Hcm93dGhBcnJvdywgQXBsb3Jpcy5DaGFydCwgVmVyc2lvbj00LjAuMC4xNDc3LCBDdWx0dXJlPW5ldXRyYWwsIFB1YmxpY0tleVRva2VuPTE2ZmMxM2EyMjZjMGU5NTFdXQMAAAAGX2l0ZW1zBV9zaXplCF92ZXJzaW9uBAAAG0FwbG9yaXMuQ2hhcnQuR3Jvd3RoQXJyb3dbXQIAAAAICAnhAAAAAAAAAAAAAAABWwAAACUAAAAJ3AAAAAAAAAAAAAAAAVwAAAAmAAAACdgAAAAAAAAAAAAAAARdAAAAmgFTeXN0ZW0uQ29sbGVjdGlvbnMuR2VuZXJpYy5MaXN0YDFbW0FwbG9yaXMuQ2hhcnQuV2F0ZXJmYWxsQ29ubmVjdG9yLCBBcGxvcmlzLkNoYXJ0LCBWZXJzaW9uPTQuMC4wLjE0NzcsIEN1bHR1cmU9bmV1dHJhbCwgUHVibGljS2V5VG9rZW49MTZmYzEzYTIyNmMwZTk1MV1dAwAAAAZfaXRlbXMFX3NpemUIX3ZlcnNpb24EAAAiQXBsb3Jpcy5DaGFydC5XYXRlcmZhbGxDb25uZWN0b3JbXQIAAAAICAniAAAAAAAAAAAAAAABXgAAACUAAAAJ3AAAAAAAAAAAAAAAAV8AAAAmAAAACdgAAAAAAAAAAAAAAARgAAAAmAFTeXN0ZW0uQ29sbGVjdGlvbnMuR2VuZXJpYy5MaXN0YDFbW0FwbG9yaXMuQ2hhcnQuRWxlbWVudENvbm5lY3RvciwgQXBsb3Jpcy5DaGFydCwgVmVyc2lvbj00LjAuMC4xNDc3LCBDdWx0dXJlPW5ldXRyYWwsIFB1YmxpY0tleVRva2VuPTE2ZmMxM2EyMjZjMGU5NTFdXQMAAAAGX2l0ZW1zBV9zaXplCF92ZXJzaW9uBAAAIEFwbG9yaXMuQ2hhcnQuRWxlbWVudENvbm5lY3RvcltdAgAAAAgICeMAAAAAAAAAAAAAAAFhAAAAJQAAAAncAAAAAAAAAAAAAAABYgAAACYAAAAJ2AAAAAAAAAAAAAAABWMAAACtAUFwbG9yaXMuQmFzZS5PYmplY3RzLkRhdGFPYmplY3RDb2xsZWN0aW9uYDFbW0FwbG9yaXMuQ2hhcnQuQ29sdW1uT3JpZW50ZWRMZWdlbmRFbGVtZW50LCBBcGxvcmlzLkNoYXJ0LCBWZXJzaW9uPTQuMC4wLjE0NzcsIEN1bHR1cmU9bmV1dHJhbCwgUHVibGljS2V5VG9rZW49MTZmYzEzYTIyNmMwZTk1MV1dBgAAAAttQ29sbGVjdGlvbgVtTGlzdBhEYXRhT2JqZWN0K21DaGlsZE9iamVjdHMSRGF0YU9iamVjdCttUGFyZW50FURhdGFPYmplY3QrbUNvbnRhaW5lchlEYXRhT2JqZWN0K21WaXN1YWxPYmplY3RzBAMDBAQDqwFBcGxvcmlzLkJhc2UuT2JqZWN0cy5Tb3J0YWJsZUNvbGxlY3Rpb25gMVtbQXBsb3Jpcy5DaGFydC5Db2x1bW5PcmllbnRlZExlZ2VuZEVsZW1lbnQsIEFwbG9yaXMuQ2hhcnQsIFZlcnNpb249NC4wLjAuMTQ3NywgQ3VsdHVyZT1uZXV0cmFsLCBQdWJsaWNLZXlUb2tlbj0xNmZjMTNhMjI2YzBlOTUxXV0DAAAAowFTeXN0ZW0uQ29sbGVjdGlvbnMuR2VuZXJpYy5MaXN0YDFbW0FwbG9yaXMuQ2hhcnQuQ29sdW1uT3JpZW50ZWRMZWdlbmRFbGVtZW50LCBBcGxvcmlzLkNoYXJ0LCBWZXJzaW9uPTQuMC4wLjE0NzcsIEN1bHR1cmU9bmV1dHJhbCwgUHVibGljS2V5VG9rZW49MTZmYzEzYTIyNmMwZTk1MV1dmAFTeXN0ZW0uQ29sbGVjdGlvbnMuR2VuZXJpYy5MaXN0YDFbW0FwbG9yaXMuQmFzZS5PYmplY3RzLkRhdGFPYmplY3QsIEFwbG9yaXMuQmFzZSwgVmVyc2lvbj00LjAuMC4xNDc3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c3LCBDdWx0dXJlPW5ldXRyYWwsIFB1YmxpY0tleVRva2VuPTE2ZmMxM2EyMjZjMGU5NTFdXQMAAAAKCeQAAAAJ5QAAAAkUAAAACQEAAAAJ5gAAAAFlAAAAHAAAAAHnAAAAIQAAAC6yCkQAADhBAegAAAAhAAAALrIeRNFFjEIJ6QAAAAnqAAAAAAAAAAoB6wAAAHQAAAAAAAAAAAAAAAHsAAAAdAAAAAAAAAAAAAAAAAAAAAHtAAAAFQAAAAAAAAAAAAAAAAAAAAAAAACkAQAA/////wEBCgnuAAAAAQAKAAFmAAAAJQAAAAnvAAAAAQAAAAEAAAABZwAAACYAAAAJ8AAAAAEAAAABAAAABXI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8QAAAAnyAAAAAQAAAP7///8BAAAAAQAAAAEAAAABAAAAAQAAAAEAAAAAAAEFcw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zAAAACfQAAAABAAAAAAAAAAAAAAAAAAAAAAEFdwAAAB9BcGxvcmlzLkJhc2UuT2JqZWN0cy5QZXJzSWREYXRhAgAAAANtSWQLbUN1c3RvbURhdGEHAggDAAAACfUAAAAKBXoAAAAaQXBsb3Jpcy5CYXNlLk9iamVjdHMuQ29sb3IHAAAAEkRhdGFPYmplY3QrbVBhcmVudBVEYXRhT2JqZWN0K21Db250YWluZXIFbVR5cGUEbVJHQhBtVGhlbWVDb2xvckluZGV4DG1BdXRvVXBkYXRlZAltTW9kaWZpZWQCAgAAAAAACAgIAQEDAAAACgoAAAAAAAAAAA0AAAAAAQF7AAAAegAAAAoKAQAAAAAAAAD/////AAEHjQAAAAABAAAAEAAAAAQfQXBsb3Jpcy5CYXNlLk9iamVjdHMuRGF0YU9iamVjdAMAAAAJCQAAAAkKAAAACQsAAAAJDAAAAAkQAAAACREAAAAJDQAAAAkOAAAACQ8AAAAJBwAAAAkGAAAACRgAAAAJFAAAAA0DB44AAAAAAQAAAAQAAAAEHEFwbG9yaXMuQmFzZS5VSS5WaXN1YWxPYmplY3QDAAAACRwAAAANAwSPAAAAkQFTeXN0ZW0uQ29sbGVjdGlvbnMuR2VuZXJpYy5MaXN0YDFbW0FwbG9yaXMuQ2hhcnQuVmFsdWVMaW5lLCBBcGxvcmlzLkNoYXJ0LCBWZXJzaW9uPTQuMC4wLjE0NzcsIEN1bHR1cmU9bmV1dHJhbCwgUHVibGljS2V5VG9rZW49MTZmYzEzYTIyNmMwZTk1MV1dAwAAAAZfaXRlbXMFX3NpemUIX3ZlcnNpb24EAAAZQXBsb3Jpcy5DaGFydC5WYWx1ZUxpbmVbXQIAAAAICAn2AAAAAAAAAAAAAAABkAAAACUAAAAJ3AAAAAAAAAAAAAAAAZEAAAAmAAAACdgAAAAAAAAAAAAAAASSAAAAkQFTeXN0ZW0uQ29sbGVjdGlvbnMuR2VuZXJpYy5MaXN0YDFbW0FwbG9yaXMuQ2hhcnQuQXhpc0JyZWFrLCBBcGxvcmlzLkNoYXJ0LCBWZXJzaW9uPTQuMC4wLjE0NzcsIEN1bHR1cmU9bmV1dHJhbCwgUHVibGljS2V5VG9rZW49MTZmYzEzYTIyNmMwZTk1MV1dAwAAAAZfaXRlbXMFX3NpemUIX3ZlcnNpb24EAAAZQXBsb3Jpcy5DaGFydC5BeGlzQnJlYWtbXQIAAAAICAn3AAAAAAAAAAAAAAABkwAAACUAAAAJ3AAAAAAAAAAAAAAAAZQAAAAmAAAACdgAAAAAAAAAAAAAAASWAAAAkAFTeXN0ZW0uQ29sbGVjdGlvbnMuR2VuZXJpYy5MaXN0YDFbW0FwbG9yaXMuQ2hhcnQuVGlja01hcmssIEFwbG9yaXMuQ2hhcnQsIFZlcnNpb249NC4wLjAuMTQ3NywgQ3VsdHVyZT1uZXV0cmFsLCBQdWJsaWNLZXlUb2tlbj0xNmZjMTNhMjI2YzBlOTUxXV0DAAAABl9pdGVtcwVfc2l6ZQhfdmVyc2lvbgQAABhBcGxvcmlzLkNoYXJ0LlRpY2tNYXJrW10CAAAACAgJ+AAAAAAAAAAAAAAAAZcAAAAlAAAACdwAAAAAAAAAAAAAAAGYAAAAJgAAAAnYAAAAAAAAAAAAAAABmwAAAHIAAAAKCgAAAEA/CfkAAAAJ+gAAAAEAAAD+////AAAAAAEAAAAAAAAAAAAAAAEAAAAAAAAAAAAAAZwAAAB3AAAACfsAAAAKBak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4AAAACXkAAAAJ/AAAAAEACf0AAAABqgAAAHoAAAAKCgEAAAAAAAAA/////wABBK8AAACWAVN5c3RlbS5Db2xsZWN0aW9ucy5HZW5lcmljLkxpc3RgMVtbQXBsb3Jpcy5CYXNlLk9iamVjdHMuVmFyaWFibGUsIEFwbG9yaXMuQmFzZSwgVmVyc2lvbj00LjAuMC4xNDc3LCBDdWx0dXJlPW5ldXRyYWwsIFB1YmxpY0tleVRva2VuPTE2ZmMxM2EyMjZjMGU5NTFdXQMAAAAGX2l0ZW1zBV9zaXplCF92ZXJzaW9uBAAAH0FwbG9yaXMuQmFzZS5PYmplY3RzLlZhcmlhYmxlW10DAAAACAgJ/gAAAAAAAAAAAAAAAbAAAAB3AAAACf8AAAAKB7EAAAAAAQAAAAgAAAAEH0FwbG9yaXMuQmFzZS5PYmplY3RzLkRhdGFPYmplY3QDAAAACSoAAAAJKwAAAAksAAAACS0AAAAJKAAAAAkpAAAACgoHsgAAAAABAAAABAAAAAQcQXBsb3Jpcy5CYXNlLlVJLlZpc3VhbE9iamVjdAMAAAAJMAAAAAk0AAAACgoBswAAAI8AAAAJ9gAAAAAAAAAAAAAAAbQAAAAlAAAACdwAAAAAAAAAAAAAAAG1AAAAJgAAAAnYAAAAAAAAAAAAAAABtgAAAJIAAAAJ9wAAAAAAAAAAAAAAAbcAAAAlAAAACdwAAAAAAAAAAAAAAAG4AAAAJgAAAAnYAAAAAAAAAAAAAAABuQAAAJYAAAAJAAEAAAYAAAAmAAAAAboAAAAlAAAACQEBAAAGAAAAJgAAAAG7AAAAJgAAAAnYAAAAAAAAAAAAAAABvgAAAHIAAAAKCgAAAEA/CQIBAAAJAwEAAAEAAAD+////AAAAAAEAAAAAAAAAAAAAAAEAAAAAAAAAAAAAAb8AAAB3AAAACQQBAAAKBcw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AoQQl4AAAACXkAAAAJBQEAAAAACQYBAAABzQAAAHoAAAAKCgAAAAD///8ADgAAAAABAdIAAACvAAAACf4AAAAAAAAAAQAAAAHTAAAAdwAAAAkHAQAACgfUAAAAAAEAAAAIAAAABB9BcGxvcmlzLkJhc2UuT2JqZWN0cy5EYXRhT2JqZWN0AwAAAAk6AAAACTsAAAAJPAAAAAk9AAAACTgAAAAJOQAAAAoKB9UAAAAAAQAAAAQAAAAEHEFwbG9yaXMuQmFzZS5VSS5WaXN1YWxPYmplY3QDAAAACUAAAAAJRAAAAAoKB9YAAAAAAQAAAAgAAAAEHUFwbG9yaXMuQ2hhcnQuQ2hhcnREYXRhU2VyaWVzAgAAAAkIAQAACQkBAAAJCgEAAA0FB9cAAAAAAQAAAAgAAAAEH0FwbG9yaXMuQmFzZS5PYmplY3RzLkRhdGFPYmplY3QDAAAACQgBAAAJCQEAAAkKAQAADQUH2AAAAAABAAAAAAAAAAQcQXBsb3Jpcy5CYXNlLlVJLlZpc3VhbE9iamVjdAMAAAAH2QAAAAABAAAABAAAAAQiQXBsb3Jpcy5DaGFydC5Bbm5vdGF0aW9uRGF0YVNlcmllcwIAAAAJCwEAAA0DB9oAAAAAAQAAAAQAAAAEH0FwbG9yaXMuQmFzZS5PYmplY3RzLkRhdGFPYmplY3QDAAAACQsBAAANAwfbAAAAAAEAAAAAAAAABB1BcGxvcmlzLkNoYXJ0LkFubm90YXRpb25Hcm91cAIAAAAH3AAAAAABAAAAAAAAAAQfQXBsb3Jpcy5CYXNlLk9iamVjdHMuRGF0YU9iamVjdAMAAAAH3QAAAAABAAAABAAAAAQcQXBsb3Jpcy5DaGFydC5DaGFydERhdGFHcm91cAIAAAAJDAEAAAkNAQAACQ4BAAAKB94AAAAAAQAAAAQAAAAEH0FwbG9yaXMuQmFzZS5PYmplY3RzLkRhdGFPYmplY3QDAAAACQwBAAAJDQEAAAkOAQAACgffAAAAAAEAAAAAAAAABBZBcGxvcmlzLkNoYXJ0LkRlbHRhQmFyAgAAAAfgAAAAAAEAAAAAAAAABBlBcGxvcmlzLkNoYXJ0LkRlbHRhQnJpZGdlAgAAAAfhAAAAAAEAAAAAAAAABBlBcGxvcmlzLkNoYXJ0Lkdyb3d0aEFycm93AgAAAAfiAAAAAAEAAAAAAAAABCBBcGxvcmlzLkNoYXJ0LldhdGVyZmFsbENvbm5lY3RvcgIAAAAH4wAAAAABAAAAAAAAAAQeQXBsb3Jpcy5DaGFydC5FbGVtZW50Q29ubmVjdG9yAgAAAATkAAAAowFTeXN0ZW0uQ29sbGVjdGlvbnMuR2VuZXJpYy5MaXN0YDFbW0FwbG9yaXMuQ2hhcnQuQ29sdW1uT3JpZW50ZWRMZWdlbmRFbGVtZW50LCBBcGxvcmlzLkNoYXJ0LCBWZXJzaW9uPTQuMC4wLjE0NzcsIEN1bHR1cmU9bmV1dHJhbCwgUHVibGljS2V5VG9rZW49MTZmYzEzYTIyNmMwZTk1MV1dAwAAAAZfaXRlbXMFX3NpemUIX3ZlcnNpb24EAAArQXBsb3Jpcy5DaGFydC5Db2x1bW5PcmllbnRlZExlZ2VuZEVsZW1lbnRbXQIAAAAICAkPAQAAAwAAABkAAAAB5QAAACUAAAAJEAEAAAMAAAADAAAAAeYAAAAmAAAACREBAAAAAAAAAAAAAAHpAAAAcgAAAAoKAAAAAAAJEgEAAAkTAQAAAQAAAP7///8BAAAAAQAAAAEAAAABAAAAAQAAAAEAAAAAAAEB6gAAAHMAAAAKCgkUAQAACRUBAAABAAAAAAAAAAAAAAAAAAAAAAEB7gAAAHcAAAAJFgEAAAoH7wAAAAABAAAABAAAAAQfQXBsb3Jpcy5CYXNlLk9iamVjdHMuRGF0YU9iamVjdAMAAAAJYwAAAA0DB/AAAAAAAQAAAAQAAAAEHEFwbG9yaXMuQmFzZS5VSS5WaXN1YWxPYmplY3QDAAAACWUAAAANAwHxAAAAegAAAAoKAAAAAAAAAAANAAAAAAEB8gAAAHoAAAAKCgEAAAAAAAAA/////wABAfMAAAB6AAAACgoBAAAA////AP////8AAQH0AAAAegAAAAoKAQAAAAAAAAD/////AAEP9QAAAAEAAAAIAAAAAAf2AAAAAAEAAAAAAAAABBdBcGxvcmlzLkNoYXJ0LlZhbHVlTGluZQIAAAAH9wAAAAABAAAAAAAAAAQXQXBsb3Jpcy5DaGFydC5BeGlzQnJlYWsCAAAAB/gAAAAAAQAAAAAAAAAEFkFwbG9yaXMuQ2hhcnQuVGlja01hcmsCAAAABfkAAAAaQXBsb3Jpcy5CYXNlLk9iamVjdHMuQ29sb3IHAAAAEkRhdGFPYmplY3QrbVBhcmVudBVEYXRhT2JqZWN0K21Db250YWluZXIFbVR5cGUEbVJHQhBtVGhlbWVDb2xvckluZGV4DG1BdXRvVXBkYXRlZAltTW9kaWZpZWQEAgAAAAAAH0FwbG9yaXMuQmFzZS5PYmplY3RzLkxpbmVGb3JtYXQDAAAACAgIAQEDAAAACZsAAAAKAAAAAAAAAAANAAAAAAAF+gAAABpBcGxvcmlzLkJhc2UuT2JqZWN0cy5Db2xvcgcAAAASRGF0YU9iamVjdCttUGFyZW50FURhdGFPYmplY3QrbUNvbnRhaW5lcgVtVHlwZQRtUkdCEG1UaGVtZUNvbG9ySW5kZXgMbUF1dG9VcGRhdGVkCW1Nb2RpZmllZAQCAAAAAAAfQXBsb3Jpcy5CYXNlLk9iamVjdHMuTGluZUZvcm1hdAMAAAAICAgBAQMAAAAJmwAAAAoBAAAAAAAAAP////8AAQ/7AAAAAQAAAAhzAAAAAfwAAAB6AAAACgoAAAAAAAAAAA0AAAAAAQH9AAAAegAAAAoKAQAAAAAAAAD/////AAEH/gAAAAABAAAAAAAAAAQdQXBsb3Jpcy5CYXNlLk9iamVjdHMuVmFyaWFibGUDAAAAD/8AAAABAAAACAAAAAAHAAEAAAABAAAAEAAAAAQWQXBsb3Jpcy5DaGFydC5UaWNrTWFyawIAAAAJFwEAAAkYAQAACRkBAAAJGgEAAAkbAQAACRwBAAANCgcBAQAAAAEAAAAQAAAABB9BcGxvcmlzLkJhc2UuT2JqZWN0cy5EYXRhT2JqZWN0AwAAAAkXAQAACRgBAAAJGQEAAAkaAQAACRsBAAAJHAEAAA0KBQIBAAAaQXBsb3Jpcy5CYXNlLk9iamVjdHMuQ29sb3IHAAAAEkRhdGFPYmplY3QrbVBhcmVudBVEYXRhT2JqZWN0K21Db250YWluZXIFbVR5cGUEbVJHQhBtVGhlbWVDb2xvckluZGV4DG1BdXRvVXBkYXRlZAltTW9kaWZpZWQEAgAAAAAAH0FwbG9yaXMuQmFzZS5PYmplY3RzLkxpbmVGb3JtYXQDAAAACAgIAQEDAAAACb4AAAAKAAAAAAAAAAANAAAAAAAFAwEAABpBcGxvcmlzLkJhc2UuT2JqZWN0cy5Db2xvcgcAAAASRGF0YU9iamVjdCttUGFyZW50FURhdGFPYmplY3QrbUNvbnRhaW5lcgVtVHlwZQRtUkdCEG1UaGVtZUNvbG9ySW5kZXgMbUF1dG9VcGRhdGVkCW1Nb2RpZmllZAQCAAAAAAAfQXBsb3Jpcy5CYXNlLk9iamVjdHMuTGluZUZvcm1hdAMAAAAICAgBAQMAAAAJvgAAAAoBAAAAAAAAAP////8AAQ8EAQAAAQAAAAhyAAAAAQUBAAB6AAAACgoAAAAAAAAAAA0AAAAAAAEGAQAAegAAAAoKAAAAAAAAAAANAAAAAAEPBwEAAAEAAAAIWwAAAAUIAQ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C4wLjE0Nzc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wLjAuMTQ3Ny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3NywgQ3VsdHVyZT1uZXV0cmFsLCBQdWJsaWNLZXlUb2tlbj0xNmZjMTNhMjI2YzBlOTUxXV0CAAAACQEAAAABHQEAABMAAAAAAAAAAgAAAP////8JBwAAAAkeAQAABh8BAAAPMjV0aCBQZXJjZW50aWxlCgoAAAAAAAAAAAAAAAAKCgAJIAEAAAkhAQAACSIBAAAAAAAAAAAAAAAAAAAAAAAAAAAJIwEAAAkBAAAACQEAAAAJJAEAAAEJAQAACAEAAAkBAAAAASUBAAATAAAAAAAAAAMAAAD/////CQcAAAAJJgEAAAYnAQAABk1lZGlhbgoKAAAAAAAAAAAAAAAACgoACSgBAAAJKQEAAAkqAQAAAAAAAAABAAAAAQAAAAAAAAAACSsBAAAJAQAAAAkBAAAACSwBAAABCgEAAAgBAAAJAQAAAAEtAQAAEwAAAAAAAAAEAAAA/////wkHAAAACS4BAAAGLwEAAA83NXRoIFBlcmNlbnRpbGUKCgAAAAAAAAAAAAAAAAoKAAkwAQAACTEBAAAJMgEAAAAAAAAAAgAAAAIAAAAAAAAAAAkzAQAACQEAAAAJAQAAAAk0AQAABQsBAAAiQXBsb3Jpcy5DaGFydC5Bbm5vdGF0aW9uRGF0YVNlcmllcw8AAAAPbUxhYmVsUG9zaXRpb25zBm1DaGFydAltRXhjZWxSb3cGbUluZGV4Bm1MYWJlbBNtQW5ub3RhdGlvbkVsZW1lbnRzEm1TZXJpZXNEZXNjcmlwdGlvbhBtTnVtYmVyRm9ybWF0QWJzFG1OdW1iZXJGb3JtYXRQZXJjZW50Em1NYWduaXR1ZGVQcm92aWRlcgptUm93Q2VudGVyGERhdGFPYmplY3QrbUNoaWxkT2JqZWN0cxJEYXRhT2JqZWN0K21QYXJlbnQVRGF0YU9iamVjdCttQ29udGFpbmVyGURhdGFPYmplY3QrbVZpc3VhbE9iamVjdHMEBAAABAQCBAQEAAMEBAMXU3lzdGVtLkRyYXdpbmcuUG9pbnRGW10EAAAAIUFwbG9yaXMuQ2hhcnQuQ29sdW1uT3JpZW50ZWRDaGFydAIAAAAICBVBcGxvcmlzLkJhc2UuVUkuTGFiZWwDAAAAowFBcGxvcmlzLkJhc2UuT2JqZWN0cy5EYXRhT2JqZWN0Q29sbGVjdGlvbmAxW1tBcGxvcmlzLkNoYXJ0LkFubm90YXRpb25FbGVtZW50LCBBcGxvcmlzLkNoYXJ0LCBWZXJzaW9uPTQuMC4wLjE0NzcsIEN1bHR1cmU9bmV1dHJhbCwgUHVibGljS2V5VG9rZW49MTZmYzEzYTIyNmMwZTk1MV1dAwAAABpBcGxvcmlzLkNoYXJ0Lk51bWJlckZvcm1hdAIAAAAaQXBsb3Jpcy5DaGFydC5OdW1iZXJGb3JtYXQCAAAAJ0FwbG9yaXMuQ2hhcnQuU3RhbmRhcmRNYWduaXR1ZGVQcm92aWRlcgIAAAALmAFTeXN0ZW0uQ29sbGVjdGlvbnMuR2VuZXJpYy5MaXN0YDFbW0FwbG9yaXMuQmFzZS5PYmplY3RzLkRhdGFPYmplY3QsIEFwbG9yaXMuQmFzZSwgVmVyc2lvbj00LjAuMC4xNDc3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c3LCBDdWx0dXJlPW5ldXRyYWwsIFB1YmxpY0tleVRva2VuPTE2ZmMxM2EyMjZjMGU5NTFdXQIAAAAKCQEAAAAFAAAAAAAAAAk1AQAACTYBAAAGNwEAAAFuCTgBAAAKCTkBAADko7ZDCToBAAAJAQAAAAkBAAAACTsBAAAFDA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c3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c3LCBDdWx0dXJlPW5ldXRyYWwsIFB1YmxpY0tleVRva2VuPTE2ZmMxM2EyMjZjMGU5NTFdXQIAAAAJAQAAAAY8AQAAGkZ1bGwtdGltZSANClN0YWZmIEFkdmlzb3JzAAU9AQAAHkFwbG9yaXMuQ2hhcnQuQ2hhcnRHcm91cEFuY2hvcgEAAAAHdmFsdWVfXwAIAgAAAAAAAAAKAAAAAAAAAAADAAAACT4BAAAJPwEAAAlAAQAACgkHAAAACUEBAAAJAQAAAAkBAAAACUIBAAABDQEAAAwBAAAJAQAAAAZDAQAAGlBhcnQtdGltZSANClN0YWZmIEFkdmlzb3JzAAFEAQAAPQEAAAAAAAAKAAAAAAAAAAADAAAACUUBAAAJRgEAAAlHAQAACgkHAAAACUgBAAAJAQAAAAkBAAAACUkBAAABDgEAAAwBAAAJAQAAAAZKAQAAEkZhY3VsdHkgDQpBZHZpc29ycwABSwEAAD0BAAAAAAAACgAAAAAAAAAAAwAAAAlMAQAACU0BAAAJTgEAAAoJBwAAAAlPAQAACQEAAAAJAQAAAAlQAQAABw8BAAAAAQAAAAQAAAAEKUFwbG9yaXMuQ2hhcnQuQ29sdW1uT3JpZW50ZWRMZWdlbmRFbGVtZW50AgAAAAlRAQAACVIBAAAJUwEAAAoHEAEAAAABAAAABAAAAAQfQXBsb3Jpcy5CYXNlLk9iamVjdHMuRGF0YU9iamVjdAMAAAAJUQEAAAlSAQAACVMBAAAKBxEBAAAAAQAAAAAAAAAEHEFwbG9yaXMuQmFzZS5VSS5WaXN1YWxPYmplY3QDAAAAARIBAAB6AAAACgoAAAAAAAAAAA0AAAAAAQETAQAAegAAAAoKAQAAAAAAAAD/////AAEBFAEAAHoAAAAKCgEAAAD///8A/////wABARUBAAB6AAAACgoBAAAAAAAAAP////8AAQ8WAQAAAQAAAAgAAAAABRcBAAAWQXBsb3Jpcy5DaGFydC5UaWNrTWFyaw0AAAALbVZpc3VhbExpbmUJbUdyaWRMaW5lBm1MYWJlbAVtQXhpcwhtVmlzaWJsZQltUG9zaXRpb24LbVN0YXJ0UG9pbnQJbUVuZFBvaW50DG1IYXNHcmlkTGluZRhEYXRhT2JqZWN0K21DaGlsZE9iamVjdHMSRGF0YU9iamVjdCttUGFyZW50FURhdGFPYmplY3QrbUNvbnRhaW5lchlEYXRhT2JqZWN0K21WaXN1YWxPYmplY3RzBAQEBAAABAQAAwQEAxpBcGxvcmlzLkJhc2UuVUkuVmlzdWFsTGluZQMAAAAaQXBsb3Jpcy5CYXNlLlVJLlZpc3VhbExpbmUDAAAAFUFwbG9yaXMuQmFzZS5VSS5MYWJlbAMAAAASQXBsb3Jpcy5DaGFydC5BeGlzAgAAAAEGFVN5c3RlbS5EcmF3aW5nLlBvaW50RgQAAAAVU3lzdGVtLkRyYXdpbmcuUG9pbnRGBAAAAAGYAVN5c3RlbS5Db2xsZWN0aW9ucy5HZW5lcmljLkxpc3RgMVtbQXBsb3Jpcy5CYXNlLk9iamVjdHMuRGF0YU9iamVjdCwgQXBsb3Jpcy5CYXNlLCBWZXJzaW9uPTQuMC4wLjE0Nzc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NzcsIEN1bHR1cmU9bmV1dHJhbCwgUHVibGljS2V5VG9rZW49MTZmYzEzYTIyNmMwZTk1MV1dAgAAAAlUAQAACglVAQAACQcAAAABAAAAAAAAAAABVgEAACEAAAC66JxCvQyjQwFXAQAAIQAAALrolEK9DKNDAAlYAQAACQcAAAAJAQAAAAlZAQAAARgBAAAXAQAACVoBAAAKCVsBAAAJBwAAAAEAAAAAAABZQAFcAQAAIQAAALronEI4AYZDAV0BAAAhAAAAuuiUQjgBhkMACV4BAAAJBwAAAAkBAAAACV8BAAABGQEAABcBAAAJYAEAAAoJYQEAAAkHAAAAAQAAAAAAAGlAAWIBAAAhAAAAuuicQmXrUUMBYwEAACEAAAC66JRCZetRQwAJZAEAAAkHAAAACQEAAAAJZQEAAAEaAQAAFwEAAAlmAQAACglnAQAACQcAAAABAAAAAADAckABaAEAACEAAAC66JxCW9QXQwFpAQAAIQAAALrolEJb1BdDAAlqAQAACQcAAAAJAQAAAAlrAQAAARsBAAAXAQAACWwBAAAKCW0BAAAJBwAAAAEAAAAAAAB5QAFuAQAAIQAAALronEKhertCAW8BAAAhAAAAuuiUQqF6u0IACXABAAAJBwAAAAkBAAAACXEBAAABHAEAABcBAAAJcgEAAAoJcwEAAAkHAAAAAQAAAAAAQH9AAXQBAAAhAAAAuuicQhiZDkIBdQEAACEAAAC66JRCGJkOQgAJdgEAAAkHAAAACQEAAAAJdwEAAAUeAQAAogFBcGxvcmlzLkJhc2UuT2JqZWN0cy5EYXRhT2JqZWN0Q29sbGVjdGlvbmAxW1tBcGxvcmlzLkNoYXJ0LkNoYXJ0RGF0YUVsZW1lbnQsIEFwbG9yaXMuQ2hhcnQsIFZlcnNpb249NC4wLjAuMTQ3Ny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wLjAuMTQ3NywgQ3VsdHVyZT1uZXV0cmFsLCBQdWJsaWNLZXlUb2tlbj0xNmZjMTNhMjI2YzBlOTUxXV0DAAAAmAFTeXN0ZW0uQ29sbGVjdGlvbnMuR2VuZXJpYy5MaXN0YDFbW0FwbG9yaXMuQ2hhcnQuQ2hhcnREYXRhRWxlbWVudCwgQXBsb3Jpcy5DaGFydCwgVmVyc2lvbj00LjAuMC4xNDc3LCBDdWx0dXJlPW5ldXRyYWwsIFB1YmxpY0tleVRva2VuPTE2ZmMxM2EyMjZjMGU5NTFdXZgBU3lzdGVtLkNvbGxlY3Rpb25zLkdlbmVyaWMuTGlzdGAxW1tBcGxvcmlzLkJhc2UuT2JqZWN0cy5EYXRhT2JqZWN0LCBBcGxvcmlzLkJhc2UsIFZlcnNpb249NC4wLjAuMTQ3Ny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3NywgQ3VsdHVyZT1uZXV0cmFsLCBQdWJsaWNLZXlUb2tlbj0xNmZjMTNhMjI2YzBlOTUxXV0DAAAACgl4AQAACXkBAAAJCAEAAAkBAAAACXoBAAAFIAEAABxBcGxvcmlzLkNoYXJ0LkNvbm5lY3RlZExhYmVsJA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NzcsIEN1bHR1cmU9bmV1dHJhbCwgUHVibGljS2V5VG9rZW49MTZmYzEzYTIyNmMwZTk1MV1dlgFTeXN0ZW0uQ29sbGVjdGlvbnMuR2VuZXJpYy5MaXN0YDFbW0FwbG9yaXMuQmFzZS5PYmplY3RzLlZhcmlhYmxlLCBBcGxvcmlzLkJhc2UsIFZlcnNpb249NC4wLjAuMTQ3NywgQ3VsdHVyZT1uZXV0cmFsLCBQdWJsaWNLZXlUb2tlbj0xNmZjMTNhMjI2YzBlOTUxXV0ICAEBCAEBD1N5c3RlbS5JbnRQdHJbXQECAAAAClgCAAAFewEAACtBcGxvcmlzLkNoYXJ0LkNvbm5lY3RlZExhYmVsK2VDb25uZWN0b3JNb2RlAQAAAAd2YWx1ZV9fAAgCAAAAAQAAAAV8AQAANkFwbG9yaXMuQ2hhcnQuQ29ubmVjdGVkTGFiZWwrZUFuZ2xlZENvbm5lY3RvckRpcmVjdGlvbgEAAAAHdmFsdWVfXwAIAgAAAAAAAAABfQEAABUAAACxifBDaTGgQ5ghPUIAqi1ABX4BAAAtQXBsb3Jpcy5DaGFydC5Db25uZWN0ZWRMYWJlbCtlVGFyZ2V0QXJlYVNoYXBlAQAAAAd2YWx1ZV9fAAgCAAAAAAAAAAAAEEEBAX8BAAAhAAAAJrsgRBPfoEMBgAEAAKIAAAAEAAAAAAAAAAAAAAAACYEBAAAAAAAACYIBAAAAAAGDAQAAqwAAAAAAAAABhAEAAHQAAAAAAAAAAAAAAAGFAQAAFQAAAAAAAAAAAAAAAAAAAAAAAAAAAAAACR8BAAAKCYYBAAAGhwEAAAAgAwAA/////wABCgmIAQAAAQAKAQchAQAAAAEAAAACAAAABBVTeXN0ZW0uRHJhd2luZy5Qb2ludEYEAAAAAYkBAAAhAAAAJrsgRBPfoEMBigEAACEAAAC66JJCGUSNQwciAQAAAAEAAAACAAAABBdBcGxvcmlzLkJhc2UuQW5jaG9yTW9kZQMAAAABiwEAAKIAAAAEAAAAAYwBAACiAAAAAgAAAAEjAQAAJQAAAAmNAQAAAQAAAAEAAAABJAEAACYAAAAJjgEAAAEAAAABAAAAASYBAAAeAQAACgmPAQAACZABAAAJCQEAAAkBAAAACZEBAAABKAEAACABAAAKWAIAAAGSAQAAewEAAAEAAAABkwEAAHwBAAAAAAAAAZQBAAAVAAAA8pYFRBXWm0OgIT1CANU2QQGVAQAAfgEAAAAAAAAAABBBAQGWAQAAIQAAACa7IERpsZ5DAZcBAACiAAAABAAAAAAAAAAAAAAAAAmYAQAAAAAAAAmZAQAAAAABmgEAAKsAAAAAAAAAAZsBAAB0AAAAAAAAAAAAAAABnAEAABUAAAAAAAAAAAAAAAAAAAAAAAAAAAAAAAknAQAACgmdAQAACYcBAAAgAwAA/////wABCgmeAQAAAQAKAQcpAQAAAAEAAAACAAAABBVTeXN0ZW0uRHJhd2luZy5Qb2ludEYEAAAAAZ8BAAAhAAAAJrsgRGmxnkMBoAEAACEAAAC66JJCIJV6QwcqAQAAAAEAAAACAAAABBdBcGxvcmlzLkJhc2UuQW5jaG9yTW9kZQMAAAABoQEAAKIAAAAEAAAAAaIBAACiAAAAAgAAAAErAQAAJQAAAAmjAQAAAQAAAAEAAAABLAEAACYAAAAJpAEAAAEAAAABAAAAAS4BAAAeAQAACgmlAQAACaYBAAAJCgEAAAkBAAAACacBAAABMAEAACABAAAKWAIAAAGoAQAAewEAAAEAAAABqQEAAHwBAAAAAAAAAaoBAAAVAAAADOkSRKarkUOgIT1CcBH+QQGrAQAAfgEAAAAAAAAAABBBAQGsAQAAIQAAACa7IEQynJlDAa0BAACiAAAABAAAAAAAAAAAAAAAAAmuAQAAAAAAAAmvAQAAAAABsAEAAKsAAAAAAAAAAbEBAAB0AAAAAAAAAAAAAAABsgEAABUAAAAAAAAAAAAAAAAAAAAAAAAAAAAAAAkvAQAACgmzAQAACYcBAAAgAwAA/////wABCgm0AQAAAQAKAQcxAQAAAAEAAAACAAAABBVTeXN0ZW0uRHJhd2luZy5Qb2ludEYEAAAAAbUBAAAhAAAAJrsgRDKcmUMBtgEAACEAAAC66JJC4N80QwcyAQAAAAEAAAACAAAABBdBcGxvcmlzLkJhc2UuQW5jaG9yTW9kZQMAAAABtwEAAKIAAAAEAAAAAbgBAACiAAAAAgAAAAEzAQAAJQAAAAm5AQAAAQAAAAEAAAABNAEAACYAAAAJugEAAAEAAAABAAAAATUBAAA0AAAAAbsBAAAhAAAAdNEZQuSjtkMBvAEAAKIAAAAEAAAAAAAAAAAAAAAACb0BAAAAAAAACb4BAAAAAAG/AQAAqwAAAAAAAAABwAEAAHQAAAAAAABBAACAQQHBAQAAFQAAAEmSFEKSpLNDfA4LQW7bNkESg74/CTcBAAAKCcIBAAAJhwEAACADAAD/////AQEKCcMBAAABAAoABTYBAACjAUFwbG9yaXMuQmFzZS5PYmplY3RzLkRhdGFPYmplY3RDb2xsZWN0aW9uYDFbW0FwbG9yaXMuQ2hhcnQuQW5ub3RhdGlvbkVsZW1lbnQsIEFwbG9yaXMuQ2hhcnQsIFZlcnNpb249NC4wLjAuMTQ3NywgQ3VsdHVyZT1uZXV0cmFsLCBQdWJsaWNLZXlUb2tlbj0xNmZjMTNhMjI2YzBlOTUxXV0GAAAAC21Db2xsZWN0aW9uBW1MaXN0GERhdGFPYmplY3QrbUNoaWxkT2JqZWN0cxJEYXRhT2JqZWN0K21QYXJlbnQVRGF0YU9iamVjdCttQ29udGFpbmVyGURhdGFPYmplY3QrbVZpc3VhbE9iamVjdHMEAwMEBAOhAUFwbG9yaXMuQmFzZS5PYmplY3RzLlNvcnRhYmxlQ29sbGVjdGlvbmAxW1tBcGxvcmlzLkNoYXJ0LkFubm90YXRpb25FbGVtZW50LCBBcGxvcmlzLkNoYXJ0LCBWZXJzaW9uPTQuMC4wLjE0NzcsIEN1bHR1cmU9bmV1dHJhbCwgUHVibGljS2V5VG9rZW49MTZmYzEzYTIyNmMwZTk1MV1dAwAAAJkBU3lzdGVtLkNvbGxlY3Rpb25zLkdlbmVyaWMuTGlzdGAxW1tBcGxvcmlzLkNoYXJ0LkFubm90YXRpb25FbGVtZW50LCBBcGxvcmlzLkNoYXJ0LCBWZXJzaW9uPTQuMC4wLjE0NzcsIEN1bHR1cmU9bmV1dHJhbCwgUHVibGljS2V5VG9rZW49MTZmYzEzYTIyNmMwZTk1MV1dmAFTeXN0ZW0uQ29sbGVjdGlvbnMuR2VuZXJpYy5MaXN0YDFbW0FwbG9yaXMuQmFzZS5PYmplY3RzLkRhdGFPYmplY3QsIEFwbG9yaXMuQmFzZSwgVmVyc2lvbj00LjAuMC4xNDc3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c3LCBDdWx0dXJlPW5ldXRyYWwsIFB1YmxpY0tleVRva2VuPTE2ZmMxM2EyMjZjMGU5NTFdXQMAAAAKCcQBAAAJxQEAAAkLAQAACQEAAAAJxgEAAAU4AQ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iQXBsb3Jpcy5DaGFydC5Bbm5vdGF0aW9uRGF0YVNlcmllcwIAAAAhQXBsb3Jpcy5DaGFydC5Db2x1bW5PcmllbnRlZENoYXJ0AgAAAAgBCAgBCAgIAgAAAAkLAQAACQEAAAAAAAAAAAbHAQAAAS4DAAAABsgBAAABLAbJAQAAAS0GygEAAAErAQAAAAAKCgbLAQAACE0vZC95eXl5AAAAAAoAAAAAAAAAAAU5AQAAJ0FwbG9yaXMuQ2hhcnQuU3RhbmRhcmRNYWduaXR1ZGVQcm92aWRlcgQAAAASbU1hZ25pdHVkZUFic29sdXRlEW1NYWduaXR1ZGVQZXJjZW50Em1BYnNvbHV0ZVZhcmlhYmxlcxFtUGVyY2VudFZhcmlhYmxlcwAABwcICAgIAgAAAAAAAAAAAAAACcwBAAAJzQEAAAE6AQAAJQAAAAnOAQAAAgAAAAIAAAABOwEAACYAAAAJzwEAAAEAAAABAAAADz4BAAAAAAAACAc/AQAAAAEAAAAAAAAABBVBcGxvcmlzLkJhc2UuVUkuTGFiZWwDAAAAAUABAAA0AAAAAdABAAAhAAAAFl0uQ72MpUMB0QEAAKIAAAADAAAAAAAAAAAAAAAACdIBAAAAAAAACdMBAAAAAAHUAQAAqwAAAAAAAAAB1QEAAHQAAAAAALRCAAAAQgHWAQAAFQAAANy2DEPctqVDYoaGQm7btkESg74/CTwBAAAKCdcBAAAJhwEAACADAAD/////AQEKCdgBAAABAAoAAUEBAAAlAAAACdkBAAAAAAAAAAAAAAFCAQAAJgAAAAnaAQAAAQAAAAEAAAAPRQEAAAAAAAAIB0YBAAAAAQAAAAAAAAAEFUFwbG9yaXMuQmFzZS5VSS5MYWJlbAMAAAABRwEAADQAAAAB2wEAACEAAABFF7dDvYylQwHcAQAAogAAAAMAAAAAAAAAAAAAAAAJ3QEAAAAAAAAJ3gEAAAAAAd8BAACrAAAAAAAAAAHgAQAAdAAAAAAAtEIAAABCAeEBAAAVAAAAt22mQ9y2pUNihoZCbtu2QRKDvj8JQwEAAAoJ4gEAAAmHAQAAIAMAAP////8BAQoJ4wEAAAEACgABSAEAACUAAAAJ2QEAAAAAAAAAAAAAAUkBAAAmAAAACeQBAAABAAAAAQAAAA9MAQAAAAAAAAgHTQEAAAABAAAAAAAAAAQVQXBsb3Jpcy5CYXNlLlVJLkxhYmVsAwAAAAFOAQAANAAAAAHlAQAAIQAAAP9/C0S9jKVDAeYBAACiAAAAAwAAAAAAAAAAAAAAAAnnAQAAAAAAAAnoAQAAAAAB6QEAAKsAAAAAAAAAAeoBAAB0AAAAAABgQgAAAEIB6wEAABUAAABuGwZE3LalQzHoK0Ju27ZBEoO+PwlKAQAACgnsAQAACYcBAAAgAwAA/////wEBCgntAQAAAQAKAAFPAQAAJQAAAAnZAQAAAAAAAAAAAAABUAEAACYAAAAJ7gEAAAEAAAABAAAABVEBAAApQXBsb3Jpcy5DaGFydC5Db2x1bW5PcmllbnRlZExlZ2VuZEVsZW1lbnQNAAAAB21MZWdlbmQLbURhdGFTZXJpZXMUTGVnZW5kRWxlbWVudCttTGFiZWwYTGVnZW5kRWxlbWVudCttUmVjdGFuZ2xlE0xlZ2VuZEVsZW1lbnQrbUxpbmUVTGVnZW5kRWxlbWVudCttQ2lyY2xlFUxlZ2VuZEVsZW1lbnQrbU1hcmtlchRMZWdlbmRFbGVtZW50K21JbmRleB1MZWdlbmRFbGVtZW50K21MYWJlbFBvc2l0aW9ucxhEYXRhT2JqZWN0K21DaGlsZE9iamVjdHMSRGF0YU9iamVjdCttUGFyZW50FURhdGFPYmplY3QrbUNvbnRhaW5lchlEYXRhT2JqZWN0K21WaXN1YWxPYmplY3RzBAQEBAQEBAAEAwQEAyJBcGxvcmlzLkNoYXJ0LkNvbHVtbk9yaWVudGVkTGVnZW5kAgAAAB1BcGxvcmlzLkNoYXJ0LkNoYXJ0RGF0YVNlcmllcwIAAAAVQXBsb3Jpcy5CYXNlLlVJLkxhYmVsAwAAABpBcGxvcmlzLkJhc2UuVUkuVmlzdWFsUmVjdAMAAAAaQXBsb3Jpcy5CYXNlLlVJLlZpc3VhbExpbmUDAAAAHUFwbG9yaXMuQmFzZS5VSS5WaXN1YWxFbGxpcHNlAwAAABpBcGxvcmlzLkNoYXJ0LlZpc3VhbE1hcmtlcgIAAAAIF1N5c3RlbS5EcmF3aW5nLlBvaW50RltdBAAAAJgBU3lzdGVtLkNvbGxlY3Rpb25zLkdlbmVyaWMuTGlzdGAxW1tBcGxvcmlzLkJhc2UuT2JqZWN0cy5EYXRhT2JqZWN0LCBBcGxvcmlzLkJhc2UsIFZlcnNpb249NC4wLjAuMTQ3Ny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3NywgQ3VsdHVyZT1uZXV0cmFsLCBQdWJsaWNLZXlUb2tlbj0xNmZjMTNhMjI2YzBlOTUxXV0CAAAACRQAAAAJCAEAAAnvAQAACfABAAAKCgoAAAAACgnxAQAACRQAAAAJAQAAAAnyAQAAAVIBAABRAQAACRQAAAAJCQEAAAnzAQAACfQBAAAKCgoBAAAACgn1AQAACRQAAAAJAQAAAAn2AQAAAVMBAABRAQAACRQAAAAJCgEAAAn3AQAACfgBAAAKCgoCAAAACgn5AQAACRQAAAAJAQAAAAn6AQAAAVQBAAAwAAAAAfsBAAAhAAAAuuicQr0Mo0MB/AEAACEAAAC66JRCvQyjQwn9AQAAzAEAAP////8BAQoJ/gEAAAEACgABVQEAADQAAAAB/wEAACEAAAC66JFCvQyjQwEAAgAAogAAAAIAAAAAAAAAAAAAAAAJAQIAAAAAAAAJAgIAAAAAAQMCAACrAAAAAAAAAAEEAgAAdAAAAAAAAEEAAIBBAQUCAAAVAAAAt22DQm5boEN8DgtBbts2QRKDvj8GBgIAAAEwCgkHAgAACYcBAADQAgAA/////wEBCgkIAgAAAQAKAAFYAQAAJQAAAAnZAQAAAAAAAAAAAAABWQEAACYAAAAJCQIAAAIAAAACAAAAAVoBAAAwAAAAAQoCAAAhAAAAuuicQjgBhkMBCwIAACEAAAC66JRCOAGGQwkMAgAAzAEAAP////8BAQoJDQIAAAEACgABWwEAADQAAAABDgIAACEAAAC66JFCOAGGQwEPAgAAogAAAAIAAAAAAAAAAAAAAAAJEAIAAAAAAAAJEQIAAAAAARICAACrAAAAAAAAAAETAgAAdAAAAAAAwEEAAIBBARQCAAAVAAAAkyRZQkkSg0P19KBBbts2QRKDvj8GFQIAAAMxMDAKCRYCAAAJhwEAANACAAD/////AQEKCRcCAAABAAoAAV4BAAAlAAAACdkBAAAAAAAAAAAAAAFfAQAAJgAAAAkYAgAAAgAAAAIAAAABYAEAADAAAAABGQIAACEAAAC66JxCZetRQwEaAgAAIQAAALrolEJl61FDCRsCAADMAQAA/////wEBCgkcAgAAAQAKAAFhAQAANAAAAAEdAgAAIQAAALrokUJl61FDAR4CAACiAAAAAgAAAAAAAAAAAAAAAAkfAgAAAAAAAAkgAgAAAAABIQIAAKsAAAAAAAAAASICAAB0AAAAAADAQQAAgEEBIwIAABUAAACTJFlCJUlMQ/X0oEFu2zZBEoO+PwYkAgAAAzIwMAoJJQIAAAmHAQAA0AIAAP////8BAQoJJgIAAAEACgABZAEAACUAAAAJ2QEAAAAAAAAAAAAAAWUBAAAmAAAACScCAAACAAAAAgAAAAFmAQAAMAAAAAEoAgAAIQAAALronEJb1BdDASkCAAAhAAAAuuiUQlvUF0MJKgIAAMwBAAD/////AQEKCSsCAAABAAoAAWcBAAA0AAAAASwCAAAhAAAAuuiRQlvUF0MBLQIAAKIAAAACAAAAAAAAAAAAAAAACS4CAAAAAAAACS8CAAAAAAEwAgAAqwAAAAAAAAABMQIAAHQAAAAAAMBBAACAQQEyAgAAFQAAAJMkWUK3bRJD9fSgQW7bNkESg74/BjMCAAADMzAwCgk0AgAACYcBAADQAgAA/////wEBCgk1AgAAAQAKAAFqAQAAJQAAAAnZAQAAAAAAAAAAAAABawEAACYAAAAJNgIAAAIAAAACAAAAAWwBAAAwAAAAATcCAAAhAAAAuuicQqF6u0IBOAIAACEAAAC66JRCoXq7Qgk5AgAAzAEAAP////8BAQoJOgIAAAEACgABbQEAADQAAAABOwIAACEAAAC66JFCoXq7QgE8AgAAogAAAAIAAAAAAAAAAAAAAAAJPQIAAAAAAAAJPgIAAAAAAT8CAACrAAAAAAAAAAFAAgAAdAAAAAAAwEEAAIBBAUECAAAVAAAAkyRZQty2r0L19KBBbts2QRKDvj8GQgIAAAM0MDAKCUMCAAAJhwEAANACAAD/////AQEKCUQCAAABAAoAAXABAAAlAAAACdkBAAAAAAAAAAAAAAFxAQAAJgAAAAlFAgAAAgAAAAIAAAABcgEAADAAAAABRgIAACEAAAC66JxCGJkOQgFHAgAAIQAAALrolEIYmQ5CCUgCAADMAQAA/////wEBCglJAgAAAQAKAAFzAQAANAAAAAFKAgAAIQAAALrokUIYmQ5CAUsCAACiAAAAAgAAAAAAAAAAAAAAAAlMAgAAAAAAAAlNAgAAAAABTgIAAKsAAAAAAAAAAU8CAAB0AAAAAADAQQAAgEEBUAIAABUAAACTJFlCAADwQfX0oEFu2zZBEoO+PwZRAgAAAzUwMAoJUgIAAAmHAQAA0AIAAP////8BAQoJUwIAAAEACgABdgEAACUAAAAJ2QEAAAAAAAAAAAAAAXcBAAAmAAAACVQCAAACAAAAAgAAAAR4AQAAmAFTeXN0ZW0uQ29sbGVjdGlvbnMuR2VuZXJpYy5MaXN0YDFbW0FwbG9yaXMuQ2hhcnQuQ2hhcnREYXRhRWxlbWVudCwgQXBsb3Jpcy5DaGFydCwgVmVyc2lvbj00LjAuMC4xNDc3LCBDdWx0dXJlPW5ldXRyYWwsIFB1YmxpY0tleVRva2VuPTE2ZmMxM2EyMjZjMGU5NTFdXQMAAAAGX2l0ZW1zBV9zaXplCF92ZXJzaW9uBAAAIEFwbG9yaXMuQ2hhcnQuQ2hhcnREYXRhRWxlbWVudFtdAgAAAAgICVUCAAADAAAADQAAAAF5AQAAJQAAAAlWAgAAAwAAAA0AAAABegEAACYAAAAJVwIAAAAAAAAAAAAABYE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IAQAACgAAAAAAQEEJeAAAAAl5AAAACVgCAAABAAlZAgAAAYIBAAB6AAAACgoBAAAAAAAAAP////8AAQGGAQAArwAAAAlaAgAAAQAAAAEAAAABiAEAAHcAAAAJWwIAAAoHjQEAAAABAAAABAAAAAQfQXBsb3Jpcy5CYXNlLk9iamVjdHMuRGF0YU9iamVjdAMAAAAJHgEAAA0DB44BAAAAAQAAAAQAAAAEHEFwbG9yaXMuQmFzZS5VSS5WaXN1YWxPYmplY3QDAAAACSABAAANAwGPAQAAeAEAAAlcAgAAAwAAAA0AAAABkAEAACUAAAAJXQIAAAMAAAANAAAAAZEBAAAmAAAACVcCAAAAAAAAAAAAAAWY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CQEAAAoAAAAAAEBBCXgAAAAJeQAAAAleAgAAAQAJXwIAAAGZAQAAegAAAAoKAQAAAAAAAAD/////AAEBnQEAAK8AAAAJYAIAAAEAAAABAAAAAZ4BAAB3AAAACWECAAAKB6MBAAAAAQAAAAQAAAAEH0FwbG9yaXMuQmFzZS5PYmplY3RzLkRhdGFPYmplY3QDAAAACSYBAAANAwekAQAAAAEAAAAEAAAABBxBcGxvcmlzLkJhc2UuVUkuVmlzdWFsT2JqZWN0AwAAAAkoAQAADQMBpQEAAHgBAAAJYgIAAAMAAAANAAAAAaYBAAAlAAAACWMCAAADAAAADQAAAAGnAQAAJgAAAAlXAgAAAAAAAAAAAAAFr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oBAAAKAAAAAABAQQl4AAAACXkAAAAJZAIAAAEACWUCAAABrwEAAHoAAAAKCgEAAAAAAAAA/////wABAbMBAACvAAAACWYCAAABAAAAAQAAAAG0AQAAdwAAAAlnAgAACge5AQAAAAEAAAAEAAAABB9BcGxvcmlzLkJhc2UuT2JqZWN0cy5EYXRhT2JqZWN0AwAAAAkuAQAADQMHugEAAAABAAAABAAAAAQcQXBsb3Jpcy5CYXNlLlVJLlZpc3VhbE9iamVjdAMAAAAJMAEAAA0DAb0BAAAjAAAACgoAAAAAAChBCXgAAAAJeQAAAAloAgAAAAAJaQIAAAG+AQAAegAAAAoKAQAAAAAAAAD/////AAEBwgEAAK8AAAAJagIAAAEAAAABAAAAAcMBAAB3AAAACWsCAAAKBMQBAACZAVN5c3RlbS5Db2xsZWN0aW9ucy5HZW5lcmljLkxpc3RgMVtbQXBsb3Jpcy5DaGFydC5Bbm5vdGF0aW9uRWxlbWVudCwgQXBsb3Jpcy5DaGFydCwgVmVyc2lvbj00LjAuMC4xNDc3LCBDdWx0dXJlPW5ldXRyYWwsIFB1YmxpY0tleVRva2VuPTE2ZmMxM2EyMjZjMGU5NTFdXQMAAAAGX2l0ZW1zBV9zaXplCF92ZXJzaW9uBAAAIUFwbG9yaXMuQ2hhcnQuQW5ub3RhdGlvbkVsZW1lbnRbXQIAAAAICAlsAgAAAwAAAAUAAAABxQEAACUAAAAJbQIAAAMAAAAFAAAAAcYBAAAmAAAACVcCAAAAAAAAAAAAAA/MAQAAAAAAAAgPzQEAAAAAAAAIB84BAAAAAQAAAAQAAAAEH0FwbG9yaXMuQmFzZS5PYmplY3RzLkRhdGFPYmplY3QDAAAACTgBAAAJNgEAAAoKB88BAAAAAQAAAAQAAAAEHEFwbG9yaXMuQmFzZS5VSS5WaXN1YWxPYmplY3QDAAAACTUBAAANAwHSAQAAIwAAAAoKAAAAAAAoQQl4AAAACXkAAAAJbgIAAAAACW8CAAAB0wEAAHoAAAAKCgAAAAD///8ADgAAAAABAdcBAACvAAAACXACAAABAAAAAQAAAAHYAQAAdwAAAAlxAgAACgfZAQAAAAEAAAAAAAAABB9BcGxvcmlzLkJhc2UuT2JqZWN0cy5EYXRhT2JqZWN0AwAAAAfaAQAAAAEAAAAEAAAABBxBcGxvcmlzLkJhc2UuVUkuVmlzdWFsT2JqZWN0AwAAAAlAAQAADQMB3QEAACMAAAAKCgAAAAAAKEEJeAAAAAl5AAAACXICAAAAAAlzAgAAAd4BAAB6AAAACgoAAAAA////AA4AAAAAAQHiAQAArwAAAAl0AgAAAQAAAAEAAAAB4wEAAHcAAAAJdQIAAAoH5AEAAAABAAAABAAAAAQcQXBsb3Jpcy5CYXNlLlVJLlZpc3VhbE9iamVjdAMAAAAJRwEAAA0DAecBAAAjAAAACgoAAAAAAChBCXgAAAAJeQAAAAl2AgAAAAAJdwIAAAHoAQAAegAAAAoKAAAAAP///wAOAAAAAAEB7AEAAK8AAAAJeAIAAAEAAAABAAAAAe0BAAB3AAAACXkCAAAKB+4BAAAAAQAAAAQAAAAEHEFwbG9yaXMuQmFzZS5VSS5WaXN1YWxPYmplY3QDAAAACU4BAAANAwHvAQAANAAAAAF6AgAAIQAAAAWSD0QAAIRBAXsCAACiAAAABQAAAAAAAAAAAAAAAAl8AgAAAAAAAAl9AgAAAAABfgIAAKsAAAAAAAAAAX8CAAB0AAAAAADEQgAAgEEBgAIAABUAAADcNg9Et22DQRn0kUJu2zZBEoO+PwkfAQAACgmBAgAACYcBAACEAwAA/////wEBCgmCAgAAAQAKAAHwAQAAHAAAAAGDAgAAIQAAAC7yC0QAAIRBAYQCAAAhAAAABdIOROL630EJhQIAAAmGAgAAAAAAAAoBhwIAAHQAAAAAAAAAAAAAAAGIAgAAdAAAAAAAAAAAAAAAAAAAAAGJAgAAFQAAAAAAAAAAAAAAAAAAAAAAAACYAwAA/////wEBCgmKAgAAAQAKAAHxAQAAJQAAAAmLAgAAAAAAAAAAAAAB8gEAACYAAAAJjAIAAAIAAAACAAAAAfMBAAA0AAAAAY0CAAAhAAAABZIPRGNqDEIBjgIAAKIAAAAFAAAAAAAAAAAAAAAACY8CAAAAAAAACZACAAAAAAGRAgAAqwAAAAAAAAABkgIAAHQAAAAAAEBCAACAQQGTAgAAFQAAANw2D0QAAAxCxAwVQm7bNkESg74/CScBAAAKCZQCAAAJhwEAAIQDAAD/////AQEKCZUCAAABAAoAAfQBAAAcAAAAAZYCAAAhAAAALvILRGNqDEIBlwIAACEAAAAF0g5E1Gc6QgmYAgAACZkCAAAAAAAACgGaAgAAdAAAAAAAAAAAAAAAAZsCAAB0AAAAAAAAAAAAAAAAAAAAAZwCAAAVAAAAAAAAAAAAAAAAAAAAAAAAAJgDAAD/////AQEKCZ0CAAABAAoAAfUBAAAlAAAACYsCAAAAAAAAAAAAAAH2AQAAJgAAAAmeAgAAAgAAAAIAAAAB9wEAADQAAAABnwIAACEAAAAFkg9ExtRWQgGgAgAAogAAAAUAAAAAAAAAAAAAAAAJoQIAAAAAAAAJogIAAAAAAaMCAACrAAAAAAAAAAGkAgAAdAAAAAAAxEIAAIBBAaUCAAAVAAAA3DYPRCVJVkIZ9JFCbts2QRKDvj8JLwEAAAoJpgIAAAmHAQAAhAMAAP////8BAQoJpwIAAAEACgAB+AEAABwAAAABqAIAACEAAAAu8gtExtRWQgGpAgAAIQAAAAXSDkQbaYJCCaoCAAAJqwIAAAAAAAAKAawCAAB0AAAAAAAAAAAAAAABrQIAAHQAAAAAAAAAAAAAAAAAAAABrgIAABUAAAAAAAAAAAAAAAAAAAAAAAAAmAMAAP////8BAQoJrwIAAAEACgAB+QEAACUAAAAJiwIAAAAAAAAAAAAAAfoBAAAmAAAACbACAAACAAAAAgAAAAH9AQAAcgAAAAoKAAAAQD8JsQIAAAmyAgAAAQAAAP7///8AAAAAAQAAAAAAAAAAAAAAAQAAAAAAAAAAAAAB/gEAAHcAAAAJswIAAAoBAQIAACMAAAAKCgAAAAAAKEEJeAAAAAl5AAAACbQCAAAAAAm1AgAAAQICAAB6AAAACgoAAAAA////AA4AAAAAAQEHAgAArwAAAAm2AgAAAQAAAAEAAAABCAIAAHcAAAAJtwIAAAoHCQIAAAABAAAABAAAAAQcQXBsb3Jpcy5CYXNlLlVJLlZpc3VhbE9iamVjdAMAAAAJVAEAAAlVAQAACgoBDAIAAHIAAAAKCgAAAEA/CbgCAAAJuQIAAAEAAAD+////AAAAAAEAAAAAAAAAAAAAAAEAAAAAAAAAAAAAAQ0CAAB3AAAACboCAAAKARACAAAjAAAACgoAAAAAAChBCXgAAAAJeQAAAAm7AgAAAAAJvAIAAAERAgAAegAAAAoKAAAAAP///wAOAAAAAAEBFgIAAK8AAAAJvQIAAAEAAAADAAAAARcCAAB3AAAACb4CAAAKBxgCAAAAAQAAAAQAAAAEHEFwbG9yaXMuQmFzZS5VSS5WaXN1YWxPYmplY3QDAAAACVoBAAAJWwEAAAoKARsCAAByAAAACgoAAABAPwm/AgAACcACAAABAAAA/v///wAAAAABAAAAAAAAAAAAAAABAAAAAAAAAAAAAAEcAgAAdwAAAAnBAgAACgEfAgAAIwAAAAoKAAAAAAAoQQl4AAAACXkAAAAJwgIAAAAACcMCAAABIAIAAHoAAAAKCgAAAAD///8ADgAAAAABASUCAACvAAAACcQCAAABAAAAAwAAAAEmAgAAdwAAAAnFAgAACgcnAgAAAAEAAAAEAAAABBxBcGxvcmlzLkJhc2UuVUkuVmlzdWFsT2JqZWN0AwAAAAlgAQAACWEBAAAKCgEqAgAAcgAAAAoKAAAAQD8JxgIAAAnHAgAAAQAAAP7///8AAAAAAQAAAAAAAAAAAAAAAQAAAAAAAAAAAAABKwIAAHcAAAAJyAIAAAoBLgIAACMAAAAKCgAAAAAAKEEJeAAAAAl5AAAACckCAAAAAAnKAgAAAS8CAAB6AAAACgoAAAAA////AA4AAAAAAQE0AgAArwAAAAnLAgAAAQAAAAMAAAABNQIAAHcAAAAJzAIAAAoHNgIAAAABAAAABAAAAAQcQXBsb3Jpcy5CYXNlLlVJLlZpc3VhbE9iamVjdAMAAAAJZgEAAAlnAQAACgoBOQIAAHIAAAAKCgAAAEA/Cc0CAAAJzgIAAAEAAAD+////AAAAAAEAAAAAAAAAAAAAAAEAAAAAAAAAAAAAAToCAAB3AAAACc8CAAAKAT0CAAAjAAAACgoAAAAAAChBCXgAAAAJeQAAAAnQAgAAAAAJ0QIAAAE+AgAAegAAAAoKAAAAAP///wAOAAAAAAEBQwIAAK8AAAAJ0gIAAAEAAAADAAAAAUQCAAB3AAAACdMCAAAKB0UCAAAAAQAAAAQAAAAEHEFwbG9yaXMuQmFzZS5VSS5WaXN1YWxPYmplY3QDAAAACWwBAAAJbQEAAAoKAUgCAAByAAAACgoAAABAPwnUAgAACdUCAAABAAAA/v///wAAAAABAAAAAAAAAAAAAAABAAAAAAAAAAAAAAFJAgAAdwAAAAnWAgAACgFMAgAAIwAAAAoKAAAAAAAoQQl4AAAACXkAAAAJ1wIAAAAACdgCAAABTQIAAHoAAAAKCgAAAAD///8ADgAAAAABAVICAACvAAAACdkCAAABAAAAAwAAAAFTAgAAdwAAAAnaAgAACgdUAgAAAAEAAAAEAAAABBxBcGxvcmlzLkJhc2UuVUkuVmlzdWFsT2JqZWN0AwAAAAlyAQAACXMBAAAKCgdVAgAAAAEAAAAEAAAABB5BcGxvcmlzLkNoYXJ0LkNoYXJ0RGF0YUVsZW1lbnQCAAAACdsCAAAJ3AIAAAndAgAACgdWAgAAAAEAAAAEAAAABB9BcGxvcmlzLkJhc2UuT2JqZWN0cy5EYXRhT2JqZWN0AwAAAAnbAgAACdwCAAAJ3QIAAAoHVwIAAAABAAAAAAAAAAQcQXBsb3Jpcy5CYXNlLlVJLlZpc3VhbE9iamVjdAMAAAABWAIAAHoAAAAKCgAAAAAAAAAADQAAAAABAVkCAAB6AAAACgoBAAAAAAAAAP////8AAQdaAgAAAAEAAAAEAAAABB1BcGxvcmlzLkJhc2UuT2JqZWN0cy5WYXJpYWJsZQMAAAAF3gIAAB1BcGxvcmlzLkJhc2UuT2JqZWN0cy5WYXJpYWJsZQIAAAAGTnVtYmVyCFBvc2l0aW9uAAAICAMAAAABAAAAAAAAAAHfAgAA3gIAAAAAAAAAAAAAAeACAADeAgAAAAAAAAAAAAAB4QIAAN4CAAAAAAAAAAAAAA9bAgAAAQAAAAgAAAAAB1wCAAAAAQAAAAQAAAAEHkFwbG9yaXMuQ2hhcnQuQ2hhcnREYXRhRWxlbWVudAIAAAAJ4gIAAAnjAgAACeQCAAAKB10CAAAAAQAAAAQAAAAEH0FwbG9yaXMuQmFzZS5PYmplY3RzLkRhdGFPYmplY3QDAAAACeICAAAJ4wIAAAnkAgAACgFeAgAAegAAAAoKAAAAAAAAAAANAAAAAAEBXwIAAHoAAAAKCgEAAAAAAAAA/////wABB2ACAAAAAQAAAAQAAAAEHUFwbG9yaXMuQmFzZS5PYmplY3RzLlZhcmlhYmxlAwAAAAHlAgAA3gIAAAEAAAAAAAAAAeYCAADeAgAAAAAAAAAAAAAB5wIAAN4CAAAAAAAAAAAAAAHoAgAA3gIAAAAAAAAAAAAAD2ECAAABAAAACAAAAAAHYgIAAAABAAAABAAAAAQeQXBsb3Jpcy5DaGFydC5DaGFydERhdGFFbGVtZW50AgAAAAnpAgAACeoCAAAJ6wIAAAoHYwIAAAABAAAABAAAAAQfQXBsb3Jpcy5CYXNlLk9iamVjdHMuRGF0YU9iamVjdAMAAAAJ6QIAAAnqAgAACesCAAAKAWQCAAB6AAAACgoAAAAAAAAAAA0AAAAAAQFlAgAAegAAAAoKAQAAAAAAAAD/////AAEHZgIAAAABAAAABAAAAAQdQXBsb3Jpcy5CYXNlLk9iamVjdHMuVmFyaWFibGUDAAAAAewCAADeAgAAAQAAAAAAAAAB7QIAAN4CAAAAAAAAAAAAAAHuAgAA3gIAAAAAAAAAAAAAAe8CAADeAgAAAAAAAAAAAAAPZwIAAAEAAAAIAAAAAAFoAgAAegAAAAoKAAAAAAAAAAANAAAAAAABaQIAAHoAAAAKCgEAAAAAAAAA/////wABB2oCAAAAAQAAAAQAAAAEHUFwbG9yaXMuQmFzZS5PYmplY3RzLlZhcmlhYmxlAwAAAAHwAgAA3gIAAAEAAAAAAAAAAfECAADeAgAAAAAAAAAAAAAB8gIAAN4CAAAAAAAAAAAAAAHzAgAA3gIAAAAAAAAAAAAAD2sCAAABAAAACDcAAAAHbAIAAAABAAAABAAAAAQfQXBsb3Jpcy5DaGFydC5Bbm5vdGF0aW9uRWxlbWVudAIAAAAJ9AIAAAn1AgAACfYCAAAKB20CAAAAAQAAAAQAAAAEH0FwbG9yaXMuQmFzZS5PYmplY3RzLkRhdGFPYmplY3QDAAAACfQCAAAJ9QIAAAn2AgAACgFuAgAAegAAAAoKAAAAAAAAAAANAAAAAAABbwIAAHoAAAAKCgAAAAAAAAAADQAAAAABB3ACAAAAAQAAAAQAAAAEHUFwbG9yaXMuQmFzZS5PYmplY3RzLlZhcmlhYmxlAwAAAAH3AgAA3gIAAAEAAAAAAAAAAfgCAADeAgAAAAAAAAAAAAAB+QIAAN4CAAAAAAAAAAAAAAH6AgAA3gIAAAAAAAAAAAAAD3ECAAABAAAACDgAAAABcgIAAHoAAAAKCgAAAAAAAAAADQAAAAAAAXMCAAB6AAAACgoAAAAAAAAAAA0AAAAAAQd0AgAAAAEAAAAEAAAABB1BcGxvcmlzLkJhc2UuT2JqZWN0cy5WYXJpYWJsZQMAAAAB+wIAAN4CAAABAAAAAAAAAAH8AgAA3gIAAAAAAAAAAAAAAf0CAADeAgAAAAAAAAAAAAAB/gIAAN4CAAAAAAAAAAAAAA91AgAAAQAAAAg6AAAAAXYCAAB6AAAACgoAAAAAAAAAAA0AAAAAAAF3AgAAegAAAAoKAAAAAAAAAAANAAAAAAEHeAIAAAABAAAABAAAAAQdQXBsb3Jpcy5CYXNlLk9iamVjdHMuVmFyaWFibGUDAAAAAf8CAADeAgAAAQAAAAAAAAABAAMAAN4CAAAAAAAAAAAAAAEBAwAA3gIAAAAAAAAAAAAAAQIDAADeAgAAAAAAAAAAAAAPeQIAAAEAAAAIOQAAAAF8AgAAIwAAAAoKAAAAAAAoQQl4AAAACXkAAAAJAwMAAAAACQQDAAABfQIAAHoAAAAKCgEAAAAAAAAA/////wABAYECAACvAAAACQUDAAABAAAAAQAAAAGCAgAAdwAAAAkGAwAACgGFAgAAcgAAAAoKAAAAQD8JBwMAAAkIAwAAAQAAAP7///8AAAAAAQAAAAAAAAAAAAAAAQAAAAAAAAAAAAABhgIAAHMAAAAKCgkJAwAACQoDAAABAAAA/v///wAAAAD/////AQABigIAAHcAAAAJCwMAAAoHiwIAAAABAAAAAAAAAAQfQXBsb3Jpcy5CYXNlLk9iamVjdHMuRGF0YU9iamVjdAMAAAAHjAIAAAABAAAABAAAAAQcQXBsb3Jpcy5CYXNlLlVJLlZpc3VhbE9iamVjdAMAAAAJ7wEAAAnwAQAACgoBjwIAACMAAAAKCgAAAAAAKEEJeAAAAAl5AAAACQwDAAAAAAkNAwAAAZACAAB6AAAACgoBAAAAAAAAAP////8AAQGUAgAArwAAAAkOAwAAAQAAAAEAAAABlQIAAHcAAAAJDwMAAAoBmAIAAHIAAAAKCgAAAEA/CRADAAAJEQMAAAEAAAD+////AAAAAAEAAAAAAAAAAAAAAAEAAAAAAAAAAAAAAZkCAABzAAAACgoJEgMAAAkTAwAAAQAAAP7///8AAAAA/////wEAAZ0CAAB3AAAACRQDAAAKB54CAAAAAQAAAAQAAAAEHEFwbG9yaXMuQmFzZS5VSS5WaXN1YWxPYmplY3QDAAAACfMBAAAJ9AEAAAoKAaECAAAjAAAACgoAAAAAAChBCXgAAAAJeQAAAAkVAwAAAAAJFgMAAAGiAgAAegAAAAoKAQAAAAAAAAD/////AAEBpgIAAK8AAAAJFwMAAAEAAAABAAAAAacCAAB3AAAACRgDAAAKAaoCAAByAAAACgoAAABAPwkZAwAACRoDAAABAAAA/v///wAAAAABAAAAAAAAAAAAAAABAAAAAAAAAAAAAAGrAgAAcwAAAAoKCRsDAAAJHAMAAAEAAAD+////AAAAAP////8BAAGvAgAAdwAAAAkdAwAACgewAgAAAAEAAAAEAAAABBxBcGxvcmlzLkJhc2UuVUkuVmlzdWFsT2JqZWN0AwAAAAn3AQAACfgBAAAKCgGxAgAAegAAAAoKAAAAAAAAAAANAAAAAAAFsgIAABpBcGxvcmlzLkJhc2UuT2JqZWN0cy5Db2xvcgcAAAASRGF0YU9iamVjdCttUGFyZW50FURhdGFPYmplY3QrbUNvbnRhaW5lcgVtVHlwZQRtUkdCEG1UaGVtZUNvbG9ySW5kZXgMbUF1dG9VcGRhdGVkCW1Nb2RpZmllZAQCAAAAAAAfQXBsb3Jpcy5CYXNlLk9iamVjdHMuTGluZUZvcm1hdAMAAAAICAgBAQMAAAAJ/QEAAAoBAAAAAAAAAP////8AAQ+zAgAAAQAAAAh3AAAAAbQCAAB6AAAACgoAAAAAAAAAAA0AAAAAAAG1AgAAegAAAAoKAAAAAAAAAAANAAAAAAEHtgIAAAABAAAABAAAAAQdQXBsb3Jpcy5CYXNlLk9iamVjdHMuVmFyaWFibGUDAAAAAR4DAADeAgAAAQAAAAAAAAABHwMAAN4CAAAAAAAAAAAAAAEgAwAA3gIAAAAAAAAAAAAAASEDAADeAgAAAAAAAAAAAAAPtwIAAAEAAAAILgAAAAG4AgAAegAAAAoKAAAAAAAAAAANAAAAAAAFuQIAABpBcGxvcmlzLkJhc2UuT2JqZWN0cy5Db2xvcgcAAAASRGF0YU9iamVjdCttUGFyZW50FURhdGFPYmplY3QrbUNvbnRhaW5lcgVtVHlwZQRtUkdCEG1UaGVtZUNvbG9ySW5kZXgMbUF1dG9VcGRhdGVkCW1Nb2RpZmllZAQCAAAAAAAfQXBsb3Jpcy5CYXNlLk9iamVjdHMuTGluZUZvcm1hdAMAAAAICAgBAQMAAAAJDAIAAAoBAAAAAAAAAP////8AAQ+6AgAAAQAAAAh5AAAAAbsCAAB6AAAACgoAAAAAAAAAAA0AAAAAAAG8AgAAegAAAAoKAAAAAAAAAAANAAAAAAEHvQIAAAABAAAABAAAAAQdQXBsb3Jpcy5CYXNlLk9iamVjdHMuVmFyaWFibGUDAAAAASIDAADeAgAAAQAAAAAAAAABIwMAAN4CAAAAAAAAAAAAAAEkAwAA3gIAAAAAAAAAAAAAASUDAADeAgAAAAAAAAAAAAAPvgIAAAEAAAAILwAAAAG/AgAAegAAAAoKAAAAAAAAAAANAAAAAAAFwAIAABpBcGxvcmlzLkJhc2UuT2JqZWN0cy5Db2xvcgcAAAASRGF0YU9iamVjdCttUGFyZW50FURhdGFPYmplY3QrbUNvbnRhaW5lcgVtVHlwZQRtUkdCEG1UaGVtZUNvbG9ySW5kZXgMbUF1dG9VcGRhdGVkCW1Nb2RpZmllZAQCAAAAAAAfQXBsb3Jpcy5CYXNlLk9iamVjdHMuTGluZUZvcm1hdAMAAAAICAgBAQMAAAAJGwIAAAoBAAAAAAAAAP////8AAQ/BAgAAAQAAAAh1AAAAAcICAAB6AAAACgoAAAAAAAAAAA0AAAAAAAHDAgAAegAAAAoKAAAAAAAAAAANAAAAAAEHxAIAAAABAAAABAAAAAQdQXBsb3Jpcy5CYXNlLk9iamVjdHMuVmFyaWFibGUDAAAAASYDAADeAgAAAQAAAAAAAAABJwMAAN4CAAAAAAAAAAAAAAEoAwAA3gIAAAAAAAAAAAAAASkDAADeAgAAAAAAAAAAAAAPxQIAAAEAAAAIKwAAAAHGAgAAegAAAAoKAAAAAAAAAAANAAAAAAAFxwIAABpBcGxvcmlzLkJhc2UuT2JqZWN0cy5Db2xvcgcAAAASRGF0YU9iamVjdCttUGFyZW50FURhdGFPYmplY3QrbUNvbnRhaW5lcgVtVHlwZQRtUkdCEG1UaGVtZUNvbG9ySW5kZXgMbUF1dG9VcGRhdGVkCW1Nb2RpZmllZAQCAAAAAAAfQXBsb3Jpcy5CYXNlLk9iamVjdHMuTGluZUZvcm1hdAMAAAAICAgBAQMAAAAJKgIAAAoBAAAAAAAAAP////8AAQ/IAgAAAQAAAAh2AAAAAckCAAB6AAAACgoAAAAAAAAAAA0AAAAAAAHKAgAAegAAAAoKAAAAAAAAAAANAAAAAAEHywIAAAABAAAABAAAAAQdQXBsb3Jpcy5CYXNlLk9iamVjdHMuVmFyaWFibGUDAAAAASoDAADeAgAAAQAAAAAAAAABKwMAAN4CAAAAAAAAAAAAAAEsAwAA3gIAAAAAAAAAAAAAAS0DAADeAgAAAAAAAAAAAAAPzAIAAAEAAAAIMgAAAAHNAgAAegAAAAoKAAAAAAAAAAANAAAAAAAFzgIAABpBcGxvcmlzLkJhc2UuT2JqZWN0cy5Db2xvcgcAAAASRGF0YU9iamVjdCttUGFyZW50FURhdGFPYmplY3QrbUNvbnRhaW5lcgVtVHlwZQRtUkdCEG1UaGVtZUNvbG9ySW5kZXgMbUF1dG9VcGRhdGVkCW1Nb2RpZmllZAQCAAAAAAAfQXBsb3Jpcy5CYXNlLk9iamVjdHMuTGluZUZvcm1hdAMAAAAICAgBAQMAAAAJOQIAAAoBAAAAAAAAAP////8AAQ/PAgAAAQAAAAh0AAAAAdACAAB6AAAACgoAAAAAAAAAAA0AAAAAAAHRAgAAegAAAAoKAAAAAAAAAAANAAAAAAEH0gIAAAABAAAABAAAAAQdQXBsb3Jpcy5CYXNlLk9iamVjdHMuVmFyaWFibGUDAAAAAS4DAADeAgAAAQAAAAAAAAABLwMAAN4CAAAAAAAAAAAAAAEwAwAA3gIAAAAAAAAAAAAAATEDAADeAgAAAAAAAAAAAAAP0wIAAAEAAAAIMAAAAAHUAgAAegAAAAoKAAAAAAAAAAANAAAAAAAF1QIAABpBcGxvcmlzLkJhc2UuT2JqZWN0cy5Db2xvcgcAAAASRGF0YU9iamVjdCttUGFyZW50FURhdGFPYmplY3QrbUNvbnRhaW5lcgVtVHlwZQRtUkdCEG1UaGVtZUNvbG9ySW5kZXgMbUF1dG9VcGRhdGVkCW1Nb2RpZmllZAQCAAAAAAAfQXBsb3Jpcy5CYXNlLk9iamVjdHMuTGluZUZvcm1hdAMAAAAICAgBAQMAAAAJSAIAAAoBAAAAAAAAAP////8AAQ/WAgAAAQAAAAh4AAAAAdcCAAB6AAAACgoAAAAAAAAAAA0AAAAAAAHYAgAAegAAAAoKAAAAAAAAAAANAAAAAAEH2QIAAAABAAAABAAAAAQdQXBsb3Jpcy5CYXNlLk9iamVjdHMuVmFyaWFibGUDAAAAATIDAADeAgAAAQAAAAAAAAABMwMAAN4CAAAAAAAAAAAAAAE0AwAA3gIAAAAAAAAAAAAAATUDAADeAgAAAAAAAAAAAAAP2gIAAAEAAAAINQAAAAXbAg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wLjAuMTQ3Ny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3NywgQ3VsdHVyZT1uZXV0cmFsLCBQdWJsaWNLZXlUb2tlbj0xNmZjMTNhMjI2YzBlOTUxXV0CAAAACTYDAAAJNwMAAAoJOAMAAAoJCAEAAAgGAAAAAADAYkAKAAAAAAk5AwAACToDAAADAAAAAAk7AwAACQgBAAAJAQAAAAk8AwAAAdwCAADbAgAACT0DAAAJPgMAAAoJPwMAAAoJCAEAAAgGAAAAAAAAPkAKAQAAAAlAAwAACUEDAAADAAAAAAlCAwAACQgBAAAJAQAAAAlDAwAAAd0CAADbAgAACUQDAAAJRQMAAAoJRgMAAAoJCAEAAAgGAAAAAAAALkAKAgAAAAlHAwAACUgDAAADAAAAAAlJAwAACQgBAAAJAQAAAAlKAwAAAeICAADbAgAACUsDAAAJTAMAAAoJTQMAAAoJCQEAAAgGAAAAAABAcEAKAAAAAAlOAwAACU8DAAADAAAAAAlQAwAACQkBAAAJAQAAAAlRAwAAAeMCAADbAgAACVIDAAAJUwMAAAoJVAMAAAoJCQEAAAgGAAAAAADAUkAKAQAAAAlVAwAACVYDAAADAAAAAAlXAwAACQkBAAAJAQAAAAlYAwAAAeQCAADbAgAACVkDAAAJWgMAAAoJWwMAAAoJCQEAAAgGAAAAAAAAPkAKAgAAAAlcAwAACV0DAAADAAAAAAleAwAACQkBAAAJAQAAAAlfAwAAAekCAADbAgAACWADAAAJYQMAAAoJYgMAAAoJCgEAAAgGAAAAAABAf0AKAAAAAAljAwAACWQDAAADAAAAAAllAwAACQoBAAAJAQAAAAlmAwAAAeoCAADbAgAACWcDAAAJaAMAAAoJaQMAAAoJCgEAAAgGAAAAAAAAaUAKAQAAAAlqAwAACWsDAAADAAAAAAlsAwAACQoBAAAJAQAAAAltAwAAAesCAADbAgAACW4DAAAJbwMAAAoJcAMAAAoJCgEAAAgGAAAAAABAUEAKAgAAAAlxAwAACXIDAAADAAAAAAlzAwAACQoBAAAJAQAAAAl0AwAABfQCAAAfQXBsb3Jpcy5DaGFydC5Bbm5vdGF0aW9uRWxlbWVudAgAAAAGbUxhYmVsBm1WYWx1ZQttR3JvdXBJbmRleAttRGF0YVNlcmllcxhEYXRhT2JqZWN0K21DaGlsZE9iamVjdHMSRGF0YU9iamVjdCttUGFyZW50FURhdGFPYmplY3QrbUNvbnRhaW5lchlEYXRhT2JqZWN0K21WaXN1YWxPYmplY3RzBAIABAMEBAMVQXBsb3Jpcy5CYXNlLlVJLkxhYmVsAwAAAAgiQXBsb3Jpcy5DaGFydC5Bbm5vdGF0aW9uRGF0YVNlcmllcwIAAACYAVN5c3RlbS5Db2xsZWN0aW9ucy5HZW5lcmljLkxpc3RgMVtbQXBsb3Jpcy5CYXNlLk9iamVjdHMuRGF0YU9iamVjdCwgQXBsb3Jpcy5CYXNlLCBWZXJzaW9uPTQuMC4wLjE0Nzc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NzcsIEN1bHR1cmU9bmV1dHJhbCwgUHVibGljS2V5VG9rZW49MTZmYzEzYTIyNmMwZTk1MV1dAgAAAAl1AwAACAYAAAAAAIBUQAAAAAAJCwEAAAl2AwAACQsBAAAJAQAAAAl3AwAAAfUCAAD0AgAACXgDAAAIBgAAAAAAYGpAAQAAAAkLAQAACXkDAAAJCwEAAAkBAAAACXoDAAAB9gIAAPQCAAAJewMAAAgGAAAAAABAU0ACAAAACQsBAAAJfAMAAAkLAQAACQEAAAAJfQMAAAEDAwAAegAAAAoKAAAAAAAAAAANAAAAAAABBAMAAHoAAAAKCgEAAAAAAAAA/////wABBwUDAAAAAQAAAAQAAAAEHUFwbG9yaXMuQmFzZS5PYmplY3RzLlZhcmlhYmxlAwAAAAF+AwAA3gIAAAEAAAAAAAAAAX8DAADeAgAAAAAAAAAAAAABgAMAAN4CAAAAAAAAAAAAAAGBAwAA3gIAAAAAAAAAAAAADwYDAAABAAAACGYAAAABBwMAAHoAAAAKCgAAAAD///8ADgAAAAAABQgDAAAaQXBsb3Jpcy5CYXNlLk9iamVjdHMuQ29sb3IHAAAAEkRhdGFPYmplY3QrbVBhcmVudBVEYXRhT2JqZWN0K21Db250YWluZXIFbVR5cGUEbVJHQhBtVGhlbWVDb2xvckluZGV4DG1BdXRvVXBkYXRlZAltTW9kaWZpZWQEAgAAAAAAH0FwbG9yaXMuQmFzZS5PYmplY3RzLkxpbmVGb3JtYXQDAAAACAgIAQEDAAAACYUCAAAKAQAAAAAAAAD/////AAEBCQMAAHoAAAAKCgAAAADtISUABwAAAAAAAQoDAAB6AAAACgoBAAAA////AP////8AAA8LAwAAAQAAAAhoAAAAAQwDAAB6AAAACgoAAAAAAAAAAA0AAAAAAAENAwAAegAAAAoKAQAAAAAAAAD/////AAEHDgMAAAABAAAABAAAAAQdQXBsb3Jpcy5CYXNlLk9iamVjdHMuVmFyaWFibGUDAAAAAYIDAADeAgAAAQAAAAAAAAABgwMAAN4CAAAAAAAAAAAAAAGEAwAA3gIAAAAAAAAAAAAAAYUDAADeAgAAAAAAAAAAAAAPDwMAAAEAAAAIZAAAAAEQAwAAegAAAAoKAAAAAP///wAOAAAAAAAFEQMAABpBcGxvcmlzLkJhc2UuT2JqZWN0cy5Db2xvcgcAAAASRGF0YU9iamVjdCttUGFyZW50FURhdGFPYmplY3QrbUNvbnRhaW5lcgVtVHlwZQRtUkdCEG1UaGVtZUNvbG9ySW5kZXgMbUF1dG9VcGRhdGVkCW1Nb2RpZmllZAQCAAAAAAAfQXBsb3Jpcy5CYXNlLk9iamVjdHMuTGluZUZvcm1hdAMAAAAICAgBAQMAAAAJmAIAAAoBAAAAAAAAAP////8AAQESAwAAegAAAAoKAAAAAHKEjAAGAAAAAAABEwMAAHoAAAAKCgEAAAD///8A/////wAADxQDAAABAAAACGkAAAABFQMAAHoAAAAKCgAAAAAAAAAADQAAAAAAARYDAAB6AAAACgoBAAAAAAAAAP////8AAQcXAwAAAAEAAAAEAAAABB1BcGxvcmlzLkJhc2UuT2JqZWN0cy5WYXJpYWJsZQMAAAABhgMAAN4CAAABAAAAAAAAAAGHAwAA3gIAAAAAAAAAAAAAAYgDAADeAgAAAAAAAAAAAAABiQMAAN4CAAAAAAAAAAAAAA8YAwAAAQAAAAhlAAAAARkDAAB6AAAACgoAAAAA////AA4AAAAAAAUaAwAAGkFwbG9yaXMuQmFzZS5PYmplY3RzLkNvbG9yBwAAABJEYXRhT2JqZWN0K21QYXJlbnQVRGF0YU9iamVjdCttQ29udGFpbmVyBW1UeXBlBG1SR0IQbVRoZW1lQ29sb3JJbmRleAxtQXV0b1VwZGF0ZWQJbU1vZGlmaWVkBAIAAAAAAB9BcGxvcmlzLkJhc2UuT2JqZWN0cy5MaW5lRm9ybWF0AwAAAAgICAEBAwAAAAmqAgAACgEAAAAAAAAA/////wABARsDAAB6AAAACgoAAAAAP2l+AAUAAAAAAAEcAwAAegAAAAoKAQAAAP///wD/////AAAPHQMAAAEAAAAIZwAAAAE2AwAAIAEAAApYAgAAAYoDAAB7AQAAAAAAAAGLAwAAfAEAAAEAAAABjAMAABUAAAD44MJC6vZxQ5whPUIgRaJCAY0DAAB+AQAAAAAAAAAAoEAAAY4DAAAhAAAAXynyQur2a0MBjwMAAKIAAAABAAAAAAAAAAAAAAAACZADAAAAAAAACZEDAAAAAAGSAwAAqwAAAAAAAAABkwMAAHQAAAAAAMBBAACAQQGUAwAAFQAAALdt3UIlSWBD9fSgQW7bNkESg74/BpUDAAADMTUwCgmWAwAACYcBAAA0AwAA/////wEBCgmXAwAAAQAKAAE3AwAAHAAAAAGYAwAAIQAAAPjgvEK9DKNDAZkDAAAhAAAA47gTQ+r2bkMJmgMAAAmbAwAAAAAAAAoBnAMAAHQAAAAAAAAAAAAAAAGdAwAAdAAAAAAAAAAAAAAAAAAAAAGeAwAAFQAAAAAAAAAAAAAAAAAAAAAAAACkAQAA/////wEBCgmfAwAAAQAKAAc4AwAAAAEAAAACAAAABBpBcGxvcmlzLkJhc2UuVUkuVmlzdWFsTGluZQMAAAAKCgc5AwAAAAEAAAAEAAAABBVTeXN0ZW0uRHJhd2luZy5Qb2ludEYEAAAAAaADAAAhAAAAXynyQhlEjUMBoQMAACEAAAD44LZCGUSNQwGiAwAAIQAAAOO4FkMZRI1DAaMDAAAhAAAAXynyQur2a0MHOgMAAAABAAAABAAAAAQXQXBsb3Jpcy5CYXNlLkFuY2hvck1vZGUDAAAAAaQDAACiAAAAAAAAAAGlAwAAogAAAAIAAAABpgMAAKIAAAAEAAAAAacDAACiAAAAAQAAAAE7AwAAJQAAAAnZAQAAAAAAAAAAAAABPAMAACYAAAAJqAMAAAIAAAACAAAAAT0DAAAgAQAAClgCAAABqQMAAHsBAAAAAAAAAaoDAAB8AQAAAQAAAAGrAwAAFQAAAPegkEMV1ptDoCE9QgDVNkEBrAMAAH4BAAAAAAAAAACgQAABrQMAACEAAAARc5xDFdaYQwGuAwAAogAAAAEAAAAAAAAAAAAAAAAJrwMAAAAAAAAJsAMAAAAAAbEDAACrAAAAAAAAAAGyAwAAdAAAAAAAgEEAAIBBAbMDAAAVAAAAbtuYQ5Ikk0MzfGZBbts2QRKDvj8GtAMAAAIzMAoJtQMAAAmHAQAANAMAAP////8BAQoJtgMAAAEACgABPgMAABwAAAABtwMAACEAAAD3II9DvQyjQwG4AwAAIQAAACvFqUMVVppDCbkDAAAJugMAAAAAAAAKAbsDAAB0AAAAAAAAAAAAAAABvAMAAHQAAAAAAAAAAAAAAAAAAAABvQMAABUAAAAAAAAAAAAAAAAAAAAAAAAApAEAAP////8BAQoJvgMAAAEACgAHPwMAAAABAAAAAgAAAAQaQXBsb3Jpcy5CYXNlLlVJLlZpc3VhbExpbmUDAAAACgoHQAMAAAABAAAABAAAAAQVU3lzdGVtLkRyYXdpbmcuUG9pbnRGBAAAAAG/AwAAIQAAABFznENpsZ5DAcADAAAhAAAA96CNQ2mxnkMBwQMAACEAAAArRatDabGeQwHCAwAAIQAAABFznEMV1phDB0EDAAAAAQAAAAQAAAAEF0FwbG9yaXMuQmFzZS5BbmNob3JNb2RlAwAAAAHDAwAAogAAAAAAAAABxAMAAKIAAAACAAAAAcUDAACiAAAABAAAAAHGAwAAogAAAAEAAAABQgMAACUAAAAJ2QEAAAAAAAAAAAAAAUMDAAAmAAAACccDAAACAAAAAgAAAAFEAwAAIAEAAApYAgAAAcgDAAB7AQAAAAAAAAHJAwAAfAEAAAEAAAABygMAABUAAACxifBDaTGgQ5ghPUIAqi1AAcsDAAB+AQAAAAAAAAAAoEAAAcwDAAAhAAAAy1v8Q2kxnUMBzQMAAKIAAAABAAAAAAAAAAAAAAAACc4DAAAAAAAACc8DAAAAAAHQAwAAqwAAAAAAAAAB0QMAAHQAAAAAAIBBAACAQQHSAwAAFQAAALft+EO3bZdDM3xmQW7bNkESg74/BtMDAAACMTUKCdQDAAAJhwEAADQDAAD/////AQEKCdUDAAABAAoAAUUDAAAcAAAAAdYDAAAhAAAAsQnvQ70Mo0MB1wMAACEAAADy1gREabGeQwnYAwAACdkDAAAAAAAACgHaAwAAdAAAAAAAAAAAAAAAAdsDAAB0AAAAAAAAAAAAAAAAAAAAAdwDAAAVAAAAAAAAAAAAAAAAAAAAAAAAAKQBAAD/////AQEKCd0DAAABAAoAB0YDAAAAAQAAAAIAAAAEGkFwbG9yaXMuQmFzZS5VSS5WaXN1YWxMaW5lAwAAAAoKB0cDAAAAAQAAAAQAAAAEFVN5c3RlbS5EcmF3aW5nLlBvaW50RgQAAAAB3gMAACEAAADLW/xDE9+gQwHfAwAAIQAAALGJ7UMT36BDAeADAAAhAAAA8pYFRBPfoEMB4QMAACEAAADLW/xDaTGdQwdIAwAAAAEAAAAEAAAABBdBcGxvcmlzLkJhc2UuQW5jaG9yTW9kZQMAAAAB4gMAAKIAAAAAAAAAAeMDAACiAAAAAgAAAAHkAwAAogAAAAQAAAAB5QMAAKIAAAABAAAAAUkDAAAlAAAACdkBAAAAAAAAAAAAAAFKAwAAJgAAAAnmAwAAAgAAAAIAAAABSwMAACABAAAKWAIAAAHnAwAAewEAAAAAAAAB6AMAAHwBAAABAAAAAekDAAAVAAAA4rgWQ8UQMkOgIT1CtQgRQwHqAwAAfgEAAAAAAAAAAKBAAAHrAwAAIQAAABZdLkPFECxDAewDAACiAAAAAQAAAAAAAAAAAAAAAAntAwAAAAAAAAnuAwAAAAAB7wMAAKsAAAAAAAAAAfADAAB0AAAAAADAQQAAgEEB8QMAABUAAAAlSSRD3LYgQ/X0oEFu2zZBEoO+PwbyAwAAAzI2MAoJ8wMAAAmHAQAANAMAAP////8BAQoJ9AMAAAEACgABTAMAABwAAAAB9QMAACEAAADiuBNDvQyjQwH2AwAAIQAAAEoBSUPFEC9DCfcDAAAJ+AMAAAAAAAAKAfkDAAB0AAAAAAAAAAAAAAAB+gMAAHQAAAAAAAAAAAAAAAAAAAAB+wMAABUAAAAAAAAAAAAAAAAAAAAAAAAApAEAAP////8BAQoJ/AMAAAEACgAHTQMAAAABAAAAAgAAAAQaQXBsb3Jpcy5CYXNlLlVJLlZpc3VhbExpbmUDAAAACgoHTgMAAAABAAAABAAAAAQVU3lzdGVtLkRyYXdpbmcuUG9pbnRGBAAAAAH9AwAAIQAAABZdLkMglXpDAf4DAAAhAAAA4rgQQyCVekMB/wMAACEAAABKAUxDIJV6QwEABAAAIQAAABZdLkPFECxDB08DAAAAAQAAAAQAAAAEF0FwbG9yaXMuQmFzZS5BbmNob3JNb2RlAwAAAAEBBAAAogAAAAAAAAABAgQAAKIAAAACAAAAAQMEAACiAAAABAAAAAEEBAAAogAAAAEAAAABUAMAACUAAAAJ2QEAAAAAAAAAAAAAAVEDAAAmAAAACQUEAAACAAAAAgAAAAFSAwAAIAEAAApYAgAAAQYEAAB7AQAAAAAAAAEHBAAAfAEAAAEAAAABCAQAABUAAAArRatDGcSOQ6AhPUIgRRZCAQkEAAB+AQAAAAAAAAAAoEAAAQoEAAAhAAAARRe3QxnEi0MBCwQAAKIAAAABAAAAAAAAAAAAAAAACQwEAAAAAAAACQ0EAAAAAAEOBAAAqwAAAAAAAAABDwQAAHQAAAAAAIBBAACAQQEQBAAAFQAAAJKks0O37YVDM3xmQW7bNkESg74/BhEEAAACNzUKCRIEAAAJhwEAADQDAAD/////AQEKCRMEAAABAAoAAVMDAAAcAAAAARQEAAAhAAAAK8WpQ70Mo0MBFQQAACEAAABfacRDGUSNQwkWBAAACRcEAAAAAAAACgEYBAAAdAAAAAAAAAAAAAAAARkEAAB0AAAAAAAAAAAAAAAAAAAAARoEAAAVAAAAAAAAAAAAAAAAAAAAAAAAAKQBAAD/////AQEKCRsEAAABAAoAB1QDAAAAAQAAAAIAAAAEGkFwbG9yaXMuQmFzZS5VSS5WaXN1YWxMaW5lAwAAAAoKB1UDAAAAAQAAAAQAAAAEFVN5c3RlbS5EcmF3aW5nLlBvaW50RgQAAAABHAQAACEAAABFF7dDayiYQwEdBAAAIQAAACtFqENrKJhDAR4EAAAhAAAAX+nFQ2somEMBHwQAACEAAABFF7dDGcSLQwdWAwAAAAEAAAAEAAAABBdBcGxvcmlzLkJhc2UuQW5jaG9yTW9kZQMAAAABIAQAAKIAAAAAAAAAASEEAACiAAAAAgAAAAEiBAAAogAAAAQAAAABIwQAAKIAAAABAAAAAVcDAAAlAAAACdkBAAAAAAAAAAAAAAFYAwAAJgAAAAkkBAAAAgAAAAIAAAABWQMAACABAAAKWAIAAAElBAAAewEAAAAAAAABJgQAAHwBAAABAAAAAScEAAAVAAAA8pYFRBXWm0OgIT1CANU2QQEoBAAAfgEAAAAAAAAAAKBAAAEpBAAAIQAAAP9/C0QV1phDASoEAACiAAAAAQAAAAAAAAAAAAAAAAkrBAAAAAAAAAksBAAAAAABLQQAAKsAAAAAAAAAAS4EAAB0AAAAAACAQQAAgEEBLwQAABUAAAC3rQlEkiSTQzN8ZkFu2zZBEoO+PwYwBAAAAjMwCgkxBAAACYcBAAA0AwAA/////wEBCgkyBAAAAQAKAAFaAwAAHAAAAAEzBAAAIQAAAPLWBES9DKNDATQEAAAhAAAADCkSRBVWmkMJNQQAAAk2BAAAAAAAAAoBNwQAAHQAAAAAAAAAAAAAAAE4BAAAdAAAAAAAAAAAAAAAAAAAAAE5BAAAFQAAAAAAAAAAAAAAAAAAAAAAAACkAQAA/////wEBCgk6BAAAAQAKAAdbAwAAAAEAAAACAAAABBpBcGxvcmlzLkJhc2UuVUkuVmlzdWFsTGluZQMAAAAKCgdcAwAAAAEAAAAEAAAABBVTeXN0ZW0uRHJhd2luZy5Qb2ludEYEAAAAATsEAAAhAAAA/38LRGmxnkMBPAQAACEAAADyFgREabGeQwE9BAAAIQAAAAzpEkRpsZ5DAT4EAAAhAAAA/38LRBXWmEMHXQMAAAABAAAABAAAAAQXQXBsb3Jpcy5CYXNlLkFuY2hvck1vZGUDAAAAAT8EAACiAAAAAAAAAAFABAAAogAAAAIAAAABQQQAAKIAAAAEAAAAAUIEAACiAAAAAQAAAAFeAwAAJQAAAAnZAQAAAAAAAAAAAAABXwMAACYAAAAJQwQAAAIAAAACAAAAAWADAAAgAQAAClgCAAABRAQAAHsBAAAAAAAAAUUEAAB8AQAAAQAAAAFGBAAAFQAAAEoBTEMYmRpCmCE9Qpo5jkMBRwQAAH4BAAAAAAAAAACgQAABSAQAACEAAAB9pWNDGJkCQgFJBAAAogAAAAEAAAAAAAAAAAAAAAAJSgQAAAAAAAAJSwQAAAAAAUwEAACrAAAAAAAAAAFNBAAAdAAAAAAAwEEAAIBBAU4EAAAVAAAAbttZQ7dtq0H19KBBbts2QRKDvj8GTwQAAAM1MDAKCVAEAAAJhwEAADQDAAD/////AQEKCVEEAAABAAoAAWEDAAAcAAAAAVIEAAAhAAAASgFJQ70Mo0MBUwQAACEAAACwSX5DGJkOQglUBAAACVUEAAAAAAAACgFWBAAAdAAAAAAAAAAAAAAAAVcEAAB0AAAAAAAAAAAAAAAAAAAAAVgEAAAVAAAAAAAAAAAAAAAAAAAAAAAAAKQBAAD/////AQEKCVkEAAABAAoAB2IDAAAAAQAAAAIAAAAEGkFwbG9yaXMuQmFzZS5VSS5WaXN1YWxMaW5lAwAAAAoKB2MDAAAAAQAAAAQAAAAEFVN5c3RlbS5EcmF3aW5nLlBvaW50RgQAAAABWgQAACEAAAB9pWND4N80QwFbBAAAIQAAAEoBRkPg3zRDAVwEAAAhAAAA2KSAQ+DfNEMBXQQAACEAAAB9pWNDGJkCQgdkAwAAAAEAAAAEAAAABBdBcGxvcmlzLkJhc2UuQW5jaG9yTW9kZQMAAAABXgQAAKIAAAAAAAAAAV8EAACiAAAAAgAAAAFgBAAAogAAAAQAAAABYQQAAKIAAAABAAAAAWUDAAAlAAAACdkBAAAAAAAAAAAAAAFmAwAAJgAAAAliBAAAAgAAAAIAAAABZwMAACABAAAKWAIAAAFjBAAAewEAAAAAAAABZAQAAHwBAAABAAAAAWUEAAAVAAAAXunFQ2XrVEOgIT1CKlzcQgFmBAAAfgEAAAAAAAAAAKBAAAFnBAAAIQAAAHi70UNl605DAWgEAACiAAAAAQAAAAAAAAAAAAAAAAlpBAAAAAAAAAlqBAAAAAABawQAAKsAAAAAAAAAAWwEAAB0AAAAAADAQQAAgEEBbQQAABUAAACTpMxD3LZDQ/X0oEFu2zZBEoO+PwZuBAAAAzIwMAoJbwQAAAmHAQAANAMAAP////8BAQoJcAQAAAEACgABaAMAABwAAAABcQQAACEAAABeacRDvQyjQwFyBAAAIQAAAJIN30Nl61FDCXMEAAAJdAQAAAAAAAAKAXUEAAB0AAAAAAAAAAAAAAABdgQAAHQAAAAAAAAAAAAAAAAAAAABdwQAABUAAAAAAAAAAAAAAAAAAAAAAAAApAEAAP////8BAQoJeAQAAAEACgAHaQMAAAABAAAAAgAAAAQaQXBsb3Jpcy5CYXNlLlVJLlZpc3VhbExpbmUDAAAACgoHagMAAAABAAAABAAAAAQVU3lzdGVtLkRyYXdpbmcuUG9pbnRGBAAAAAF5BAAAIQAAAHi70UM4AYZDAXoEAAAhAAAAXunCQzgBhkMBewQAACEAAACSjeBDOAGGQwF8BAAAIQAAAHi70UNl605DB2sDAAAAAQAAAAQAAAAEF0FwbG9yaXMuQmFzZS5BbmNob3JNb2RlAwAAAAF9BAAAogAAAAAAAAABfgQAAKIAAAACAAAAAX8EAACiAAAABAAAAAGABAAAogAAAAEAAAABbAMAACUAAAAJ2QEAAAAAAAAAAAAAAW0DAAAmAAAACYEEAAACAAAAAgAAAAFuAwAAIAEAAApYAgAAAYIEAAB7AQAAAAAAAAGDBAAAfAEAAAEAAAABhAQAABUAAAAM6RJEpquRQ6AhPUJwEf5BAYUEAAB+AQAAAAAAAAAAoEAAAYYEAAAhAAAAGdIYRKarjkMBhwQAAKIAAAABAAAAAAAAAAAAAAAACYgEAAAAAAAACYkEAAAAAAGKBAAAqwAAAAAAAAABiwQAAHQAAAAAAIBBAACAQQGMBAAAFQAAAEkSF0QlyYhDM3xmQW7bNkESg74/Bo0EAAACNjUKCY4EAAAJhwEAADQDAAD/////AQEKCY8EAAABAAoAAW8DAAAcAAAAAZAEAAAhAAAADCkSRL0Mo0MBkQQAACEAAAAmex9EpiuQQwmSBAAACZMEAAAAAAAACgGUBAAAdAAAAAAAAAAAAAAAAZUEAAB0AAAAAAAAAAAAAAAAAAAAAZYEAAAVAAAAAAAAAAAAAAAAAAAAAAAAAKQBAAD/////AQEKCZcEAAABAAoAB3ADAAAAAQAAAAIAAAAEGkFwbG9yaXMuQmFzZS5VSS5WaXN1YWxMaW5lAwAAAAoKB3EDAAAAAQAAAAQAAAAEFVN5c3RlbS5EcmF3aW5nLlBvaW50RgQAAAABmAQAACEAAAAZ0hhEMpyZQwGZBAAAIQAAAAxpEUQynJlDAZoEAAAhAAAAJjsgRDKcmUMBmwQAACEAAAAZ0hhEpquOQwdyAwAAAAEAAAAEAAAABBdBcGxvcmlzLkJhc2UuQW5jaG9yTW9kZQMAAAABnAQAAKIAAAAAAAAAAZ0EAACiAAAAAgAAAAGeBAAAogAAAAQAAAABnwQAAKIAAAABAAAAAXMDAAAlAAAACdkBAAAAAAAAAAAAAAF0AwAAJgAAAAmgBAAAAgAAAAIAAAABdQMAADQAAAABoQQAACEAAAAWXS5D5KO2QwGiBAAAogAAAAAAAAAAAAAAAAAAAAAJowQAAAAAAAAJpAQAAAAAAaUEAACrAAAAAAAAAAGmBAAAdAAAAAAAgEEAAIBBAacEAAAVAAAAkiQnQ5Kks0MzfGZBbts2QRKDvj8GqAQAAAI4MgoJqQQAAAmHAQAANAMAAP////8BAQoJqgQAAAEACgABdgMAACUAAAAJ2QEAAAAAAAAAAAAAAXcDAAAmAAAACasEAAABAAAAAQAAAAF4AwAANAAAAAGsBAAAIQAAAEUXt0Pko7ZDAa0EAACiAAAAAAAAAAAAAAAAAAAAAAmuBAAAAAAAAAmvBAAAAAABsAQAAKsAAAAAAAAAAbEEAAB0AAAAAADAQQAAgEEBsgQAABUAAADcNrJDkqSzQ/X0oEFu2zZBEoO+PwazBAAAAzIxMQoJtAQAAAmHAQAANAMAAP////8BAQoJtQQAAAEACgABeQMAACUAAAAJ2QEAAAAAAAAAAAAAAXoDAAAmAAAACbYEAAABAAAAAQAAAAF7AwAANAAAAAG3BAAAIQAAAP9/C0Tko7ZDAbgEAACiAAAAAAAAAAAAAAAAAAAAAAm5BAAAAAAAAAm6BAAAAAABuwQAAKsAAAAAAAAAAbwEAAB0AAAAAACAQQAAgEEBvQQAABUAAAC3rQlEkqSzQzN8ZkFu2zZBEoO+Pwa+BAAAAjc3Cgm/BAAACYcBAAA0AwAA/////wEBCgnABAAAAQAKAAF8AwAAJQAAAAnZAQAAAAAAAAAAAAABfQMAACYAAAAJwQQAAAEAAAABAAAAAZADAAAjAAAACgoAAAAAAChBCXgAAAAJeQAAAAnCBAAAAAAJwwQAAAGRAwAAegAAAAoKAAAAAP///wAOAAAAAAEBlgMAAK8AAAAJxAQAAAEAAAADAAAAAZcDAAB3AAAACcUEAAAKAZoDAAByAAAACgoAAABAPwnGBAAACccEAAABAAAA/v///wAAAAABAAAAAAAAAAAAAAABAAAAAAAAAAAAAAGbAwAAcwAAAAoKCcgEAAAJyQQAAAEAAAD+////AAAAAP////8AAAGfAwAAdwAAAAnKBAAACgeoAwAAAAEAAAAEAAAABBxBcGxvcmlzLkJhc2UuVUkuVmlzdWFsT2JqZWN0AwAAAAk3AwAACTYDAAAKCgGvAwAAIwAAAAoKAAAAAAAoQQl4AAAACXkAAAAJywQAAAAACcwEAAABsAMAAHoAAAAKCgAAAAD///8ADgAAAAABAbUDAACvAAAACc0EAAABAAAAAwAAAAG2AwAAdwAAAAnOBAAACgG5AwAAcgAAAAoKAAAAQD8JzwQAAAnQBAAAAQAAAP7///8AAAAAAQAAAAAAAAAAAAAAAQAAAAAAAAAAAAABugMAAHMAAAAKCgnRBAAACdIEAAABAAAA/v///wAAAAD/////AAABvgMAAHcAAAAJ0wQAAAoHxwMAAAABAAAABAAAAAQcQXBsb3Jpcy5CYXNlLlVJLlZpc3VhbE9iamVjdAMAAAAJPgMAAAk9AwAACgoBzgMAACMAAAAKCgAAAAAAKEEJeAAAAAl5AAAACdQEAAAAAAnVBAAAAc8DAAB6AAAACgoAAAAA////AA4AAAAAAQHUAwAArwAAAAnWBAAAAQAAAAMAAAAB1QMAAHcAAAAJ1wQAAAoB2AMAAHIAAAAKCgAAAEA/CdgEAAAJ2QQAAAEAAAD+////AAAAAAEAAAAAAAAAAAAAAAEAAAAAAAAAAAAAAdkDAABzAAAACgoJ2gQAAAnbBAAAAQAAAP7///8AAAAA/////wAAAd0DAAB3AAAACdwEAAAKB+YDAAAAAQAAAAQAAAAEHEFwbG9yaXMuQmFzZS5VSS5WaXN1YWxPYmplY3QDAAAACUUDAAAJRAMAAAoKAe0DAAAjAAAACgoAAAAAAChBCXgAAAAJeQAAAAndBAAAAAAJ3gQAAAHuAwAAegAAAAoKAAAAAP///wAOAAAAAAEB8wMAAK8AAAAJ3wQAAAEAAAADAAAAAfQDAAB3AAAACeAEAAAKAfcDAAByAAAACgoAAABAPwnhBAAACeIEAAABAAAA/v///wAAAAABAAAAAAAAAAAAAAABAAAAAAAAAAAAAAH4AwAAcwAAAAoKCeMEAAAJ5AQAAAEAAAD+////AAAAAP////8BAAH8AwAAdwAAAAnlBAAACgcFBAAAAAEAAAAEAAAABBxBcGxvcmlzLkJhc2UuVUkuVmlzdWFsT2JqZWN0AwAAAAlMAwAACUsDAAAKCgEMBAAAIwAAAAoKAAAAAAAoQQl4AAAACXkAAAAJ5gQAAAAACecEAAABDQQAAHoAAAAKCgAAAAD///8ADgAAAAABARIEAACvAAAACegEAAABAAAAAwAAAAETBAAAdwAAAAnpBAAACgEWBAAAcgAAAAoKAAAAQD8J6gQAAAnrBAAAAQAAAP7///8AAAAAAQAAAAAAAAAAAAAAAQAAAAAAAAAAAAABFwQAAHMAAAAKCgnsBAAACe0EAAABAAAA/v///wAAAAD/////AQABGwQAAHcAAAAJ7gQAAAoHJAQAAAABAAAABAAAAAQcQXBsb3Jpcy5CYXNlLlVJLlZpc3VhbE9iamVjdAMAAAAJUwMAAAlSAwAACgoBKwQAACMAAAAKCgAAAAAAKEEJeAAAAAl5AAAACe8EAAAAAAnwBAAAASwEAAB6AAAACgoAAAAA////AA4AAAAAAQExBAAArwAAAAnxBAAAAQAAAAMAAAABMgQAAHcAAAAJ8gQAAAoBNQQAAHIAAAAKCgAAAEA/CfMEAAAJ9AQAAAEAAAD+////AAAAAAEAAAAAAAAAAAAAAAEAAAAAAAAAAAAAATYEAABzAAAACgoJ9QQAAAn2BAAAAQAAAP7///8AAAAA/////wEAAToEAAB3AAAACfcEAAAKB0MEAAAAAQAAAAQAAAAEHEFwbG9yaXMuQmFzZS5VSS5WaXN1YWxPYmplY3QDAAAACVoDAAAJWQMAAAoKAUoEAAAjAAAACgoAAAAAAChBCXgAAAAJeQAAAAn4BAAAAAAJ+QQAAAFLBAAAegAAAAoKAAAAAP///wAOAAAAAAEBUAQAAK8AAAAJ+gQAAAEAAAADAAAAAVEEAAB3AAAACfsEAAAKAVQEAAByAAAACgoAAABAPwn8BAAACf0EAAABAAAA/v///wAAAAABAAAAAAAAAAAAAAABAAAAAAAAAAAAAAFVBAAAcwAAAAoKCf4EAAAJ/wQAAAEAAAD+////AAAAAP////8AAAFZBAAAdwAAAAkABQAACgdiBAAAAAEAAAAEAAAABBxBcGxvcmlzLkJhc2UuVUkuVmlzdWFsT2JqZWN0AwAAAAlhAwAACWADAAAKCgFpBAAAIwAAAAoKAAAAAAAoQQl4AAAACXkAAAAJAQUAAAAACQIFAAABagQAAHoAAAAKCgAAAAD///8ADgAAAAABAW8EAACvAAAACQMFAAABAAAAAwAAAAFwBAAAdwAAAAkEBQAACgFzBAAAcgAAAAoKAAAAQD8JBQUAAAkGBQAAAQAAAP7///8AAAAAAQAAAAAAAAAAAAAAAQAAAAAAAAAAAAABdAQAAHMAAAAKCgkHBQAACQgFAAABAAAA/v///wAAAAD/////AAABeAQAAHcAAAAJCQUAAAoHgQQAAAABAAAABAAAAAQcQXBsb3Jpcy5CYXNlLlVJLlZpc3VhbE9iamVjdAMAAAAJaAMAAAlnAwAACgoBiAQAACMAAAAKCgAAAAAAKEEJeAAAAAl5AAAACQoFAAAAAAkLBQAAAYkEAAB6AAAACgoAAAAA////AA4AAAAAAQGOBAAArwAAAAkMBQAAAQAAAAMAAAABjwQAAHcAAAAJDQUAAAoBkgQAAHIAAAAKCgAAAEA/CQ4FAAAJDwUAAAEAAAD+////AAAAAAEAAAAAAAAAAAAAAAEAAAAAAAAAAAAAAZMEAABzAAAACgoJEAUAAAkRBQAAAQAAAP7///8AAAAA/////wAAAZcEAAB3AAAACRIFAAAKB6AEAAAAAQAAAAQAAAAEHEFwbG9yaXMuQmFzZS5VSS5WaXN1YWxPYmplY3QDAAAACW8DAAAJbgMAAAoKAaMEAAAjAAAACgoAAAAAAChBCXgAAAAJeQAAAAkTBQAAAAAJFAUAAAGkBAAAegAAAAoKAQAAAAAAAAD/////AAEBqQQAAK8AAAAJFQUAAAEAAAADAAAAAaoEAAB3AAAACRYFAAAKB6sEAAAAAQAAAAQAAAAEHEFwbG9yaXMuQmFzZS5VSS5WaXN1YWxPYmplY3QDAAAACXUDAAANAwGuBAAAIwAAAAoKAAAAAAAoQQl4AAAACXkAAAAJFwUAAAAACRgFAAABrwQAAHoAAAAKCgEAAAAAAAAA/////wABAbQEAACvAAAACRkFAAABAAAAAwAAAAG1BAAAdwAAAAkaBQAACge2BAAAAAEAAAAEAAAABBxBcGxvcmlzLkJhc2UuVUkuVmlzdWFsT2JqZWN0AwAAAAl4AwAADQMBuQQAACMAAAAKCgAAAAAAKEEJeAAAAAl5AAAACRsFAAAAAAkcBQAAAboEAAB6AAAACgoBAAAAAAAAAP////8AAQG/BAAArwAAAAkdBQAAAQAAAAMAAAABwAQAAHcAAAAJHgUAAAoHwQQAAAABAAAABAAAAAQcQXBsb3Jpcy5CYXNlLlVJLlZpc3VhbE9iamVjdAMAAAAJewMAAA0DAcIEAAB6AAAACgoAAAAAAAAAAA0AAAAAAAHDBAAAegAAAAoKAAAAAAAAAAANAAAAAAEHxAQAAAABAAAABAAAAAQdQXBsb3Jpcy5CYXNlLk9iamVjdHMuVmFyaWFibGUDAAAAAR8FAADeAgAAAQAAAAAAAAABIAUAAN4CAAAAAAAAAAAAAAEhBQAA3gIAAAAAAAAAAAAAASIFAADeAgAAAAAAAAAAAAAPxQQAAAEAAAAIPwAAAAXGBAAAGkFwbG9yaXMuQmFzZS5PYmplY3RzLkNvbG9yBwAAABJEYXRhT2JqZWN0K21QYXJlbnQVRGF0YU9iamVjdCttQ29udGFpbmVyBW1UeXBlBG1SR0IQbVRoZW1lQ29sb3JJbmRleAxtQXV0b1VwZGF0ZWQJbU1vZGlmaWVkBAIAAAAAAB9BcGxvcmlzLkJhc2UuT2JqZWN0cy5MaW5lRm9ybWF0AwAAAAgICAEBAwAAAAmaAwAACgAAAAD///8ADgAAAAAABccEAAAaQXBsb3Jpcy5CYXNlLk9iamVjdHMuQ29sb3IHAAAAEkRhdGFPYmplY3QrbVBhcmVudBVEYXRhT2JqZWN0K21Db250YWluZXIFbVR5cGUEbVJHQhBtVGhlbWVDb2xvckluZGV4DG1BdXRvVXBkYXRlZAltTW9kaWZpZWQEAgAAAAAAH0FwbG9yaXMuQmFzZS5PYmplY3RzLkxpbmVGb3JtYXQDAAAACAgIAQEDAAAACZoDAAAKAQAAAAAAAAD/////AAEByAQAAHoAAAAKCgAAAADtISUABwAAAAAAAckEAAB6AAAACgoBAAAA////AP////8AAA/KBAAAAQAAAAgbAAAAAcsEAAB6AAAACgoAAAAAAAAAAA0AAAAAAAHMBAAAegAAAAoKAAAAAAAAAAANAAAAAAEHzQQAAAABAAAABAAAAAQdQXBsb3Jpcy5CYXNlLk9iamVjdHMuVmFyaWFibGUDAAAAASMFAADeAgAAAQAAAAAAAAABJAUAAN4CAAAAAAAAAAAAAAElBQAA3gIAAAAAAAAAAAAAASYFAADeAgAAAAAAAAAAAAAPzgQAAAEAAAAIQgAAAAXPBAAAGkFwbG9yaXMuQmFzZS5PYmplY3RzLkNvbG9yBwAAABJEYXRhT2JqZWN0K21QYXJlbnQVRGF0YU9iamVjdCttQ29udGFpbmVyBW1UeXBlBG1SR0IQbVRoZW1lQ29sb3JJbmRleAxtQXV0b1VwZGF0ZWQJbU1vZGlmaWVkBAIAAAAAAB9BcGxvcmlzLkJhc2UuT2JqZWN0cy5MaW5lRm9ybWF0AwAAAAgICAEBAwAAAAm5AwAACgAAAAD///8ADgAAAAAABdAEAAAaQXBsb3Jpcy5CYXNlLk9iamVjdHMuQ29sb3IHAAAAEkRhdGFPYmplY3QrbVBhcmVudBVEYXRhT2JqZWN0K21Db250YWluZXIFbVR5cGUEbVJHQhBtVGhlbWVDb2xvckluZGV4DG1BdXRvVXBkYXRlZAltTW9kaWZpZWQEAgAAAAAAH0FwbG9yaXMuQmFzZS5PYmplY3RzLkxpbmVGb3JtYXQDAAAACAgIAQEDAAAACbkDAAAKAQAAAAAAAAD/////AAEB0QQAAHoAAAAKCgAAAADtISUABwAAAAAAAdIEAAB6AAAACgoBAAAA////AP////8AAA/TBAAAAQAAAAgaAAAAAdQEAAB6AAAACgoAAAAAAAAAAA0AAAAAAAHVBAAAegAAAAoKAAAAAAAAAAANAAAAAAEH1gQAAAABAAAABAAAAAQdQXBsb3Jpcy5CYXNlLk9iamVjdHMuVmFyaWFibGUDAAAAAScFAADeAgAAAQAAAAAAAAABKAUAAN4CAAAAAAAAAAAAAAEpBQAA3gIAAAAAAAAAAAAAASoFAADeAgAAAAAAAAAAAAAP1wQAAAEAAAAIQQAAAAXYBAAAGkFwbG9yaXMuQmFzZS5PYmplY3RzLkNvbG9yBwAAABJEYXRhT2JqZWN0K21QYXJlbnQVRGF0YU9iamVjdCttQ29udGFpbmVyBW1UeXBlBG1SR0IQbVRoZW1lQ29sb3JJbmRleAxtQXV0b1VwZGF0ZWQJbU1vZGlmaWVkBAIAAAAAAB9BcGxvcmlzLkJhc2UuT2JqZWN0cy5MaW5lRm9ybWF0AwAAAAgICAEBAwAAAAnYAwAACgAAAAD///8ADgAAAAAABdkEAAAaQXBsb3Jpcy5CYXNlLk9iamVjdHMuQ29sb3IHAAAAEkRhdGFPYmplY3QrbVBhcmVudBVEYXRhT2JqZWN0K21Db250YWluZXIFbVR5cGUEbVJHQhBtVGhlbWVDb2xvckluZGV4DG1BdXRvVXBkYXRlZAltTW9kaWZpZWQEAgAAAAAAH0FwbG9yaXMuQmFzZS5PYmplY3RzLkxpbmVGb3JtYXQDAAAACAgIAQEDAAAACdgDAAAKAQAAAAAAAAD/////AAEB2gQAAHoAAAAKCgAAAADtISUABwAAAAAAAdsEAAB6AAAACgoBAAAA////AP////8AAA/cBAAAAQAAAAgdAAAAAd0EAAB6AAAACgoAAAAAAAAAAA0AAAAAAAHeBAAAegAAAAoKAAAAAAAAAAANAAAAAAEH3wQAAAABAAAABAAAAAQdQXBsb3Jpcy5CYXNlLk9iamVjdHMuVmFyaWFibGUDAAAAASsFAADeAgAAAQAAAAAAAAABLAUAAN4CAAAAAAAAAAAAAAEtBQAA3gIAAAAAAAAAAAAAAS4FAADeAgAAAAAAAAAAAAAP4AQAAAEAAAAIOwAAAAXhBAAAGkFwbG9yaXMuQmFzZS5PYmplY3RzLkNvbG9yBwAAABJEYXRhT2JqZWN0K21QYXJlbnQVRGF0YU9iamVjdCttQ29udGFpbmVyBW1UeXBlBG1SR0IQbVRoZW1lQ29sb3JJbmRleAxtQXV0b1VwZGF0ZWQJbU1vZGlmaWVkBAIAAAAAAB9BcGxvcmlzLkJhc2UuT2JqZWN0cy5MaW5lRm9ybWF0AwAAAAgICAEBAwAAAAn3AwAACgAAAAD///8ADgAAAAAABeIEAAAaQXBsb3Jpcy5CYXNlLk9iamVjdHMuQ29sb3IHAAAAEkRhdGFPYmplY3QrbVBhcmVudBVEYXRhT2JqZWN0K21Db250YWluZXIFbVR5cGUEbVJHQhBtVGhlbWVDb2xvckluZGV4DG1BdXRvVXBkYXRlZAltTW9kaWZpZWQEAgAAAAAAH0FwbG9yaXMuQmFzZS5PYmplY3RzLkxpbmVGb3JtYXQDAAAACAgIAQEDAAAACfcDAAAKAQAAAAAAAAD/////AAEB4wQAAHoAAAAKCgAAAAByhIwABgAAAAAAAeQEAAB6AAAACgoBAAAA////AP////8AAA/lBAAAAQAAAAgVAAAAAeYEAAB6AAAACgoAAAAAAAAAAA0AAAAAAAHnBAAAegAAAAoKAAAAAAAAAAANAAAAAAEH6AQAAAABAAAABAAAAAQdQXBsb3Jpcy5CYXNlLk9iamVjdHMuVmFyaWFibGUDAAAAAS8FAADeAgAAAQAAAAAAAAABMAUAAN4CAAAAAAAAAAAAAAExBQAA3gIAAAAAAAAAAAAAATIFAADeAgAAAAAAAAAAAAAP6QQAAAEAAAAIPgAAAAXqBAAAGkFwbG9yaXMuQmFzZS5PYmplY3RzLkNvbG9yBwAAABJEYXRhT2JqZWN0K21QYXJlbnQVRGF0YU9iamVjdCttQ29udGFpbmVyBW1UeXBlBG1SR0IQbVRoZW1lQ29sb3JJbmRleAxtQXV0b1VwZGF0ZWQJbU1vZGlmaWVkBAIAAAAAAB9BcGxvcmlzLkJhc2UuT2JqZWN0cy5MaW5lRm9ybWF0AwAAAAgICAEBAwAAAAkWBAAACgAAAAD///8ADgAAAAAABesEAAAaQXBsb3Jpcy5CYXNlLk9iamVjdHMuQ29sb3IHAAAAEkRhdGFPYmplY3QrbVBhcmVudBVEYXRhT2JqZWN0K21Db250YWluZXIFbVR5cGUEbVJHQhBtVGhlbWVDb2xvckluZGV4DG1BdXRvVXBkYXRlZAltTW9kaWZpZWQEAgAAAAAAH0FwbG9yaXMuQmFzZS5PYmplY3RzLkxpbmVGb3JtYXQDAAAACAgIAQEDAAAACRYEAAAKAQAAAAAAAAD/////AAEB7AQAAHoAAAAKCgAAAAByhIwABgAAAAAAAe0EAAB6AAAACgoBAAAA////AP////8AAA/uBAAAAQAAAAgSAAAAAe8EAAB6AAAACgoAAAAAAAAAAA0AAAAAAAHwBAAAegAAAAoKAAAAAAAAAAANAAAAAAEH8QQAAAABAAAABAAAAAQdQXBsb3Jpcy5CYXNlLk9iamVjdHMuVmFyaWFibGUDAAAAATMFAADeAgAAAQAAAAAAAAABNAUAAN4CAAAAAAAAAAAAAAE1BQAA3gIAAAAAAAAAAAAAATYFAADeAgAAAAAAAAAAAAAP8gQAAAEAAAAIPQAAAAXzBAAAGkFwbG9yaXMuQmFzZS5PYmplY3RzLkNvbG9yBwAAABJEYXRhT2JqZWN0K21QYXJlbnQVRGF0YU9iamVjdCttQ29udGFpbmVyBW1UeXBlBG1SR0IQbVRoZW1lQ29sb3JJbmRleAxtQXV0b1VwZGF0ZWQJbU1vZGlmaWVkBAIAAAAAAB9BcGxvcmlzLkJhc2UuT2JqZWN0cy5MaW5lRm9ybWF0AwAAAAgICAEBAwAAAAk1BAAACgAAAAD///8ADgAAAAAABfQEAAAaQXBsb3Jpcy5CYXNlLk9iamVjdHMuQ29sb3IHAAAAEkRhdGFPYmplY3QrbVBhcmVudBVEYXRhT2JqZWN0K21Db250YWluZXIFbVR5cGUEbVJHQhBtVGhlbWVDb2xvckluZGV4DG1BdXRvVXBkYXRlZAltTW9kaWZpZWQEAgAAAAAAH0FwbG9yaXMuQmFzZS5PYmplY3RzLkxpbmVGb3JtYXQDAAAACAgIAQEDAAAACTUEAAAKAQAAAAAAAAD/////AAEB9QQAAHoAAAAKCgAAAAByhIwABgAAAAAAAfYEAAB6AAAACgoBAAAA////AP////8AAA/3BAAAAQAAAAgTAAAAAfgEAAB6AAAACgoAAAAAAAAAAA0AAAAAAAH5BAAAegAAAAoKAAAAAAAAAAANAAAAAAEH+gQAAAABAAAABAAAAAQdQXBsb3Jpcy5CYXNlLk9iamVjdHMuVmFyaWFibGUDAAAAATcFAADeAgAAAQAAAAAAAAABOAUAAN4CAAAAAAAAAAAAAAE5BQAA3gIAAAAAAAAAAAAAAToFAADeAgAAAAAAAAAAAAAP+wQAAAEAAAAIRwAAAAX8BAAAGkFwbG9yaXMuQmFzZS5PYmplY3RzLkNvbG9yBwAAABJEYXRhT2JqZWN0K21QYXJlbnQVRGF0YU9iamVjdCttQ29udGFpbmVyBW1UeXBlBG1SR0IQbVRoZW1lQ29sb3JJbmRleAxtQXV0b1VwZGF0ZWQJbU1vZGlmaWVkBAIAAAAAAB9BcGxvcmlzLkJhc2UuT2JqZWN0cy5MaW5lRm9ybWF0AwAAAAgICAEBAwAAAAlUBAAACgAAAAD///8ADgAAAAAABf0EAAAaQXBsb3Jpcy5CYXNlLk9iamVjdHMuQ29sb3IHAAAAEkRhdGFPYmplY3QrbVBhcmVudBVEYXRhT2JqZWN0K21Db250YWluZXIFbVR5cGUEbVJHQhBtVGhlbWVDb2xvckluZGV4DG1BdXRvVXBkYXRlZAltTW9kaWZpZWQEAgAAAAAAH0FwbG9yaXMuQmFzZS5PYmplY3RzLkxpbmVGb3JtYXQDAAAACAgIAQEDAAAACVQEAAAKAQAAAAAAAAD/////AAEB/gQAAHoAAAAKCgAAAAA/aX4ABQAAAAAAAf8EAAB6AAAACgoBAAAA////AP////8AAA8ABQAAAQAAAAgXAAAAAQEFAAB6AAAACgoAAAAAAAAAAA0AAAAAAAECBQAAegAAAAoKAAAAAAAAAAANAAAAAAEHAwUAAAABAAAABAAAAAQdQXBsb3Jpcy5CYXNlLk9iamVjdHMuVmFyaWFibGUDAAAAATsFAADeAgAAAQAAAAAAAAABPAUAAN4CAAAAAAAAAAAAAAE9BQAA3gIAAAAAAAAAAAAAAT4FAADeAgAAAAAAAAAAAAAPBAUAAAEAAAAISgAAAAUFBQAAGkFwbG9yaXMuQmFzZS5PYmplY3RzLkNvbG9yBwAAABJEYXRhT2JqZWN0K21QYXJlbnQVRGF0YU9iamVjdCttQ29udGFpbmVyBW1UeXBlBG1SR0IQbVRoZW1lQ29sb3JJbmRleAxtQXV0b1VwZGF0ZWQJbU1vZGlmaWVkBAIAAAAAAB9BcGxvcmlzLkJhc2UuT2JqZWN0cy5MaW5lRm9ybWF0AwAAAAgICAEBAwAAAAlzBAAACgAAAAD///8ADgAAAAAABQYFAAAaQXBsb3Jpcy5CYXNlLk9iamVjdHMuQ29sb3IHAAAAEkRhdGFPYmplY3QrbVBhcmVudBVEYXRhT2JqZWN0K21Db250YWluZXIFbVR5cGUEbVJHQhBtVGhlbWVDb2xvckluZGV4DG1BdXRvVXBkYXRlZAltTW9kaWZpZWQEAgAAAAAAH0FwbG9yaXMuQmFzZS5PYmplY3RzLkxpbmVGb3JtYXQDAAAACAgIAQEDAAAACXMEAAAKAQAAAAAAAAD/////AAEBBwUAAHoAAAAKCgAAAAA/aX4ABQAAAAAAAQgFAAB6AAAACgoBAAAA////AP////8AAA8JBQAAAQAAAAgZAAAAAQoFAAB6AAAACgoAAAAAAAAAAA0AAAAAAAELBQAAegAAAAoKAAAAAAAAAAANAAAAAAEHDAUAAAABAAAABAAAAAQdQXBsb3Jpcy5CYXNlLk9iamVjdHMuVmFyaWFibGUDAAAAAT8FAADeAgAAAQAAAAAAAAABQAUAAN4CAAAAAAAAAAAAAAFBBQAA3gIAAAAAAAAAAAAAAUIFAADeAgAAAAAAAAAAAAAPDQUAAAEAAAAISQAAAAUOBQAAGkFwbG9yaXMuQmFzZS5PYmplY3RzLkNvbG9yBwAAABJEYXRhT2JqZWN0K21QYXJlbnQVRGF0YU9iamVjdCttQ29udGFpbmVyBW1UeXBlBG1SR0IQbVRoZW1lQ29sb3JJbmRleAxtQXV0b1VwZGF0ZWQJbU1vZGlmaWVkBAIAAAAAAB9BcGxvcmlzLkJhc2UuT2JqZWN0cy5MaW5lRm9ybWF0AwAAAAgICAEBAwAAAAmSBAAACgAAAAD///8ADgAAAAAABQ8FAAAaQXBsb3Jpcy5CYXNlLk9iamVjdHMuQ29sb3IHAAAAEkRhdGFPYmplY3QrbVBhcmVudBVEYXRhT2JqZWN0K21Db250YWluZXIFbVR5cGUEbVJHQhBtVGhlbWVDb2xvckluZGV4DG1BdXRvVXBkYXRlZAltTW9kaWZpZWQEAgAAAAAAH0FwbG9yaXMuQmFzZS5PYmplY3RzLkxpbmVGb3JtYXQDAAAACAgIAQEDAAAACZIEAAAKAQAAAAAAAAD/////AAEBEAUAAHoAAAAKCgAAAAA/aX4ABQAAAAAAAREFAAB6AAAACgoBAAAA////AP////8AAA8SBQAAAQAAAAgYAAAAARMFAAB6AAAACgoAAAAAAAAAAA0AAAAAAAEUBQAAegAAAAoKAQAAAAAAAAD/////AAEHFQUAAAABAAAABAAAAAQdQXBsb3Jpcy5CYXNlLk9iamVjdHMuVmFyaWFibGUDAAAAAUMFAADeAgAAAQAAAAAAAAABRAUAAN4CAAAAAAAAAAAAAAFFBQAA3gIAAAAAAAAAAAAAAUYFAADeAgAAAAAAAAAAAAAPFgUAAAEAAAAIQwAAAAEXBQAAegAAAAoKAAAAAAAAAAANAAAAAAABGAUAAHoAAAAKCgEAAAAAAAAA/////wABBxkFAAAAAQAAAAQAAAAEHUFwbG9yaXMuQmFzZS5PYmplY3RzLlZhcmlhYmxlAwAAAAFHBQAA3gIAAAEAAAAAAAAAAUgFAADeAgAAAAAAAAAAAAABSQUAAN4CAAAAAAAAAAAAAAFKBQAA3gIAAAAAAAAAAAAADxoFAAABAAAACEYAAAABGwUAAHoAAAAKCgAAAAAAAAAADQAAAAAAARwFAAB6AAAACgoBAAAAAAAAAP////8AAQcdBQAAAAEAAAAEAAAABB1BcGxvcmlzLkJhc2UuT2JqZWN0cy5WYXJpYWJsZQMAAAABSwUAAN4CAAABAAAAAAAAAAFMBQAA3gIAAAAAAAAAAAAAAU0FAADeAgAAAAAAAAAAAAABTgUAAN4CAAAAAAAAAAAAAA8eBQAAAQAAAAhFAAAACw=="/>
</p:tagLst>
</file>

<file path=ppt/tags/tag481.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EAAAAABRMAAAAYQXBsb3Jpcy5DaGFydC5TZXJpZXNUeXBlAQAAAAd2YWx1ZV9fAAgCAAAAAAAAAAkUAAAAAAAFFQAAABlTeXN0ZW0uRHJhd2luZy5SZWN0YW5nbGVGBAAAAAF4AXkFd2lkdGgGaGVpZ2h0AAAAAAsLCwsEAAAAdNEZQt4RsUMW3RlEwECiQQEWAAAAFQAAAP//f////3////9/////f/8AAAAAAAUXAAAALEFwbG9yaXMuQ2hhcnQuQXhpc0JyZWFrK0F4aXNCcmVha0Rpc3BsYXlNb2RlAQAAAAd2YWx1ZV9fAAgCAAAAAQAAAAABAQoKCRgAAAAKCgAAAAAACRkAAAAKCRoAAAADAAAACgUbAAAAGUFwbG9yaXMuQ2hhcnQuT3JpZW50YXRpb24BAAAAB3ZhbHVlX18ACAIAAAABAAAACRwAAAABHQAAABUAAAC66JxCGJkKQhbdD0SaOZFDAAQeAAAAC1N5c3RlbS5HdWlkCwAAAAJfYQJfYgJfYwJfZAJfZQJfZgJfZwJfaAJfaQJfagJfawAAAAAAAAAAAAAACAcHAgICAgICAgIAAAAAAAAAAAAAAAAAAAAAAAoKCR8AAAAACgoKAQAAAAAAAAD/////AAABIAAAABUAAACLLg9Eiy4KQhj0kUICAPBBPBcNQbEO+kItMiZE6jXAQwUhAAAAFVN5c3RlbS5EcmF3aW5nLlBvaW50RgIAAAABeAF5AAALCwQAAACxedVDxUfLQwYiAAAAEElVOGZRM2Jaa1V0ZGdlMFk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uuicQr2MokMBLwAAACEAAAAteiNEvYyiQwkwAAAACTEAAAAJMgAAAAkzAAAAAAAAAAAAAAAAAAAACTQAAAAAAAAAAAAJNQAAAAkBAAAACQEAAAAJNgAAAAEHAAAABgAAAAkBAAAAATcAAAAnAAAAAAAAAM3MTD8AAAAIAQAJAQAAAAk4AAAACTkAAAABAAAAAAAAAAABAAAAAABAf0AAAAAAAAAAWUAAAAAgQQABCToAAAAKCTsAAAAJPAAAAAk9AAAAAT4AAAAhAAAAuuicQr2MokMBPwAAACEAAAC66JxCGJkKQg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AusgpEAAAoQQAAoEKii2pCCWUAAAAB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DAAAABBhBcGxvcmlzLkNoYXJ0LkF4aXNOdW1iZXICAAAABW0AAAAYQXBsb3Jpcy5DaGFydC5BeGlzTnVtYmVyAQAAAAd2YWx1ZV9fAAgCAAAAAAAAAAFuAAAAbQAAAAAAAAABbwAAAG0AAAAAAAAADxoAAAAFAAAACAEAAAACAAAAAwAAAAQAAAAFAAAABRwAAAAaQXBsb3Jpcy5CYXNlLlVJLlZpc3VhbFJlY3QUAAAAC21TdGFydFBvaW50CW1FbmRQb2ludAttTGluZUZvcm1hdAttRmlsbEZvcm1hdAltUm90YXRpb24SbVJlY3RhbmdsZVByb3ZpZGVyDG1QYWludE9mZnNldBJtUGFpbnRTaXplT3ZlcnJpZGUObUV4dHJhUm90YXRpb24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BAAEBAQABAAAAAAHAgAAAwAVU3lzdGVtLkRyYXdpbmcuUG9pbnRGBAAAABVTeXN0ZW0uRHJhd2luZy5Qb2ludEYEAAAAH0FwbG9yaXMuQmFzZS5PYmplY3RzLkxpbmVGb3JtYXQDAAAAH0FwbG9yaXMuQmFzZS5PYmplY3RzLkZpbGxGb3JtYXQDAAAACypBcGxvcmlzLkJhc2UuVUkuSVJlY3RhbmdsZVBvc2l0aW9uUHJvdmlkZXIDAAAAFFN5c3RlbS5EcmF3aW5nLlNpemVGBAAAABRTeXN0ZW0uRHJhd2luZy5TaXplRgQAAAALGVN5c3RlbS5EcmF3aW5nLlJlY3RhbmdsZUYEAAAACAgBAQgBAQ9TeXN0ZW0uSW50UHRyW10BAwAAAAFwAAAAIQAAALronEIYmQpCAXEAAAAhAAAALXojRL2MokMJcgAAAAlzAAAAAAAAAAoFdAAAABRTeXN0ZW0uRHJhd2luZy5TaXplRgIAAAAFd2lkdGgGaGVpZ2h0AAALCwQAAAAAAAAAAAAAAAF1AAAAdAAAAAAAAAAAAAAAAAAAAAF2AAAAFQAAAAAAAAAAAAAAAAAAAAAAAAAUAAAA/////wEBCgl3AAAAAQAKAA8fAAAAfVoAAAJQSwMEFAAGAAgAAAAhAEkSrPeMAQAAeAYAABMACAJbQ29udGVudF9UeXBlc10ueG1s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RV3U7CMBS+N/Edlt6arcCFMYbBBeilkogPUNsDW+japqf8vb1nA4ySuUlY4s2arf3+znbOhuNdoaMNeMytSVk/6bEIjLQqN8uUvc+f4wcWYRBGCW0NpGwPyMaj25vhfO8AI0IbTFkWgnvkHGUGhcDEOjC0s7C+EIFu/ZI7IVdiCXzQ691zaU0AE+JQcrDRcAoLsdYhetrR44MTgrNocjhXSqVMOKdzKQIZ5eUur8VtGnEbo87MxXaxyCUoK9cFWUoIP/ViS/F/EfCgscFZjcIxekLIyj1mucO7Y4RXqr3PFUQz4cOLKCgo32m+tX71Ye0qaa5DjdpZHnQehMIMIBQ6qdakELn5g351GHm19Ds2UuariC/0MfgnH4E+bODV9fpSVDQtwTHsNWDHaQ+kbcqZ8KDegqce6NzAd+4WH9IWZUfi9fX+2QMn3jZ5oeUko07p+B3IE2+TPo2jmbcOaVJ6uNzAaeKU6NgREfiQQ+PM+VKkMXu54NnQgXKOK1A12rz6b4w+AQAA//8DAFBLAwQUAAYACAAAACEAUHxOwfY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ySz0oDMRCH74LvEObezbaCiDTbiwi9idQHGJPZP+xuJiTTun17g6C4sNYek8x8882PbHfTOKgTxdSxN7AuSlDkLbvONwbeDs+rB1BJ0Dsc2JOBMyXYVbc321caUHJTaruQVKb4ZKAVCY9aJ9vSiKngQD6/1BxHlHyMjQ5oe2xIb8ryXsffDKhmTLV3BuLerUEdziFP/p/Ndd1ZemJ7HMnLwgg9r8hkjA2JgWnQHxz7d+a+yMKgl10217v8vaceSdChoLYcaRViTilKl3P90XFsX/J1+qq4JHR3vdB89aVwaBLyjtxlJQzh20jP/kD1CQAA//8DAFBLAwQUAAYACAAAACEAAEGY+AkBAADMAw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vJPNasMwEITvhb6D2Hst221DKZFzaCnk2qYPIOS1ZWJLRrv98dtXJNRxILgX0+POopmPkbTefHet+MRAjXcKsiQFgc74snG1gvfdy80DCGLtSt16hwoGJNgU11frV2w1x0Nkm55EdHGkwDL3j1KSsdhpSnyPLm4qHzrNcQy17LXZ6xplnqYrGaYeUJx5im2pIGzLWxC7oY/Jf3v7qmoMPnvz0aHjCxGSIxdGQx1qZAWH8ShmSQQFeZnhbkkG4qGNJY4Qx3ku/n7ReKsDlm8c4g1PKabyHMxqSRijW/NkdeNOdYzSHES2JMSXD3uyiHyCGCWSh83s68j/GSb/bUae/cHiBwAA//8DAFBLAwQUAAYACAAAACEAdv8hls8BAAD9AgAADwAAAHhsL3dvcmtib29rLnhtbIxSyW7bMBC9F+g/ELzLpCjJCQxJgesFNVAUAdImZ4aiLSJcBJKqFRT9946kOnXRS07D4bxZ3swr7waj0Q/pg3K2wumCYiStcI2ypwp//7ZPbjEKkduGa2dlhV9lwHf1xw/l2fmXZ+deEBSwocJtjN2KkCBaaXhYuE5aiBydNzyC608kdF7yJrRSRqMJo3RJDFcWzxVW/j013PGohNw60Rtp41zES80jjB9a1QVcl0el5ePMCPGu+8oNzD1ojDQPcdeoKJsKF+C6s/znw/fdp15piLIlpTkm9RvLe494H93GGSARwr0SsYdHhemIGvfwqOQ5/E0YXTQ8Kdu4c4WzGwqLfb24jDJwz1PwSTWxhY5pOkLmv89SndoI52BZPjUgVx2mBUKnySI7sVt32nkVtjxyONe44QOwSDHyKwUPf2jScc7rlIcRBYg3NLtCsxFNphB0ElwLWMBoprI5pRQyhbOi9x7usIHIn1XIIX4JsS7Bot6rCv+8KVi2K7ZZwop9lqyLHU3SZcaSZb5nRb5hLC/Yr4sIzPCfCowS3gV3jAvhDJkFAMIRRA5CTjq6nXVUl2ZYrb1oD1u01/wE15l5wCzA5jIZuSi3/g0AAP//AwBQSwMEFAAGAAgAAAAhABEPc5oUBgAApy0AAA0AAAB4bC9zdHlsZXMueG1s7Fpbb+s2DH4fsP9guNhjazt2rkhysKb1doCzgwLtgL06tpIIla3AdtrkDPvvIyX5krvTJEB6kD6klk2R1CeSEiV2v8xDpr2ROKE86unWnalrJPJ5QKNxT//7xb1t6VqSelHgMR6Rnr4gif6l/+sv3SRdMPI8ISTVgEWU9PRJmk47hpH4ExJ6yR2fkgi+jHgceik047GRTGPiBQl2CplRM82GEXo00iWHTuhXYRJ68etseuvzcOqldEgZTReCl66FfufrOOKxN2Sg6txyPD/jLRpr7EPqxzzho/QO2Bl8NKI+WdeybbQN4NTvRrPQDdNE8/ksSnt6LX+lyS9fA4Cw4eiaHPSAB6DGzc2NqRtZ5yXK+jKleWf+hpSGktPvjnhUiGvCWHBIndeIv0cufgJxoANS9bvJD+3NY/DGQh4+ZzzWUpgKUEG8ibyQSIqBx+gwpkg28kLKFvJ1DV+I2VN0IQUshUJSgvwdIpWS1cavUhSNAjInAEBrRdqLN+Ghh4Rrwowy34znufXfJCceD3u665riD1UtwPqDMqY9e1GCr5cUnsGLTcwy0OWsnwj1fcJWQD9uijeNagdEHxUm0EzALgDi3KkcNGh40e+Ce6ckjlycAPX8spiCOUcQieRsCLo91OPYW1i1evUOCWc0QC3GA+FEauSuO3iUbIbqQ27y4PJoHCWF0VSqKLdV1mOz7SLTQ2QJkYDnkMcBRPQsTGGIkK/6XUZGKXCN6XiC/1M+RRk8TSH89bsB9cY88hg8GlkP9QBsfcLYM0b9f0Y5b7sBzOejUlSDBQS9GkMhPgII6lEylA0QsK1T7dpJoncFQpnRFYiDgWgXTrgdPc2bTtnCBebCVWUL/LVo3YtAUrR/Z3QchaTc4SnmKfFTsXsUC942v8Zd0eZgIPX4PguHJHbFbrGQ6J5NH9x7XZI+V3xgvdixLlzxueJzjT/ni4dX/7r619W/rv4FSZvYCZ5rP2aU00iZVJbyydrH8kltPtqbWG7PRk/UW+2nxY5VHMds2wqXNIHdeTkvzjX5CC/7WF7AYNuWWOJrKduQOUPeUiOWOmc5Q/a1FFPwIMLLUghtwmP6A5IPPLPEYwlde4+96QuZQzoi4DPmo+3HBHt1BWRL+U2mjfTvrPUhXX3If0h8Ym1hOJ9IW9grfCJtIdM7j7bSauHyJKU+WjGcpolzwDW7VXcC8lxnr+U2lL7LETiz2ZP7XmbPxTjUGzwFPHIocGUhoP8JhgL3YJc7FFxR1CHRXvOCs6FP5Q7W5h3Jp/QHuNu6YCs6LExZ2Qp7kc59iEdYZ1t9N60Q+7c5B85Dthpf5DwcOJZsrf4ZxnLh67goPth3UacSEqvaQr56fLs0+aWsBx53ZD2rc7/KteTaAPHujAVolxa7Hbz2LpyrvCTnSvlNtsc6JMPBYaoLClBtB17LOc1WfTbJFsk4pN+ly93lq908WdewIgJqJDhj/J0E2p9wEx8zGr1CUYrIvS3YVwxnlKU0wlQcWhMaBASLinBTXJ1RDdbI0zBC2E6iEbjKaRiBG52G0anAtk8Ftn0qsO3DwF63Q9iolzCG1k47XOtfA787qj8e6RRWd7h8WM6P6g8x8aj+R+JnH4mffSR+9mH4fccLZ5YFsWXdxX3kauB6IjFG86wHrowluEWZ0WoXUSppOU7balhOo9a2wXtV0LQ3xcZlett2QIakr8DediyYQUkuy/Oysh0Vwle4O62cvFFBmXqrUH4jPivsm00IDGqwokpqNziOZcL8S/oq5LVGzl6UL+7hbptgHZJ7BeSdRhOCkVJ+PzZO08nJm1XIC2haFchbJni2UmbjkrqMvNPC2K7oq2DTahczW8HOwJoLemE5xck+7CeCeVEkJuwkxaLcZywfy3cY4G0BGXkzlr7kH3t68fwXCegsBHtQVE/0jaeCRU8vnr9hLZslNICz428JlMLCf20W057+7+N9s/3w6NZuW+Z969axSf22Xb9/uK07g/uHB7dt1szBfwATVjB3oLr2iAphUckMB9aW00kY1BHHarBK+efiXU8vNaT6OP8GqC1/xSAMMZ+iwrr/PwAAAP//AwBQSwMEFAAGAAgAAAAhAOdldbjWAAAAuAEAACMAAAB4bC93b3Jrc2hlZXRzL19yZWxzL3NoZWV0MS54bWwucmVsc6yQyWoDMQxA74X+g9E91kwOoZR4cgmFXEP6AcLWLHS8YLlp8vd1KIUMBHrpUdvTk7a7i5/VmbNMMRhodQOKg41uCoOB99Pb6gWUFAqO5hjYwJUFdt3z0/bIM5U6JOOURFVKEANjKekVUezInkTHxKFW+pg9lRrmARPZDxoY102zwXzPgG7BVAdnIB9cC+p0TXXz3+zY95PlfbSfnkN5sALPft5n+qrHVSrlgYsBrdH95OSu3uraC/jYaf2fTjb6m64sjH6Tra7/u2ng4t/dNwAAAP//AwBQSwMEFAAGAAgAAAAhAI+AQa7LJgAAdNwAABgAAAB4bC93b3Jrc2hlZXRzL3NoZWV0Mi54bWyknW9v4ziSh98fcN8hMPZdY2Lrr+WgO4sb2ZYs27rF7d3u60zamQ4mifsST0/PHe67HylWkaxykZHRmCCTtljkj6WHRUpFyR//+v356erb4fXt8fjyaZJczyZXh5f74+fHl18/Tf7rP9c/VZOrt9Pdy+e7p+PL4dPkz8Pb5K+3//ovH/84vv729uVwOF2pGl7ePk2+nE5fb6bTt/svh+e7t+vj18OLOvJwfH2+O6l/vv46ffv6erj7PBg9P03T2aycPt89vkxMDTevY+o4Pjw83h+Wx/vfnw8vJ1PJ6+Hp7qT0v315/PqGtT3fj6nu+e71t9+//nR/fP6qqvjl8enx9OdQ6eTq+f5m8+vL8fXulyfV7+9JfnePdQ//OKv++fH+9fh2fDhdq+qmRuh5nxfTxVTVdPvx86PqgXb71evh4dPk5+Smr7LJ9Pbj4KB/PB7+ePP+vjodv+4OD6f68PT0afJvZTa50mfgl+PxN1108/nTZKYqfTs8He61L67u1P++HUzxbZars/jfQzv6b9XI1Lbi/40troez9rfXq1/u3g718emfj59PXxQeio7Ph4e7359O/3H8oz08/vrlpD5VlQ8eufn85/Lwdq/OixajGrk/Pqka1e+r50dFlyr3fPf906RQ2rHC6ypLZ1mSqs/eTn9qTydgaWzmYKMwHG2jZQ4NJcn7VlMjcnDH8u50d/vx9fjHlWJR2b59vdNkpzeqi6of+tOl/lh9NJyp4ZPV2SfN2Set/8lUNWBbSWkrV9qhiwpb+1kf1g7TztTN1+aDcnKlyr2pYt9us4/Tb+oc3qNAUyJVzrZFqpKWWUll5rTM2pRR/rfV5LREI9XCWmqlMqylzXlLBW2pMyUUA1YL79JWKMLa2Z0XmdF29ucleDu9UMS1Q06tGqICQD/rj9U59vrCfFabEopifXoTKnFpDqapOvhwW6uT/yCUWkGpZCi1zKb1Xypb9DpNFkXifmWrn1LayBoUaPMzBQ1RsLbV0ipaoqDJpmunIL+eZ4ssK/NFWi1mi0VRrn5iFG+IAnaaOqJggwpYqS1R0GXTjVPAiu6gNe3Ub7fMGXvS2g5bY6V60to+m+5ca8V1Piv8n7nfX8KMjtPnQedn/bGKSKoNOwAcdCYwQBEdqL7dsv4tzUGEJv+wxF4wulZQcOBmaOvL3evh88RMUav8ZlWqgPD2OEw2y/xSrEBjIbm5IRrX+YcGNar/+wGujWps85sWNapeNLkPXnKdp0k1my3yeVXO00VVnKG/IRpZ0x3RuMk/dAGN26jGbX6zRY0KuS730cyuq0WZzDL7+0ziDiSWgxtZqNwTibv8wx4lMmD6qMQ+v+lRYja53ec+z4mSmHg/qS+R4KxndQFn/THDuaInuYYiMs7moMH5jNJlcbMs9apVUarM6+LDUk1cYpSEes5oN4CrOVcFvxHRErQarNmIaqJam+KmQa3KfF18aFArm2zbmNZhyaS1VotinuXFYp4UZbaoyIkZwsSGaGUxrItq7YqbDrUq9DbFhw61Mga3Ma2pXst8uy2v80VWzNQcYH6nCx+iQesOtBrO2VDcR7Xui5s9ap1PbnfFhz1qTVhs7GNih1WemhGu57PU/yFiCfFqZSYRrz9mxC8Y8VBEJt4cPCfeQG5IpfWtwORH4QZZcsyOyRoWrepEU1ltTBZwnF5XeVbOVIgBms/Q2BBVbKh0MVWlwY85fxtTBcTOrpOkrKrM+027tgNRhlfW731M1NyISphNH1MFaObXWZr7P2ot5YY1QVPP3EIw1h8zNPkYqaGMzKY5eBGbYPKjbIIswyYLQk1MFrCZsGDdxnQBnIWaEDIVDBJcSghrCKKLxZsupitAZ0zWaDpBlLxqiIkCOlPmrD6mCugsrst54f2E4dQTtgCn/pjDyXTUUEaG0xy8CE4w+VE4QZYcOGOyEE4247UxXQBneZ2USZLN83w2L6p0kRGHmxUA0cXhjOkKwBmTNRpOEGXgdPFrULyPiUI4mbP6mCqAs1QjufR/iLNI6FRX6xKd+mNOJxNfQxlDJ0N3aQ5G6WT1rcAkRmd6nWeLmZoW8Nd5iFqDLJnOmCykk4XbNqYL6JxfJ7PFbJbbq391Hcy6tyG6WBtdTBfQmbDFwDamy+FZJeQ/pmoHqgye7FJlH1MFeGbsxPcxVYBndZ3NK/+n8r1F8NQ3PCU+h885oGyk1FhIjp9w9CJE0eZHGUVlBlLmwgZbGe6E+VeBek2MlLIVVYtGojSL6RA6q6yqyrQoFuf3xzZUGQ+i2IioLMQpGonKRoOKwgypzGV7bEMUhqgy9ns0EoVZVsu88n4WSZhVfStcmOn1vfqzYMoGc42FAqzCXXaxe0PW4+zm3gpqTMXeDUkMffnnQunwlxBPUZlhlRHRYCuisiCr0B1R2gWsgmPFUdRFlSGrLA5v0UhU5lhd5NWsSOxvRuMOXRZgNXYykVUWy/qoMMsquXml9IVZ1Tf7JVZNEoDcj02Yk+oECgVYNUcvi6tgI7r9ElZBmSGC3RdsQLesDFhNmeNbNBKlAavqAppO/xW7Ct+gy4ww5tAO2xAHEaCaspG3RSNRmEU1VbfM8pn7zWLgDoUBquzwHhsRlQGrOetOj0aiMmBVucxfoKq/nePpCkCnHyRSTVqCksomxVof1aE3QKo5KvMQiqpgI/btElJBmRi7GtAtK0NS2RTSopEozZHqX0TplQC91bNBl4nCOmxD5AFJZeFwi0aiMEfqPCX/sVp2KMyQegZq7FwiqCwg9FFhHqj+DdL5LASqTjtIoEJSQwm0Ka6EKan1ToMIqJDREL0eAhVsRKdfAiooMzwwtzegOw4qG5UtGonSHKhplqbpPK+qpEjKomIu26DLAqDGXIagst5so8IcqFUxV/fI7G86gHaoy3DqYDFX/NiEeCqB04KF+h6NRIc5TrMi8X9cfKABVacFJE4hKUE4ZdGhTqBQIKBCxkHsXIhTsBH7dgmnoEzEoQHdcU4ZYS0aidI8TueLMp1VRTZTi8KSb6vYoMuMMHZqO2xDdFmQ05jPRnMKDgssUqEJURdyykJ0j50RHeZxSq/+3fKBcqpzBBKnkIwgnLL1Vp1AoQCnkH4QOxfiFGzEvl3CKSgzOLDx1YDuKKeZc9gQU1o0EqU5TnUMLefzeVokSZXrXTP+5oMNuswIYzG7wzZElyGnrDdbNBKFWU6zkv7HurdDYQCqC2sQUWMnE0gtWZ19VJkjldziL0pHGSVV5wskUiEx4ZPKl/F1AoUCpEIqQnR7iFSwEb1+CamgLBBRY8pgiZoxilrorHxPwpE6n5X+3X52xjfoskBEjQkLkhrz2XhSwWOBkBoThqAyj/VRj3mgkvupWQhUnTuQQIUkBQGVBfc6gUIBUCEtcRGoYPPDoIKyAKgxZQjq2dQfk+aBWmRFkRezNCsXZXkeUmPCOnCoHOsRVHcmh2i3RSPRZw7UeVmmWWZ/sxG0w3NpQGXL4D22IZ5LBJXF+h6NRGEOVMrp3HWPRlSdRZBAhXQFAZXJrxMoFAAVEhRi50IRFWzEvl0SUUGZGLga0C3zEAQ1Jm08qEQYG/ldVBiAmrGF7RaNRJ85UO1mQLMxkC1KdnguAxEVOi+eSwTVITaMoD4qzAPVu+lfeesHwmkaSE8Nn7P0FL+zWGMhmVM4KtMQ4BRtRJ9fwCkqM5yyKanBVkSvA6c5O5EtGonSLKfqgYn5IsnLhbp3rR6d8MLDcO42VBiLah22IQpDTpnRFo1EYZbTPE+KonK/WS07FAacssGwx0ZEZQAq72yPRqIyC6ras0Mu+53jKak66SBEVLUUO0tOpax3NRYKkBrLZ4RIBRuxb5eQCvLlqR90y2MISWWdbdFIlOaRai/455paNh1u0GViqO+wDZGHIKkxn40nFTwmR9SoMAC1YnT3aCR6zAOVbEnxwiEFVadwJFAhtUOmfnZZV6szHbmNCkdlHEKgmhpVF9VTKTwXfwmooCwAKrQi8oCgss622B1RmgOV7uk745ToYme2wyZEXUFOYy4bzykIC3AacxhyytYxPfZGdJjHqfcAgNqpGwqoCkSRU/05n/rZFFqrh+xinJqjl3EKNmLfLuEUlAGnDIgGhMvSANTiDNSYNgdqOStLtWV+DrlUdkm2QZ8ZZYzjLioMSM3ZlcIWjUSnWVLVBR75j2G1Q2FAKlO2x0bEMQSoLvgiFY1EZQ5VbwOq3ozqHE9Dqs6FSCEVUjvq9NjMVMrcXuvHLcOZKTgq8xAKqZCaEft2CaqgTJxim6iyIKkxaeNJJcIYLl1UGJLqgo657Ecj0WeOVH+Jqv5mTe+gFnXzc3gAiN4A3mMbMVCTGYsIPVqJyhypNIWaOt4pqTrrIJEKuQpCKhto9fCkdTDZD0cvIxWSIGLfLiEV5BtS3Sgdzm0TVQaklsztLRqJ0hyp7HETBsQGXWaEMeg6bEMEAkllU9sWjURhjlS6KyVj53KHwgyp7Oge2xCFQUhNZsyqRytRmSOV7aFyLqOk6qyDRCqkdwipjvbhjNcpFApcT8USGqGYCjZi3y4hFZQZIFzfgdSYMiSVGbXQWXkF7ZE6PC+d4iKAxqYNekyM9R02IfIQBDXmsvGggsMCITXmMAsqw6PH7ogn0wNVPQ7p/TjcKag66yCBCrkKH1R+E69OoVAA1FhCIwQq2Ih9uwRUUGaAcH0HUGPKEFTm9hY6+w6o5Akp9bA1i38bdFkgpMaEIalM2DYqzJLKsqg8S7xDYUAqG6Z7bEQcQ4gqz172aCWeTouq/xSf/tvdcqGo6nSJhCqkUQiqTH+dQqEAquboZbM/2Ih9uwRVUGaIcH0HVGPKANU5m5lb6Ox7qLrnpZNZnpZsab9BlxlhzKEdtiECAajynUpbNBJ95lDFZ6PhOWnmkx0KM6iy9dIe2xCFWVKZVY9WojJHqv9Yiv7bzkOUVJ14kEiFPAohlV111ikUMqQyty/haJRUp2pgaIU2Yt+A1Oxa7f8oMveLbA4f6lmjMgCCnZYGmxEdD6jybXotGona7PSfJ3S33xmq4DOjjB3tsA1RGKLKjLZoJAqzqJLN02ojNZtpdlALXFKl7FzvsRFRGbKaM2k9WonSHKsL9aIP/0dmNQvkqIbP2Y2qjJFVYyE5qsLRi1hFG7FvF7CKysTg1WArot8RVXYuWzQSpXmo0u0pfAFAhbHrtg7bEIWFUEUjUdhoVFGYvFTFNkRhllTmsh6tRGWWVBdISBTNdCpCiKLD55xMV8cQq2osFCATciVib2BpylhfQY3ypHoJmZBhCZAZU4ZkshVgG5XmyKSvADoDk+g6AzOmKwgmGImnfzyYICwAZkyYBZN5rI96zIFJX37i4jDlVCcbJE4hRUFme7buqDMoZDhl88MSjkYjKKtxhTai04HT8nq2UJsX3S//STAz2aMwgylrpMFGxAEEmC7YmGzRSFTmMFV30xfzMptlWTLXG6jsvDUI21BhZ5zGMj9BTsFIFDaeUziVhlMHyyB7j50XPYacFmxQ9mglKnOcsmelnMsoqIpEEVT9OQ+oTEmdQaFAQDVHLwMVbMS+XQAqCAvE05gwBNX5azhXLfRVDvUOVLuxL83LXFHLQSXCzkCNCQuCCkaiy8aDCsICATUmzILK8O6jLvNAJa/syVy8o6DqDIkUUSFzohTajFTGlNTDK1+D9/nh6GWgxtI+F4BK8j6MhyYqLAhqTNl4UIkwdsXZRYUhqGzhZ967q94W+w6ohbrdoxKT+JvVssNTGQAVOh+PqKzOHrsjKvNApRkpFyEoqIGEVCYkpHgSo8ZCgYgKySWxd7BEdaqGuLWCGmWvXwAqyUexsNZgI6IwBJWtt1o0Er3uQHU7+4ZHplj/NugxE+rZCOqwDVFYEFRwsyjMRVSLqMGVQbVDYQZU5rF9VBhG1NLFwuFk9mglKnOgsjtSbtqmoOpMgxRRIT9BIio7eXUGhQKgxpIYIVDBRuzbBaCCsMDUHxMGoJ4lrFvorDyGHKn2VT7mRb7sYnGDLguQGlMWJDXms/GkgssCITUmzJLKOttHXeZI9V8ErP+2yyVKqk6BSKRCRscnNWchoM6gUIDUWHYlRCrY/CipIMzwwAZYA7LlRYkllVm1aCVKs6Sah6Pdg32slg26TBxDHbYRjamsyi0aicIcqfQZFL6zaIfCgFR2qvfYiKgMUeWZkR6tRGkOVbZxyi0xKao6NyOhChkdgipbVtUZFDKosuC/hKMyEYCqUwWzP6SKxL5BUK2u/Xv8ZbE4f1PuGpWJRDRRZcgqf49mi1aiNscqfcNkwQLNJqqswzZEIiCq8o0yWzQShTlW54s0nc3tbzfLDq7fobDA/A8nRhRmUWWns48qc6jSh6W9RSZFNZCRyoSMFN8HWWMhgyoDeQlHo6iy9dIKbUSvA6qLa3KHKpmRV2sNfl+jMnGabbAV0e9hVI1L3lkAFO+hSjJSLHh1UWVBVGPCxqMKwgILAGhDdJlFlZ3OHrsjnk6HaqU2Xbkf7x20BNU8kJAaPmd3qfhzRDUWklGFo1FU2WS2Qhuxb4Dq8IInSqtd3BhQUZccU7EN0esWVDbwWrQSlXkxFfdMwcZpqmxDlXFQsQ1RWQhUNBKFjQYVhRlQ2QS5xzZEYQjq2aMoaCUq80ClD/c5x1NQdeZBmP5zyFeQ6d+tdgcgaiwUADWW1IDpn8+xK6hSDlyOVPf9J+YvysMahQVIjQmzpLKT1UaVOVLhDSnDA1ML9VYfqmxDlZ2RGlMWJBWMRB7Gk2pqwSQ/lb3HzsdJZS7r0UpU5khlu1FdLZRUnZmQSIWMBSGV3XSpcyhkSGWrlCUcjYZU/jqrFRqJnbOkqgWXygC5X9Sva9RlQOVbzxpsQ3Q7kurdgB6GZYtWojJL6vB21DRX4syLKNicsaHS2NDvsA1RGZLKjLZoJAqzpJKX9KsnZB0PQ/d2KMzEVP5y3j02IiqDoKrWPfRE9GglSrOoFuxlKW4NQVFVLIqo6s/57M+W4XUOhQyqLEIs4eiFqJoq3wmq76EKugIxFZoQvW5JZV5vsTei1x2pLo06vIeC1bJBjxllzGMdtiEqC5Ia89h4UsFl8jI1KsyCysZQj1aiyzxQ6UsoXDykoOrsgxRTIZmi9NscFd/BVedQKDD7xxIbOPu78TMM7RVU+R6o9BvQeIBYo7AAqTFhllTm9jaqzCPVPdunvySNTTQbquyM1JiyIKlgJPIwnlRTS2j2jwmzpLJA1kdd5kiloFYu2lNSdYpDIhXSPIRUhlWdQ6FASIXsiRgggqSCkeh2N/u/RyoIC5AaE2ZJdUMbZv+YMo/UhbqMVRum1VfbpeoJKjodbtBjgZAaExYENaZrPKimlsDjfSBbnh0tqGxU9mglnksPVHJBlbv1EgVVZx8kUCFnQUB1dQznrs6hUADUWGIjCCoYiZ0bDyoIE3loQLbs9jCoMWWjQSXC2NVWFxWGoLIBtEUj0WMOVPeilOGJVDqAdngmA1M/dF0MOZZTFsb6qDCPU3o95WinnOpkjsQpJHl8TvkjEHUOhQKcmqMyDkFOwUj0+nhOQZjhlE3iDciWhVlO2aBs0UpU5jhlb550bh+G9gZdJo6gDtsQgQiCGnPZaFDBYwZU5rF9VBeCyhdgPVqJHrOguvUCBVMnGiQwIddEwGQDvs6hUADMWA4jCCYYiZ0ZDyYIM6efyW5AdhxMnihu0UpU5sD0XzihFqU0UG3QY6KwDpuIculO5ID6Fo1EXY5L+oZp5pId6jJculXh0MQemxB1WS4ZzT1aicIcl/TrfnNXC+VUZxkkTiE3QThl+uscCgU4jSUwgpyCkdi58ZyCMBGHBmS/wyk7lS1aico8TivYgmo2TrNpeYMuCwTQmMswgJ6BGnPZaFDBY4GZPqbLgsr62kc95oHqZaJUVsr5nYBaBHJRw+fsbhTPVtdYyIDqWhiG4RKOyjwgqGw+XaGRiIMDldw2nc3dKByaXqMwEYcG2xDjA870/N0hLVqJykaDGlXWYRuishCoaCQKGwsq6pJBxSZEXRZUNoJ6tBKFOVBdwlQnT723AFJQdQpCiKgFpCZIRGU81FhIjqhw9EJQY4mV8aCC+gCo0Ibo9jCoMWXjQSXK2Njuoi5DUNkqd4tGIg8OVPUFrOr72/H3jEWIHZ7LAKkxl1lSmbI+qswjlbxpMne8U1IDuahCyEXxZ39qLGRIZaF/CUejpPKXV67QSHS7I3WRluprRe0vdn25RmGGVObABtuIk8rqbNFKVGZJ9b6QV71uYs4zWhuqjC2mOmxDVIakMsa2aCQKc6QuSvPSXvN7xpyyQ2FAKgtKe2xEVIao8mmoRytRmkOVvBI18d5DT1FVUVMMqvpzPvs73IdJti6gUGD2N0fjqDK+V1DlO7f4s1lezSv3i160rFFXIKbGdNmYekYqWIleH08qeExU1mHnRR6CpMaEjScVhAViKrQhCrOgsoHXY3dEl3mg0k3T7gqUgqqTDNLsD6kJpdDmogo2DusCCgVAjeUvYJmaMvZXUOV7oPrJfZXmZy5aozDDAzvaYBui25FUfvetRSvR7Y5U+n19zuvD0N5QYTwVhU2IwoKggptFXeNBhVNpQGWy91FhFlQWdHq0EpU5UOnLe70dHxRUnYKQQIXUBAGVRZm6gEIBUM3ReERl7K+gyvdA9SZ+vQRgU9UahYmBq8E2RB7CoEJ3RLePBhU8JgrrosKCoMZ0jQcVhAUiKrQhesyCyoJOj90RPeaBSr6vt3K4U1B1lkECFXImBFS2PqoLKGRAZYFrCUfjoLIqV2gkds6uUjO6ud97PRFc+IMwkYcG2xDdHgbV1CkPodGgxoR1UWFBUGO6xoMKwgyo7FTuo8IsqCyO9WglnksHKn0A1durRUHVOQgJVMhN+KDyhx/qAgoZUBlzSzgaBdV73mBAbIVGYucsqHmZ5ep7HOwv1vQahRlQ+VfbN9hIlNSShekWrURpjlT3DWjDW6dcgIDJH3xmpLE5tsM2RGWA6pxhtEUjUZhFdQFvQytm5fB+NNa9HdSC+1BYeNxjI6IyZJXfKuzRSpRmWVVvwVJ7IdyP8wplVSdyJFYhwUNYZfdU6gIKGVbZomsJRy9k1VQph67xrIIwYJVebjVRYRhUve+PGSBr0Up0u0O1ShaLmX0SJWGjaIMuE8N9h22IQARRjblsPKrgssD0D22IwiypbFz22B3RZR6p9GWT9mxRUHXmQQIV8hUEVDaa6wIKBUCNJTXgeuo8qIKR2LfxoIKwAKgxYRZUFlVa6Kw8hDxQS/UiOvWNuACsiw8QU4kyNrY7bEPkIQhqzGXjQQVhAVBjLrOgMpf12B3xZHqgkrf3et8AQEgtAwmq4XN2i8r7CvXB7TUWktepcDQaUnlefYVGYuccqeQGlbpVZYfhIGyNwgypzIENtiHygKTySbZFK1GZJRW/TBqfl2Ztb6gyTiq2ISoLkYpGorDRpKIwQypz6B7bEIUhqfy6tkcrUZkjlT4sXbqJm5KqUw9CTC0hk0JiKlvb1FjIkOpaGHBZwtE4qcxohUZi5yypbJZZoxBxSm2wTtHNYTIhKSMqGU8m+FFU1kWVBcmMCRtPJgiTY2hUmCWTnYYerUSXOTLpJVToWyXKQEZq+JzHUKakxkIBMk1SK04mW0CsoEp5TnVkJvRBPlbLGoXJsz22ESeVzdMtWolu90j1V6Vpykbehio7i6ExlwVJBSNR2HhSTS14BUUnpT12XnSZJZXdYezRSlTmkaq/n8f9uPhHY6gKkmIM1Z9zUtnUVZdQSF6XwtELSTVV/iipICxAKrQhut3GVOewYUposTui2x2pZNdUxu8zbNBlgZgaUxYkNeay8aSCywIxNSbMksrWCH3UZR6p5KET710RlFSdiZBme8hQKIU2I8VfPF+XUMiQyoLQEo7GSWVheoVGIg8uptLMKd9csUZhhgfmwAbbiJLqPaQDpJrOymPIkcoeOWWDe0OVsYjbRZUhqczPWzQSXeZIzatZob6OFX+zWnYoDEhls9QeGxF9BqhmZ18qhVaiNIsq3eE3q5zPKKo62yChCjkKgio753UJhQJBNZbIgIv9/AxVMBI7Nx5VEBYIqjFhGFR5+qCFzr6LKrnW54Nogy4LBNWYsiCqMZeNRxVcFgiqMWGWVDby+qjLPFLJ1ilvJyklVScjJFIhSUFIZTcD6xIKBRaq5mg8qLoBNISuFVQp8+BI9V4zrV44zd9zuEZhhgcWPxpsQwwQllSmrEUrcQy5oMqu9llw2lBl7NR22IaoDEll65ItGonCHKlk55TaP0WXojsUZkhlAWSPbYjCLKnMZT1aicocqSm7prLKKKmBrFQpZKXm7AqgxkKGVLagXsLRKKneAAJSTbvvkFp6GSmdm2JNr1GYIZXR0kSFWVLZBNKileh2Ryr99rPzmEqSUsyhHbYhAhEkNeay8aSCMEMqi0n7qDAkNWF892glusyRyvb4udNFSdXJBimmQorCj6lzFgLqEgoFFqqxPAbM/vyF7yuo8pzU18PDp4k6fLOq9GXq46dJNbldltW0/oueqB/0V3bOrskm1UXK33+4RsWBZUFMsUWYncU2LlkdvmlR8mJy2yjJa19ytSjmmfdVVCxkbqjkM7ZjkoNsg9EZQYOTt0rxFhUns8ltpyRvfMl0Z6sQn039cCOBdWiP/hKHo6WeeblHK1mzOnzTW82qjGpluvM1V2yHlptT6HjQOQ1pPEAmhIwHN6aGMFuXUAjWGOxcLeHweege3K4O3yxtF5RzVHUfFODANv8mvRXWduYQMzamZkB4G2GHLbEsmKxRshkQzOkNtnF2qgbF6vBNYxVnk1tV2wfFNyhOFmfBHhJGouTFBCQvsiqr1Okq1Ns59TuGmKgNlcxiUheXrA7fdFayOk+qtg+Kb5A8Z+7ZYm2iYjU2UDL/Hiy7LBjA2KFkMw3wdzXtsRXZzerwzd5qVidKVfdB8Q2as4w5qMfqZNF2Ul0kZEgk7myRETEPpNiGz9lNNx5vayxkRgQbL0s4ej4gNMIJTLK6o99uP07vbz+axQxaid2r8JT4TyuoTYveg0NDLWtUJi9msI2zMzIog0k25RfmLZqJ0hzguX5SwSWE2TprQ6WxKNJhG7I0mFfPQEYrUdl4kFGaAZlHdmxElgYTaMbfGNKjmazN8UrX3pYKSqvOtgjxew5ZGBK/mf4aC8nrGTgap5WvkVZoJXbO0eq+eND8ZXsHtIJ8Q6ubu4ajDbYh+93SysxaNBOlOVqHryJw7yZk0WYDtSTiQOqwDVka0spGwBatRGVIK4v8OxRi2GRRY49VykKQTf7SxR7NZCWOTbqr1rvIp3TqpatEJ2ReCJ1sLqrnUCgQS83Rd+hkCKygzvPlNl1ELGbqa2ntLzZs1ijMEMDiVYNNyI4Pwwn9ER0/Hk7wmSiti0sLwhlTFoQThMAKgA7vfVyIhZOdvR7NRB8lDk63M3HYpeiGBoVT0SfCqT/nEz27fVLPoZCBkw3NJRx9B07G1QqtxO7Z0GmxBECZk9aoTESgwTYupdN0Vx434+kEp4nSuri0IJ0xZUE6QYihk529fVyIpZOdvh7NxNPn0+nyvkMO2I4NSmcgozYXMmpzNp/UWChAJ6SgZAZgGcpXVCuoU0bA0elv81Y31VhQX6MyEYEG25CVhWNnLKc2nk7wrCiti0sL0hlTFqQThATohCplH1k6meN71P8unQt1b8b9uOhC6dTZEWlih5yKGl823zt38XdYvtVzKBSY2GOJF7xI4sSvoM736HSTuv6Lb7xdozIRgQbbkD0fphM6JHp+PJ3gNFFaF5cWpDOmLEgnCAnM7FCl7CNLJwtYPeoXfeTFTvpewcqtzSmdgcTZXEic8QvlGgsFYmcscWbpZMSvoM736CzoHi82L61RmYhAg23Ing/TCR0SPT+eTvCsKK2LSwvSGVMWpBOEBGInVCn7yNLJTl+P+kUf+XT6e7rm3pPXlE6dI5FiJ+RO/NjJv9GgnkMhQye79ljC0XfWnax7K7QSu+dm9vfoBGUGAbY4arAN2fOWThYXWjQTpTk6yftZyxmb+zZQC1yyM6d12IYsLUin6a48pIN0go8MncxH+7gQpNO71h6m0x7NRB95dI775qC5zmVIdEKOg9DJIlQ9GKtLp0DshDSM7Ghcd7qYPnRvBXXKjnZ0uocLh7/cumWoZY3KxADVYBuysjCd0CHR8+PpBM+K0rq4tCCdMWVBOkFIIHZClbKPLJ3M8T3qF33k0cl2b7khTGNnIF01F9JVfOtdjYUCdEKyRu4f0Mnj8QrqfI9ONTG4L1+fLVzvgE6QbxBgaYMG25CVWTrZwGnRTPS8o9N7ojBNqhlrfINOC9AZdVqQTrASlQXpBB8ZOhlme+ys7CNLJ7uN06OZrMTdUaroi4KdqwmdVSB1NHzO7ijx3XY1FpLphKPxmb1i8XiFVmL3XOx85/EsVCYi0GAbsueDdKKZKG00nVFpHbYhSwvRiVaishCdKESOnVilLMTSyVY/PZrJShydFM7QxtcqkCoaPud0srVJjYUCdJp0zTt0stCygjqjsZMRvUYdARajOsIsgpno5/EsmloCq0zsrIxAkMWYsiCLICTAIlQpC7EssouEHvWLPvLmce/ekbqP5D3pTiOlTg8Iq8wh7c9ZZLNljYUMi2w5b7aUqK+il/uH8/gZi7EkB0TKMxYhxyHP2qAyoANZ9N5EOywFzNYpJV/0M7DIhGzQIeKgMNs/gg4JkhdzSJA88Ighj/nY7OkICkHy+P5Qs80p5BEkz7mEcqZv9Euc6c8VZ+p6zN6nZCDVFZRR++7UXju+mlzC4XQ4k+ZS5fyjNVaidsKpSlJ+uptzk/b8ow2thd/83KGF2rumGsk8DxpnTN++HA6n5d3p7vbj17tfD/u7118fX96ung4Pqvcz9cWrk6vXx1+/2H+cjl+VcyZXvxxPp+Pz8OeXw93nw6surQo/HI8n/IfaEqTr/Pvh9PvXq+Pr4+HldHd6PL58mnw9vp5e7x5Pk6sv6vP/OaoDT8uvaqtLni7yhd4RonD5dng9Pd6fH1DVHr6fdm+n4f9Xv78qu/8t89lMbXJMfvq38ufZT4X+pba6zH5S73BJfp7Xs0U5m/3f5Or789PL283z90+TL6fT15vp9O3+y+H57u36+fH+9fh2fDhd3x+fp8eHh8f7w/T57n56+H5/eJqqDS6V+ufji/Lj8/ebv+3+cbU/fj6oTk+u/v3l8DfVzeHvf/5dCR7+VCqVrdKofw9ip38cX38b/H37/wIA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EDlAq6fAwAA7wgAABgAAAB4bC93b3Jrc2hlZXRzL3NoZWV0MS54bWyMVl2P6jYQfa/U/xD5HfIB5AMBV0vCqivdq6667b3PxjFgbRKntlngVv3vHdskJAFV+wLOnPGZM5PxOIsv57JwPqiQjFdL5I895NCK8JxV+yX668/nUYwcqXCV44JXdIkuVKIvq19/WZy4eJcHSpUDDJVcooNS9dx1JTnQEssxr2kFyI6LEit4FHtX1oLi3GwqCzfwvNAtMauQZZiLz3Dw3Y4RmnFyLGmlLImgBVagXx5YLRu2c/4pvlzgE+Ta6OlIzCzS8vnTO30lI4JLvlNjwkvXSrvPMnGTXp4luSN6UKwSi/djPQLiGpLbsoKpi0kXOSWZv+wrLvC2gDdy9qeYdFTie/rP6wSm1SJnUFvdEI6guyV68uebGXJXC/PmvjN6kp21o/D2jRaUKJpDAyFHN8aW83ft+AImDxilcdCMmCj2QVNaFEuU+iE0198miF5DCLeN0V038Z5NM70KZ4slTXnxg+XqAEGhaXO6w8dC3YzxOJ4E3sQPZi34Bz/9Rtn+oGDLFCqmCzfPLxmVBHpJKwUFhBcQDn6dkukTAeXGZ5vYNdps7IdTL9TEUl30KwCyLZXqmWlm5JCjVLxsxF1JLV1wpYMdpytdMA4buv8nca00U6EMK7xaCH5yoMshpKyxPoP+HETp/IIYqk40+KRRMBgZ2rC2BlAAfhLcPlbewv2AepPrlvS6Bbhalzjp+2QPfJIBz+aRj9/yuCC/zQEK08mh0a6tSzTp6LhtN9mtrYdv0pgM4qdd0J8N0KyLDrduuqA/e6wZdD3QrK19zUG73Wq2Hlaz7w1kpV00CAdo1kWjmy5DvOmCnYx6hYb3/kC0tvZFJ0PV1sWqDobFTLvobJhT1kVh7vfrsemi4S2nnmx92G493vSHtvZlx3GffG1drg0SDUKnXTQeZJx1wcAfdB6MRB3bEkdRG9WqtnPMntIa7+k3LPaskk5Bd3CkvHGEHGEnkVkrXhsrcG65guHRPB3gwqRwaL0xvNsd56p5gEmled+oOtYOFwwGmLkDl6jmQgnMFAwCsP/kABRZzWBKBck0CaMggd6GG18xcg8AbUH3mFyut58j5ixfIvGS+3qA0LP6KpX5d44COP+B0eUF0cQfPYVrbzTTP0EYeaMoCvx1lHpJ6Hn/NrdTCYN08Jnw8GoqMXHpmVDzkRDby3O1KM/z16/fnW88h5ELI//3ir5CCcz6xxskY5agEvaCRv1rxLrtp8rqPwAAAP//AwBQSwMEFAAGAAgAAAAhAMkamPIfAgAAWwgAABQAAAB4bC9zaGFyZWRTdHJpbmdzLnhtbIRWXWvjMBB8D+Q/CL+3tuTvw3EphcA9HBSu9wNUe9MILMm15Nzl35/ShHvwOBz4xaOZ3dHu4nXz9EcP7ESTU9bsIv6YRIxMZ3tlPnbRr7f9QxUx56Xp5WAN7aIzueip3W4a5zwLWuN20dH78Vscu+5IWrpHO5IJJwc7aenD6/QRu3Ei2bsjkddDLJKkiLVUJmKdnY0PeRMesdmoz5lerkidRm3jVNv49s16OTSxb5v4AlxBkfsje6WpI+PVQMvjH9QraZbodyY1k+wwD8ODV5qY7E/K2WmFdzmgcPO5Dwkck+Fho518KBOzB6bPbCI3WuPUuxqUV3TjhFodwjHpd1oL+5VedvPgzzcS+320bJzsSfWXGJ3sSavu6iw0YWlNLIF8CZRLoFoCPAGEAwKJeAqcDBBwwwvggEEODgU4FOBQgEMBDgX4EeBHgJ8UsqeQK4XIKcTJIE4Gqhw4OVQ1B1UBqgIcFqAqQVVCrhJUFagq5MDda1DxZAWCjvG14YSecV7DWOHMcGw/x95ybCXHznFsFC/QPZaPV1BjXkG5widxeSGB7gX6EuhL4HQI9CVqMJGiiZTDXKWYMUNhhqwcWTmyCmSVKxBWosygHRUKa4TCYELxwxgittakFW0oI2jLlcu/zHoepFcnYqsr7v52g8W2/7fRtpufXxvo+brZ3HKqXuXkr7vvf8z9bU1tN/dilfd2cBx+Dtq/AAAA//8DAFBLAwQUAAYACAAAACEAV0b42ZwCAAAPBwAAGwAAAHhsL2RyYXdpbmdzL3ZtbERyYXdpbmcxLnZtbOxVyW7bMBC95ysI5uCLDS1N0pSRDAQpcmsLNF2OAS3RFhOSI0hjWc7Xd0jJjt2gRdAeeqkAyUPO+t48wFlvDaPXtaLL+bpxoi0qZWU7s7pooIUlzgqworOGn4yB8LtAWC51ocTws0/pX5Gi+kI9N7E0ToVYiyiysvhmzV2Y62uj+fyEZSDaStbKyC2skXVC9ZhzVWr0Xu/WpZX1kYOVEmXOEx75AtFRhXnWDQVxWyumy5zf9zE995jGKWcFQFO2+knlPE0u4ngavpxRjZr6+hjqWkuscm7jaWzGiCHu6Bv3ahiRGmIDj4o9gHYtbg0VtxpVE+ZjNJCvx1aNLLVyGODCY87Rty3AOVWgnzbnDVkjqAMUe0iHcNokTi85G/JOjzAOI0xqaDVqcEIuWjBrVFeEzMpmpd3MqCWKJL6o8Wq8QajFGR03usRKJOkl2ZXSqwpFmpD9NNOuVL1IfJVOt3qhjcatqHRZKndlW5htGlnPQnOBPnHCltqYAgw0OT9d0qMSD5lIUmihJMByjbAj0QfTfig6fQ73G/YMEmklbBi4gbZFW6wbRcsd6Npz/BOfDpzaLwFJWQvo2UiPn7jUnnHiaCYNCj/MxPdjWam7XZxPI7deOeFZm8yziLxhrKgTY9Fw7MWN8Qt+T+pknxYPVPpLWOtHwEEqLOvFB+jUd43VjTKmDfD87R1J8uXttSsqaMJILJmy5HzK4ik7m7J0yi7ehkN6nkW9OAikYtcE5JbYnN9K06rg390EdL34DJt54h3eGO9uSCTWzWN/Pdqee3/aw6LYjFAHCf9Slu/+UpaX6bEs/XEnSy/RUZaJl+hOlul/Wf4bWZISR1mS9YZkSS9pNA0y+hNZhsSXsgxqfZ0sI/oXnP8AAAD//wMAUEsDBBQABgAIAAAAIQBlFSsHNQEAABI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V9LwzAUxd8Fv0PJe5umUxmh7UBliDgQnCi+XZK7Ldj8IYl2+/Zm3awTfbycc3+cc2892+ou+0QflDUNYUVJMjTCSmXWDXlezvMpyUIEI6GzBhuyw0Bm7flZLRwX1uOjtw59VBiyRDKBC9eQTYyOUxrEBjWEIjlMElfWa4hp9GvqQLzDGmlVlldUYwQJEegemLuRSI5IKUak+/DdAJCCYocaTQyUFYz+eCN6Hf5dGJQTp1Zx51KnY9xTthQHcXRvgxqNfd8X/WSIkfIz+rp4eBqq5srsbyWQtLUUXHiEaH1b09MhHa6DEBfpxiuF8nrX3lsDcQMmu7M+AVCZmv51JeJQgOvjZpYy8UODb+llcnO7nJO2Ktllzqq8nCwrxqsLXk7f9il+A1KwP19svwAAAP//AwBQSwMEFAAGAAgAAAAhAOU41G0PAQAAIgIAABAAAAB4bC9jb21tZW50czEueG1svFDLTsMwELwj8Q/W3qmTHFBBsSs4FCFxQKJ8gIk3jSU/Iq9bpXw9W9Jw4MQJybI849mZ0babKXhxxEwuRQX1qgKBsUvWxb2C9932Zg2CionW+BRRwQkJNvr6qu1SCBgLCTaIpGAoZbyXkroBg6FVGjHyT59yMIVh3ksaMxpLA2IJXjZVdSuDcRF0aw5lSJmWh9St/KEuOS+Oil5CRcZewWMNYpY9WwUV+xScWJT5vPL1wT70KY7GK7gDBl3yKQsXLU7IE+v6TOZtimUW7cyQgjmTvQnOn2a2ORPy27HoN8wOSVikLrux8NKolZwpOU/O8fLS+Ffbh+b/2z7ldBj/WHapPS96QaS/AAAA//8DAFBLAwQUAAYACAAAACEAsmAdoI0BAAAo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FP4zAQhe9I/IfId+q0oBWqHCMErDgsolILnAdn0li4tuUZonZ/PU6j0nT3sNLeZuY9PX8eW91sN67oMJENvhLTSSkK9CbU1q8r8bL6eXEtCmLwNbjgsRI7JHGjz8/UIoWIiS1SkSM8VaJljnMpybS4AZpk2WelCWkDnNu0lqFprMH7YD436FnOyvKHxC2jr7G+iN+BYkicd/y/oXUwPR+9rnYxA2t1G6OzBjjfUj9ZkwKFhosnMNZzoLZ42Bp0So5tKnMu0XwmyztdKjlu1dKAw7t8hG7AESp5HKhHhH59C7CJtOp43qHhkAqyv/MCZ6J4B8IerBIdJAueM2BvG5p97SJx0m8hfVCLyKRkNgzDfTn2jmt7pWd7Qy5OjX3AAJKFU8SVZYf03Cwg8b+I9wwD74BzG11Ilu6BYQz5jbvs+adj6YTkj7N/Wf9BL3EVch4edns6VMsWEtb5OQ76caAe81qT60PuWvBrrA+ev4X+T7wOH19PryblZZkfeTRT8vjF9RcAAAD//wMAUEsDBBQABgAIAAAAIQBBW7S4qQYAAGAtAAAQAAAAeGwvY2FsY0NoYWluLnhtbGzay25dxxEF0HkA/wNx5zF134ohyoO43YVuVI2cDyCoa0sAHwJJBPHfhwhiIenloY7ow336sWpD8Icf//Vwf/XPy/PLl6fHm832+3ebq8vj3dOnL4+/3Wz+8cvPf32/uXp5vX38dHv/9Hi52fx+edn8+PG7v3y4u72/+/vn2y+PV29veHy52Xx+ff36w/X1y93ny8Pty/dPXy+Pb3/z69Pzw+3r2x+ff7t++fp8uf308vlyeX24v969e3e6fnh7webjh7ur55vNT/vN1ZebzW5zdf+WZHP9x+PDfx9/e3BcH5zWB+f1wdtX/OfV397xt/XB9u3L//9HtluevGVbfuaPzN9evCXulrxbAm9JvCXylsw7Mu/IvCPzjsw7Mu/IvCPzjsw7Mu/IvCfznsx7Mu/JvCfznsx7Mu/JvCfznswHMh/IfCDzgcwHMh/IfCDzgcwHMh/IfCTzkcxHMh/JfCTzkcxHMh/JfCTzkcwnMp/IfCLzicwnMp/IfCLzicwnMp/IfCbzmcxnMp/JfCbzmcxnMp/JfCbzmczvyfyezO/XzH2N3NfEfQ3c17x9jdvXtH0N24G5A3PfEnZLWmDuwNyBuQNzB+YOzB2YOzB3YO7A3IG5A3MH5g7MHZg7MHdg7sDcgbkDcwfmDswdmDswd2DuwNyBuQNzB+YOzB2YOzB3YO7A3IG5A3MH5g7MHZg7MHdg7sDcgbkDcwfmDswdmDswd2DuwNyBuQNzB+YOzB2YOzB3YO7A3IG5A3MH5g7MHZg7MHdg7sDcgbkDcwfm9idPVs4bb2789kbCxlc0vrSxGo0Va6xqY+Ubu9PYwcYuN05C47Q0TlTj1DVOZuP0Nk544xY0bkrjNjVuXONWNm5u43Y3BGgo0ZCkoU1DpIZaDdka+jWEbCjakLahcUPshuoN+RvToTFBGlOmMYka06ox0RpTrzEZG9OzMWEbU7gxqRvTvDHxG62g0Rwa7aLRQBotpdFkGm2n0YgaranRrBrtq9HQGi2u0fQabbDRGNtaKttaO9taTNtaXdtabttaf9taOQOYA84DmAOYA5gDmAOYA5gDmAOYA5gDmAOYA5gDmAOYA5gDmAOYA5gDmAOYA5gDmAOYA5gDmAOYA5gDmAOYA5gDmAOYA5gDmAOYA5gDmAOYA5gDmAOYA5gDmAOYA5gDmAOYA5gDmAOYA5gDmAOYA5gDmAOYA5gDmAOYA5gDmAOYA5gDmAOYA5gDmAOYA5gDmAOYY4U5VphjhTlWmGOFOVaYY4V58GD9T8b60rH+2rEGG2v0sX7c4PsHazRYx8FaD/ZjsGeDfR3s/eB8DM7Q4JwNzuLgvA7O9ODcD+7G4P4M7tjgHg7u6uA+D+78wIWBHQNfBgYNnBpYNvBuYOLAzYGtA38HRg8cH1g/mAeDmTGYK4PZM5hPgxk2mHODWTiYl4OZOpi7g9k8mN+DGT/oAYOuMOgTg84x6CWD7jLoN4MONOhJgy416FuDTjbobYNuN+h/g4446JGDrjnoo4POOui1g+476MfzT56s/5QxefPkt08STr5i8qWT1Zis2GRVJys/2Z3JDk52eXISJqdlcqImp25yMiend3LCJ7dgclMmt2ly4ya3cnJzJ7d7IsBEiYkkE20mIk3Umsg20W8i5ETRibQTjSdiT1SfyD+ZDpMJMpkyk0k0mVaTiTaZepPJOJmekwk7mcKTST2Z5pOJP2kFk+YwaReTBjJpKZMmM2k7k0Y0aU2TZjVpX5OGNmlxk6Y3aYOTxjjXUjnX2jnXYjrX6jrXcjvX+jvXglzrT9T6jlp/S605ak1a67cUn1ssSbFsxdIWy19sUbGNxVYXx6E4MsWxKo5ecTyLI1wc8+IqFNeluFLFtSuuZnF9iyteMFBQUXBSkFOwVNBV8FYQWDBZUFpwW5BcsF3QXvBfjIhijBSjphhHxcgqxlox+orxWIzQYswWo7gY18VIL8Z+UQ2K+lBUjKKGFFWlqDNF5SlqUVGdinpVVLCiphVVrqh7RSUsamNRLYv6WVTUosYWBbmow7XCnKvDuTqcq8O5Opyrw4nDicOJw4nDicOJw4nDicOJw4nDicOJw4nDicOJw4nDicOJw4nDicOJw4nDicOJw4nDicOJw4nDicOJw4nDicOJw4nDicOJw4nDicOJw4nDicOJw4nDicOJw4nDicOJw4nDicOJw4nDicOJw4nDicOJw4nDicOJw4nDicOJw4nDicOJw4nDicOJw4nDicOJw4nDufbh/B+Yr7/9v9Ef/w0AAP//AwBQSwECLQAUAAYACAAAACEASRKs94wBAAB4BgAAEwAAAAAAAAAAAAAAAAAAAAAAW0NvbnRlbnRfVHlwZXNdLnhtbFBLAQItABQABgAIAAAAIQBQfE7B9gAAAEwCAAALAAAAAAAAAAAAAAAAAMUDAABfcmVscy8ucmVsc1BLAQItABQABgAIAAAAIQAAQZj4CQEAAMwDAAAaAAAAAAAAAAAAAAAAAOwGAAB4bC9fcmVscy93b3JrYm9vay54bWwucmVsc1BLAQItABQABgAIAAAAIQB2/yGWzwEAAP0CAAAPAAAAAAAAAAAAAAAAADUJAAB4bC93b3JrYm9vay54bWxQSwECLQAUAAYACAAAACEAEQ9zmhQGAACnLQAADQAAAAAAAAAAAAAAAAAxCwAAeGwvc3R5bGVzLnhtbFBLAQItABQABgAIAAAAIQDnZXW41gAAALgBAAAjAAAAAAAAAAAAAAAAAHARAAB4bC93b3Jrc2hlZXRzL19yZWxzL3NoZWV0MS54bWwucmVsc1BLAQItABQABgAIAAAAIQCPgEGuyyYAAHTcAAAYAAAAAAAAAAAAAAAAAIcSAAB4bC93b3Jrc2hlZXRzL3NoZWV0Mi54bWxQSwECLQAUAAYACAAAACEA+2KlbZQGAACnGwAAEwAAAAAAAAAAAAAAAACIOQAAeGwvdGhlbWUvdGhlbWUxLnhtbFBLAQItABQABgAIAAAAIQBA5QKunwMAAO8IAAAYAAAAAAAAAAAAAAAAAE1AAAB4bC93b3Jrc2hlZXRzL3NoZWV0MS54bWxQSwECLQAUAAYACAAAACEAyRqY8h8CAABbCAAAFAAAAAAAAAAAAAAAAAAiRAAAeGwvc2hhcmVkU3RyaW5ncy54bWxQSwECLQAUAAYACAAAACEAV0b42ZwCAAAPBwAAGwAAAAAAAAAAAAAAAABzRgAAeGwvZHJhd2luZ3Mvdm1sRHJhd2luZzEudm1sUEsBAi0AFAAGAAgAAAAhAGUVKwc1AQAAEgIAABEAAAAAAAAAAAAAAAAASEkAAGRvY1Byb3BzL2NvcmUueG1sUEsBAi0AFAAGAAgAAAAhAOU41G0PAQAAIgIAABAAAAAAAAAAAAAAAAAAtEsAAHhsL2NvbW1lbnRzMS54bWxQSwECLQAUAAYACAAAACEAsmAdoI0BAAAoAwAAEAAAAAAAAAAAAAAAAADxTAAAZG9jUHJvcHMvYXBwLnhtbFBLAQItABQABgAIAAAAIQBBW7S4qQYAAGAtAAAQAAAAAAAAAAAAAAAAALRPAAB4bC9jYWxjQ2hhaW4ueG1sUEsFBgAAAAAPAA8A3AMAAItWAAAAAAUj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4AAAABUFyaWFsBnkAAAAGK21uLWVhCXoAAAABAAl7AAAAByQAAAAAAQAAABEAAAAEFFN5c3RlbS5EcmF3aW5nLkNvbG9yBAAAAAV8AAAAFFN5c3RlbS5EcmF3aW5nLkNvbG9yBAAAAAV2YWx1ZQVzdGF0ZQprbm93bkNvbG9yBG5hbWUAAAABCQcHBAAAAAAAAAAAAAAAAAAAAAoBfQAAAHwAAAAAAAD//////wIAAAAKAX4AAAB8AAAA//////////8CAAAACgF/AAAAfAAAAE5BIv//////AgAAAAoBgAAAAHwAAADe3Nv//////wIAAAAKAYEAAAB8AAAAfmk///////8CAAAACgGCAAAAfAAAAIyEcv//////AgAAAAoBgwAAAHwAAAAlIe3//////wIAAAAKAYQAAAB8AAAANDtG//////8CAAAACgGFAAAAfAAAAHSYw///////AgAAAAoBhgAAAHwAAAAelPf//////wIAAAAKAYcAAAB8AAAAHpT3//////8CAAAACgGIAAAAfAAAACUh7f//////AgAAAAoBiQAAAHwAAAAAAAD//////wIAAAAKAYoAAAB8AAAA//////////8CAAAACgGLAAAAfAAAAE5BIv//////AgAAAAoBjAAAAHwAAADe3Nv//////wIAAAAKBCUAAACYAVN5c3RlbS5Db2xsZWN0aW9ucy5HZW5lcmljLkxpc3RgMVtbQXBsb3Jpcy5CYXNlLk9iamVjdHMuRGF0YU9iamVjdCwgQXBsb3Jpcy5CYXNlLCBWZXJzaW9uPTQuMC4wLjE0ODYsIEN1bHR1cmU9bmV1dHJhbCwgUHVibGljS2V5VG9rZW49MTZmYzEzYTIyNmMwZTk1MV1dAwAAAAZfaXRlbXMFX3NpemUIX3ZlcnNpb24EAAAhQXBsb3Jpcy5CYXNlLk9iamVjdHMuRGF0YU9iamVjdFtdAwAAAAgICY0AAAANAAAAEQAAAAQmAAAAlQFTeXN0ZW0uQ29sbGVjdGlvbnMuR2VuZXJpYy5MaXN0YDFbW0FwbG9yaXMuQmFzZS5VSS5WaXN1YWxPYmplY3QsIEFwbG9yaXMuQmFzZSwgVmVyc2lvbj00LjAuMC4xNDg2LCBDdWx0dXJlPW5ldXRyYWwsIFB1YmxpY0tleVRva2VuPTE2ZmMxM2EyMjZjMGU5NTFdXQMAAAAGX2l0ZW1zBV9zaXplCF92ZXJzaW9uBAAAHkFwbG9yaXMuQmFzZS5VSS5WaXN1YWxPYmplY3RbXQMAAAAICAmOAAAAAQAAAAEAAAAFKAAAAJsBQXBsb3Jpcy5CYXNlLk9iamVjdHMuRGF0YU9iamVjdENvbGxlY3Rpb25gMVtbQXBsb3Jpcy5DaGFydC5WYWx1ZUxpbmU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AuMC4xNDg2LCBDdWx0dXJlPW5ldXRyYWwsIFB1YmxpY0tleVRva2VuPTE2ZmMxM2EyMjZjMGU5NTFdXQMAAACRAVN5c3RlbS5Db2xsZWN0aW9ucy5HZW5lcmljLkxpc3RgMVtbQXBsb3Jpcy5DaGFydC5WYWx1ZUxpbm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jwAAAAmQAAAACQYAAAAJAQAAAAmRAAAABSkAAACbAUFwbG9yaXMuQmFzZS5PYmplY3RzLkRhdGFPYmplY3RDb2xsZWN0aW9uYDFbW0FwbG9yaXMuQ2hhcnQuQXhpc0JyZWFr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wLjAuMTQ4NiwgQ3VsdHVyZT1uZXV0cmFsLCBQdWJsaWNLZXlUb2tlbj0xNmZjMTNhMjI2YzBlOTUxXV0DAAAAkQFTeXN0ZW0uQ29sbGVjdGlvbnMuR2VuZXJpYy5MaXN0YDFbW0FwbG9yaXMuQ2hhcnQuQXhpc0JyZWF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IAAAAJkwAAAAkGAAAACQEAAAAJlA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aAAAAAMAAAAJaQAAAAlqAAAACWsAAAABAAAAAAoKCWwAAAAAAAAACgAAAAAAAAAABS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gAAAADAAAACWkAAAAJagAAAAlrAAAAAQAAAAAKBpUAAAABJQlsAAAAAQAAAAoAAAAAAAAAAAUtAAAAmgFBcGxvcmlzLkJhc2UuT2JqZWN0cy5EYXRhT2JqZWN0Q29sbGVjdGlvbmAxW1tBcGxvcmlzLkNoYXJ0LlRpY2tNYXJr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AuMC4xNDg2LCBDdWx0dXJlPW5ldXRyYWwsIFB1YmxpY0tleVRva2VuPTE2ZmMxM2EyMjZjMGU5NTFdXQMAAACQAVN5c3RlbS5Db2xsZWN0aW9ucy5HZW5lcmljLkxpc3RgMVtbQXBsb3Jpcy5DaGFydC5UaWNrTWFy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WAAAACZcAAAAJBgAAAAkBAAAACZgAAAAFMA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ZAAAAIQAAALronEK9jKJDAZoAAAAhAAAALXojRL2MokMJmwAAALgBAAD/////AQEKCZwAAAABAAoABzEAAAAAAQAAAAUAAAAEFVN5c3RlbS5EcmF3aW5nLlBvaW50RgQAAAABnQAAACEAAAAtOiREvYyiQwGeAAAAIQAAALronELUabBDAZ8AAAAhAAAARBe3Q9RpsEMBoAAAACEAAAAteiNE1GmwQwGhAAAAIQAAAC06JES9DKVDBzIAAAAAAQAAAAUAAAAEF0FwbG9yaXMuQmFzZS5BbmNob3JNb2RlAwAAAAWiAAAAF0FwbG9yaXMuQmFzZS5BbmNob3JNb2RlAQAAAAd2YWx1ZV9fAAgDAAAABAAAAAGjAAAAogAAAAUAAAABpAAAAKIAAAADAAAAAaUAAACiAAAABgAAAAGmAAAAogAAAAUAAAAPMwAAAAUAAAABAAAAAAEFNAAAABVBcGxvcmlzLkJhc2UuVUkuTGFiZWwcAAAAD21BbmNob3JQb3NpdGlvbgttQW5jaG9yTW9kZQ9tQWRkSW5uZXJNYXJnaW4WbU9mZnNldERpcmVjdGlvbkFuY2hvchdtT2Zmc2V0T3J0aG9nb25hbEFuY2hvcgttVGV4dEZvcm1hdAltUm90YXRpb24KbUJhY2tDb2xvcg1tVXNlQmFja0NvbG9yDm1Vc2V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BAQEAAEDAwEAAAAABwIAAAMA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MAAAABpwAAACEAAAAtOiREvYyiQwGoAAAAogAAAAQAAAAAAAAAAAAAAAAJqQAAAAAAAAAJqgAAAAAABasAAAAqQXBsb3Jpcy5CYXNlLlVJLkxhYmVsK0xpbmVBbGlnbm1lbnRPcHRpb25zAQAAAAd2YWx1ZV9fAAgDAAAAAAAAAAGsAAAAdAAAAAAAAAAAAAAAAa0AAAAVAAAAAAAAAAAAAAAAAAAAAAAAAAAAAAAGrgAAAA1DYXRlZ29yeSBheGlzCgmvAAAACa4AAADkAgAA/////wABCgmwAAAAAQAKAAE1AAAAJQAAAAmxAAAABgAAAAYAAAABNgAAACYAAAAJsgAAAAIAAAACAAAAATgAAAAoAAAACgmzAAAACbQAAAAJBwAAAAkBAAAACbUAAAABOQAAACkAAAAKCbYAAAAJtwAAAAkHAAAACQEAAAAJuA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HAAAACQEAAAAAAAAAAAloAAAAAwAAAAlpAAAACWoAAAAJawAAAAEAAAAACgoJbAAAAAAAAAAKAAAAAAA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wAAAAkBAAAAAAAAAAAJaAAAAAMAAAAJaQAAAAlqAAAACWsAAAABAAAAAAoKCWwAAAAAAAAACgAAAAAAAAAABT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gAAAADAAAACWkAAAAJagAAAAlrAAAAAQAAAAAKCZUAAAAJbAAAAAEAAAAKAAAAAAAAAAABPQAAAC0AAAAKCbkAAAAJugAAAAkHAAAACQEAAAAJuwAAAAFAAAAAMAAAAAG8AAAAIQAAALronEK9jKJDAb0AAAAhAAAAuuicQhiZCkIJvgAAALgBAAD/////AQEKCb8AAAABAAoAB0EAAAAAAQAAAAUAAAAEFVN5c3RlbS5EcmF3aW5nLlBvaW50RgQAAAABwAAAACEAAAC66JxCR4/pQQHBAAAAIQAAABXGWEK9jKJDAcIAAAAhAAAAFcZYQuDfM0MBwwAAACEAAAAVxlhCGJkKQgHEAAAAIQAAABXGWEJHj+lBB0IAAAAAAQAAAAUAAAAEF0FwbG9yaXMuQmFzZS5BbmNob3JNb2RlAwAAAAHFAAAAogAAAAEAAAABxgAAAKIAAAAIAAAAAccAAACiAAAAAgAAAAHIAAAAogAAAAYAAAAByQAAAKIAAAAHAAAAD0MAAAAFAAAAAQAAAAABAUQAAAA0AAAAAcoAAAAhAAAAuuicQkeP6UEBywAAAKIAAAABAAAAALroAkEAAAAACcwAAAAAAAAACc0AAAAAAAHOAAAAqwAAAAAAAAABzwAAAHQAAAAAABNDAABAQQHQAAAAFQAAAAAAIEEAACBB9ZwIQ6OLLkESg74/BtEAAAAaTnVtYmVyIG9mIFN0dWRlbnRzIEFkdmlzZWQKCdIAAAAJ0QAAAOQCAAD/////AQEKCdMAAAABAAoAAUUAAAAlAAAACdQAAAAGAAAABgAAAAFGAAAAJgAAAAnVAAAAAgAAAAIAAAAHRwAAAAABAAAAAAAAAAQuQXBsb3Jpcy5DaGFydC5Db2x1bW5PcmllbnRlZENoYXJ0K1VudXNlZFNlcmllcwIAAAAESA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1gAAAAMAAAAsAAAAAUkAAAAlAAAACdcAAAADAAAADQAAAAFKAAAAJgAAAAnYAAAAAAAAAAAAAAAESw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dkAAAABAAAAAQAAAAFMAAAAJQAAAAnaAAAAAQAAAAEAAAABTQAAACYAAAAJ2AAAAAAAAAAAAAAABE4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dsAAAAAAAAAAAAAAAFPAAAAJQAAAAncAAAAAAAAAAAAAAABUAAAACYAAAAJ2AAAAAAAAAAAAAAABFE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dAAAABAAAAAwAAAABUgAAACUAAAAJ3gAAAAQAAAAMAAAAAVMAAAAmAAAACdgAAAAAAAAAAAAAAARU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3wAAAAAAAAAAAAAAAVUAAAAlAAAACdwAAAAAAAAAAAAAAAFWAAAAJgAAAAnYAAAAAAAAAAAAAAAEVw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eAAAAAAAAAAAAAAAAFYAAAAJQAAAAncAAAAAAAAAAAAAAABWQAAACYAAAAJ2AAAAAAAAAAAAAAABFo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hAAAAAAAAAAAAAAABWwAAACUAAAAJ3AAAAAAAAAAAAAAAAVwAAAAmAAAACdgAAAAAAAAAAAAAAARd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iAAAAAAAAAAAAAAABXgAAACUAAAAJ3AAAAAAAAAAAAAAAAV8AAAAmAAAACdgAAAAAAAAAAAAAAARg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eMAAAAAAAAAAAAAAAFhAAAAJQAAAAncAAAAAAAAAAAAAAABYgAAACYAAAAJ2AAAAAAAAAAAAAAABWMAAACtAUFwbG9yaXMuQmFzZS5PYmplY3RzLkRhdGFPYmplY3RDb2xsZWN0aW9uYDFbW0FwbG9yaXMuQ2hhcnQuQ29sdW1uT3JpZW50ZWRMZWdlbmR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qwFBcGxvcmlzLkJhc2UuT2JqZWN0cy5Tb3J0YWJsZUNvbGxlY3Rpb25gMVtbQXBsb3Jpcy5DaGFydC5Db2x1bW5PcmllbnRlZExlZ2VuZEVsZW1lbnQsIEFwbG9yaXMuQ2hhcnQsIFZlcnNpb249NC4wLjAuMTQ4NiwgQ3VsdHVyZT1uZXV0cmFsLCBQdWJsaWNLZXlUb2tlbj0xNmZjMTNhMjI2YzBlOTUxXV0DAAAAowFTeXN0ZW0uQ29sbGVjdGlvbnMuR2VuZXJpYy5MaXN0YDFbW0FwbG9yaXMuQ2hhcnQuQ29sdW1uT3JpZW50ZWRMZWdlbmR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eQAAAAJ5QAAAAkUAAAACQEAAAAJ5gAAAAFlAAAAHAAAAAHnAAAAIQAAAC6yCkQAAChBAegAAAAhAAAALrIeRNFFikIJ6QAAAAnqAAAAAAAAAAoB6wAAAHQAAAAAAAAAAAAAAAHsAAAAdAAAAAAAAAAAAAAAAAAAAAHtAAAAFQAAAAAAAAAAAAAAAAAAAAAAAACkAQAA/////wEBCgnuAAAAAQAKAAFmAAAAJQAAAAnvAAAAAQAAAAEAAAABZwAAACYAAAAJ8AAAAAEAAAABAAAABXI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8QAAAAnyAAAAAQAAAP7///8BAAAAAQAAAAEAAAABAAAAAQAAAAEAAAAAAAEFcw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zAAAACfQAAAABAAAAAAAAAAAAAAAAAAAAAAEFdwAAAB9BcGxvcmlzLkJhc2UuT2JqZWN0cy5QZXJzSWREYXRhAgAAAANtSWQLbUN1c3RvbURhdGEHAggDAAAACfUAAAAKBXoAAAAaQXBsb3Jpcy5CYXNlLk9iamVjdHMuQ29sb3IHAAAAEkRhdGFPYmplY3QrbVBhcmVudBVEYXRhT2JqZWN0K21Db250YWluZXIFbVR5cGUEbVJHQhBtVGhlbWVDb2xvckluZGV4DG1BdXRvVXBkYXRlZAltTW9kaWZpZWQCAgAAAAAACAgIAQEDAAAACgoAAAAAAAAAAA0AAAAAAQF7AAAAegAAAAoKAQAAAAAAAAD/////AAEHjQAAAAABAAAAEAAAAAQfQXBsb3Jpcy5CYXNlLk9iamVjdHMuRGF0YU9iamVjdAMAAAAJCQAAAAkKAAAACQsAAAAJDAAAAAkQAAAACREAAAAJDQAAAAkOAAAACQ8AAAAJBwAAAAkGAAAACRgAAAAJFAAAAA0DB44AAAAAAQAAAAQAAAAEHEFwbG9yaXMuQmFzZS5VSS5WaXN1YWxPYmplY3QDAAAACRwAAAANAwSPAAAAkQFTeXN0ZW0uQ29sbGVjdGlvbnMuR2VuZXJpYy5MaXN0YDFbW0FwbG9yaXMuQ2hhcnQuVmFsdWVMaW5lLCBBcGxvcmlzLkNoYXJ0LCBWZXJzaW9uPTQuMC4wLjE0ODYsIEN1bHR1cmU9bmV1dHJhbCwgUHVibGljS2V5VG9rZW49MTZmYzEzYTIyNmMwZTk1MV1dAwAAAAZfaXRlbXMFX3NpemUIX3ZlcnNpb24EAAAZQXBsb3Jpcy5DaGFydC5WYWx1ZUxpbmVbXQIAAAAICAn2AAAAAAAAAAAAAAABkAAAACUAAAAJ3AAAAAAAAAAAAAAAAZEAAAAmAAAACdgAAAAAAAAAAAAAAASSAAAAkQFTeXN0ZW0uQ29sbGVjdGlvbnMuR2VuZXJpYy5MaXN0YDFbW0FwbG9yaXMuQ2hhcnQuQXhpc0JyZWFrLCBBcGxvcmlzLkNoYXJ0LCBWZXJzaW9uPTQuMC4wLjE0ODYsIEN1bHR1cmU9bmV1dHJhbCwgUHVibGljS2V5VG9rZW49MTZmYzEzYTIyNmMwZTk1MV1dAwAAAAZfaXRlbXMFX3NpemUIX3ZlcnNpb24EAAAZQXBsb3Jpcy5DaGFydC5BeGlzQnJlYWtbXQIAAAAICAn3AAAAAAAAAAAAAAABkwAAACUAAAAJ3AAAAAAAAAAAAAAAAZQAAAAmAAAACdgAAAAAAAAAAAAAAASWAAAAkAFTeXN0ZW0uQ29sbGVjdGlvbnMuR2VuZXJpYy5MaXN0YDFbW0FwbG9yaXMuQ2hhcnQuVGlja01hcmssIEFwbG9yaXMuQ2hhcnQsIFZlcnNpb249NC4wLjAuMTQ4NiwgQ3VsdHVyZT1uZXV0cmFsLCBQdWJsaWNLZXlUb2tlbj0xNmZjMTNhMjI2YzBlOTUxXV0DAAAABl9pdGVtcwVfc2l6ZQhfdmVyc2lvbgQAABhBcGxvcmlzLkNoYXJ0LlRpY2tNYXJrW10CAAAACAgJ+AAAAAAAAAAAAAAAAZcAAAAlAAAACdwAAAAAAAAAAAAAAAGYAAAAJgAAAAnYAAAAAAAAAAAAAAABmwAAAHIAAAAKCgAAAEA/CfkAAAAJ+gAAAAEAAAD+////AAAAAAEAAAAAAAAAAAAAAAEAAAAAAAAAAAAAAZwAAAB3AAAACfsAAAAKBak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4AAAACXkAAAAJ/AAAAAEACf0AAAABqgAAAHoAAAAKCgEAAAAAAAAA/////wABBK8AAACWAVN5c3RlbS5Db2xsZWN0aW9ucy5HZW5lcmljLkxpc3RgMVtbQXBsb3Jpcy5CYXNlLk9iamVjdHMuVmFyaWFibGUsIEFwbG9yaXMuQmFzZSwgVmVyc2lvbj00LjAuMC4xNDg2LCBDdWx0dXJlPW5ldXRyYWwsIFB1YmxpY0tleVRva2VuPTE2ZmMxM2EyMjZjMGU5NTFdXQMAAAAGX2l0ZW1zBV9zaXplCF92ZXJzaW9uBAAAH0FwbG9yaXMuQmFzZS5PYmplY3RzLlZhcmlhYmxlW10DAAAACAgJ/gAAAAAAAAAAAAAAAbAAAAB3AAAACf8AAAAKB7EAAAAAAQAAAAgAAAAEH0FwbG9yaXMuQmFzZS5PYmplY3RzLkRhdGFPYmplY3QDAAAACSoAAAAJKwAAAAksAAAACS0AAAAJKAAAAAkpAAAACgoHsgAAAAABAAAABAAAAAQcQXBsb3Jpcy5CYXNlLlVJLlZpc3VhbE9iamVjdAMAAAAJMAAAAAk0AAAACgoBswAAAI8AAAAJ9gAAAAAAAAAAAAAAAbQAAAAlAAAACdwAAAAAAAAAAAAAAAG1AAAAJgAAAAnYAAAAAAAAAAAAAAABtgAAAJIAAAAJ9wAAAAAAAAAAAAAAAbcAAAAlAAAACdwAAAAAAAAAAAAAAAG4AAAAJgAAAAnYAAAAAAAAAAAAAAABuQAAAJYAAAAJAAEAAAYAAAAmAAAAAboAAAAlAAAACQEBAAAGAAAAJgAAAAG7AAAAJgAAAAnYAAAAAAAAAAAAAAABvgAAAHIAAAAKCgAAAEA/CQIBAAAJAwEAAAEAAAD+////AAAAAAEAAAAAAAAAAAAAAAEAAAAAAAAAAAAAAb8AAAB3AAAACQQBAAAKBcw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AoQQl4AAAACXkAAAAJBQEAAAAACQYBAAABzQAAAHoAAAAKCgAAAAD///8ADgAAAAABAdIAAACvAAAACf4AAAAAAAAAAQAAAAHTAAAAdwAAAAkHAQAACgfUAAAAAAEAAAAIAAAABB9BcGxvcmlzLkJhc2UuT2JqZWN0cy5EYXRhT2JqZWN0AwAAAAk6AAAACTsAAAAJPAAAAAk9AAAACTgAAAAJOQAAAAoKB9UAAAAAAQAAAAQAAAAEHEFwbG9yaXMuQmFzZS5VSS5WaXN1YWxPYmplY3QDAAAACUAAAAAJRAAAAAoKB9YAAAAAAQAAAAgAAAAEHUFwbG9yaXMuQ2hhcnQuQ2hhcnREYXRhU2VyaWVzAgAAAAkIAQAACQkBAAAJCgEAAA0FB9cAAAAAAQAAAAgAAAAEH0FwbG9yaXMuQmFzZS5PYmplY3RzLkRhdGFPYmplY3QDAAAACQgBAAAJCQEAAAkKAQAADQUH2AAAAAABAAAAAAAAAAQcQXBsb3Jpcy5CYXNlLlVJLlZpc3VhbE9iamVjdAMAAAAH2QAAAAABAAAABAAAAAQiQXBsb3Jpcy5DaGFydC5Bbm5vdGF0aW9uRGF0YVNlcmllcwIAAAAJCwEAAA0DB9oAAAAAAQAAAAQAAAAEH0FwbG9yaXMuQmFzZS5PYmplY3RzLkRhdGFPYmplY3QDAAAACQsBAAANAwfbAAAAAAEAAAAAAAAABB1BcGxvcmlzLkNoYXJ0LkFubm90YXRpb25Hcm91cAIAAAAH3AAAAAABAAAAAAAAAAQfQXBsb3Jpcy5CYXNlLk9iamVjdHMuRGF0YU9iamVjdAMAAAAH3QAAAAABAAAABAAAAAQcQXBsb3Jpcy5DaGFydC5DaGFydERhdGFHcm91cAIAAAAJDAEAAAkNAQAACQ4BAAAJDwEAAAfeAAAAAAEAAAAEAAAABB9BcGxvcmlzLkJhc2UuT2JqZWN0cy5EYXRhT2JqZWN0AwAAAAkMAQAACQ0BAAAJDgEAAAkPAQAAB98AAAAAAQAAAAAAAAAEFkFwbG9yaXMuQ2hhcnQuRGVsdGFCYXICAAAAB+AAAAAAAQAAAAAAAAAEGUFwbG9yaXMuQ2hhcnQuRGVsdGFCcmlkZ2UCAAAAB+EAAAAAAQAAAAAAAAAEGUFwbG9yaXMuQ2hhcnQuR3Jvd3RoQXJyb3cCAAAAB+IAAAAAAQAAAAAAAAAEIEFwbG9yaXMuQ2hhcnQuV2F0ZXJmYWxsQ29ubmVjdG9yAgAAAAfjAAAAAAEAAAAAAAAABB5BcGxvcmlzLkNoYXJ0LkVsZW1lbnRDb25uZWN0b3ICAAAABOQAAACjAVN5c3RlbS5Db2xsZWN0aW9ucy5HZW5lcmljLkxpc3RgMVtbQXBsb3Jpcy5DaGFydC5Db2x1bW5PcmllbnRlZExlZ2VuZEVsZW1lbnQsIEFwbG9yaXMuQ2hhcnQsIFZlcnNpb249NC4wLjAuMTQ4NiwgQ3VsdHVyZT1uZXV0cmFsLCBQdWJsaWNLZXlUb2tlbj0xNmZjMTNhMjI2YzBlOTUxXV0DAAAABl9pdGVtcwVfc2l6ZQhfdmVyc2lvbgQAACtBcGxvcmlzLkNoYXJ0LkNvbHVtbk9yaWVudGVkTGVnZW5kRWxlbWVudFtdAgAAAAgICRABAAADAAAAEQAAAAHlAAAAJQAAAAkRAQAAAwAAAAMAAAAB5gAAACYAAAAJEgEAAAAAAAAAAAAAAekAAAByAAAACgoAAAAAAAkTAQAACRQBAAABAAAA/v///wEAAAABAAAAAQAAAAEAAAABAAAAAQAAAAAAAQHqAAAAcwAAAAoKCRUBAAAJFgEAAAEAAAAAAAAAAAAAAAAAAAAAAQHuAAAAdwAAAAkXAQAACgfvAAAAAAEAAAAEAAAABB9BcGxvcmlzLkJhc2UuT2JqZWN0cy5EYXRhT2JqZWN0AwAAAAljAAAADQMH8AAAAAABAAAABAAAAAQcQXBsb3Jpcy5CYXNlLlVJLlZpc3VhbE9iamVjdAMAAAAJZQAAAA0DAfEAAAB6AAAACgoAAAAAAAAAAA0AAAAAAQHyAAAAegAAAAoKAQAAAAAAAAD/////AAEB8wAAAHoAAAAKCgEAAAD///8A/////wABAfQAAAB6AAAACgoBAAAAAAAAAP////8AAQ/1AAAAAQAAAAgAAAAAB/YAAAAAAQAAAAAAAAAEF0FwbG9yaXMuQ2hhcnQuVmFsdWVMaW5lAgAAAAf3AAAAAAEAAAAAAAAABBdBcGxvcmlzLkNoYXJ0LkF4aXNCcmVhawIAAAAH+AAAAAABAAAAAAAAAAQWQXBsb3Jpcy5DaGFydC5UaWNrTWFyawIAAAAF+QAAABpBcGxvcmlzLkJhc2UuT2JqZWN0cy5Db2xvcgcAAAASRGF0YU9iamVjdCttUGFyZW50FURhdGFPYmplY3QrbUNvbnRhaW5lcgVtVHlwZQRtUkdCEG1UaGVtZUNvbG9ySW5kZXgMbUF1dG9VcGRhdGVkCW1Nb2RpZmllZAQCAAAAAAAfQXBsb3Jpcy5CYXNlLk9iamVjdHMuTGluZUZvcm1hdAMAAAAICAgBAQMAAAAJmwAAAAoAAAAAAAAAAA0AAAAAAAX6AAAAGkFwbG9yaXMuQmFzZS5PYmplY3RzLkNvbG9yBwAAABJEYXRhT2JqZWN0K21QYXJlbnQVRGF0YU9iamVjdCttQ29udGFpbmVyBW1UeXBlBG1SR0IQbVRoZW1lQ29sb3JJbmRleAxtQXV0b1VwZGF0ZWQJbU1vZGlmaWVkBAIAAAAAAB9BcGxvcmlzLkJhc2UuT2JqZWN0cy5MaW5lRm9ybWF0AwAAAAgICAEBAwAAAAmbAAAACgEAAAAAAAAA/////wABD/sAAAABAAAACGsAAAAB/AAAAHoAAAAKCgAAAAAAAAAADQAAAAABAf0AAAB6AAAACgoBAAAAAAAAAP////8AAQf+AAAAAAEAAAAAAAAABB1BcGxvcmlzLkJhc2UuT2JqZWN0cy5WYXJpYWJsZQMAAAAP/wAAAAEAAAAIAAAAAAcAAQAAAAEAAAAQAAAABBZBcGxvcmlzLkNoYXJ0LlRpY2tNYXJrAgAAAAkYAQAACRkBAAAJGgEAAAkbAQAACRwBAAAJHQEAAA0KBwEBAAAAAQAAABAAAAAEH0FwbG9yaXMuQmFzZS5PYmplY3RzLkRhdGFPYmplY3QDAAAACRgBAAAJGQEAAAkaAQAACRsBAAAJHAEAAAkdAQAADQoFAgEAABpBcGxvcmlzLkJhc2UuT2JqZWN0cy5Db2xvcgcAAAASRGF0YU9iamVjdCttUGFyZW50FURhdGFPYmplY3QrbUNvbnRhaW5lcgVtVHlwZQRtUkdCEG1UaGVtZUNvbG9ySW5kZXgMbUF1dG9VcGRhdGVkCW1Nb2RpZmllZAQCAAAAAAAfQXBsb3Jpcy5CYXNlLk9iamVjdHMuTGluZUZvcm1hdAMAAAAICAgBAQMAAAAJvgAAAAoAAAAAAAAAAA0AAAAAAAUDAQAAGkFwbG9yaXMuQmFzZS5PYmplY3RzLkNvbG9yBwAAABJEYXRhT2JqZWN0K21QYXJlbnQVRGF0YU9iamVjdCttQ29udGFpbmVyBW1UeXBlBG1SR0IQbVRoZW1lQ29sb3JJbmRleAxtQXV0b1VwZGF0ZWQJbU1vZGlmaWVkBAIAAAAAAB9BcGxvcmlzLkJhc2UuT2JqZWN0cy5MaW5lRm9ybWF0AwAAAAgICAEBAwAAAAm+AAAACgEAAAAAAAAA/////wABDwQBAAABAAAACGoAAAABBQEAAHoAAAAKCgAAAAAAAAAADQAAAAAAAQYBAAB6AAAACgoAAAAAAAAAAA0AAAAAAQ8HAQAAAQAAAAhbAAAABQgBAAAdQXBsb3Jpcy5DaGFydC5DaGFydERhdGFTZXJpZXMcAAAABm1DaGFydAttU2VyaWVzVHlwZQltRXhjZWxSb3cKbUV4Y2VsUm93MgVtQXhpcw1tRGF0YUVsZW1lbnRzEm1TZXJpZXNEZXNjcmlwdGlvbhNtU2VyaWVzRGVzY3JpcHRpb24yCm1TdGFja2VkT24MbUN1c3RvbVdpZHRoD21DdXN0b21Qb3NpdGlvbg1tQ3VzdG9tWk9yZGVyCW1Qb2x5bGluZQhtUG9seWdvbhRtUmVzdG9yZUxhYmVsVmlzaWJsZQZtTGFiZWwPbUxhYmVsUG9zaXRpb25zEW1MYWJlbEFuY2hvck1vZGVzDm1MYWJlbFBvc2l0aW9uC21TbW9vdGhMaW5lDm1TYW1lVHlwZUluZGV4DG1CYXJQb3NpdGlvbhZtTGVnZW5kVXBkYXRlU3VzcGVuZGVkFG1QZW5kaW5nTGVnZW5kVXBkYXRlGERhdGFPYmplY3QrbUNoaWxkT2JqZWN0cxJEYXRhT2JqZWN0K21QYXJlbnQVRGF0YU9iamVjdCttQ29udGFpbmVyGURhdGFPYmplY3QrbVZpc3VhbE9iamVjdHMEBAAABAQBAQQAAAAEBAAEBAQAAAAAAAADBAQDIUFwbG9yaXMuQ2hhcnQuQ29sdW1uT3JpZW50ZWRDaGFydAIAAAAYQXBsb3Jpcy5DaGFydC5TZXJpZXNUeXBlAgAAAAgIJUFwbG9yaXMuQ2hhcnQuQ29sdW1uT3JpZW50ZWRDaGFydEF4aXMCAAAAogFBcGxvcmlzLkJhc2UuT2JqZWN0cy5EYXRhT2JqZWN0Q29sbGVjdGlvbmAxW1tBcGxvcmlzLkNoYXJ0LkNoYXJ0RGF0YUVsZW1lbnQsIEFwbG9yaXMuQ2hhcnQsIFZlcnNpb249NC4wLjAuMTQ4NiwgQ3VsdHVyZT1uZXV0cmFsLCBQdWJsaWNLZXlUb2tlbj0xNmZjMTNhMjI2YzBlOTUxXV0DAAAAHUFwbG9yaXMuQ2hhcnQuQ2hhcnREYXRhU2VyaWVzAgAAAAsLCB5BcGxvcmlzLkJhc2UuVUkuVmlzdWFsUG9seWxpbmUDAAAAHUFwbG9yaXMuQmFzZS5VSS5WaXN1YWxQb2x5Z29uAwAAAAEcQXBsb3Jpcy5DaGFydC5Db25uZWN0ZWRMYWJlbAIAAAAXU3lzdGVtLkRyYXdpbmcuUG9pbnRGW10EAAAAGUFwbG9yaXMuQmFzZS5BbmNob3JNb2RlW10DAAAACAEICAg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EeAQAAEwAAAAAAAAACAAAA/////wkHAAAACR8BAAAGIAEAAA8yNXRoIFBlcmNlbnRpbGUKCgAAAAAAAAAAAAAAAAoKAAkhAQAACSIBAAAJIwEAAAAAAAAAAAAAAAAAAAAAAAAAAAkkAQAACQEAAAAJAQAAAAklAQAAAQkBAAAIAQAACQEAAAABJgEAABMAAAAAAAAAAwAAAP////8JBwAAAAknAQAABigBAAAGTWVkaWFuCgoAAAAAAAAAAAAAAAAKCgAJKQEAAAkqAQAACSsBAAAAAAAAAAEAAAABAAAAAAAAAAAJLAEAAAkBAAAACQEAAAAJLQEAAAEKAQAACAEAAAkBAAAAAS4BAAATAAAAAAAAAAQAAAD/////CQcAAAAJLwEAAAYwAQAADzc1dGggUGVyY2VudGlsZQoKAAAAAAAAAAAAAAAACgoACTEBAAAJMgEAAAkzAQAAAAAAAAACAAAAAgAAAAAAAAAACTQBAAAJAQAAAAkBAAAACTUBAAAFCwEAACJBcGxvcmlzLkNoYXJ0LkFubm90YXRpb25EYXRhU2VyaWVzDwAAAA9tTGFiZWxQb3NpdGlvbnMGbUNoYXJ0CW1FeGNlbFJvdwZtSW5kZXgGbUxhYmVsE21Bbm5vdGF0aW9uRWxlbWVudHMSbVNlcmllc0Rlc2NyaXB0aW9uEG1OdW1iZXJGb3JtYXRBYnMUbU51bWJlckZvcm1hdFBlcmNlbnQSbU1hZ25pdHVkZVByb3ZpZGVyCm1Sb3dDZW50ZXIYRGF0YU9iamVjdCttQ2hpbGRPYmplY3RzEkRhdGFPYmplY3QrbVBhcmVudBVEYXRhT2JqZWN0K21Db250YWluZXIZRGF0YU9iamVjdCttVmlzdWFsT2JqZWN0cwQEAAAEBAIEBAQAAwQEAxdTeXN0ZW0uRHJhd2luZy5Qb2ludEZbXQQAAAAhQXBsb3Jpcy5DaGFydC5Db2x1bW5PcmllbnRlZENoYXJ0AgAAAAgIFUFwbG9yaXMuQmFzZS5VSS5MYWJlbAMAAACjAUFwbG9yaXMuQmFzZS5PYmplY3RzLkRhdGFPYmplY3RDb2xsZWN0aW9uYDFbW0FwbG9yaXMuQ2hhcnQuQW5ub3RhdGlvbkVsZW1lbnQsIEFwbG9yaXMuQ2hhcnQsIFZlcnNpb249NC4wLjAuMTQ4NiwgQ3VsdHVyZT1uZXV0cmFsLCBQdWJsaWNLZXlUb2tlbj0xNmZjMTNhMjI2YzBlOTUxXV0DAAAAGkFwbG9yaXMuQ2hhcnQuTnVtYmVyRm9ybWF0AgAAABpBcGxvcmlzLkNoYXJ0Lk51bWJlckZvcm1hdAIAAAAnQXBsb3Jpcy5DaGFydC5TdGFuZGFyZE1hZ25pdHVkZVByb3ZpZGVyAgAAAAu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oJAQAAAAUAAAAAAAAACTYBAAAJNwEAAAY4AQAAAW4JOQEAAAoJOgEAAOQjtkMJOwEAAAkBAAAACQEAAAAJPAEAAAUMAQAAHEFwbG9yaXMuQ2hhcnQuQ2hhcnREYXRhR3JvdXARAAAABm1DaGFydBFtR3JvdXBEZXNjcmlwdGlvbgdtSGlkZGVuDG1Hcm91cEFuY2hvcgptQ3VzdG9tU3VtE21QbGFjZWhvbGRlcnNCZWZvcmUQbVRvdGFsTGFiZWxDb3VudAltQmFyQ291bnQTbUxhYmVsQmFyUmVmZXJlbmNlcwxtVG90YWxMYWJlbHMObUNhdGVnb3J5TGFiZWwQbUFubm90YXRpb25Hcm91cBJtTWFnbml0dWRlUHJvdmlkZXIYRGF0YU9iamVjdCttQ2hpbGRPYmplY3RzEkRhdGFPYmplY3QrbVBhcmVudBVEYXRhT2JqZWN0K21Db250YWluZXIZRGF0YU9iamVjdCttVmlzdWFsT2JqZWN0cwQCAAQCAAAABwQEBAQDBAQDIUFwbG9yaXMuQ2hhcnQuQ29sdW1uT3JpZW50ZWRDaGFydAIAAAABHkFwbG9yaXMuQ2hhcnQuQ2hhcnRHcm91cEFuY2hvcgIAAAAICAgIF0FwbG9yaXMuQmFzZS5VSS5MYWJlbFtdAwAAABVBcGxvcmlzLkJhc2UuVUkuTGFiZWwDAAAAHUFwbG9yaXMuQ2hhcnQuQW5ub3RhdGlvbkdyb3VwAgAAACBBcGxvcmlzLkNoYXJ0LklNYWduaXR1ZGVQcm92aWRlcgIAAAC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j0BAAAFVG90YWwABT4BAAAeQXBsb3Jpcy5DaGFydC5DaGFydEdyb3VwQW5jaG9yAQAAAAd2YWx1ZV9fAAgCAAAAAAAAAAoAAAAAAAAAAAMAAAAJPwEAAAlAAQAACUEBAAAKCQcAAAAJQgEAAAkBAAAACQEAAAAJQwEAAAENAQAADAEAAAkBAAAABkQBAAAaRnVsbC10aW1lIA0KU3RhZmYgQWR2aXNvcnMAAUUBAAA+AQAAAAAAAAoAAAAAAAAAAAMAAAAJRgEAAAlHAQAACUgBAAAKCQcAAAAJSQEAAAkBAAAACQEAAAAJSgEAAAEOAQAADAEAAAkBAAAABksBAAAaUGFydC10aW1lIA0KU3RhZmYgQWR2aXNvcnMAAUwBAAA+AQAAAAAAAAoAAAAAAAAAAAMAAAAJTQEAAAlOAQAACU8BAAAKCQcAAAAJUAEAAAkBAAAACQEAAAAJUQEAAAEPAQAADAEAAAkBAAAABlIBAAASRmFjdWx0eSANCkFkdmlzb3JzAAFTAQAAPgEAAAAAAAAKAAAAAAAAAAADAAAACVQBAAAJVQEAAAlWAQAACgkHAAAACVcBAAAJAQAAAAkBAAAACVgBAAAHEAEAAAABAAAABAAAAAQpQXBsb3Jpcy5DaGFydC5Db2x1bW5PcmllbnRlZExlZ2VuZEVsZW1lbnQCAAAACVkBAAAJWgEAAAlbAQAACgcRAQAAAAEAAAAEAAAABB9BcGxvcmlzLkJhc2UuT2JqZWN0cy5EYXRhT2JqZWN0AwAAAAlZAQAACVoBAAAJWwEAAAoHEgEAAAABAAAAAAAAAAQcQXBsb3Jpcy5CYXNlLlVJLlZpc3VhbE9iamVjdAMAAAABEwEAAHoAAAAKCgAAAAAAAAAADQAAAAABARQBAAB6AAAACgoBAAAAAAAAAP////8AAQEVAQAAegAAAAoKAQAAAP///wD/////AAEBFgEAAHoAAAAKCgEAAAAAAAAA/////wABDxcBAAABAAAACAAAAAAFGAE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VwBAAAKCV0BAAAJBwAAAAEAAAAAAAAAAAFeAQAAIQAAALronEK9jKJDAV8BAAAhAAAAuuiUQr2MokMACWABAAAJBwAAAAkBAAAACWEBAAABGQEAABgBAAAJYgEAAAoJYwEAAAkHAAAAAQAAAAAAAFlAAWQBAAAhAAAAuuicQjiBhUMBZQEAACEAAAC66JRCOIGFQwAJZgEAAAkHAAAACQEAAAAJZwEAAAEaAQAAGAEAAAloAQAACglpAQAACQcAAAABAAAAAAAAaUABagEAACEAAAC66JxCZetQQwFrAQAAIQAAALrolEJl61BDAAlsAQAACQcAAAAJAQAAAAltAQAAARsBAAAYAQAACW4BAAAKCW8BAAAJBwAAAAEAAAAAAMByQAFwAQAAIQAAALronEJb1BZDAXEBAAAhAAAAuuiUQlvUFkMACXIBAAAJBwAAAAkBAAAACXMBAAABHAEAABgBAAAJdAEAAAoJdQEAAAkHAAAAAQAAAAAAAHlAAXYBAAAhAAAAuuicQqF6uUIBdwEAACEAAAC66JRCoXq5QgAJeAEAAAkHAAAACQEAAAAJeQEAAAEdAQAAGAEAAAl6AQAACgl7AQAACQcAAAABAAAAAABAf0ABfAEAACEAAAC66JxCGJkKQgF9AQAAIQAAALrolEIYmQpCAAl+AQAACQcAAAAJAQAAAAl/AQAABR8BAACiAUFwbG9yaXMuQmFzZS5PYmplY3RzLkRhdGFPYmplY3RDb2xsZWN0aW9uYDFbW0FwbG9yaXMuQ2hhcnQuQ2hhcnREYXRhRWxlbWVudCwgQXBsb3Jpcy5DaGFydCwgVmVyc2lvbj00LjAuMC4xNDg2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Q2hhcnREYXRhRWxlbWVudCwgQXBsb3Jpcy5DaGFydCwgVmVyc2lvbj00LjAuMC4xNDg2LCBDdWx0dXJlPW5ldXRyYWwsIFB1YmxpY0tleVRva2VuPTE2ZmMxM2EyMjZjMGU5NTFdXQMAAACYAVN5c3RlbS5Db2xsZWN0aW9ucy5HZW5lcmljLkxpc3RgMVtbQXBsb3Jpcy5DaGFydC5DaGFydERhdGF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YABAAAJgQEAAAkIAQAACQEAAAAJggEAAAUhAQAAHEFwbG9yaXMuQ2hhcnQuQ29ubmVjdGVkTGFiZWwkAAAADm1Db25uZWN0b3JMaW5lEG1aT3JkZXJDb25uZWN0b3IObUNvbm5lY3Rvck1vZGUZbUFuZ2xlZENvbm5lY3RvckRpcmVjdGlvbhBtQ29ubmVjdG9yVGFyZ2V0GW1Db25uZWN0b3JUYXJnZXRBcmVhU2hhcGUabUNvbm5lY3RvckRpc3BsYXlUaHJlc2hvbGQTbUNvbm5lY3RBbmNob3JQb2ludB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RMYWJlbCttTGluZUFsaWdubWVudA9MYWJlbCttVGV4dFNpemUVTGFiZWwrbUxhYmVsUmVjdGFuZ2xlG0xhYmVsK21Jbm5lck1hcmdpbkxlZnRSaWdodAtMYWJlbCttVGV4dBBMYWJlbCttVmFyaWFibGVzE0xhYmVsK21WYXJpYWJsZUxpc3QUTGFiZWwr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EBAQEAAAEBAAAAAQABAAABAQEAAEDAwEAAAAABwIAAAMAHkFwbG9yaXMuQmFzZS5VSS5WaXN1YWxQb2x5bGluZQMAAAAIK0FwbG9yaXMuQ2hhcnQuQ29ubmVjdGVkTGFiZWwrZUNvbm5lY3Rvck1vZGUCAAAANkFwbG9yaXMuQ2hhcnQuQ29ubmVjdGVkTGFiZWwrZUFuZ2xlZENvbm5lY3RvckRpcmVjdGlvbgIAAAAZU3lzdGVtLkRyYXdpbmcuUmVjdGFuZ2xlRgQAAAAtQXBsb3Jpcy5DaGFydC5Db25uZWN0ZWRMYWJlbCtlVGFyZ2V0QXJlYVNoYXBlAgAAAAsB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IAAAAKWAIAAAWDAQAAK0FwbG9yaXMuQ2hhcnQuQ29ubmVjdGVkTGFiZWwrZUNvbm5lY3Rvck1vZGUBAAAAB3ZhbHVlX18ACAIAAAABAAAABYQBAAA2QXBsb3Jpcy5DaGFydC5Db25uZWN0ZWRMYWJlbCtlQW5nbGVkQ29ubmVjdG9yRGlyZWN0aW9uAQAAAAd2YWx1ZV9fAAgCAAAAAAAAAAGFAQAAFQAAAC1CA0RpsZ9DQNkHQgCqLUAFhgEAAC1BcGxvcmlzLkNoYXJ0LkNvbm5lY3RlZExhYmVsK2VUYXJnZXRBcmVhU2hhcGUBAAAAB3ZhbHVlX18ACAIAAAAAAAAAAAAQQQEBhwEAACEAAADouiFEE1+gQwGIAQAAogAAAAQAAAAAAAAAAAAAAAAJiQEAAAAAAAAJigEAAAAAAYsBAACrAAAAAAAAAAGMAQAAdAAAAAAAAAAAAAAAAY0BAAAVAAAAAAAAAAAAAAAAAAAAAAAAAAAAAAAJIAEAAAoJjgEAAAaPAQAAACADAAD/////AAEKCZABAAABAAoAByIBAAAAAQAAAAIAAAAEFVN5c3RlbS5EcmF3aW5nLlBvaW50RgQAAAABkQEAACEAAADouiFEE1+gQwGSAQAAIQAAALrokkJpMZ5DByMBAAAAAQAAAAIAAAAEF0FwbG9yaXMuQmFzZS5BbmNob3JNb2RlAwAAAAGTAQAAogAAAAQAAAABlAEAAKIAAAACAAAAASQBAAAlAAAACZUBAAABAAAAAQAAAAElAQAAJgAAAAmWAQAAAQAAAAEAAAABJwEAAB8BAAAKCZcBAAAJmAEAAAkJAQAACQEAAAAJmQEAAAEpAQAAIQEAAApYAgAAAZoBAACDAQAAAQAAAAGbAQAAhAEAAAAAAAABnAEAABUAAADBPw1EFVabQ0DZB0IA1TZBAZ0BAACGAQAAAAAAAAAAEEEBAZ4BAAAhAAAA6LohRGkxnkMBnwEAAKIAAAAEAAAAAAAAAAAAAAAACaABAAAAAAAACaEBAAAAAAGiAQAAqwAAAAAAAAABowEAAHQAAAAAAAAAAAAAAAGkAQAAFQAAAAAAAAAAAAAAAAAAAAAAAAAAAAAACSgBAAAKCaUBAAAJjwEAACADAAD/////AAEKCaYBAAABAAoAByoBAAAAAQAAAAIAAAAEFVN5c3RlbS5EcmF3aW5nLlBvaW50RgQAAAABpwEAACEAAADouiFEaTGeQwGoAQAAIQAAALrokkL6BpRDBysBAAAAAQAAAAIAAAAEF0FwbG9yaXMuQmFzZS5BbmNob3JNb2RlAwAAAAGpAQAAogAAAAQAAAABqgEAAKIAAAACAAAAASwBAAAlAAAACasBAAABAAAAAQAAAAEtAQAAJgAAAAmsAQAAAQAAAAEAAAABLwEAAB8BAAAKCa0BAAAJrgEAAAkKAQAACQEAAAAJrwEAAAExAQAAIQEAAApYAgAAAbABAACDAQAAAQAAAAGxAQAAhAEAAAAAAAABsgEAABUAAABUPRdEpiuRQ0DZB0JwEf5BAbMBAACGAQAAAAAAAAAAEEEBAbQBAAAhAAAA6LohRDIcmUMBtQEAAKIAAAAEAAAAAAAAAAAAAAAACbYBAAAAAAAACbcBAAAAAAG4AQAAqwAAAAAAAAABuQEAAHQAAAAAAAAAAAAAAAG6AQAAFQAAAAAAAAAAAAAAAAAAAAAAAAAAAAAACTABAAAKCbsBAAAJjwEAACADAAD/////AAEKCbwBAAABAAoABzIBAAAAAQAAAAIAAAAEFVN5c3RlbS5EcmF3aW5nLlBvaW50RgQAAAABvQEAACEAAADouiFEMhyZQwG+AQAAIQAAALrokkKtfHxDBzMBAAAAAQAAAAIAAAAEF0FwbG9yaXMuQmFzZS5BbmNob3JNb2RlAwAAAAG/AQAAogAAAAQAAAABwAEAAKIAAAACAAAAATQBAAAlAAAACcEBAAABAAAAAQAAAAE1AQAAJgAAAAnCAQAAAQAAAAEAAAABNgEAADQAAAABwwEAACEAAAB00RlC5CO2QwHEAQAAogAAAAQAAAAAAAAAAAAAAAAJxQEAAAAAAAAJxgEAAAAAAccBAACrAAAAAAAAAAHIAQAAdAAAAAAAwEAAAEBBAckBAAAVAAAARhcVQqOLs0OW5gZBo4suQRKDvj8JOAEAAAoJygEAAAmPAQAAIAMAAP////8BAQoJywEAAAEACgAFNwEAAKMBQXBsb3Jpcy5CYXNlLk9iamVjdHMuRGF0YU9iamVjdENvbGxlY3Rpb25gMVtbQXBsb3Jpcy5DaGFydC5Bbm5vdGF0aW9uRWxlbWVudCwgQXBsb3Jpcy5DaGFydCwgVmVyc2lvbj00LjAuMC4xNDg2LCBDdWx0dXJlPW5ldXRyYWwsIFB1YmxpY0tleVRva2VuPTE2ZmMxM2EyMjZjMGU5NTFdXQYAAAALbUNvbGxlY3Rpb24FbUxpc3QYRGF0YU9iamVjdCttQ2hpbGRPYmplY3RzEkRhdGFPYmplY3QrbVBhcmVudBVEYXRhT2JqZWN0K21Db250YWluZXIZRGF0YU9iamVjdCttVmlzdWFsT2JqZWN0cwQDAwQEA6EBQXBsb3Jpcy5CYXNlLk9iamVjdHMuU29ydGFibGVDb2xsZWN0aW9uYDFbW0FwbG9yaXMuQ2hhcnQuQW5ub3RhdGlvbkVsZW1lbnQsIEFwbG9yaXMuQ2hhcnQsIFZlcnNpb249NC4wLjAuMTQ4NiwgQ3VsdHVyZT1uZXV0cmFsLCBQdWJsaWNLZXlUb2tlbj0xNmZjMTNhMjI2YzBlOTUxXV0DAAAAmQFTeXN0ZW0uQ29sbGVjdGlvbnMuR2VuZXJpYy5MaXN0YDFbW0FwbG9yaXMuQ2hhcnQuQW5ub3RhdGlvbk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zAEAAAnNAQAACQsBAAAJAQAAAAnOAQAABTkB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JBcGxvcmlzLkNoYXJ0LkFubm90YXRpb25EYXRhU2VyaWVzAgAAACFBcGxvcmlzLkNoYXJ0LkNvbHVtbk9yaWVudGVkQ2hhcnQCAAAACAEICAEICAgCAAAACQsBAAAJAQAAAAAAAAAABs8BAAABLgMAAAAG0AEAAAEsBtEBAAABLQbSAQAAASsBAAAAAAoKBtMBAAAITS9kL3l5eXkAAAAACgAAAAAAAAAABToBAAAnQXBsb3Jpcy5DaGFydC5TdGFuZGFyZE1hZ25pdHVkZVByb3ZpZGVyBAAAABJtTWFnbml0dWRlQWJzb2x1dGURbU1hZ25pdHVkZVBlcmNlbnQSbUFic29sdXRlVmFyaWFibGVzEW1QZXJjZW50VmFyaWFibGVzAAAHBwgICAgCAAAAAAAAAAAAAAAJ1AEAAAnVAQAAATsBAAAlAAAACdYBAAACAAAAAgAAAAE8AQAAJgAAAAnXAQAAAQAAAAEAAAAPPwEAAAAAAAAIB0ABAAAAAQAAAAAAAAAEFUFwbG9yaXMuQmFzZS5VSS5MYWJlbAMAAAABQQEAADQAAAAB2AEAACEAAADoYhZDvQylQwHZAQAAogAAAAMAAAAAAAAAAAAAAAAJ2gEAAAAAAAAJ2wEAAAAAAdwBAACrAAAAAAAAAAHdAQAAdAAAAAAAyEEAAEBBAd4BAAAVAAAA0UUJQwAApUPXoc1Bo4suQRKDvj8JPQEAAAoJ3wEAAAmPAQAAIAMAAP////8BAQoJ4AEAAAEACgABQgEAACUAAAAJ4QEAAAAAAAAAAAAAAUMBAAAmAAAACeIBAAABAAAAAQAAAA9GAQAAAAAAAAgHRwEAAAABAAAAAAAAAAQVQXBsb3Jpcy5CYXNlLlVJLkxhYmVsAwAAAAFIAQAANAAAAAHjAQAAIQAAAP8fk0O9DKVDAeQBAACiAAAAAwAAAAAAAAAAAAAAAAnlAQAAAAAAAAnmAQAAAAAB5wEAAKsAAAAAAAAAAegBAAB0AAAAAACOQgAAyEEB6QEAABUAAABddIJDAAClQ14Lh0J00bVBEoO+PwlEAQAACgnqAQAACY8BAAAgAwAA/////wEBCgnrAQAAAQAKAAFJAQAAJQAAAAnhAQAAAAAAAAAAAAABSgEAACYAAAAJ7AEAAAEAAAABAAAAD00BAAAAAAAACAdOAQAAAAEAAAAAAAAABBVBcGxvcmlzLkJhc2UuVUkuTGFiZWwDAAAAAU8BAAA0AAAAAe0BAAAhAAAAig7bQ70MpUMB7gEAAKIAAAADAAAAAAAAAAAAAAAACe8BAAAAAAAACfABAAAAAAHxAQAAqwAAAAAAAAAB8gEAAHQAAAAAAI5CAADIQQHzAQAAFQAAANFFykMAAKVDXguHQnTRtUESg74/CUsBAAAKCfQBAAAJjwEAACADAAD/////AQEKCfUBAAABAAoAAVABAAAlAAAACeEBAAAAAAAAAAAAAAFRAQAAJgAAAAn2AQAAAQAAAAEAAAAPVAEAAAAAAAAIB1UBAAAAAQAAAAAAAAAEFUFwbG9yaXMuQmFzZS5VSS5MYWJlbAMAAAABVgEAADQAAAAB9wEAACEAAACKfhFEvQylQwH4AQAAogAAAAMAAAAAAAAAAAAAAAAJ+QEAAAAAAAAJ+gEAAAAAAfsBAACrAAAAAAAAAAH8AQAAdAAAAAAAMEIAAMhBAf0BAAAVAAAALjoMRAAApUMx6CtCdNG1QRKDvj8JUgEAAAoJ/gEAAAmPAQAAIAMAAP////8BAQoJ/wEAAAEACgABVwEAACUAAAAJ4QEAAAAAAAAAAAAAAVgBAAAmAAAACQACAAABAAAAAQAAAAVZAQAAKUFwbG9yaXMuQ2hhcnQuQ29sdW1uT3JpZW50ZWRMZWdlbmRFbGVtZW50DQAAAAdtTGVnZW5kC21EYXRhU2VyaWVzFExlZ2VuZEVsZW1lbnQrbUxhYmVsGExlZ2VuZEVsZW1lbnQrbVJlY3RhbmdsZRNMZWdlbmRFbGVtZW50K21MaW5lFUxlZ2VuZEVsZW1lbnQrbUNpcmNsZRVMZWdlbmRFbGVtZW50K21NYXJrZXIUTGVnZW5kRWxlbWVudCttSW5kZXgdTGVnZW5kRWxlbWVudCttTGFiZWxQb3NpdGlvbnMYRGF0YU9iamVjdCttQ2hpbGRPYmplY3RzEkRhdGFPYmplY3QrbVBhcmVudBVEYXRhT2JqZWN0K21Db250YWluZXIZRGF0YU9iamVjdCttVmlzdWFsT2JqZWN0cwQEBAQEBAQABAMEBAMiQXBsb3Jpcy5DaGFydC5Db2x1bW5PcmllbnRlZExlZ2VuZAIAAAAdQXBsb3Jpcy5DaGFydC5DaGFydERhdGFTZXJpZXMCAAAAFUFwbG9yaXMuQmFzZS5VSS5MYWJlbAMAAAAaQXBsb3Jpcy5CYXNlLlVJLlZpc3VhbFJlY3QDAAAAGkFwbG9yaXMuQmFzZS5VSS5WaXN1YWxMaW5lAwAAAB1BcGxvcmlzLkJhc2UuVUkuVmlzdWFsRWxsaXBzZQMAAAAaQXBsb3Jpcy5DaGFydC5WaXN1YWxNYXJrZXICAAAACBdTeXN0ZW0uRHJhd2luZy5Qb2ludEZbXQQAAAC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UAAAACQgBAAAJAQIAAAkCAgAACgoKAAAAAAoJAwIAAAkUAAAACQEAAAAJBAIAAAFaAQAAWQEAAAkUAAAACQkBAAAJBQIAAAkGAgAACgoKAQAAAAoJBwIAAAkUAAAACQEAAAAJCAIAAAFbAQAAWQEAAAkUAAAACQoBAAAJCQIAAAkKAgAACgoKAgAAAAoJCwIAAAkUAAAACQEAAAAJDAIAAAFcAQAAMAAAAAENAgAAIQAAALronEK9jKJDAQ4CAAAhAAAAuuiUQr2MokMJDwIAAMwBAAD/////AQEKCRACAAABAAoAAV0BAAA0AAAAARECAAAhAAAAuuiRQr2MokMBEgIAAKIAAAACAAAAAAAAAAAAAAAACRMCAAAAAAAACRQCAAAAAAEVAgAAqwAAAAAAAAABFgIAAHQAAAAAAMBAAABAQQEXAgAAFQAAAC66hEIAAKBDluYGQaOLLkESg74/BhgCAAABMAoJGQIAAAmPAQAA0AIAAP////8BAQoJGgIAAAEACgABYAEAACUAAAAJ4QEAAAAAAAAAAAAAAWEBAAAmAAAACRsCAAACAAAAAgAAAAFiAQAAMAAAAAEcAgAAIQAAALronEI4gYVDAR0CAAAhAAAAuuiUQjiBhUMJHgIAAMwBAAD/////AQEKCR8CAAABAAoAAWMBAAA0AAAAASACAAAhAAAAuuiRQjiBhUMBIQIAAKIAAAACAAAAAAAAAAAAAAAACSICAAAAAAAACSMCAAAAAAEkAgAAqwAAAAAAAAABJQIAAHQAAAAAAJhBAABAQQEmAgAAFQAAAIsuWkK66IJD7v6hQaOLLkESg74/BicCAAADMTAwCgkoAgAACY8BAADQAgAA/////wEBCgkpAgAAAQAKAAFmAQAAJQAAAAnhAQAAAAAAAAAAAAABZwEAACYAAAAJKgIAAAIAAAACAAAAAWgBAAAwAAAAASsCAAAhAAAAuuicQmXrUEMBLAIAACEAAAC66JRCZetQQwktAgAAzAEAAP////8BAQoJLgIAAAEACgABaQEAADQAAAABLwIAACEAAAC66JFCZetQQwEwAgAAogAAAAIAAAAAAAAAAAAAAAAJMQIAAAAAAAAJMgIAAAAAATMCAACrAAAAAAAAAAE0AgAAdAAAAAAAmEEAAEBBATUCAAAVAAAAiy5aQuiiS0Pu/qFBo4suQRKDvj8GNgIAAAMyMDAKCTcCAAAJjwEAANACAAD/////AQEKCTgCAAABAAoAAWwBAAAlAAAACeEBAAAAAAAAAAAAAAFtAQAAJgAAAAk5AgAAAgAAAAIAAAABbgEAADAAAAABOgIAACEAAAC66JxCW9QWQwE7AgAAIQAAALrolEJb1BZDCTwCAADMAQAA/////wEBCgk9AgAAAQAKAAFvAQAANAAAAAE+AgAAIQAAALrokUJb1BZDAT8CAACiAAAAAgAAAAAAAAAAAAAAAAlAAgAAAAAAAAlBAgAAAAABQgIAAKsAAAAAAAAAAUMCAAB0AAAAAACYQQAAQEEBRAIAABUAAACLLlpCXXQRQ+7+oUGjiy5BEoO+PwZFAgAAAzMwMAoJRgIAAAmPAQAA0AIAAP////8BAQoJRwIAAAEACgABcgEAACUAAAAJ4QEAAAAAAAAAAAAAAXMBAAAmAAAACUgCAAACAAAAAgAAAAF0AQAAMAAAAAFJAgAAIQAAALronEKherlCAUoCAAAhAAAAuuiUQqF6uUIJSwIAAMwBAAD/////AQEKCUwCAAABAAoAAXUBAAA0AAAAAU0CAAAhAAAAuuiRQqF6uUIBTgIAAKIAAAACAAAAAAAAAAAAAAAACU8CAAAAAAAACVACAAAAAAFRAgAAqwAAAAAAAAABUgIAAHQAAAAAAJhBAABAQQFTAgAAFQAAAIsuWkKji65C7v6hQaOLLkESg74/BlQCAAADNDAwCglVAgAACY8BAADQAgAA/////wEBCglWAgAAAQAKAAF4AQAAJQAAAAnhAQAAAAAAAAAAAAABeQEAACYAAAAJVwIAAAIAAAACAAAAAXoBAAAwAAAAAVgCAAAhAAAAuuicQhiZCkIBWQIAACEAAAC66JRCGJkKQglaAgAAzAEAAP////8BAQoJWwIAAAEACgABewEAADQAAAABXAIAACEAAAC66JFCGJkKQgFdAgAAogAAAAIAAAAAAAAAAAAAAAAJXgIAAAAAAAAJXwIAAAAAAWACAACrAAAAAAAAAAFhAgAAdAAAAAAAmEEAAEBBAWICAAAVAAAAiy5aQi666EHu/qFBo4suQRKDvj8GYwIAAAM1MDAKCWQCAAAJjwEAANACAAD/////AQEKCWUCAAABAAoAAX4BAAAlAAAACeEBAAAAAAAAAAAAAAF/AQAAJgAAAAlmAgAAAgAAAAIAAAAEgAEAAJgBU3lzdGVtLkNvbGxlY3Rpb25zLkdlbmVyaWMuTGlzdGAxW1tBcGxvcmlzLkNoYXJ0LkNoYXJ0RGF0YUVsZW1lbnQsIEFwbG9yaXMuQ2hhcnQsIFZlcnNpb249NC4wLjAuMTQ4NiwgQ3VsdHVyZT1uZXV0cmFsLCBQdWJsaWNLZXlUb2tlbj0xNmZjMTNhMjI2YzBlOTUxXV0DAAAABl9pdGVtcwVfc2l6ZQhfdmVyc2lvbgQAACBBcGxvcmlzLkNoYXJ0LkNoYXJ0RGF0YUVsZW1lbnRbXQIAAAAICAlnAgAABAAAAAwAAAABgQEAACUAAAAJaAIAAAQAAAAMAAAAAYIBAAAmAAAACWkCAAAAAAAAAAAAAAWJ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CAEAAAoAAAAAAEBBCXgAAAAJeQAAAAlqAgAAAQAJawIAAAGKAQAAegAAAAoKAQAAAAAAAAD/////AAEBjgEAAK8AAAAJbAIAAAEAAAABAAAAAZABAAB3AAAACW0CAAAKB5UBAAAAAQAAAAQAAAAEH0FwbG9yaXMuQmFzZS5PYmplY3RzLkRhdGFPYmplY3QDAAAACR8BAAANAweWAQAAAAEAAAAEAAAABBxBcGxvcmlzLkJhc2UuVUkuVmlzdWFsT2JqZWN0AwAAAAkhAQAADQMBlwEAAIABAAAJbgIAAAQAAAAMAAAAAZgBAAAlAAAACW8CAAAEAAAADAAAAAGZAQAAJgAAAAlpAgAAAAAAAAAAAAAFoA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kBAAAKAAAAAABAQQl4AAAACXkAAAAJcAIAAAEACXECAAABoQEAAHoAAAAKCgEAAAAAAAAA/////wABAaUBAACvAAAACXICAAABAAAAAQAAAAGmAQAAdwAAAAlzAgAACgerAQAAAAEAAAAEAAAABB9BcGxvcmlzLkJhc2UuT2JqZWN0cy5EYXRhT2JqZWN0AwAAAAknAQAADQMHrAEAAAABAAAABAAAAAQcQXBsb3Jpcy5CYXNlLlVJLlZpc3VhbE9iamVjdAMAAAAJKQEAAA0DAa0BAACAAQAACXQCAAAEAAAADAAAAAGuAQAAJQAAAAl1AgAABAAAAAwAAAABrwEAACYAAAAJaQIAAAAAAAAAAAAABbY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KAQAACgAAAAAAQEEJeAAAAAl5AAAACXYCAAABAAl3AgAAAbcBAAB6AAAACgoBAAAAAAAAAP////8AAQG7AQAArwAAAAl4AgAAAQAAAAEAAAABvAEAAHcAAAAJeQIAAAoHwQEAAAABAAAABAAAAAQfQXBsb3Jpcy5CYXNlLk9iamVjdHMuRGF0YU9iamVjdAMAAAAJLwEAAA0DB8IBAAAAAQAAAAQAAAAEHEFwbG9yaXMuQmFzZS5VSS5WaXN1YWxPYmplY3QDAAAACTEBAAANAwHFAQAAIwAAAAoKAAAAAAAoQQl4AAAACXkAAAAJegIAAAAACXsCAAABxgEAAHoAAAAKCgEAAAAAAAAA/////wABAcoBAACvAAAACXwCAAABAAAAAQAAAAHLAQAAdwAAAAl9AgAACgTMAQAAmQFTeXN0ZW0uQ29sbGVjdGlvbnMuR2VuZXJpYy5MaXN0YDFbW0FwbG9yaXMuQ2hhcnQuQW5ub3RhdGlvbkVsZW1lbnQsIEFwbG9yaXMuQ2hhcnQsIFZlcnNpb249NC4wLjAuMTQ4NiwgQ3VsdHVyZT1uZXV0cmFsLCBQdWJsaWNLZXlUb2tlbj0xNmZjMTNhMjI2YzBlOTUxXV0DAAAABl9pdGVtcwVfc2l6ZQhfdmVyc2lvbgQAACFBcGxvcmlzLkNoYXJ0LkFubm90YXRpb25FbGVtZW50W10CAAAACAgJfgIAAAQAAAAEAAAAAc0BAAAlAAAACX8CAAAEAAAABAAAAAHOAQAAJgAAAAlpAgAAAAAAAAAAAAAP1AEAAAAAAAAID9UBAAAAAAAACAfWAQAAAAEAAAAEAAAABB9BcGxvcmlzLkJhc2UuT2JqZWN0cy5EYXRhT2JqZWN0AwAAAAk5AQAACTcBAAAKCgfXAQAAAAEAAAAEAAAABBxBcGxvcmlzLkJhc2UuVUkuVmlzdWFsT2JqZWN0AwAAAAk2AQAADQMB2gEAACMAAAAKCgAAAAAAKEEJeAAAAAl5AAAACYACAAAAAAmBAgAAAdsBAAB6AAAACgoAAAAA////AA4AAAAAAQHfAQAArwAAAAmCAgAAAQAAAAEAAAAB4AEAAHcAAAAJgwIAAAoH4QEAAAABAAAAAAAAAAQfQXBsb3Jpcy5CYXNlLk9iamVjdHMuRGF0YU9iamVjdAMAAAAH4gEAAAABAAAABAAAAAQcQXBsb3Jpcy5CYXNlLlVJLlZpc3VhbE9iamVjdAMAAAAJQQEAAA0DAeUBAAAjAAAACgoAAAAAAChBCXgAAAAJeQAAAAmEAgAAAAAJhQIAAAHmAQAAegAAAAoKAAAAAP///wAOAAAAAAEB6gEAAK8AAAAJhgIAAAEAAAABAAAAAesBAAB3AAAACYcCAAAKB+wBAAAAAQAAAAQAAAAEHEFwbG9yaXMuQmFzZS5VSS5WaXN1YWxPYmplY3QDAAAACUgBAAANAwHvAQAAIwAAAAoKAAAAAAAoQQl4AAAACXkAAAAJiAIAAAAACYkCAAAB8AEAAHoAAAAKCgAAAAD///8ADgAAAAABAfQBAACvAAAACYoCAAABAAAAAQAAAAH1AQAAdwAAAAmLAgAACgf2AQAAAAEAAAAEAAAABBxBcGxvcmlzLkJhc2UuVUkuVmlzdWFsT2JqZWN0AwAAAAlPAQAADQMB+QEAACMAAAAKCgAAAAAAKEEJeAAAAAl5AAAACYwCAAAAAAmNAgAAAfoBAAB6AAAACgoAAAAA////AA4AAAAAAQH+AQAArwAAAAmOAgAAAQAAAAEAAAAB/wEAAHcAAAAJjwIAAAoHAAIAAAABAAAABAAAAAQcQXBsb3Jpcy5CYXNlLlVJLlZpc3VhbE9iamVjdAMAAAAJVgEAAA0DAQECAAA0AAAAAZACAAAhAAAABZIPRAAAeEEBkQIAAKIAAAAFAAAAAAAAAAAAAAAACZICAAAAAAAACZMCAAAAAAGUAgAAqwAAAAAAAAABlQIAAHQAAAAAAJpCAABAQQGWAgAAFQAAAIsuD0TRRXdBGPSRQqOLLkESg74/CSABAAAKCZcCAAAJjwEAAIQDAAD/////AQEKCZgCAAABAAoAAQICAAAcAAAAAZkCAAAhAAAALvILRAAAeEEBmgIAACEAAAAF0g5E4vrXQQmbAgAACZwCAAAAAAAACgGdAgAAdAAAAAAAAAAAAAAAAZ4CAAB0AAAAAAAAAAAAAAAAAAAAAZ8CAAAVAAAAAAAAAAAAAAAAAAAAAAAAAJgDAAD/////AQEKCaACAAABAAoAAQMCAAAlAAAACaECAAAAAAAAAAAAAAEEAgAAJgAAAAmiAgAAAgAAAAIAAAABBQIAADQAAAABowIAACEAAAAFkg9EXHQJQgGkAgAAogAAAAUAAAAAAAAAAAAAAAAJpQIAAAAAAAAJpgIAAAAAAacCAACrAAAAAAAAAAGoAgAAdAAAAAAAFEIAAEBBAakCAAAVAAAAiy4PRIsuCkLUcxJCo4suQRKDvj8JKAEAAAoJqgIAAAmPAQAAhAMAAP////8BAQoJqwIAAAEACgABBgIAABwAAAABrAIAACEAAAAu8gtEXHQJQgGtAgAAIQAAAAXSDkTNcTdCCa4CAAAJrwIAAAAAAAAKAbACAAB0AAAAAAAAAAAAAAABsQIAAHQAAAAAAAAAAAAAAAAAAAABsgIAABUAAAAAAAAAAAAAAAAAAAAAAAAAmAMAAP////8BAQoJswIAAAEACgABBwIAACUAAAAJoQIAAAAAAAAAAAAAAQgCAAAmAAAACbQCAAACAAAAAgAAAAEJAgAANAAAAAG1AgAAIQAAAAWSD0S46FRCAbYCAACiAAAABQAAAAAAAAAAAAAAAAm3AgAAAAAAAAm4AgAAAAABuQIAAKsAAAAAAAAAAboCAAB0AAAAAACaQgAAQEEBuwIAABUAAACLLg9Eo4tWQhj0kUKjiy5BEoO+PwkwAQAACgm8AgAACY8BAACEAwAA/////wEBCgm9AgAAAQAKAAEKAgAAHAAAAAG+AgAAIQAAAC7yC0S46FRCAb8CAAAhAAAABdIORBRzgUIJwAIAAAnBAgAAAAAAAAoBwgIAAHQAAAAAAAAAAAAAAAHDAgAAdAAAAAAAAAAAAAAAAAAAAAHEAgAAFQAAAAAAAAAAAAAAAAAAAAAAAACYAwAA/////wEBCgnFAgAAAQAKAAELAgAAJQAAAAmhAgAAAAAAAAAAAAABDAIAACYAAAAJxgIAAAIAAAACAAAAAQ8CAAByAAAACgoAAABAPwnHAgAACcgCAAABAAAA/v///wAAAAABAAAAAAAAAAAAAAABAAAAAAAAAAAAAAEQAgAAdwAAAAnJAgAACgETAgAAIwAAAAoKAAAAAAAoQQl4AAAACXkAAAAJygIAAAAACcsCAAABFAIAAHoAAAAKCgAAAAD///8ADgAAAAABARkCAACvAAAACcwCAAABAAAAAQAAAAEaAgAAdwAAAAnNAgAACgcbAgAAAAEAAAAEAAAABBxBcGxvcmlzLkJhc2UuVUkuVmlzdWFsT2JqZWN0AwAAAAlcAQAACV0BAAAKCgEeAgAAcgAAAAoKAAAAQD8JzgIAAAnPAgAAAQAAAP7///8AAAAAAQAAAAAAAAAAAAAAAQAAAAAAAAAAAAABHwIAAHcAAAAJ0AIAAAoBIgIAACMAAAAKCgAAAAAAKEEJeAAAAAl5AAAACdECAAAAAAnSAgAAASMCAAB6AAAACgoAAAAA////AA4AAAAAAQEoAgAArwAAAAnTAgAAAQAAAAMAAAABKQIAAHcAAAAJ1AIAAAoHKgIAAAABAAAABAAAAAQcQXBsb3Jpcy5CYXNlLlVJLlZpc3VhbE9iamVjdAMAAAAJYgEAAAljAQAACgoBLQIAAHIAAAAKCgAAAEA/CdUCAAAJ1gIAAAEAAAD+////AAAAAAEAAAAAAAAAAAAAAAEAAAAAAAAAAAAAAS4CAAB3AAAACdcCAAAKATECAAAjAAAACgoAAAAAAChBCXgAAAAJeQAAAAnYAgAAAAAJ2QIAAAEyAgAAegAAAAoKAAAAAP///wAOAAAAAAEBNwIAAK8AAAAJ2gIAAAEAAAADAAAAATgCAAB3AAAACdsCAAAKBzkCAAAAAQAAAAQAAAAEHEFwbG9yaXMuQmFzZS5VSS5WaXN1YWxPYmplY3QDAAAACWgBAAAJaQEAAAoKATwCAAByAAAACgoAAABAPwncAgAACd0CAAABAAAA/v///wAAAAABAAAAAAAAAAAAAAABAAAAAAAAAAAAAAE9AgAAdwAAAAneAgAACgFAAgAAIwAAAAoKAAAAAAAoQQl4AAAACXkAAAAJ3wIAAAAACeACAAABQQIAAHoAAAAKCgAAAAD///8ADgAAAAABAUYCAACvAAAACeECAAABAAAAAwAAAAFHAgAAdwAAAAniAgAACgdIAgAAAAEAAAAEAAAABBxBcGxvcmlzLkJhc2UuVUkuVmlzdWFsT2JqZWN0AwAAAAluAQAACW8BAAAKCgFLAgAAcgAAAAoKAAAAQD8J4wIAAAnkAgAAAQAAAP7///8AAAAAAQAAAAAAAAAAAAAAAQAAAAAAAAAAAAABTAIAAHcAAAAJ5QIAAAoBTwIAACMAAAAKCgAAAAAAKEEJeAAAAAl5AAAACeYCAAAAAAnnAgAAAVACAAB6AAAACgoAAAAA////AA4AAAAAAQFVAgAArwAAAAnoAgAAAQAAAAMAAAABVgIAAHcAAAAJ6QIAAAoHVwIAAAABAAAABAAAAAQcQXBsb3Jpcy5CYXNlLlVJLlZpc3VhbE9iamVjdAMAAAAJdAEAAAl1AQAACgoBWgIAAHIAAAAKCgAAAEA/CeoCAAAJ6wIAAAEAAAD+////AAAAAAEAAAAAAAAAAAAAAAEAAAAAAAAAAAAAAVsCAAB3AAAACewCAAAKAV4CAAAjAAAACgoAAAAAAChBCXgAAAAJeQAAAAntAgAAAAAJ7gIAAAFfAgAAegAAAAoKAAAAAP///wAOAAAAAAEBZAIAAK8AAAAJ7wIAAAEAAAADAAAAAWUCAAB3AAAACfACAAAKB2YCAAAAAQAAAAQAAAAEHEFwbG9yaXMuQmFzZS5VSS5WaXN1YWxPYmplY3QDAAAACXoBAAAJewEAAAoKB2cCAAAAAQAAAAQAAAAEHkFwbG9yaXMuQ2hhcnQuQ2hhcnREYXRhRWxlbWVudAIAAAAJ8QIAAAnyAgAACfMCAAAJ9AIAAAdoAgAAAAEAAAAEAAAABB9BcGxvcmlzLkJhc2UuT2JqZWN0cy5EYXRhT2JqZWN0AwAAAAnxAgAACfICAAAJ8wIAAAn0AgAAB2kCAAAAAQAAAAAAAAAEHEFwbG9yaXMuQmFzZS5VSS5WaXN1YWxPYmplY3QDAAAAAWoCAAB6AAAACgoAAAAAAAAAAA0AAAAAAQFrAgAAegAAAAoKAQAAAAAAAAD/////AAEHbAIAAAABAAAABAAAAAQdQXBsb3Jpcy5CYXNlLk9iamVjdHMuVmFyaWFibGUDAAAABfUCAAAdQXBsb3Jpcy5CYXNlLk9iamVjdHMuVmFyaWFibGUCAAAABk51bWJlcghQb3NpdGlvbgAACAgDAAAAAQAAAAAAAAAB9gIAAPUCAAAAAAAAAAAAAAH3AgAA9QIAAAAAAAAAAAAAAfgCAAD1AgAAAAAAAAAAAAAPbQIAAAEAAAAIAAAAAAduAgAAAAEAAAAEAAAABB5BcGxvcmlzLkNoYXJ0LkNoYXJ0RGF0YUVsZW1lbnQCAAAACfkCAAAJ+gIAAAn7AgAACfwCAAAHbwIAAAABAAAABAAAAAQfQXBsb3Jpcy5CYXNlLk9iamVjdHMuRGF0YU9iamVjdAMAAAAJ+QIAAAn6AgAACfsCAAAJ/AIAAAFwAgAAegAAAAoKAAAAAAAAAAANAAAAAAEBcQIAAHoAAAAKCgEAAAAAAAAA/////wABB3ICAAAAAQAAAAQAAAAEHUFwbG9yaXMuQmFzZS5PYmplY3RzLlZhcmlhYmxlAwAAAAH9AgAA9QIAAAEAAAAAAAAAAf4CAAD1AgAAAAAAAAAAAAAB/wIAAPUCAAAAAAAAAAAAAAEAAwAA9QIAAAAAAAAAAAAAD3MCAAABAAAACAAAAAAHdAIAAAABAAAABAAAAAQeQXBsb3Jpcy5DaGFydC5DaGFydERhdGFFbGVtZW50AgAAAAkBAwAACQIDAAAJAwMAAAkEAwAAB3UCAAAAAQAAAAQAAAAEH0FwbG9yaXMuQmFzZS5PYmplY3RzLkRhdGFPYmplY3QDAAAACQEDAAAJAgMAAAkDAwAACQQDAAABdgIAAHoAAAAKCgAAAAAAAAAADQAAAAABAXcCAAB6AAAACgoBAAAAAAAAAP////8AAQd4AgAAAAEAAAAEAAAABB1BcGxvcmlzLkJhc2UuT2JqZWN0cy5WYXJpYWJsZQMAAAABBQMAAPUCAAABAAAAAAAAAAEGAwAA9QIAAAAAAAAAAAAAAQcDAAD1AgAAAAAAAAAAAAABCAMAAPUCAAAAAAAAAAAAAA95AgAAAQAAAAgAAAAAAXoCAAB6AAAACgoAAAAAAAAAAA0AAAAAAAF7AgAAegAAAAoKAQAAAAAAAAD/////AAEHfAIAAAABAAAABAAAAAQdQXBsb3Jpcy5CYXNlLk9iamVjdHMuVmFyaWFibGUDAAAAAQkDAAD1AgAAAQAAAAAAAAABCgMAAPUCAAAAAAAAAAAAAAELAwAA9QIAAAAAAAAAAAAAAQwDAAD1AgAAAAAAAAAAAAAPfQIAAAEAAAAINwAAAAd+AgAAAAEAAAAEAAAABB9BcGxvcmlzLkNoYXJ0LkFubm90YXRpb25FbGVtZW50AgAAAAkNAwAACQ4DAAAJDwMAAAkQAwAAB38CAAAAAQAAAAQAAAAEH0FwbG9yaXMuQmFzZS5PYmplY3RzLkRhdGFPYmplY3QDAAAACQ0DAAAJDgMAAAkPAwAACRADAAABgAIAAHoAAAAKCgAAAAAAAAAADQAAAAAAAYECAAB6AAAACgoAAAAAAAAAAA0AAAAAAQeCAgAAAAEAAAAEAAAABB1BcGxvcmlzLkJhc2UuT2JqZWN0cy5WYXJpYWJsZQMAAAABEQMAAPUCAAABAAAAAAAAAAESAwAA9QIAAAAAAAAAAAAAARMDAAD1AgAAAAAAAAAAAAABFAMAAPUCAAAAAAAAAAAAAA+DAgAAAQAAAAg2AAAAAYQCAAB6AAAACgoAAAAAAAAAAA0AAAAAAAGFAgAAegAAAAoKAAAAAAAAAAANAAAAAAEHhgIAAAABAAAABAAAAAQdQXBsb3Jpcy5CYXNlLk9iamVjdHMuVmFyaWFibGUDAAAAARUDAAD1AgAAAQAAAAAAAAABFgMAAPUCAAAAAAAAAAAAAAEXAwAA9QIAAAAAAAAAAAAAARgDAAD1AgAAAAAAAAAAAAAPhwIAAAEAAAAIOAAAAAGIAgAAegAAAAoKAAAAAAAAAAANAAAAAAABiQIAAHoAAAAKCgAAAAAAAAAADQAAAAABB4oCAAAAAQAAAAQAAAAEHUFwbG9yaXMuQmFzZS5PYmplY3RzLlZhcmlhYmxlAwAAAAEZAwAA9QIAAAEAAAAAAAAAARoDAAD1AgAAAAAAAAAAAAABGwMAAPUCAAAAAAAAAAAAAAEcAwAA9QIAAAAAAAAAAAAAD4sCAAABAAAACDoAAAABjAIAAHoAAAAKCgAAAAAAAAAADQAAAAAAAY0CAAB6AAAACgoAAAAAAAAAAA0AAAAAAQeOAgAAAAEAAAAEAAAABB1BcGxvcmlzLkJhc2UuT2JqZWN0cy5WYXJpYWJsZQMAAAABHQMAAPUCAAABAAAAAAAAAAEeAwAA9QIAAAAAAAAAAAAAAR8DAAD1AgAAAAAAAAAAAAABIAMAAPUCAAAAAAAAAAAAAA+PAgAAAQAAAAg5AAAAAZICAAAjAAAACgoAAAAAAChBCXgAAAAJeQAAAAkhAwAAAAAJIgMAAAGTAgAAegAAAAoKAQAAAAAAAAD/////AAEBlwIAAK8AAAAJIwMAAAEAAAABAAAAAZgCAAB3AAAACSQDAAAKAZsCAAByAAAACgoAAABAPwklAwAACSYDAAABAAAA/v///wAAAAABAAAAAAAAAAAAAAABAAAAAAAAAAAAAAGcAgAAcwAAAAoKCScDAAAJKAMAAAEAAAD+////AAAAAP////8BAAGgAgAAdwAAAAkpAwAACgehAgAAAAEAAAAAAAAABB9BcGxvcmlzLkJhc2UuT2JqZWN0cy5EYXRhT2JqZWN0AwAAAAeiAgAAAAEAAAAEAAAABBxBcGxvcmlzLkJhc2UuVUkuVmlzdWFsT2JqZWN0AwAAAAkBAgAACQICAAAKCgGlAgAAIwAAAAoKAAAAAAAoQQl4AAAACXkAAAAJKgMAAAAACSsDAAABpgIAAHoAAAAKCgEAAAAAAAAA/////wABAaoCAACvAAAACSwDAAABAAAAAQAAAAGrAgAAdwAAAAktAwAACgGuAgAAcgAAAAoKAAAAQD8JLgMAAAkvAwAAAQAAAP7///8AAAAAAQAAAAAAAAAAAAAAAQAAAAAAAAAAAAABrwIAAHMAAAAKCgkwAwAACTEDAAABAAAA/v///wAAAAD/////AQABswIAAHcAAAAJMgMAAAoHtAIAAAABAAAABAAAAAQcQXBsb3Jpcy5CYXNlLlVJLlZpc3VhbE9iamVjdAMAAAAJBQIAAAkGAgAACgoBtwIAACMAAAAKCgAAAAAAKEEJeAAAAAl5AAAACTMDAAAAAAk0AwAAAbgCAAB6AAAACgoBAAAAAAAAAP////8AAQG8AgAArwAAAAk1AwAAAQAAAAEAAAABvQIAAHcAAAAJNgMAAAoBwAIAAHIAAAAKCgAAAEA/CTcDAAAJOAMAAAEAAAD+////AAAAAAEAAAAAAAAAAAAAAAEAAAAAAAAAAAAAAcECAABzAAAACgoJOQMAAAk6AwAAAQAAAP7///8AAAAA/////wEAAcUCAAB3AAAACTsDAAAKB8YCAAAAAQAAAAQAAAAEHEFwbG9yaXMuQmFzZS5VSS5WaXN1YWxPYmplY3QDAAAACQkCAAAJCgIAAAoKAccCAAB6AAAACgoAAAAAAAAAAA0AAAAAAAXIAgAAGkFwbG9yaXMuQmFzZS5PYmplY3RzLkNvbG9yBwAAABJEYXRhT2JqZWN0K21QYXJlbnQVRGF0YU9iamVjdCttQ29udGFpbmVyBW1UeXBlBG1SR0IQbVRoZW1lQ29sb3JJbmRleAxtQXV0b1VwZGF0ZWQJbU1vZGlmaWVkBAIAAAAAAB9BcGxvcmlzLkJhc2UuT2JqZWN0cy5MaW5lRm9ybWF0AwAAAAgICAEBAwAAAAkPAgAACgEAAAAAAAAA/////wABD8kCAAABAAAACHAAAAABygIAAHoAAAAKCgAAAAAAAAAADQAAAAAAAcsCAAB6AAAACgoAAAAAAAAAAA0AAAAAAQfMAgAAAAEAAAAEAAAABB1BcGxvcmlzLkJhc2UuT2JqZWN0cy5WYXJpYWJsZQMAAAABPAMAAPUCAAABAAAAAAAAAAE9AwAA9QIAAAAAAAAAAAAAAT4DAAD1AgAAAAAAAAAAAAABPwMAAPUCAAAAAAAAAAAAAA/NAgAAAQAAAAguAAAAAc4CAAB6AAAACgoAAAAAAAAAAA0AAAAAAAXPAgAAGkFwbG9yaXMuQmFzZS5PYmplY3RzLkNvbG9yBwAAABJEYXRhT2JqZWN0K21QYXJlbnQVRGF0YU9iamVjdCttQ29udGFpbmVyBW1UeXBlBG1SR0IQbVRoZW1lQ29sb3JJbmRleAxtQXV0b1VwZGF0ZWQJbU1vZGlmaWVkBAIAAAAAAB9BcGxvcmlzLkJhc2UuT2JqZWN0cy5MaW5lRm9ybWF0AwAAAAgICAEBAwAAAAkeAgAACgEAAAAAAAAA/////wABD9ACAAABAAAACG4AAAAB0QIAAHoAAAAKCgAAAAAAAAAADQAAAAAAAdICAAB6AAAACgoAAAAAAAAAAA0AAAAAAQfTAgAAAAEAAAAEAAAABB1BcGxvcmlzLkJhc2UuT2JqZWN0cy5WYXJpYWJsZQMAAAABQAMAAPUCAAABAAAAAAAAAAFBAwAA9QIAAAAAAAAAAAAAAUIDAAD1AgAAAAAAAAAAAAABQwMAAPUCAAAAAAAAAAAAAA/UAgAAAQAAAAgvAAAAAdUCAAB6AAAACgoAAAAAAAAAAA0AAAAAAAXWAgAAGkFwbG9yaXMuQmFzZS5PYmplY3RzLkNvbG9yBwAAABJEYXRhT2JqZWN0K21QYXJlbnQVRGF0YU9iamVjdCttQ29udGFpbmVyBW1UeXBlBG1SR0IQbVRoZW1lQ29sb3JJbmRleAxtQXV0b1VwZGF0ZWQJbU1vZGlmaWVkBAIAAAAAAB9BcGxvcmlzLkJhc2UuT2JqZWN0cy5MaW5lRm9ybWF0AwAAAAgICAEBAwAAAAktAgAACgEAAAAAAAAA/////wABD9cCAAABAAAACGwAAAAB2AIAAHoAAAAKCgAAAAAAAAAADQAAAAAAAdkCAAB6AAAACgoAAAAAAAAAAA0AAAAAAQfaAgAAAAEAAAAEAAAABB1BcGxvcmlzLkJhc2UuT2JqZWN0cy5WYXJpYWJsZQMAAAABRAMAAPUCAAABAAAAAAAAAAFFAwAA9QIAAAAAAAAAAAAAAUYDAAD1AgAAAAAAAAAAAAABRwMAAPUCAAAAAAAAAAAAAA/bAgAAAQAAAAgrAAAAAdwCAAB6AAAACgoAAAAAAAAAAA0AAAAAAAXdAgAAGkFwbG9yaXMuQmFzZS5PYmplY3RzLkNvbG9yBwAAABJEYXRhT2JqZWN0K21QYXJlbnQVRGF0YU9iamVjdCttQ29udGFpbmVyBW1UeXBlBG1SR0IQbVRoZW1lQ29sb3JJbmRleAxtQXV0b1VwZGF0ZWQJbU1vZGlmaWVkBAIAAAAAAB9BcGxvcmlzLkJhc2UuT2JqZWN0cy5MaW5lRm9ybWF0AwAAAAgICAEBAwAAAAk8AgAACgEAAAAAAAAA/////wABD94CAAABAAAACG0AAAAB3wIAAHoAAAAKCgAAAAAAAAAADQAAAAAAAeACAAB6AAAACgoAAAAAAAAAAA0AAAAAAQfhAgAAAAEAAAAEAAAABB1BcGxvcmlzLkJhc2UuT2JqZWN0cy5WYXJpYWJsZQMAAAABSAMAAPUCAAABAAAAAAAAAAFJAwAA9QIAAAAAAAAAAAAAAUoDAAD1AgAAAAAAAAAAAAABSwMAAPUCAAAAAAAAAAAAAA/iAgAAAQAAAAgyAAAAAeMCAAB6AAAACgoAAAAAAAAAAA0AAAAAAAXkAgAAGkFwbG9yaXMuQmFzZS5PYmplY3RzLkNvbG9yBwAAABJEYXRhT2JqZWN0K21QYXJlbnQVRGF0YU9iamVjdCttQ29udGFpbmVyBW1UeXBlBG1SR0IQbVRoZW1lQ29sb3JJbmRleAxtQXV0b1VwZGF0ZWQJbU1vZGlmaWVkBAIAAAAAAB9BcGxvcmlzLkJhc2UuT2JqZWN0cy5MaW5lRm9ybWF0AwAAAAgICAEBAwAAAAlLAgAACgEAAAAAAAAA/////wABD+UCAAABAAAACHEAAAAB5gIAAHoAAAAKCgAAAAAAAAAADQAAAAAAAecCAAB6AAAACgoAAAAAAAAAAA0AAAAAAQfoAgAAAAEAAAAEAAAABB1BcGxvcmlzLkJhc2UuT2JqZWN0cy5WYXJpYWJsZQMAAAABTAMAAPUCAAABAAAAAAAAAAFNAwAA9QIAAAAAAAAAAAAAAU4DAAD1AgAAAAAAAAAAAAABTwMAAPUCAAAAAAAAAAAAAA/pAgAAAQAAAAgwAAAAAeoCAAB6AAAACgoAAAAAAAAAAA0AAAAAAAXrAgAAGkFwbG9yaXMuQmFzZS5PYmplY3RzLkNvbG9yBwAAABJEYXRhT2JqZWN0K21QYXJlbnQVRGF0YU9iamVjdCttQ29udGFpbmVyBW1UeXBlBG1SR0IQbVRoZW1lQ29sb3JJbmRleAxtQXV0b1VwZGF0ZWQJbU1vZGlmaWVkBAIAAAAAAB9BcGxvcmlzLkJhc2UuT2JqZWN0cy5MaW5lRm9ybWF0AwAAAAgICAEBAwAAAAlaAgAACgEAAAAAAAAA/////wABD+wCAAABAAAACG8AAAAB7QIAAHoAAAAKCgAAAAAAAAAADQAAAAAAAe4CAAB6AAAACgoAAAAAAAAAAA0AAAAAAQfvAgAAAAEAAAAEAAAABB1BcGxvcmlzLkJhc2UuT2JqZWN0cy5WYXJpYWJsZQMAAAABUAMAAPUCAAABAAAAAAAAAAFRAwAA9QIAAAAAAAAAAAAAAVIDAAD1AgAAAAAAAAAAAAABUwMAAPUCAAAAAAAAAAAAAA/wAgAAAQAAAAg1AAAABfECAAAeQXBsb3Jpcy5DaGFydC5DaGFydERhdGFFbGVtZW50EQAAAAZtTGFiZWwKbVJlY3RhbmdsZQVtTGluZQ5tQ3Jvc3NiYXJMaW5lcwdtTWFya2VyB21TZXJpZXMGbVZhbHVlB21WYWx1ZTILbUdyb3VwSW5kZXgPbUxhYmVsUG9zaXRpb25zEW1MYWJlbEFuY2hvck1vZGVzDm1MYWJlbFBvc2l0aW9uIG1TZWxmVHJpZ2dlcmVkTWFya2VyRm9ybWF0VXBkYXRlGERhdGFPYmplY3QrbUNoaWxkT2JqZWN0cxJEYXRhT2JqZWN0K21QYXJlbnQVRGF0YU9iamVjdCttQ29udGFpbmVyGURhdGFPYmplY3QrbVZpc3VhbE9iamVjdHMEBAQEBAQCAgAEBAAAAwQEAxxBcGxvcmlzLkNoYXJ0LkNvbm5lY3RlZExhYmVsAgAAABpBcGxvcmlzLkJhc2UuVUkuVmlzdWFsUmVjdAMAAAAaQXBsb3Jpcy5CYXNlLlVJLlZpc3VhbExpbmUDAAAAHEFwbG9yaXMuQmFzZS5VSS5WaXN1YWxMaW5lW10DAAAAGkFwbG9yaXMuQ2hhcnQuVmlzdWFsTWFya2VyAgAAAB1BcGxvcmlzLkNoYXJ0LkNoYXJ0RGF0YVNlcmllcwIAAAAIF1N5c3RlbS5EcmF3aW5nLlBvaW50RltdBAAAABlBcGxvcmlzLkJhc2UuQW5jaG9yTW9kZVtdAwAAAAg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VAMAAAlVAwAACglWAwAACgkIAQAACAYAAAAAAAA+QAoAAAAACVcDAAAJWAMAAAMAAAAACVkDAAAJCAEAAAkBAAAACVoDAAAB8gIAAPECAAAJWwMAAAlcAwAACgldAwAACgkIAQAACAYAAAAAAMBiQAoBAAAACV4DAAAJXwMAAAMAAAAACWADAAAJCAEAAAkBAAAACWEDAAAB8wIAAPECAAAJYgMAAAljAwAACglkAwAACgkIAQAACAYAAAAAAAA+QAoCAAAACWUDAAAJZgMAAAMAAAAACWcDAAAJCAEAAAkBAAAACWgDAAAB9AIAAPECAAAJaQMAAAlqAwAACglrAwAACgkIAQAACAYAAAAAAAAuQAoDAAAACWwDAAAJbQMAAAMAAAAACW4DAAAJCAEAAAkBAAAACW8DAAAB+QIAAPECAAAJcAMAAAlxAwAACglyAwAACgkJAQAACAYAAAAAAABZQAoAAAAACXMDAAAJdAMAAAMAAAAACXUDAAAJCQEAAAkBAAAACXYDAAAB+gIAAPECAAAJdwMAAAl4AwAACgl5AwAACgkJAQAACAYAAAAAAEBwQAoBAAAACXoDAAAJewMAAAMAAAAACXwDAAAJCQEAAAkBAAAACX0DAAAB+wIAAPECAAAJfgMAAAl/AwAACgmAAwAACgkJAQAACAYAAAAAAMBSQAoCAAAACYEDAAAJggMAAAMAAAAACYMDAAAJCQEAAAkBAAAACYQDAAAB/AIAAPECAAAJhQMAAAmGAwAACgmHAwAACgkJAQAACAYAAAAAAAA+QAoDAAAACYgDAAAJiQMAAAMAAAAACYoDAAAJCQEAAAkBAAAACYsDAAABAQMAAPECAAAJjAMAAAmNAwAACgmOAwAACgkKAQAACAYAAAAAAEBvQAoAAAAACY8DAAAJkAMAAAMAAAAACZEDAAAJCgEAAAkBAAAACZIDAAABAgMAAPECAAAJkwMAAAmUAwAACgmVAwAACgkKAQAACAYAAAAAAEB/QAoBAAAACZYDAAAJlwMAAAMAAAAACZgDAAAJCgEAAAkBAAAACZkDAAABAwMAAPECAAAJmgMAAAmbAwAACgmcAwAACgkKAQAACAYAAAAAAABpQAoCAAAACZ0DAAAJngMAAAMAAAAACZ8DAAAJCgEAAAkBAAAACaADAAABBAMAAPECAAAJoQMAAAmiAwAACgmjAwAACgkKAQAACAYAAAAAAEBQQAoDAAAACaQDAAAJpQMAAAMAAAAACaYDAAAJCgEAAAkBAAAACacDAAAFDQMAAB9BcGxvcmlzLkNoYXJ0LkFubm90YXRpb25FbGVtZW50CAAAAAZtTGFiZWwGbVZhbHVlC21Hcm91cEluZGV4C21EYXRhU2VyaWVzGERhdGFPYmplY3QrbUNoaWxkT2JqZWN0cxJEYXRhT2JqZWN0K21QYXJlbnQVRGF0YU9iamVjdCttQ29udGFpbmVyGURhdGFPYmplY3QrbVZpc3VhbE9iamVjdHMEAgAEAwQEAxVBcGxvcmlzLkJhc2UuVUkuTGFiZWwDAAAACCJBcGxvcmlzLkNoYXJ0LkFubm90YXRpb25EYXRhU2VyaWVzAg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agDAAAIBgAAAAAAIHdAAAAAAAkLAQAACakDAAAJCwEAAAkBAAAACaoDAAABDgMAAA0DAAAJqwMAAAgGAAAAAACAVEABAAAACQsBAAAJrAMAAAkLAQAACQEAAAAJrQMAAAEPAwAADQMAAAmuAwAACAYAAAAAAGBqQAIAAAAJCwEAAAmvAwAACQsBAAAJAQAAAAmwAwAAARADAAANAwAACbEDAAAIBgAAAAAAQFNAAwAAAAkLAQAACbIDAAAJCwEAAAkBAAAACbMDAAABIQMAAHoAAAAKCgAAAAAAAAAADQAAAAAAASIDAAB6AAAACgoBAAAAAAAAAP////8AAQcjAwAAAAEAAAAEAAAABB1BcGxvcmlzLkJhc2UuT2JqZWN0cy5WYXJpYWJsZQMAAAABtAMAAPUCAAABAAAAAAAAAAG1AwAA9QIAAAAAAAAAAAAAAbYDAAD1AgAAAAAAAAAAAAABtwMAAPUCAAAAAAAAAAAAAA8kAwAAAQAAAAhmAAAAASUDAAB6AAAACgoAAAAA////AA4AAAAAAAUmAwAAGkFwbG9yaXMuQmFzZS5PYmplY3RzLkNvbG9yBwAAABJEYXRhT2JqZWN0K21QYXJlbnQVRGF0YU9iamVjdCttQ29udGFpbmVyBW1UeXBlBG1SR0IQbVRoZW1lQ29sb3JJbmRleAxtQXV0b1VwZGF0ZWQJbU1vZGlmaWVkBAIAAAAAAB9BcGxvcmlzLkJhc2UuT2JqZWN0cy5MaW5lRm9ybWF0AwAAAAgICAEBAwAAAAmbAgAACgEAAAAAAAAA/////wABAScDAAB6AAAACgoAAAAA7SElAAcAAAAAAAEoAwAAegAAAAoKAQAAAP///wD/////AAAPKQMAAAEAAAAIaAAAAAEqAwAAegAAAAoKAAAAAAAAAAANAAAAAAABKwMAAHoAAAAKCgEAAAAAAAAA/////wABBywDAAAAAQAAAAQAAAAEHUFwbG9yaXMuQmFzZS5PYmplY3RzLlZhcmlhYmxlAwAAAAG4AwAA9QIAAAEAAAAAAAAAAbkDAAD1AgAAAAAAAAAAAAABugMAAPUCAAAAAAAAAAAAAAG7AwAA9QIAAAAAAAAAAAAADy0DAAABAAAACGQAAAABLgMAAHoAAAAKCgAAAAD///8ADgAAAAAABS8DAAAaQXBsb3Jpcy5CYXNlLk9iamVjdHMuQ29sb3IHAAAAEkRhdGFPYmplY3QrbVBhcmVudBVEYXRhT2JqZWN0K21Db250YWluZXIFbVR5cGUEbVJHQhBtVGhlbWVDb2xvckluZGV4DG1BdXRvVXBkYXRlZAltTW9kaWZpZWQEAgAAAAAAH0FwbG9yaXMuQmFzZS5PYmplY3RzLkxpbmVGb3JtYXQDAAAACAgIAQEDAAAACa4CAAAKAQAAAAAAAAD/////AAEBMAMAAHoAAAAKCgAAAAByhIwABgAAAAAAATEDAAB6AAAACgoBAAAA////AP////8AAA8yAwAAAQAAAAhpAAAAATMDAAB6AAAACgoAAAAAAAAAAA0AAAAAAAE0AwAAegAAAAoKAQAAAAAAAAD/////AAEHNQMAAAABAAAABAAAAAQdQXBsb3Jpcy5CYXNlLk9iamVjdHMuVmFyaWFibGUDAAAAAbwDAAD1AgAAAQAAAAAAAAABvQMAAPUCAAAAAAAAAAAAAAG+AwAA9QIAAAAAAAAAAAAAAb8DAAD1AgAAAAAAAAAAAAAPNgMAAAEAAAAIZQAAAAE3AwAAegAAAAoKAAAAAP///wAOAAAAAAAFOAMAABpBcGxvcmlzLkJhc2UuT2JqZWN0cy5Db2xvcgcAAAASRGF0YU9iamVjdCttUGFyZW50FURhdGFPYmplY3QrbUNvbnRhaW5lcgVtVHlwZQRtUkdCEG1UaGVtZUNvbG9ySW5kZXgMbUF1dG9VcGRhdGVkCW1Nb2RpZmllZAQCAAAAAAAfQXBsb3Jpcy5CYXNlLk9iamVjdHMuTGluZUZvcm1hdAMAAAAICAgBAQMAAAAJwAIAAAoBAAAAAAAAAP////8AAQE5AwAAegAAAAoKAAAAAD9pfgAFAAAAAAABOgMAAHoAAAAKCgEAAAD///8A/////wAADzsDAAABAAAACGcAAAABVAMAACEBAAAKWAIAAAHAAwAAgwEAAAAAAAABwQMAAIQBAAABAAAAAcIDAAAVAAAA6eK6QhVWm0M22QdCANU2QQHDAwAAhgEAAAAAAAAAAKBAAAHEAwAAIQAAADbZ3EIVVphDAcUDAACiAAAAAQAAAAAAAAAAAAAAAAnGAwAAAAAAAAnHAwAAAAAByAMAAKsAAAAAAAAAAckDAAB0AAAAAABAQQAAQEEBygMAABUAAADRRc9CdNGSQ2gsXkGjiy5BEoO+PwbLAwAAAjMwCgnMAwAACY8BAAA0AwAA/////wEBCgnNAwAAAQAKAAFVAwAAHAAAAAHOAwAAIQAAAOnitEK9jKJDAc8DAAAhAAAAwmcCQxXWmUMJ0AMAAAnRAwAAAAAAAAoB0gMAAHQAAAAAAAAAAAAAAAHTAwAAdAAAAAAAAAAAAAAAAAAAAAHUAwAAFQAAAAAAAAAAAAAAAAAAAAAAAACkAQAA/////wEBCgnVAwAAAQAKAAdWAwAAAAEAAAACAAAABBpBcGxvcmlzLkJhc2UuVUkuVmlzdWFsTGluZQMAAAAKCgdXAwAAAAEAAAAEAAAABBVTeXN0ZW0uRHJhd2luZy5Qb2ludEYEAAAAAdYDAAAhAAAANtncQmkxnkMB1wMAACEAAADp4q5CaTGeQwHYAwAAIQAAAMJnBUNpMZ5DAdkDAAAhAAAANtncQhVWmEMHWAMAAAABAAAABAAAAAQXQXBsb3Jpcy5CYXNlLkFuY2hvck1vZGUDAAAAAdoDAACiAAAAAAAAAAHbAwAAogAAAAIAAAAB3AMAAKIAAAAEAAAAAd0DAACiAAAAAQAAAAFZAwAAJQAAAAnhAQAAAAAAAAAAAAABWgMAACYAAAAJ3gMAAAIAAAACAAAAAVsDAAAhAQAAClgCAAAB3wMAAIMBAAAAAAAAAeADAACEAQAAAQAAAAHhAwAAFQAAAIpObUPq9nBDONkHQiBFokIB4gMAAIYBAAAAAAAAAACgQAAB4wMAACEAAACxSX5D6vZqQwHkAwAAogAAAAEAAAAAAAAAAAAAAAAJ5QMAAAAAAAAJ5gMAAAAAAecDAACrAAAAAAAAAAHoAwAAdAAAAAAAmEEAAEBBAekDAAAVAAAAo4t0Q+iiX0Pu/qFBo4suQRKDvj8G6gMAAAMxNTAKCesDAAAJjwEAADQDAAD/////AQEKCewDAAABAAoAAVwDAAAcAAAAAe0DAAAhAAAAik5qQ72MokMB7gMAACEAAABsIolD6vZtQwnvAwAACfADAAAAAAAACgHxAwAAdAAAAAAAAAAAAAAAAfIDAAB0AAAAAAAAAAAAAAAAAAAAAfMDAAAVAAAAAAAAAAAAAAAAAAAAAAAAAKQBAAD/////AQEKCfQDAAABAAoAB10DAAAAAQAAAAIAAAAEGkFwbG9yaXMuQmFzZS5VSS5WaXN1YWxMaW5lAwAAAAoKB14DAAAAAQAAAAQAAAAEFVN5c3RlbS5EcmF3aW5nLlBvaW50RgQAAAAB9QMAACEAAACxSX5DGcSMQwH2AwAAIQAAAIpOZ0MZxIxDAfcDAAAhAAAAbKKKQxnEjEMB+AMAACEAAACxSX5D6vZqQwdfAwAAAAEAAAAEAAAABBdBcGxvcmlzLkJhc2UuQW5jaG9yTW9kZQMAAAAB+QMAAKIAAAAAAAAAAfoDAACiAAAAAgAAAAH7AwAAogAAAAQAAAAB/AMAAKIAAAABAAAAAWADAAAlAAAACeEBAAAAAAAAAAAAAAFhAwAAJgAAAAn9AwAAAgAAAAIAAAABYgMAACEBAAAKWAIAAAH+AwAAgwEAAAAAAAAB/wMAAIQBAAABAAAAAQAEAAAVAAAA0JW+QxVWm0Mw2QdCANU2QQEBBAAAhgEAAAAAAAAAAKBAAAECBAAAIQAAAGMTx0MVVphDAQMEAACiAAAAAQAAAAAAAAAAAAAAAAkEBAAAAAAAAAkFBAAAAAABBgQAAKsAAAAAAAAAAQcEAAB0AAAAAABAQQAAQEEBCAQAABUAAABddMNDdNGSQ2gsXkGjiy5BEoO+PwYJBAAAAjMwCgkKBAAACY8BAAA0AwAA/////wEBCgkLBAAAAQAKAAFjAwAAHAAAAAEMBAAAIQAAANAVvUO9jKJDAQ0EAAAhAAAA9hDRQxXWmUMJDgQAAAkPBAAAAAAAAAoBEAQAAHQAAAAAAAAAAAAAAAERBAAAdAAAAAAAAAAAAAAAAAAAAAESBAAAFQAAAAAAAAAAAAAAAAAAAAAAAACkAQAA/////wEBCgkTBAAAAQAKAAdkAwAAAAEAAAACAAAABBpBcGxvcmlzLkJhc2UuVUkuVmlzdWFsTGluZQMAAAAKCgdlAwAAAAEAAAAEAAAABBVTeXN0ZW0uRHJhd2luZy5Qb2ludEYEAAAAARQEAAAhAAAAYxPHQ2kxnkMBFQQAACEAAADQlbtDaTGeQwEWBAAAIQAAAPaQ0kNpMZ5DARcEAAAhAAAAYxPHQxVWmEMHZgMAAAABAAAABAAAAAQXQXBsb3Jpcy5CYXNlLkFuY2hvck1vZGUDAAAAARgEAACiAAAAAAAAAAEZBAAAogAAAAIAAAABGgQAAKIAAAAEAAAAARsEAACiAAAAAQAAAAFnAwAAJQAAAAnhAQAAAAAAAAAAAAABaAMAACYAAAAJHAQAAAIAAAACAAAAAWkDAAAhAQAAClgCAAABHQQAAIMBAAAAAAAAAR4EAACEAQAAAQAAAAEfBAAAFQAAAC1CA0RpsZ9DQNkHQgCqLUABIAQAAIYBAAAAAAAAAACgQAABIQQAACEAAAD3gAdEabGcQwEiBAAAogAAAAEAAAAAAAAAAAAAAAAJIwQAAAAAAAAJJAQAAAAAASUEAACrAAAAAAAAAAEmBAAAdAAAAAAAQEEAAEBBAScEAAAVAAAAF90FRBddl0NoLF5Bo4suQRKDvj8GKAQAAAIxNQoJKQQAAAmPAQAANAMAAP////8BAQoJKgQAAAEACgABagMAABwAAAABKwQAACEAAAAtggJEvYyiQwEsBAAAIQAAAMF/DERpMZ5DCS0EAAAJLgQAAAAAAAAKAS8EAAB0AAAAAAAAAAAAAAABMAQAAHQAAAAAAAAAAAAAAAAAAAABMQQAABUAAAAAAAAAAAAAAAAAAAAAAAAApAEAAP////8BAQoJMgQAAAEACgAHawMAAAABAAAAAgAAAAQaQXBsb3Jpcy5CYXNlLlVJLlZpc3VhbExpbmUDAAAACgoHbAMAAAABAAAABAAAAAQVU3lzdGVtLkRyYXdpbmcuUG9pbnRGBAAAAAEzBAAAIQAAAPeAB0QTX6BDATQEAAAhAAAALcIBRBNfoEMBNQQAACEAAADBPw1EE1+gQwE2BAAAIQAAAPeAB0RpsZxDB20DAAAAAQAAAAQAAAAEF0FwbG9yaXMuQmFzZS5BbmNob3JNb2RlAwAAAAE3BAAAogAAAAAAAAABOAQAAKIAAAACAAAAATkEAACiAAAABAAAAAE6BAAAogAAAAEAAAABbgMAACUAAAAJ4QEAAAAAAAAAAAAAAW8DAAAmAAAACTsEAAACAAAAAgAAAAFwAwAAIQEAAApYAgAAATwEAACDAQAAAAAAAAE9BAAAhAEAAAEAAAABPgQAABUAAADBZwVDOAGHQzjZB0IoXFBCAT8EAACGAQAAAAAAAAAAoEAAAUAEAAAhAAAA6GIWQzgBhEMBQQQAAKIAAAABAAAAAAAAAAAAAAAACUIEAAAAAAAACUMEAAAAAAFEBAAAqwAAAAAAAAABRQQAAHQAAAAAAJhBAABAQQFGBAAAFQAAAAAADEMuunxD7v6hQaOLLkESg74/BkcEAAADMTAwCglIBAAACY8BAAA0AwAA/////wEBCglJBAAAAQAKAAFxAwAAHAAAAAFKBAAAIQAAAMFnAkO9jKJDAUsEAAAhAAAAD14qQziBhUMJTAQAAAlNBAAAAAAAAAoBTgQAAHQAAAAAAAAAAAAAAAFPBAAAdAAAAAAAAAAAAAAAAAAAAAFQBAAAFQAAAAAAAAAAAAAAAAAAAAAAAACkAQAA/////wEBCglRBAAAAQAKAAdyAwAAAAEAAAACAAAABBpBcGxvcmlzLkJhc2UuVUkuVmlzdWFsTGluZQMAAAAKCgdzAwAAAAEAAAAEAAAABBVTeXN0ZW0uRHJhd2luZy5Qb2ludEYEAAAAAVIEAAAhAAAA6GIWQ/oGlEMBUwQAACEAAACDz/5C+gaUQwFUBAAAIQAAAA9eLUP6BpRDAVUEAAAhAAAA6GIWQzgBhEMHdAMAAAABAAAABAAAAAQXQXBsb3Jpcy5CYXNlLkFuY2hvck1vZGUDAAAAAVYEAACiAAAAAAAAAAFXBAAAogAAAAIAAAABWAQAAKIAAAAEAAAAAVkEAACiAAAAAQAAAAF1AwAAJQAAAAnhAQAAAAAAAAAAAAABdgMAACYAAAAJWgQAAAIAAAACAAAAAXcDAAAhAQAAClgCAAABWwQAAIMBAAAAAAAAAVwEAACEAQAAAQAAAAFdBAAAFQAAAGyiikPFEDFDMNkHQrUIEUMBXgQAAIYBAAAAAAAAAACgQAABXwQAACEAAAD/H5NDxRArQwFgBAAAogAAAAEAAAAAAAAAAAAAAAAJYQQAAAAAAAAJYgQAAAAAAWMEAACrAAAAAAAAAAFkBAAAdAAAAAAAmEEAAEBBAWUEAAAVAAAA0UWOQwAAIEPu/qFBo4suQRKDvj8GZgQAAAMyNjAKCWcEAAAJjwEAADQDAAD/////AQEKCWgEAAABAAoAAXgDAAAcAAAAAWkEAAAhAAAAbCKJQ72MokMBagQAACEAAACSHZ1DxRAuQwlrBAAACWwEAAAAAAAACgFtBAAAdAAAAAAAAAAAAAAAAW4EAAB0AAAAAAAAAAAAAAAAAAAAAW8EAAAVAAAAAAAAAAAAAAAAAAAAAAAAAKQBAAD/////AQEKCXAEAAABAAoAB3kDAAAAAQAAAAIAAAAEGkFwbG9yaXMuQmFzZS5VSS5WaXN1YWxMaW5lAwAAAAoKB3oDAAAAAQAAAAQAAAAEFVN5c3RlbS5EcmF3aW5nLlBvaW50RgQAAAABcQQAACEAAAD/H5NDIJV5QwFyBAAAIQAAAGyih0MglXlDAXMEAAAhAAAAkp2eQyCVeUMBdAQAACEAAAD/H5NDxRArQwd7AwAAAAEAAAAEAAAABBdBcGxvcmlzLkJhc2UuQW5jaG9yTW9kZQMAAAABdQQAAKIAAAAAAAAAAXYEAACiAAAAAgAAAAF3BAAAogAAAAQAAAABeAQAAKIAAAABAAAAAXwDAAAlAAAACeEBAAAAAAAAAAAAAAF9AwAAJgAAAAl5BAAAAgAAAAIAAAABfgMAACEBAAAKWAIAAAF6BAAAgwEAAAAAAAABewQAAIQBAAABAAAAAXwEAAAVAAAA95DSQxlEjkMw2QdCIEUWQgF9BAAAhgEAAAAAAAAAAKBAAAF+BAAAIQAAAIoO20MZRItDAX8EAACiAAAAAQAAAAAAAAAAAAAAAAmABAAAAAAAAAmBBAAAAAABggQAAKsAAAAAAAAAAYMEAAB0AAAAAABAQQAAQEEBhAQAABUAAABddNdD6aKFQ2gsXkGjiy5BEoO+PwaFBAAAAjc1CgmGBAAACY8BAAA0AwAA/////wEBCgmHBAAAAQAKAAF/AwAAHAAAAAGIBAAAIQAAAPcQ0UO9jKJDAYkEAAAhAAAAHQzlQxnEjEMJigQAAAmLBAAAAAAAAAoBjAQAAHQAAAAAAAAAAAAAAAGNBAAAdAAAAAAAAAAAAAAAAAAAAAGOBAAAFQAAAAAAAAAAAAAAAAAAAAAAAACkAQAA/////wEBCgmPBAAAAQAKAAeAAwAAAAEAAAACAAAABBpBcGxvcmlzLkJhc2UuVUkuVmlzdWFsTGluZQMAAAAKCgeBAwAAAAEAAAAEAAAABBVTeXN0ZW0uRHJhd2luZy5Qb2ludEYEAAAAAZAEAAAhAAAAig7bQ2uol0MBkQQAACEAAAD3kM9Da6iXQwGSBAAAIQAAAB2M5kNrqJdDAZMEAAAhAAAAig7bQxlEi0MHggMAAAABAAAABAAAAAQXQXBsb3Jpcy5CYXNlLkFuY2hvck1vZGUDAAAAAZQEAACiAAAAAAAAAAGVBAAAogAAAAIAAAABlgQAAKIAAAAEAAAAAZcEAACiAAAAAQAAAAGDAwAAJQAAAAnhAQAAAAAAAAAAAAABhAMAACYAAAAJmAQAAAIAAAACAAAAAYUDAAAhAQAAClgCAAABmQQAAIMBAAAAAAAAAZoEAACEAQAAAQAAAAGbBAAAFQAAAME/DUQVVptDQNkHQgDVNkEBnAQAAIYBAAAAAAAAAACgQAABnQQAACEAAACLfhFEFVaYQwGeBAAAogAAAAEAAAAAAAAAAAAAAAAJnwQAAAAAAAAJoAQAAAAAAaEEAACrAAAAAAAAAAGiBAAAdAAAAAAAQEEAAEBBAaMEAAAVAAAAF90PRHTRkkNoLF5Bo4suQRKDvj8GpAQAAAIzMAoJpQQAAAmPAQAANAMAAP////8BAQoJpgQAAAEACgABhgMAABwAAAABpwQAACEAAADBfwxEvYyiQwGoBAAAIQAAAFV9FkQV1plDCakEAAAJqgQAAAAAAAAKAasEAAB0AAAAAAAAAAAAAAABrAQAAHQAAAAAAAAAAAAAAAAAAAABrQQAABUAAAAAAAAAAAAAAAAAAAAAAAAApAEAAP////8BAQoJrgQAAAEACgAHhwMAAAABAAAAAgAAAAQaQXBsb3Jpcy5CYXNlLlVJLlZpc3VhbExpbmUDAAAACgoHiAMAAAABAAAABAAAAAQVU3lzdGVtLkRyYXdpbmcuUG9pbnRGBAAAAAGvBAAAIQAAAIt+EURpMZ5DAbAEAAAhAAAAwb8LRGkxnkMBsQQAACEAAABVPRdEaTGeQwGyBAAAIQAAAIt+EUQVVphDB4kDAAAAAQAAAAQAAAAEF0FwbG9yaXMuQmFzZS5BbmNob3JNb2RlAwAAAAGzBAAAogAAAAAAAAABtAQAAKIAAAACAAAAAbUEAACiAAAABAAAAAG2BAAAogAAAAEAAAABigMAACUAAAAJ4QEAAAAAAAAAAAAAAYsDAAAmAAAACbcEAAACAAAAAgAAAAGMAwAAIQEAAApYAgAAAbgEAACDAQAAAAAAAAG5BAAAhAEAAAEAAAABugQAABUAAAAOXi1D4N82QzjZB0KaOQtDAbsEAACGAQAAAAAAAAAAoEAAAbwEAAAhAAAANVk+Q+DfMEMBvQQAAKIAAAABAAAAAAAAAAAAAAAACb4EAAAAAAAACb8EAAAAAAHABAAAqwAAAAAAAAABwQQAAHQAAAAAAJhBAABAQQHCBAAAFQAAAAAANEMXXSZD7v6hQaOLLkESg74/BsMEAAADMjUwCgnEBAAACY8BAAA0AwAA/////wEBCgnFBAAAAQAKAAGNAwAAHAAAAAHGBAAAIQAAAA5eKkO9jKJDAccEAAAhAAAAXFRSQ+DfM0MJyAQAAAnJBAAAAAAAAAoBygQAAHQAAAAAAAAAAAAAAAHLBAAAdAAAAAAAAAAAAAAAAAAAAAHMBAAAFQAAAAAAAAAAAAAAAAAAAAAAAACkAQAA/////wEBCgnNBAAAAQAKAAeOAwAAAAEAAAACAAAABBpBcGxvcmlzLkJhc2UuVUkuVmlzdWFsTGluZQMAAAAKCgePAwAAAAEAAAAEAAAABBVTeXN0ZW0uRHJhd2luZy5Qb2ludEYEAAAAAc4EAAAhAAAANVk+Q618fEMBzwQAACEAAAAOXidDrXx8QwHQBAAAIQAAAFxUVUOtfHxDAdEEAAAhAAAANVk+Q+DfMEMHkAMAAAABAAAABAAAAAQXQXBsb3Jpcy5CYXNlLkFuY2hvck1vZGUDAAAAAdIEAACiAAAAAAAAAAHTBAAAogAAAAIAAAAB1AQAAKIAAAAEAAAAAdUEAACiAAAAAQAAAAGRAwAAJQAAAAnhAQAAAAAAAAAAAAABkgMAACYAAAAJ1gQAAAIAAAACAAAAAZMDAAAhAQAAClgCAAAB1wQAAIMBAAAAAAAAAdgEAACEAQAAAQAAAAHZBAAAFQAAAJOdnkMYmRZCMNkHQpo5jkMB2gQAAIYBAAAAAAAAAACgQAAB2wQAACEAAAAmG6dDMDL9QQHcBAAAogAAAAEAAAAAAAAAAAAAAAAJ3QQAAAAAAAAJ3gQAAAAAAd8EAACrAAAAAAAAAAHgBAAAdAAAAAAAmEEAAEBBAeEEAAAVAAAAdNGhQ9FFp0Hu/qFBo4suQRKDvj8G4gQAAAM1MDAKCeMEAAAJjwEAADQDAAD/////AQEKCeQEAAABAAoAAZQDAAAcAAAAAeUEAAAhAAAAkx2dQ72MokMB5gQAACEAAAC5GLFDGJkKQgnnBAAACegEAAAAAAAACgHpBAAAdAAAAAAAAAAAAAAAAeoEAAB0AAAAAAAAAAAAAAAAAAAAAesEAAAVAAAAAAAAAAAAAAAAAAAAAAAAAKQBAAD/////AQEKCewEAAABAAoAB5UDAAAAAQAAAAIAAAAEGkFwbG9yaXMuQmFzZS5VSS5WaXN1YWxMaW5lAwAAAAoKB5YDAAAAAQAAAAQAAAAEFVN5c3RlbS5EcmF3aW5nLlBvaW50RgQAAAAB7QQAACEAAAAmG6dD4N8zQwHuBAAAIQAAAJOdm0Pg3zNDAe8EAAAhAAAAuZiyQ+DfM0MB8AQAACEAAAAmG6dDMDL9QQeXAwAAAAEAAAAEAAAABBdBcGxvcmlzLkJhc2UuQW5jaG9yTW9kZQMAAAAB8QQAAKIAAAAAAAAAAfIEAACiAAAAAgAAAAHzBAAAogAAAAQAAAAB9AQAAKIAAAABAAAAAZgDAAAlAAAACeEBAAAAAAAAAAAAAAGZAwAAJgAAAAn1BAAAAgAAAAIAAAABmgMAACEBAAAKWAIAAAH2BAAAgwEAAAAAAAAB9wQAAIQBAAABAAAAAfgEAAAVAAAAHozmQ2XrU0Mw2QdCKlzcQgH5BAAAhgEAAAAAAAAAAKBAAAH6BAAAIQAAALEJ70Nl601DAfsEAACiAAAAAQAAAAAAAAAAAAAAAAn8BAAAAAAAAAn9BAAAAAAB/gQAAKsAAAAAAAAAAf8EAAB0AAAAAACYQQAAQEEBAAUAABUAAABFF+pDXXRDQ+7+oUGjiy5BEoO+PwYBBQAAAzIwMAoJAgUAAAmPAQAANAMAAP////8BAQoJAwUAAAEACgABmwMAABwAAAABBAUAACEAAAAeDOVDvYyiQwEFBQAAIQAAAEQH+UNl61BDCQYFAAAJBwUAAAAAAAAKAQgFAAB0AAAAAAAAAAAAAAABCQUAAHQAAAAAAAAAAAAAAAAAAAABCgUAABUAAAAAAAAAAAAAAAAAAAAAAAAApAEAAP////8BAQoJCwUAAAEACgAHnAMAAAABAAAAAgAAAAQaQXBsb3Jpcy5CYXNlLlVJLlZpc3VhbExpbmUDAAAACgoHnQMAAAABAAAABAAAAAQVU3lzdGVtLkRyYXdpbmcuUG9pbnRGBAAAAAEMBQAAIQAAALEJ70M4gYVDAQ0FAAAhAAAAHozjQziBhUMBDgUAACEAAABEh/pDOIGFQwEPBQAAIQAAALEJ70Nl601DB54DAAAAAQAAAAQAAAAEF0FwbG9yaXMuQmFzZS5BbmNob3JNb2RlAwAAAAEQBQAAogAAAAAAAAABEQUAAKIAAAACAAAAARIFAACiAAAABAAAAAETBQAAogAAAAEAAAABnwMAACUAAAAJ4QEAAAAAAAAAAAAAAaADAAAmAAAACRQFAAACAAAAAgAAAAGhAwAAIQEAAApYAgAAARUFAACDAQAAAAAAAAEWBQAAhAEAAAEAAAABFwUAABUAAABUPRdEpiuRQ0DZB0JwEf5BARgFAACGAQAAAAAAAAAAoEAAARkFAAAhAAAAHnwbRKYrjkMBGgUAAKIAAAABAAAAAAAAAAAAAAAACRsFAAAAAAAACRwFAAAAAAEdBQAAqwAAAAAAAAABHgUAAHQAAAAAAEBBAABAQQEfBQAAFQAAAOmiGUR00YhDaCxeQaOLLkESg74/BiAFAAACNjUKCSEFAAAJjwEAADQDAAD/////AQEKCSIFAAABAAoAAaIDAAAcAAAAASMFAAAhAAAAVH0WRL2MokMBJAUAACEAAADoeiBEpquPQwklBQAACSYFAAAAAAAACgEnBQAAdAAAAAAAAAAAAAAAASgFAAB0AAAAAAAAAAAAAAAAAAAAASkFAAAVAAAAAAAAAAAAAAAAAAAAAAAAAKQBAAD/////AQEKCSoFAAABAAoAB6MDAAAAAQAAAAIAAAAEGkFwbG9yaXMuQmFzZS5VSS5WaXN1YWxMaW5lAwAAAAoKB6QDAAAAAQAAAAQAAAAEFVN5c3RlbS5EcmF3aW5nLlBvaW50RgQAAAABKwUAACEAAAAefBtEMhyZQwEsBQAAIQAAAFS9FUQyHJlDAS0FAAAhAAAA6DohRDIcmUMBLgUAACEAAAAefBtEpiuOQwelAwAAAAEAAAAEAAAABBdBcGxvcmlzLkJhc2UuQW5jaG9yTW9kZQMAAAABLwUAAKIAAAAAAAAAATAFAACiAAAAAgAAAAExBQAAogAAAAQAAAABMgUAAKIAAAABAAAAAaYDAAAlAAAACeEBAAAAAAAAAAAAAAGnAwAAJgAAAAkzBQAAAgAAAAIAAAABqAMAADQAAAABNAUAACEAAADoYhZD5CO2QwE1BQAAogAAAAAAAAAAAAAAAAAAAAAJNgUAAAAAAAAJNwUAAAAAATgFAACrAAAAAAAAAAE5BQAAdAAAAAAAmEEAAEBBAToFAAAVAAAAAAAMQ6OLs0Pu/qFBo4suQRKDvj8GOwUAAAMzNzAKCTwFAAAJjwEAADQDAAD/////AQEKCT0FAAABAAoAAakDAAAlAAAACeEBAAAAAAAAAAAAAAGqAwAAJgAAAAk+BQAAAQAAAAEAAAABqwMAADQAAAABPwUAACEAAAD/H5ND5CO2QwFABQAAogAAAAAAAAAAAAAAAAAAAAAJQQUAAAAAAAAJQgUAAAAAAUMFAACrAAAAAAAAAAFEBQAAdAAAAAAAQEEAAEBBAUUFAAAVAAAA6aKPQ6OLs0NoLF5Bo4suQRKDvj8GRgUAAAI4MgoJRwUAAAmPAQAANAMAAP////8BAQoJSAUAAAEACgABrAMAACUAAAAJ4QEAAAAAAAAAAAAAAa0DAAAmAAAACUkFAAABAAAAAQAAAAGuAwAANAAAAAFKBQAAIQAAAIoO20PkI7ZDAUsFAACiAAAAAAAAAAAAAAAAAAAAAAlMBQAAAAAAAAlNBQAAAAABTgUAAKsAAAAAAAAAAU8FAAB0AAAAAACYQQAAQEEBUAUAABUAAABGF9ZDo4uzQ+7+oUGjiy5BEoO+PwZRBQAAAzIxMQoJUgUAAAmPAQAANAMAAP////8BAQoJUwUAAAEACgABrwMAACUAAAAJ4QEAAAAAAAAAAAAAAbADAAAmAAAACVQFAAABAAAAAQAAAAGxAwAANAAAAAFVBQAAIQAAAIp+EUTkI7ZDAVYFAACiAAAAAAAAAAAAAAAAAAAAAAlXBQAAAAAAAAlYBQAAAAABWQUAAKsAAAAAAAAAAVoFAAB0AAAAAABAQQAAQEEBWwUAABUAAAAX3Q9Eo4uzQ2gsXkGjiy5BEoO+PwZcBQAAAjc3CgldBQAACY8BAAA0AwAA/////wEBCgleBQAAAQAKAAGyAwAAJQAAAAnhAQAAAAAAAAAAAAABswMAACYAAAAJXwUAAAEAAAABAAAAAcYDAAAjAAAACgoAAAAAAChBCXgAAAAJeQAAAAlgBQAAAAAJYQUAAAHHAwAAegAAAAoKAAAAAP///wAOAAAAAAEBzAMAAK8AAAAJYgUAAAEAAAABAAAAAc0DAAB3AAAACWMFAAAKAdADAAByAAAACgoAAABAPwlkBQAACWUFAAABAAAA/v///wAAAAABAAAAAAAAAAAAAAABAAAAAAAAAAAAAAHRAwAAcwAAAAoKCWYFAAAJZwUAAAEAAAD+////AAAAAP////8AAAHVAwAAdwAAAAloBQAACgfeAwAAAAEAAAAEAAAABBxBcGxvcmlzLkJhc2UuVUkuVmlzdWFsT2JqZWN0AwAAAAlVAwAACVQDAAAKCgHlAwAAIwAAAAoKAAAAAAAoQQl4AAAACXkAAAAJaQUAAAAACWoFAAAB5gMAAHoAAAAKCgAAAAD///8ADgAAAAABAesDAACvAAAACWsFAAABAAAAAwAAAAHsAwAAdwAAAAlsBQAACgHvAwAAcgAAAAoKAAAAQD8JbQUAAAluBQAAAQAAAP7///8AAAAAAQAAAAAAAAAAAAAAAQAAAAAAAAAAAAAB8AMAAHMAAAAKCglvBQAACXAFAAABAAAA/v///wAAAAD/////AAAB9AMAAHcAAAAJcQUAAAoH/QMAAAABAAAABAAAAAQcQXBsb3Jpcy5CYXNlLlVJLlZpc3VhbE9iamVjdAMAAAAJXAMAAAlbAwAACgoBBAQAACMAAAAKCgAAAAAAKEEJeAAAAAl5AAAACXIFAAAAAAlzBQAAAQUEAAB6AAAACgoAAAAA////AA4AAAAAAQEKBAAArwAAAAl0BQAAAQAAAAMAAAABCwQAAHcAAAAJdQUAAAoBDgQAAHIAAAAKCgAAAEA/CXYFAAAJdwUAAAEAAAD+////AAAAAAEAAAAAAAAAAAAAAAEAAAAAAAAAAAAAAQ8EAABzAAAACgoJeAUAAAl5BQAAAQAAAP7///8AAAAA/////wAAARMEAAB3AAAACXoFAAAKBxwEAAAAAQAAAAQAAAAEHEFwbG9yaXMuQmFzZS5VSS5WaXN1YWxPYmplY3QDAAAACWMDAAAJYgMAAAoKASMEAAAjAAAACgoAAAAAAChBCXgAAAAJeQAAAAl7BQAAAAAJfAUAAAEkBAAAegAAAAoKAAAAAP///wAOAAAAAAEBKQQAAK8AAAAJfQUAAAEAAAADAAAAASoEAAB3AAAACX4FAAAKAS0EAAByAAAACgoAAABAPwl/BQAACYAFAAABAAAA/v///wAAAAABAAAAAAAAAAAAAAABAAAAAAAAAAAAAAEuBAAAcwAAAAoKCYEFAAAJggUAAAEAAAD+////AAAAAP////8AAAEyBAAAdwAAAAmDBQAACgc7BAAAAAEAAAAEAAAABBxBcGxvcmlzLkJhc2UuVUkuVmlzdWFsT2JqZWN0AwAAAAlqAwAACWkDAAAKCgFCBAAAIwAAAAoKAAAAAAAoQQl4AAAACXkAAAAJhAUAAAAACYUFAAABQwQAAHoAAAAKCgAAAAD///8ADgAAAAABAUgEAACvAAAACYYFAAABAAAAAwAAAAFJBAAAdwAAAAmHBQAACgFMBAAAcgAAAAoKAAAAQD8JiAUAAAmJBQAAAQAAAP7///8AAAAAAQAAAAAAAAAAAAAAAQAAAAAAAAAAAAABTQQAAHMAAAAKCgmKBQAACYsFAAABAAAA/v///wAAAAD/////AQABUQQAAHcAAAAJjAUAAAoHWgQAAAABAAAABAAAAAQcQXBsb3Jpcy5CYXNlLlVJLlZpc3VhbE9iamVjdAMAAAAJcQMAAAlwAwAACgoBYQQAACMAAAAKCgAAAAAAKEEJeAAAAAl5AAAACY0FAAAAAAmOBQAAAWIEAAB6AAAACgoAAAAA////AA4AAAAAAQFnBAAArwAAAAmPBQAAAQAAAAMAAAABaAQAAHcAAAAJkAUAAAoBawQAAHIAAAAKCgAAAEA/CZEFAAAJkgUAAAEAAAD+////AAAAAAEAAAAAAAAAAAAAAAEAAAAAAAAAAAAAAWwEAABzAAAACgoJkwUAAAmUBQAAAQAAAP7///8AAAAA/////wEAAXAEAAB3AAAACZUFAAAKB3kEAAAAAQAAAAQAAAAEHEFwbG9yaXMuQmFzZS5VSS5WaXN1YWxPYmplY3QDAAAACXgDAAAJdwMAAAoKAYAEAAAjAAAACgoAAAAAAChBCXgAAAAJeQAAAAmWBQAAAAAJlwUAAAGBBAAAegAAAAoKAAAAAP///wAOAAAAAAEBhgQAAK8AAAAJmAUAAAEAAAADAAAAAYcEAAB3AAAACZkFAAAKAYoEAAByAAAACgoAAABAPwmaBQAACZsFAAABAAAA/v///wAAAAABAAAAAAAAAAAAAAABAAAAAAAAAAAAAAGLBAAAcwAAAAoKCZwFAAAJnQUAAAEAAAD+////AAAAAP////8BAAGPBAAAdwAAAAmeBQAACgeYBAAAAAEAAAAEAAAABBxBcGxvcmlzLkJhc2UuVUkuVmlzdWFsT2JqZWN0AwAAAAl/AwAACX4DAAAKCgGfBAAAIwAAAAoKAAAAAAAoQQl4AAAACXkAAAAJnwUAAAAACaAFAAABoAQAAHoAAAAKCgAAAAD///8ADgAAAAABAaUEAACvAAAACaEFAAABAAAAAwAAAAGmBAAAdwAAAAmiBQAACgGpBAAAcgAAAAoKAAAAQD8JowUAAAmkBQAAAQAAAP7///8AAAAAAQAAAAAAAAAAAAAAAQAAAAAAAAAAAAABqgQAAHMAAAAKCgmlBQAACaYFAAABAAAA/v///wAAAAD/////AQABrgQAAHcAAAAJpwUAAAoHtwQAAAABAAAABAAAAAQcQXBsb3Jpcy5CYXNlLlVJLlZpc3VhbE9iamVjdAMAAAAJhgMAAAmFAwAACgoBvgQAACMAAAAKCgAAAAAAKEEJeAAAAAl5AAAACagFAAAAAAmpBQAAAb8EAAB6AAAACgoAAAAA////AA4AAAAAAQHEBAAArwAAAAmqBQAAAQAAAAMAAAABxQQAAHcAAAAJqwUAAAoByAQAAHIAAAAKCgAAAEA/CawFAAAJrQUAAAEAAAD+////AAAAAAEAAAAAAAAAAAAAAAEAAAAAAAAAAAAAAckEAABzAAAACgoJrgUAAAmvBQAAAQAAAP7///8AAAAA/////wAAAc0EAAB3AAAACbAFAAAKB9YEAAAAAQAAAAQAAAAEHEFwbG9yaXMuQmFzZS5VSS5WaXN1YWxPYmplY3QDAAAACY0DAAAJjAMAAAoKAd0EAAAjAAAACgoAAAAAAChBCXgAAAAJeQAAAAmxBQAAAAAJsgUAAAHeBAAAegAAAAoKAAAAAP///wAOAAAAAAEB4wQAAK8AAAAJswUAAAEAAAADAAAAAeQEAAB3AAAACbQFAAAKAecEAAByAAAACgoAAABAPwm1BQAACbYFAAABAAAA/v///wAAAAABAAAAAAAAAAAAAAABAAAAAAAAAAAAAAHoBAAAcwAAAAoKCbcFAAAJuAUAAAEAAAD+////AAAAAP////8AAAHsBAAAdwAAAAm5BQAACgf1BAAAAAEAAAAEAAAABBxBcGxvcmlzLkJhc2UuVUkuVmlzdWFsT2JqZWN0AwAAAAmUAwAACZMDAAAKCgH8BAAAIwAAAAoKAAAAAAAoQQl4AAAACXkAAAAJugUAAAAACbsFAAAB/QQAAHoAAAAKCgAAAAD///8ADgAAAAABAQIFAACvAAAACbwFAAABAAAAAwAAAAEDBQAAdwAAAAm9BQAACgEGBQAAcgAAAAoKAAAAQD8JvgUAAAm/BQAAAQAAAP7///8AAAAAAQAAAAAAAAAAAAAAAQAAAAAAAAAAAAABBwUAAHMAAAAKCgnABQAACcEFAAABAAAA/v///wAAAAD/////AAABCwUAAHcAAAAJwgUAAAoHFAUAAAABAAAABAAAAAQcQXBsb3Jpcy5CYXNlLlVJLlZpc3VhbE9iamVjdAMAAAAJmwMAAAmaAwAACgoBGwUAACMAAAAKCgAAAAAAKEEJeAAAAAl5AAAACcMFAAAAAAnEBQAAARwFAAB6AAAACgoAAAAA////AA4AAAAAAQEhBQAArwAAAAnFBQAAAQAAAAMAAAABIgUAAHcAAAAJxgUAAAoBJQUAAHIAAAAKCgAAAEA/CccFAAAJyAUAAAEAAAD+////AAAAAAEAAAAAAAAAAAAAAAEAAAAAAAAAAAAAASYFAABzAAAACgoJyQUAAAnKBQAAAQAAAP7///8AAAAA/////wAAASoFAAB3AAAACcsFAAAKBzMFAAAAAQAAAAQAAAAEHEFwbG9yaXMuQmFzZS5VSS5WaXN1YWxPYmplY3QDAAAACaIDAAAJoQMAAAoKATYFAAAjAAAACgoAAAAAAChBCXgAAAAJeQAAAAnMBQAAAAAJzQUAAAE3BQAAegAAAAoKAQAAAAAAAAD/////AAEBPAUAAK8AAAAJzgUAAAEAAAABAAAAAT0FAAB3AAAACc8FAAAKBz4FAAAAAQAAAAQAAAAEHEFwbG9yaXMuQmFzZS5VSS5WaXN1YWxPYmplY3QDAAAACagDAAANAwFBBQAAIwAAAAoKAAAAAAAoQQl4AAAACXkAAAAJ0AUAAAAACdEFAAABQgUAAHoAAAAKCgEAAAAAAAAA/////wABAUcFAACvAAAACdIFAAABAAAAAwAAAAFIBQAAdwAAAAnTBQAACgdJBQAAAAEAAAAEAAAABBxBcGxvcmlzLkJhc2UuVUkuVmlzdWFsT2JqZWN0AwAAAAmrAwAADQMBTAUAACMAAAAKCgAAAAAAKEEJeAAAAAl5AAAACdQFAAAAAAnVBQAAAU0FAAB6AAAACgoBAAAAAAAAAP////8AAQFSBQAArwAAAAnWBQAAAQAAAAMAAAABUwUAAHcAAAAJ1wUAAAoHVAUAAAABAAAABAAAAAQcQXBsb3Jpcy5CYXNlLlVJLlZpc3VhbE9iamVjdAMAAAAJrgMAAA0DAVcFAAAjAAAACgoAAAAAAChBCXgAAAAJeQAAAAnYBQAAAAAJ2QUAAAFYBQAAegAAAAoKAQAAAAAAAAD/////AAEBXQUAAK8AAAAJ2gUAAAEAAAADAAAAAV4FAAB3AAAACdsFAAAKB18FAAAAAQAAAAQAAAAEHEFwbG9yaXMuQmFzZS5VSS5WaXN1YWxPYmplY3QDAAAACbEDAAANAwFgBQAAegAAAAoKAAAAAAAAAAANAAAAAAABYQUAAHoAAAAKCgAAAAAAAAAADQAAAAABB2IFAAAAAQAAAAQAAAAEHUFwbG9yaXMuQmFzZS5PYmplY3RzLlZhcmlhYmxlAwAAAAHcBQAA9QIAAAEAAAAAAAAAAd0FAAD1AgAAAAAAAAAAAAAB3gUAAPUCAAAAAAAAAAAAAAHfBQAA9QIAAAAAAAAAAAAAD2MFAAABAAAACEAAAAAFZAUAABpBcGxvcmlzLkJhc2UuT2JqZWN0cy5Db2xvcgcAAAASRGF0YU9iamVjdCttUGFyZW50FURhdGFPYmplY3QrbUNvbnRhaW5lcgVtVHlwZQRtUkdCEG1UaGVtZUNvbG9ySW5kZXgMbUF1dG9VcGRhdGVkCW1Nb2RpZmllZAQCAAAAAAAfQXBsb3Jpcy5CYXNlLk9iamVjdHMuTGluZUZvcm1hdAMAAAAICAgBAQMAAAAJ0AMAAAoAAAAA////AA4AAAAAAAVlBQAAGkFwbG9yaXMuQmFzZS5PYmplY3RzLkNvbG9yBwAAABJEYXRhT2JqZWN0K21QYXJlbnQVRGF0YU9iamVjdCttQ29udGFpbmVyBW1UeXBlBG1SR0IQbVRoZW1lQ29sb3JJbmRleAxtQXV0b1VwZGF0ZWQJbU1vZGlmaWVkBAIAAAAAAB9BcGxvcmlzLkJhc2UuT2JqZWN0cy5MaW5lRm9ybWF0AwAAAAgICAEBAwAAAAnQAwAACgEAAAAAAAAA/////wABAWYFAAB6AAAACgoAAAAA7SElAAcAAAAAAAFnBQAAegAAAAoKAQAAAP///wD/////AAAPaAUAAAEAAAAIHAAAAAFpBQAAegAAAAoKAAAAAAAAAAANAAAAAAABagUAAHoAAAAKCgAAAAAAAAAADQAAAAABB2sFAAAAAQAAAAQAAAAEHUFwbG9yaXMuQmFzZS5PYmplY3RzLlZhcmlhYmxlAwAAAAHgBQAA9QIAAAEAAAAAAAAAAeEFAAD1AgAAAAAAAAAAAAAB4gUAAPUCAAAAAAAAAAAAAAHjBQAA9QIAAAAAAAAAAAAAD2wFAAABAAAACD8AAAAFbQUAABpBcGxvcmlzLkJhc2UuT2JqZWN0cy5Db2xvcgcAAAASRGF0YU9iamVjdCttUGFyZW50FURhdGFPYmplY3QrbUNvbnRhaW5lcgVtVHlwZQRtUkdCEG1UaGVtZUNvbG9ySW5kZXgMbUF1dG9VcGRhdGVkCW1Nb2RpZmllZAQCAAAAAAAfQXBsb3Jpcy5CYXNlLk9iamVjdHMuTGluZUZvcm1hdAMAAAAICAgBAQMAAAAJ7wMAAAoAAAAA////AA4AAAAAAAVuBQAAGkFwbG9yaXMuQmFzZS5PYmplY3RzLkNvbG9yBwAAABJEYXRhT2JqZWN0K21QYXJlbnQVRGF0YU9iamVjdCttQ29udGFpbmVyBW1UeXBlBG1SR0IQbVRoZW1lQ29sb3JJbmRleAxtQXV0b1VwZGF0ZWQJbU1vZGlmaWVkBAIAAAAAAB9BcGxvcmlzLkJhc2UuT2JqZWN0cy5MaW5lRm9ybWF0AwAAAAgICAEBAwAAAAnvAwAACgEAAAAAAAAA/////wABAW8FAAB6AAAACgoAAAAA7SElAAcAAAAAAAFwBQAAegAAAAoKAQAAAP///wD/////AAAPcQUAAAEAAAAIGwAAAAFyBQAAegAAAAoKAAAAAAAAAAANAAAAAAABcwUAAHoAAAAKCgAAAAAAAAAADQAAAAABB3QFAAAAAQAAAAQAAAAEHUFwbG9yaXMuQmFzZS5PYmplY3RzLlZhcmlhYmxlAwAAAAHkBQAA9QIAAAEAAAAAAAAAAeUFAAD1AgAAAAAAAAAAAAAB5gUAAPUCAAAAAAAAAAAAAAHnBQAA9QIAAAAAAAAAAAAAD3UFAAABAAAACEIAAAAFdgUAABpBcGxvcmlzLkJhc2UuT2JqZWN0cy5Db2xvcgcAAAASRGF0YU9iamVjdCttUGFyZW50FURhdGFPYmplY3QrbUNvbnRhaW5lcgVtVHlwZQRtUkdCEG1UaGVtZUNvbG9ySW5kZXgMbUF1dG9VcGRhdGVkCW1Nb2RpZmllZAQCAAAAAAAfQXBsb3Jpcy5CYXNlLk9iamVjdHMuTGluZUZvcm1hdAMAAAAICAgBAQMAAAAJDgQAAAoAAAAA////AA4AAAAAAAV3BQAAGkFwbG9yaXMuQmFzZS5PYmplY3RzLkNvbG9yBwAAABJEYXRhT2JqZWN0K21QYXJlbnQVRGF0YU9iamVjdCttQ29udGFpbmVyBW1UeXBlBG1SR0IQbVRoZW1lQ29sb3JJbmRleAxtQXV0b1VwZGF0ZWQJbU1vZGlmaWVkBAIAAAAAAB9BcGxvcmlzLkJhc2UuT2JqZWN0cy5MaW5lRm9ybWF0AwAAAAgICAEBAwAAAAkOBAAACgEAAAAAAAAA/////wABAXgFAAB6AAAACgoAAAAA7SElAAcAAAAAAAF5BQAAegAAAAoKAQAAAP///wD/////AAAPegUAAAEAAAAIGgAAAAF7BQAAegAAAAoKAAAAAAAAAAANAAAAAAABfAUAAHoAAAAKCgAAAAAAAAAADQAAAAABB30FAAAAAQAAAAQAAAAEHUFwbG9yaXMuQmFzZS5PYmplY3RzLlZhcmlhYmxlAwAAAAHoBQAA9QIAAAEAAAAAAAAAAekFAAD1AgAAAAAAAAAAAAAB6gUAAPUCAAAAAAAAAAAAAAHrBQAA9QIAAAAAAAAAAAAAD34FAAABAAAACEEAAAAFfwUAABpBcGxvcmlzLkJhc2UuT2JqZWN0cy5Db2xvcgcAAAASRGF0YU9iamVjdCttUGFyZW50FURhdGFPYmplY3QrbUNvbnRhaW5lcgVtVHlwZQRtUkdCEG1UaGVtZUNvbG9ySW5kZXgMbUF1dG9VcGRhdGVkCW1Nb2RpZmllZAQCAAAAAAAfQXBsb3Jpcy5CYXNlLk9iamVjdHMuTGluZUZvcm1hdAMAAAAICAgBAQMAAAAJLQQAAAoAAAAA////AA4AAAAAAAWABQAAGkFwbG9yaXMuQmFzZS5PYmplY3RzLkNvbG9yBwAAABJEYXRhT2JqZWN0K21QYXJlbnQVRGF0YU9iamVjdCttQ29udGFpbmVyBW1UeXBlBG1SR0IQbVRoZW1lQ29sb3JJbmRleAxtQXV0b1VwZGF0ZWQJbU1vZGlmaWVkBAIAAAAAAB9BcGxvcmlzLkJhc2UuT2JqZWN0cy5MaW5lRm9ybWF0AwAAAAgICAEBAwAAAAktBAAACgEAAAAAAAAA/////wABAYEFAAB6AAAACgoAAAAA7SElAAcAAAAAAAGCBQAAegAAAAoKAQAAAP///wD/////AAAPgwUAAAEAAAAIHQAAAAGEBQAAegAAAAoKAAAAAAAAAAANAAAAAAABhQUAAHoAAAAKCgAAAAAAAAAADQAAAAABB4YFAAAAAQAAAAQAAAAEHUFwbG9yaXMuQmFzZS5PYmplY3RzLlZhcmlhYmxlAwAAAAHsBQAA9QIAAAEAAAAAAAAAAe0FAAD1AgAAAAAAAAAAAAAB7gUAAPUCAAAAAAAAAAAAAAHvBQAA9QIAAAAAAAAAAAAAD4cFAAABAAAACDwAAAAFiAUAABpBcGxvcmlzLkJhc2UuT2JqZWN0cy5Db2xvcgcAAAASRGF0YU9iamVjdCttUGFyZW50FURhdGFPYmplY3QrbUNvbnRhaW5lcgVtVHlwZQRtUkdCEG1UaGVtZUNvbG9ySW5kZXgMbUF1dG9VcGRhdGVkCW1Nb2RpZmllZAQCAAAAAAAfQXBsb3Jpcy5CYXNlLk9iamVjdHMuTGluZUZvcm1hdAMAAAAICAgBAQMAAAAJTAQAAAoAAAAA////AA4AAAAAAAWJBQAAGkFwbG9yaXMuQmFzZS5PYmplY3RzLkNvbG9yBwAAABJEYXRhT2JqZWN0K21QYXJlbnQVRGF0YU9iamVjdCttQ29udGFpbmVyBW1UeXBlBG1SR0IQbVRoZW1lQ29sb3JJbmRleAxtQXV0b1VwZGF0ZWQJbU1vZGlmaWVkBAIAAAAAAB9BcGxvcmlzLkJhc2UuT2JqZWN0cy5MaW5lRm9ybWF0AwAAAAgICAEBAwAAAAlMBAAACgEAAAAAAAAA/////wABAYoFAAB6AAAACgoAAAAAcoSMAAYAAAAAAAGLBQAAegAAAAoKAQAAAP///wD/////AAAPjAUAAAEAAAAIFAAAAAGNBQAAegAAAAoKAAAAAAAAAAANAAAAAAABjgUAAHoAAAAKCgAAAAAAAAAADQAAAAABB48FAAAAAQAAAAQAAAAEHUFwbG9yaXMuQmFzZS5PYmplY3RzLlZhcmlhYmxlAwAAAAHwBQAA9QIAAAEAAAAAAAAAAfEFAAD1AgAAAAAAAAAAAAAB8gUAAPUCAAAAAAAAAAAAAAHzBQAA9QIAAAAAAAAAAAAAD5AFAAABAAAACDsAAAAFkQUAABpBcGxvcmlzLkJhc2UuT2JqZWN0cy5Db2xvcgcAAAASRGF0YU9iamVjdCttUGFyZW50FURhdGFPYmplY3QrbUNvbnRhaW5lcgVtVHlwZQRtUkdCEG1UaGVtZUNvbG9ySW5kZXgMbUF1dG9VcGRhdGVkCW1Nb2RpZmllZAQCAAAAAAAfQXBsb3Jpcy5CYXNlLk9iamVjdHMuTGluZUZvcm1hdAMAAAAICAgBAQMAAAAJawQAAAoAAAAA////AA4AAAAAAAWSBQAAGkFwbG9yaXMuQmFzZS5PYmplY3RzLkNvbG9yBwAAABJEYXRhT2JqZWN0K21QYXJlbnQVRGF0YU9iamVjdCttQ29udGFpbmVyBW1UeXBlBG1SR0IQbVRoZW1lQ29sb3JJbmRleAxtQXV0b1VwZGF0ZWQJbU1vZGlmaWVkBAIAAAAAAB9BcGxvcmlzLkJhc2UuT2JqZWN0cy5MaW5lRm9ybWF0AwAAAAgICAEBAwAAAAlrBAAACgEAAAAAAAAA/////wABAZMFAAB6AAAACgoAAAAAcoSMAAYAAAAAAAGUBQAAegAAAAoKAQAAAP///wD/////AAAPlQUAAAEAAAAIFQAAAAGWBQAAegAAAAoKAAAAAAAAAAANAAAAAAABlwUAAHoAAAAKCgAAAAAAAAAADQAAAAABB5gFAAAAAQAAAAQAAAAEHUFwbG9yaXMuQmFzZS5PYmplY3RzLlZhcmlhYmxlAwAAAAH0BQAA9QIAAAEAAAAAAAAAAfUFAAD1AgAAAAAAAAAAAAAB9gUAAPUCAAAAAAAAAAAAAAH3BQAA9QIAAAAAAAAAAAAAD5kFAAABAAAACD4AAAAFmgUAABpBcGxvcmlzLkJhc2UuT2JqZWN0cy5Db2xvcgcAAAASRGF0YU9iamVjdCttUGFyZW50FURhdGFPYmplY3QrbUNvbnRhaW5lcgVtVHlwZQRtUkdCEG1UaGVtZUNvbG9ySW5kZXgMbUF1dG9VcGRhdGVkCW1Nb2RpZmllZAQCAAAAAAAfQXBsb3Jpcy5CYXNlLk9iamVjdHMuTGluZUZvcm1hdAMAAAAICAgBAQMAAAAJigQAAAoAAAAA////AA4AAAAAAAWbBQAAGkFwbG9yaXMuQmFzZS5PYmplY3RzLkNvbG9yBwAAABJEYXRhT2JqZWN0K21QYXJlbnQVRGF0YU9iamVjdCttQ29udGFpbmVyBW1UeXBlBG1SR0IQbVRoZW1lQ29sb3JJbmRleAxtQXV0b1VwZGF0ZWQJbU1vZGlmaWVkBAIAAAAAAB9BcGxvcmlzLkJhc2UuT2JqZWN0cy5MaW5lRm9ybWF0AwAAAAgICAEBAwAAAAmKBAAACgEAAAAAAAAA/////wABAZwFAAB6AAAACgoAAAAAcoSMAAYAAAAAAAGdBQAAegAAAAoKAQAAAP///wD/////AAAPngUAAAEAAAAIEgAAAAGfBQAAegAAAAoKAAAAAAAAAAANAAAAAAABoAUAAHoAAAAKCgAAAAAAAAAADQAAAAABB6EFAAAAAQAAAAQAAAAEHUFwbG9yaXMuQmFzZS5PYmplY3RzLlZhcmlhYmxlAwAAAAH4BQAA9QIAAAEAAAAAAAAAAfkFAAD1AgAAAAAAAAAAAAAB+gUAAPUCAAAAAAAAAAAAAAH7BQAA9QIAAAAAAAAAAAAAD6IFAAABAAAACD0AAAAFowUAABpBcGxvcmlzLkJhc2UuT2JqZWN0cy5Db2xvcgcAAAASRGF0YU9iamVjdCttUGFyZW50FURhdGFPYmplY3QrbUNvbnRhaW5lcgVtVHlwZQRtUkdCEG1UaGVtZUNvbG9ySW5kZXgMbUF1dG9VcGRhdGVkCW1Nb2RpZmllZAQCAAAAAAAfQXBsb3Jpcy5CYXNlLk9iamVjdHMuTGluZUZvcm1hdAMAAAAICAgBAQMAAAAJqQQAAAoAAAAA////AA4AAAAAAAWkBQAAGkFwbG9yaXMuQmFzZS5PYmplY3RzLkNvbG9yBwAAABJEYXRhT2JqZWN0K21QYXJlbnQVRGF0YU9iamVjdCttQ29udGFpbmVyBW1UeXBlBG1SR0IQbVRoZW1lQ29sb3JJbmRleAxtQXV0b1VwZGF0ZWQJbU1vZGlmaWVkBAIAAAAAAB9BcGxvcmlzLkJhc2UuT2JqZWN0cy5MaW5lRm9ybWF0AwAAAAgICAEBAwAAAAmpBAAACgEAAAAAAAAA/////wABAaUFAAB6AAAACgoAAAAAcoSMAAYAAAAAAAGmBQAAegAAAAoKAQAAAP///wD/////AAAPpwUAAAEAAAAIEwAAAAGoBQAAegAAAAoKAAAAAAAAAAANAAAAAAABqQUAAHoAAAAKCgAAAAAAAAAADQAAAAABB6oFAAAAAQAAAAQAAAAEHUFwbG9yaXMuQmFzZS5PYmplY3RzLlZhcmlhYmxlAwAAAAH8BQAA9QIAAAEAAAAAAAAAAf0FAAD1AgAAAAAAAAAAAAAB/gUAAPUCAAAAAAAAAAAAAAH/BQAA9QIAAAAAAAAAAAAAD6sFAAABAAAACEgAAAAFrAUAABpBcGxvcmlzLkJhc2UuT2JqZWN0cy5Db2xvcgcAAAASRGF0YU9iamVjdCttUGFyZW50FURhdGFPYmplY3QrbUNvbnRhaW5lcgVtVHlwZQRtUkdCEG1UaGVtZUNvbG9ySW5kZXgMbUF1dG9VcGRhdGVkCW1Nb2RpZmllZAQCAAAAAAAfQXBsb3Jpcy5CYXNlLk9iamVjdHMuTGluZUZvcm1hdAMAAAAICAgBAQMAAAAJyAQAAAoAAAAA////AA4AAAAAAAWtBQAAGkFwbG9yaXMuQmFzZS5PYmplY3RzLkNvbG9yBwAAABJEYXRhT2JqZWN0K21QYXJlbnQVRGF0YU9iamVjdCttQ29udGFpbmVyBW1UeXBlBG1SR0IQbVRoZW1lQ29sb3JJbmRleAxtQXV0b1VwZGF0ZWQJbU1vZGlmaWVkBAIAAAAAAB9BcGxvcmlzLkJhc2UuT2JqZWN0cy5MaW5lRm9ybWF0AwAAAAgICAEBAwAAAAnIBAAACgEAAAAAAAAA/////wABAa4FAAB6AAAACgoAAAAAP2l+AAUAAAAAAAGvBQAAegAAAAoKAQAAAP///wD/////AAAPsAUAAAEAAAAIFgAAAAGxBQAAegAAAAoKAAAAAAAAAAANAAAAAAABsgUAAHoAAAAKCgAAAAAAAAAADQAAAAABB7MFAAAAAQAAAAQAAAAEHUFwbG9yaXMuQmFzZS5PYmplY3RzLlZhcmlhYmxlAwAAAAEABgAA9QIAAAEAAAAAAAAAAQEGAAD1AgAAAAAAAAAAAAABAgYAAPUCAAAAAAAAAAAAAAEDBgAA9QIAAAAAAAAAAAAAD7QFAAABAAAACEcAAAAFtQUAABpBcGxvcmlzLkJhc2UuT2JqZWN0cy5Db2xvcgcAAAASRGF0YU9iamVjdCttUGFyZW50FURhdGFPYmplY3QrbUNvbnRhaW5lcgVtVHlwZQRtUkdCEG1UaGVtZUNvbG9ySW5kZXgMbUF1dG9VcGRhdGVkCW1Nb2RpZmllZAQCAAAAAAAfQXBsb3Jpcy5CYXNlLk9iamVjdHMuTGluZUZvcm1hdAMAAAAICAgBAQMAAAAJ5wQAAAoAAAAA////AA4AAAAAAAW2BQAAGkFwbG9yaXMuQmFzZS5PYmplY3RzLkNvbG9yBwAAABJEYXRhT2JqZWN0K21QYXJlbnQVRGF0YU9iamVjdCttQ29udGFpbmVyBW1UeXBlBG1SR0IQbVRoZW1lQ29sb3JJbmRleAxtQXV0b1VwZGF0ZWQJbU1vZGlmaWVkBAIAAAAAAB9BcGxvcmlzLkJhc2UuT2JqZWN0cy5MaW5lRm9ybWF0AwAAAAgICAEBAwAAAAnnBAAACgEAAAAAAAAA/////wABAbcFAAB6AAAACgoAAAAAP2l+AAUAAAAAAAG4BQAAegAAAAoKAQAAAP///wD/////AAAPuQUAAAEAAAAIFwAAAAG6BQAAegAAAAoKAAAAAAAAAAANAAAAAAABuwUAAHoAAAAKCgAAAAAAAAAADQAAAAABB7wFAAAAAQAAAAQAAAAEHUFwbG9yaXMuQmFzZS5PYmplY3RzLlZhcmlhYmxlAwAAAAEEBgAA9QIAAAEAAAAAAAAAAQUGAAD1AgAAAAAAAAAAAAABBgYAAPUCAAAAAAAAAAAAAAEHBgAA9QIAAAAAAAAAAAAAD70FAAABAAAACEoAAAAFvgUAABpBcGxvcmlzLkJhc2UuT2JqZWN0cy5Db2xvcgcAAAASRGF0YU9iamVjdCttUGFyZW50FURhdGFPYmplY3QrbUNvbnRhaW5lcgVtVHlwZQRtUkdCEG1UaGVtZUNvbG9ySW5kZXgMbUF1dG9VcGRhdGVkCW1Nb2RpZmllZAQCAAAAAAAfQXBsb3Jpcy5CYXNlLk9iamVjdHMuTGluZUZvcm1hdAMAAAAICAgBAQMAAAAJBgUAAAoAAAAA////AA4AAAAAAAW/BQAAGkFwbG9yaXMuQmFzZS5PYmplY3RzLkNvbG9yBwAAABJEYXRhT2JqZWN0K21QYXJlbnQVRGF0YU9iamVjdCttQ29udGFpbmVyBW1UeXBlBG1SR0IQbVRoZW1lQ29sb3JJbmRleAxtQXV0b1VwZGF0ZWQJbU1vZGlmaWVkBAIAAAAAAB9BcGxvcmlzLkJhc2UuT2JqZWN0cy5MaW5lRm9ybWF0AwAAAAgICAEBAwAAAAkGBQAACgEAAAAAAAAA/////wABAcAFAAB6AAAACgoAAAAAP2l+AAUAAAAAAAHBBQAAegAAAAoKAQAAAP///wD/////AAAPwgUAAAEAAAAIGQAAAAHDBQAAegAAAAoKAAAAAAAAAAANAAAAAAABxAUAAHoAAAAKCgAAAAAAAAAADQAAAAABB8UFAAAAAQAAAAQAAAAEHUFwbG9yaXMuQmFzZS5PYmplY3RzLlZhcmlhYmxlAwAAAAEIBgAA9QIAAAEAAAAAAAAAAQkGAAD1AgAAAAAAAAAAAAABCgYAAPUCAAAAAAAAAAAAAAELBgAA9QIAAAAAAAAAAAAAD8YFAAABAAAACEkAAAAFxwUAABpBcGxvcmlzLkJhc2UuT2JqZWN0cy5Db2xvcgcAAAASRGF0YU9iamVjdCttUGFyZW50FURhdGFPYmplY3QrbUNvbnRhaW5lcgVtVHlwZQRtUkdCEG1UaGVtZUNvbG9ySW5kZXgMbUF1dG9VcGRhdGVkCW1Nb2RpZmllZAQCAAAAAAAfQXBsb3Jpcy5CYXNlLk9iamVjdHMuTGluZUZvcm1hdAMAAAAICAgBAQMAAAAJJQUAAAoAAAAA////AA4AAAAAAAXIBQAAGkFwbG9yaXMuQmFzZS5PYmplY3RzLkNvbG9yBwAAABJEYXRhT2JqZWN0K21QYXJlbnQVRGF0YU9iamVjdCttQ29udGFpbmVyBW1UeXBlBG1SR0IQbVRoZW1lQ29sb3JJbmRleAxtQXV0b1VwZGF0ZWQJbU1vZGlmaWVkBAIAAAAAAB9BcGxvcmlzLkJhc2UuT2JqZWN0cy5MaW5lRm9ybWF0AwAAAAgICAEBAwAAAAklBQAACgEAAAAAAAAA/////wABAckFAAB6AAAACgoAAAAAP2l+AAUAAAAAAAHKBQAAegAAAAoKAQAAAP///wD/////AAAPywUAAAEAAAAIGAAAAAHMBQAAegAAAAoKAAAAAAAAAAANAAAAAAABzQUAAHoAAAAKCgEAAAAAAAAA/////wABB84FAAAAAQAAAAQAAAAEHUFwbG9yaXMuQmFzZS5PYmplY3RzLlZhcmlhYmxlAwAAAAEMBgAA9QIAAAEAAAAAAAAAAQ0GAAD1AgAAAAAAAAAAAAABDgYAAPUCAAAAAAAAAAAAAAEPBgAA9QIAAAAAAAAAAAAAD88FAAABAAAACEQAAAAB0AUAAHoAAAAKCgAAAAAAAAAADQAAAAAAAdEFAAB6AAAACgoBAAAAAAAAAP////8AAQfSBQAAAAEAAAAEAAAABB1BcGxvcmlzLkJhc2UuT2JqZWN0cy5WYXJpYWJsZQMAAAABEAYAAPUCAAABAAAAAAAAAAERBgAA9QIAAAAAAAAAAAAAARIGAAD1AgAAAAAAAAAAAAABEwYAAPUCAAAAAAAAAAAAAA/TBQAAAQAAAAhDAAAAAdQFAAB6AAAACgoAAAAAAAAAAA0AAAAAAAHVBQAAegAAAAoKAQAAAAAAAAD/////AAEH1gUAAAABAAAABAAAAAQdQXBsb3Jpcy5CYXNlLk9iamVjdHMuVmFyaWFibGUDAAAAARQGAAD1AgAAAQAAAAAAAAABFQYAAPUCAAAAAAAAAAAAAAEWBgAA9QIAAAAAAAAAAAAAARcGAAD1AgAAAAAAAAAAAAAP1wUAAAEAAAAIRgAAAAHYBQAAegAAAAoKAAAAAAAAAAANAAAAAAAB2QUAAHoAAAAKCgEAAAAAAAAA/////wABB9oFAAAAAQAAAAQAAAAEHUFwbG9yaXMuQmFzZS5PYmplY3RzLlZhcmlhYmxlAwAAAAEYBgAA9QIAAAEAAAAAAAAAARkGAAD1AgAAAAAAAAAAAAABGgYAAPUCAAAAAAAAAAAAAAEbBgAA9QIAAAAAAAAAAAAAD9sFAAABAAAACEUAAAAL"/>
  <p:tag name="APLORISTAG" val="MQssZdDHvvuWdF0PK.18"/>
</p:tagLst>
</file>

<file path=ppt/tags/tag482.xml><?xml version="1.0" encoding="utf-8"?>
<p:tagLst xmlns:a="http://schemas.openxmlformats.org/drawingml/2006/main" xmlns:r="http://schemas.openxmlformats.org/officeDocument/2006/relationships" xmlns:p="http://schemas.openxmlformats.org/presentationml/2006/main">
  <p:tag name="APLORISTAG" val="MQssZdDHvvuWdF0PK.21"/>
</p:tagLst>
</file>

<file path=ppt/tags/tag483.xml><?xml version="1.0" encoding="utf-8"?>
<p:tagLst xmlns:a="http://schemas.openxmlformats.org/drawingml/2006/main" xmlns:r="http://schemas.openxmlformats.org/officeDocument/2006/relationships" xmlns:p="http://schemas.openxmlformats.org/presentationml/2006/main">
  <p:tag name="APLORISTAG" val="MQssZdDHvvuWdF0PK.24"/>
</p:tagLst>
</file>

<file path=ppt/tags/tag484.xml><?xml version="1.0" encoding="utf-8"?>
<p:tagLst xmlns:a="http://schemas.openxmlformats.org/drawingml/2006/main" xmlns:r="http://schemas.openxmlformats.org/officeDocument/2006/relationships" xmlns:p="http://schemas.openxmlformats.org/presentationml/2006/main">
  <p:tag name="APLORISTAG" val="MQssZdDHvvuWdF0PK.25"/>
</p:tagLst>
</file>

<file path=ppt/tags/tag485.xml><?xml version="1.0" encoding="utf-8"?>
<p:tagLst xmlns:a="http://schemas.openxmlformats.org/drawingml/2006/main" xmlns:r="http://schemas.openxmlformats.org/officeDocument/2006/relationships" xmlns:p="http://schemas.openxmlformats.org/presentationml/2006/main">
  <p:tag name="APLORISTAG" val="MQssZdDHvvuWdF0PK.23"/>
</p:tagLst>
</file>

<file path=ppt/tags/tag486.xml><?xml version="1.0" encoding="utf-8"?>
<p:tagLst xmlns:a="http://schemas.openxmlformats.org/drawingml/2006/main" xmlns:r="http://schemas.openxmlformats.org/officeDocument/2006/relationships" xmlns:p="http://schemas.openxmlformats.org/presentationml/2006/main">
  <p:tag name="APLORISTAG" val="MQssZdDHvvuWdF0PK.27"/>
</p:tagLst>
</file>

<file path=ppt/tags/tag487.xml><?xml version="1.0" encoding="utf-8"?>
<p:tagLst xmlns:a="http://schemas.openxmlformats.org/drawingml/2006/main" xmlns:r="http://schemas.openxmlformats.org/officeDocument/2006/relationships" xmlns:p="http://schemas.openxmlformats.org/presentationml/2006/main">
  <p:tag name="APLORISTAG" val="MQssZdDHvvuWdF0PK.26"/>
</p:tagLst>
</file>

<file path=ppt/tags/tag488.xml><?xml version="1.0" encoding="utf-8"?>
<p:tagLst xmlns:a="http://schemas.openxmlformats.org/drawingml/2006/main" xmlns:r="http://schemas.openxmlformats.org/officeDocument/2006/relationships" xmlns:p="http://schemas.openxmlformats.org/presentationml/2006/main">
  <p:tag name="APLORISTAG" val="MQssZdDHvvuWdF0PK.29"/>
</p:tagLst>
</file>

<file path=ppt/tags/tag489.xml><?xml version="1.0" encoding="utf-8"?>
<p:tagLst xmlns:a="http://schemas.openxmlformats.org/drawingml/2006/main" xmlns:r="http://schemas.openxmlformats.org/officeDocument/2006/relationships" xmlns:p="http://schemas.openxmlformats.org/presentationml/2006/main">
  <p:tag name="APLORISTAG" val="MQssZdDHvvuWdF0PK.114"/>
</p:tagLst>
</file>

<file path=ppt/tags/tag49.xml><?xml version="1.0" encoding="utf-8"?>
<p:tagLst xmlns:a="http://schemas.openxmlformats.org/drawingml/2006/main" xmlns:r="http://schemas.openxmlformats.org/officeDocument/2006/relationships" xmlns:p="http://schemas.openxmlformats.org/presentationml/2006/main">
  <p:tag name="APLORISTAG" val="MX/IjfW661gLV+xOY.310"/>
</p:tagLst>
</file>

<file path=ppt/tags/tag490.xml><?xml version="1.0" encoding="utf-8"?>
<p:tagLst xmlns:a="http://schemas.openxmlformats.org/drawingml/2006/main" xmlns:r="http://schemas.openxmlformats.org/officeDocument/2006/relationships" xmlns:p="http://schemas.openxmlformats.org/presentationml/2006/main">
  <p:tag name="APLORISTAG" val="MQssZdDHvvuWdF0PK.115"/>
</p:tagLst>
</file>

<file path=ppt/tags/tag491.xml><?xml version="1.0" encoding="utf-8"?>
<p:tagLst xmlns:a="http://schemas.openxmlformats.org/drawingml/2006/main" xmlns:r="http://schemas.openxmlformats.org/officeDocument/2006/relationships" xmlns:p="http://schemas.openxmlformats.org/presentationml/2006/main">
  <p:tag name="APLORISTAG" val="MQssZdDHvvuWdF0PK.116"/>
</p:tagLst>
</file>

<file path=ppt/tags/tag492.xml><?xml version="1.0" encoding="utf-8"?>
<p:tagLst xmlns:a="http://schemas.openxmlformats.org/drawingml/2006/main" xmlns:r="http://schemas.openxmlformats.org/officeDocument/2006/relationships" xmlns:p="http://schemas.openxmlformats.org/presentationml/2006/main">
  <p:tag name="APLORISTAG" val="MQssZdDHvvuWdF0PK.117"/>
</p:tagLst>
</file>

<file path=ppt/tags/tag493.xml><?xml version="1.0" encoding="utf-8"?>
<p:tagLst xmlns:a="http://schemas.openxmlformats.org/drawingml/2006/main" xmlns:r="http://schemas.openxmlformats.org/officeDocument/2006/relationships" xmlns:p="http://schemas.openxmlformats.org/presentationml/2006/main">
  <p:tag name="APLORISTAG" val="MQssZdDHvvuWdF0PK.118"/>
</p:tagLst>
</file>

<file path=ppt/tags/tag494.xml><?xml version="1.0" encoding="utf-8"?>
<p:tagLst xmlns:a="http://schemas.openxmlformats.org/drawingml/2006/main" xmlns:r="http://schemas.openxmlformats.org/officeDocument/2006/relationships" xmlns:p="http://schemas.openxmlformats.org/presentationml/2006/main">
  <p:tag name="APLORISTAG" val="MQssZdDHvvuWdF0PK.119"/>
</p:tagLst>
</file>

<file path=ppt/tags/tag495.xml><?xml version="1.0" encoding="utf-8"?>
<p:tagLst xmlns:a="http://schemas.openxmlformats.org/drawingml/2006/main" xmlns:r="http://schemas.openxmlformats.org/officeDocument/2006/relationships" xmlns:p="http://schemas.openxmlformats.org/presentationml/2006/main">
  <p:tag name="APLORISTAG" val="MQssZdDHvvuWdF0PK.120"/>
</p:tagLst>
</file>

<file path=ppt/tags/tag496.xml><?xml version="1.0" encoding="utf-8"?>
<p:tagLst xmlns:a="http://schemas.openxmlformats.org/drawingml/2006/main" xmlns:r="http://schemas.openxmlformats.org/officeDocument/2006/relationships" xmlns:p="http://schemas.openxmlformats.org/presentationml/2006/main">
  <p:tag name="APLORISTAG" val="MQssZdDHvvuWdF0PK.121"/>
</p:tagLst>
</file>

<file path=ppt/tags/tag497.xml><?xml version="1.0" encoding="utf-8"?>
<p:tagLst xmlns:a="http://schemas.openxmlformats.org/drawingml/2006/main" xmlns:r="http://schemas.openxmlformats.org/officeDocument/2006/relationships" xmlns:p="http://schemas.openxmlformats.org/presentationml/2006/main">
  <p:tag name="APLORISTAG" val="MQssZdDHvvuWdF0PK.47"/>
</p:tagLst>
</file>

<file path=ppt/tags/tag498.xml><?xml version="1.0" encoding="utf-8"?>
<p:tagLst xmlns:a="http://schemas.openxmlformats.org/drawingml/2006/main" xmlns:r="http://schemas.openxmlformats.org/officeDocument/2006/relationships" xmlns:p="http://schemas.openxmlformats.org/presentationml/2006/main">
  <p:tag name="APLORISTAG" val="MQssZdDHvvuWdF0PK.43"/>
</p:tagLst>
</file>

<file path=ppt/tags/tag499.xml><?xml version="1.0" encoding="utf-8"?>
<p:tagLst xmlns:a="http://schemas.openxmlformats.org/drawingml/2006/main" xmlns:r="http://schemas.openxmlformats.org/officeDocument/2006/relationships" xmlns:p="http://schemas.openxmlformats.org/presentationml/2006/main">
  <p:tag name="APLORISTAG" val="MQssZdDHvvuWdF0PK.53"/>
</p:tagLst>
</file>

<file path=ppt/tags/tag5.xml><?xml version="1.0" encoding="utf-8"?>
<p:tagLst xmlns:a="http://schemas.openxmlformats.org/drawingml/2006/main" xmlns:r="http://schemas.openxmlformats.org/officeDocument/2006/relationships" xmlns:p="http://schemas.openxmlformats.org/presentationml/2006/main">
  <p:tag name="APLORISTAG" val="MX/IjfW661gLV+xOY.178"/>
</p:tagLst>
</file>

<file path=ppt/tags/tag50.xml><?xml version="1.0" encoding="utf-8"?>
<p:tagLst xmlns:a="http://schemas.openxmlformats.org/drawingml/2006/main" xmlns:r="http://schemas.openxmlformats.org/officeDocument/2006/relationships" xmlns:p="http://schemas.openxmlformats.org/presentationml/2006/main">
  <p:tag name="APLORISTAG" val="MX/IjfW661gLV+xOY.211"/>
</p:tagLst>
</file>

<file path=ppt/tags/tag500.xml><?xml version="1.0" encoding="utf-8"?>
<p:tagLst xmlns:a="http://schemas.openxmlformats.org/drawingml/2006/main" xmlns:r="http://schemas.openxmlformats.org/officeDocument/2006/relationships" xmlns:p="http://schemas.openxmlformats.org/presentationml/2006/main">
  <p:tag name="APLORISTAG" val="MQssZdDHvvuWdF0PK.50"/>
</p:tagLst>
</file>

<file path=ppt/tags/tag501.xml><?xml version="1.0" encoding="utf-8"?>
<p:tagLst xmlns:a="http://schemas.openxmlformats.org/drawingml/2006/main" xmlns:r="http://schemas.openxmlformats.org/officeDocument/2006/relationships" xmlns:p="http://schemas.openxmlformats.org/presentationml/2006/main">
  <p:tag name="APLORISTAG" val="MQssZdDHvvuWdF0PK.48"/>
</p:tagLst>
</file>

<file path=ppt/tags/tag502.xml><?xml version="1.0" encoding="utf-8"?>
<p:tagLst xmlns:a="http://schemas.openxmlformats.org/drawingml/2006/main" xmlns:r="http://schemas.openxmlformats.org/officeDocument/2006/relationships" xmlns:p="http://schemas.openxmlformats.org/presentationml/2006/main">
  <p:tag name="APLORISTAG" val="MQssZdDHvvuWdF0PK.46"/>
</p:tagLst>
</file>

<file path=ppt/tags/tag503.xml><?xml version="1.0" encoding="utf-8"?>
<p:tagLst xmlns:a="http://schemas.openxmlformats.org/drawingml/2006/main" xmlns:r="http://schemas.openxmlformats.org/officeDocument/2006/relationships" xmlns:p="http://schemas.openxmlformats.org/presentationml/2006/main">
  <p:tag name="APLORISTAG" val="MQssZdDHvvuWdF0PK.91"/>
</p:tagLst>
</file>

<file path=ppt/tags/tag504.xml><?xml version="1.0" encoding="utf-8"?>
<p:tagLst xmlns:a="http://schemas.openxmlformats.org/drawingml/2006/main" xmlns:r="http://schemas.openxmlformats.org/officeDocument/2006/relationships" xmlns:p="http://schemas.openxmlformats.org/presentationml/2006/main">
  <p:tag name="APLORISTAG" val="MQssZdDHvvuWdF0PK.57"/>
</p:tagLst>
</file>

<file path=ppt/tags/tag505.xml><?xml version="1.0" encoding="utf-8"?>
<p:tagLst xmlns:a="http://schemas.openxmlformats.org/drawingml/2006/main" xmlns:r="http://schemas.openxmlformats.org/officeDocument/2006/relationships" xmlns:p="http://schemas.openxmlformats.org/presentationml/2006/main">
  <p:tag name="APLORISTAG" val="MQssZdDHvvuWdF0PK.58"/>
</p:tagLst>
</file>

<file path=ppt/tags/tag506.xml><?xml version="1.0" encoding="utf-8"?>
<p:tagLst xmlns:a="http://schemas.openxmlformats.org/drawingml/2006/main" xmlns:r="http://schemas.openxmlformats.org/officeDocument/2006/relationships" xmlns:p="http://schemas.openxmlformats.org/presentationml/2006/main">
  <p:tag name="APLORISTAG" val="MQssZdDHvvuWdF0PK.56"/>
</p:tagLst>
</file>

<file path=ppt/tags/tag507.xml><?xml version="1.0" encoding="utf-8"?>
<p:tagLst xmlns:a="http://schemas.openxmlformats.org/drawingml/2006/main" xmlns:r="http://schemas.openxmlformats.org/officeDocument/2006/relationships" xmlns:p="http://schemas.openxmlformats.org/presentationml/2006/main">
  <p:tag name="APLORISTAG" val="MQssZdDHvvuWdF0PK.55"/>
</p:tagLst>
</file>

<file path=ppt/tags/tag508.xml><?xml version="1.0" encoding="utf-8"?>
<p:tagLst xmlns:a="http://schemas.openxmlformats.org/drawingml/2006/main" xmlns:r="http://schemas.openxmlformats.org/officeDocument/2006/relationships" xmlns:p="http://schemas.openxmlformats.org/presentationml/2006/main">
  <p:tag name="APLORISTAG" val="MQssZdDHvvuWdF0PK.59"/>
</p:tagLst>
</file>

<file path=ppt/tags/tag509.xml><?xml version="1.0" encoding="utf-8"?>
<p:tagLst xmlns:a="http://schemas.openxmlformats.org/drawingml/2006/main" xmlns:r="http://schemas.openxmlformats.org/officeDocument/2006/relationships" xmlns:p="http://schemas.openxmlformats.org/presentationml/2006/main">
  <p:tag name="APLORISTAG" val="MQssZdDHvvuWdF0PK.62"/>
</p:tagLst>
</file>

<file path=ppt/tags/tag51.xml><?xml version="1.0" encoding="utf-8"?>
<p:tagLst xmlns:a="http://schemas.openxmlformats.org/drawingml/2006/main" xmlns:r="http://schemas.openxmlformats.org/officeDocument/2006/relationships" xmlns:p="http://schemas.openxmlformats.org/presentationml/2006/main">
  <p:tag name="APLORISTAG" val="MX/IjfW661gLV+xOY.212"/>
</p:tagLst>
</file>

<file path=ppt/tags/tag510.xml><?xml version="1.0" encoding="utf-8"?>
<p:tagLst xmlns:a="http://schemas.openxmlformats.org/drawingml/2006/main" xmlns:r="http://schemas.openxmlformats.org/officeDocument/2006/relationships" xmlns:p="http://schemas.openxmlformats.org/presentationml/2006/main">
  <p:tag name="APLORISTAG" val="MQssZdDHvvuWdF0PK.61"/>
</p:tagLst>
</file>

<file path=ppt/tags/tag511.xml><?xml version="1.0" encoding="utf-8"?>
<p:tagLst xmlns:a="http://schemas.openxmlformats.org/drawingml/2006/main" xmlns:r="http://schemas.openxmlformats.org/officeDocument/2006/relationships" xmlns:p="http://schemas.openxmlformats.org/presentationml/2006/main">
  <p:tag name="APLORISTAG" val="MQssZdDHvvuWdF0PK.63"/>
</p:tagLst>
</file>

<file path=ppt/tags/tag512.xml><?xml version="1.0" encoding="utf-8"?>
<p:tagLst xmlns:a="http://schemas.openxmlformats.org/drawingml/2006/main" xmlns:r="http://schemas.openxmlformats.org/officeDocument/2006/relationships" xmlns:p="http://schemas.openxmlformats.org/presentationml/2006/main">
  <p:tag name="APLORISTAG" val="MQssZdDHvvuWdF0PK.66"/>
</p:tagLst>
</file>

<file path=ppt/tags/tag513.xml><?xml version="1.0" encoding="utf-8"?>
<p:tagLst xmlns:a="http://schemas.openxmlformats.org/drawingml/2006/main" xmlns:r="http://schemas.openxmlformats.org/officeDocument/2006/relationships" xmlns:p="http://schemas.openxmlformats.org/presentationml/2006/main">
  <p:tag name="APLORISTAG" val="MQssZdDHvvuWdF0PK.65"/>
</p:tagLst>
</file>

<file path=ppt/tags/tag514.xml><?xml version="1.0" encoding="utf-8"?>
<p:tagLst xmlns:a="http://schemas.openxmlformats.org/drawingml/2006/main" xmlns:r="http://schemas.openxmlformats.org/officeDocument/2006/relationships" xmlns:p="http://schemas.openxmlformats.org/presentationml/2006/main">
  <p:tag name="APLORISTAG" val="MQssZdDHvvuWdF0PK.67"/>
</p:tagLst>
</file>

<file path=ppt/tags/tag515.xml><?xml version="1.0" encoding="utf-8"?>
<p:tagLst xmlns:a="http://schemas.openxmlformats.org/drawingml/2006/main" xmlns:r="http://schemas.openxmlformats.org/officeDocument/2006/relationships" xmlns:p="http://schemas.openxmlformats.org/presentationml/2006/main">
  <p:tag name="APLORISTAG" val="MQssZdDHvvuWdF0PK.70"/>
</p:tagLst>
</file>

<file path=ppt/tags/tag516.xml><?xml version="1.0" encoding="utf-8"?>
<p:tagLst xmlns:a="http://schemas.openxmlformats.org/drawingml/2006/main" xmlns:r="http://schemas.openxmlformats.org/officeDocument/2006/relationships" xmlns:p="http://schemas.openxmlformats.org/presentationml/2006/main">
  <p:tag name="APLORISTAG" val="MQssZdDHvvuWdF0PK.69"/>
</p:tagLst>
</file>

<file path=ppt/tags/tag517.xml><?xml version="1.0" encoding="utf-8"?>
<p:tagLst xmlns:a="http://schemas.openxmlformats.org/drawingml/2006/main" xmlns:r="http://schemas.openxmlformats.org/officeDocument/2006/relationships" xmlns:p="http://schemas.openxmlformats.org/presentationml/2006/main">
  <p:tag name="APLORISTAG" val="MQssZdDHvvuWdF0PK.71"/>
</p:tagLst>
</file>

<file path=ppt/tags/tag518.xml><?xml version="1.0" encoding="utf-8"?>
<p:tagLst xmlns:a="http://schemas.openxmlformats.org/drawingml/2006/main" xmlns:r="http://schemas.openxmlformats.org/officeDocument/2006/relationships" xmlns:p="http://schemas.openxmlformats.org/presentationml/2006/main">
  <p:tag name="APLORISTAG" val="MQssZdDHvvuWdF0PK.74"/>
</p:tagLst>
</file>

<file path=ppt/tags/tag519.xml><?xml version="1.0" encoding="utf-8"?>
<p:tagLst xmlns:a="http://schemas.openxmlformats.org/drawingml/2006/main" xmlns:r="http://schemas.openxmlformats.org/officeDocument/2006/relationships" xmlns:p="http://schemas.openxmlformats.org/presentationml/2006/main">
  <p:tag name="APLORISTAG" val="MQssZdDHvvuWdF0PK.73"/>
</p:tagLst>
</file>

<file path=ppt/tags/tag52.xml><?xml version="1.0" encoding="utf-8"?>
<p:tagLst xmlns:a="http://schemas.openxmlformats.org/drawingml/2006/main" xmlns:r="http://schemas.openxmlformats.org/officeDocument/2006/relationships" xmlns:p="http://schemas.openxmlformats.org/presentationml/2006/main">
  <p:tag name="APLORISTAG" val="MX/IjfW661gLV+xOY.213"/>
</p:tagLst>
</file>

<file path=ppt/tags/tag520.xml><?xml version="1.0" encoding="utf-8"?>
<p:tagLst xmlns:a="http://schemas.openxmlformats.org/drawingml/2006/main" xmlns:r="http://schemas.openxmlformats.org/officeDocument/2006/relationships" xmlns:p="http://schemas.openxmlformats.org/presentationml/2006/main">
  <p:tag name="APLORISTAG" val="MQssZdDHvvuWdF0PK.100"/>
</p:tagLst>
</file>

<file path=ppt/tags/tag521.xml><?xml version="1.0" encoding="utf-8"?>
<p:tagLst xmlns:a="http://schemas.openxmlformats.org/drawingml/2006/main" xmlns:r="http://schemas.openxmlformats.org/officeDocument/2006/relationships" xmlns:p="http://schemas.openxmlformats.org/presentationml/2006/main">
  <p:tag name="APLORISTAG" val="MQssZdDHvvuWdF0PK.101"/>
</p:tagLst>
</file>

<file path=ppt/tags/tag522.xml><?xml version="1.0" encoding="utf-8"?>
<p:tagLst xmlns:a="http://schemas.openxmlformats.org/drawingml/2006/main" xmlns:r="http://schemas.openxmlformats.org/officeDocument/2006/relationships" xmlns:p="http://schemas.openxmlformats.org/presentationml/2006/main">
  <p:tag name="APLORISTAG" val="MQssZdDHvvuWdF0PK.102"/>
</p:tagLst>
</file>

<file path=ppt/tags/tag523.xml><?xml version="1.0" encoding="utf-8"?>
<p:tagLst xmlns:a="http://schemas.openxmlformats.org/drawingml/2006/main" xmlns:r="http://schemas.openxmlformats.org/officeDocument/2006/relationships" xmlns:p="http://schemas.openxmlformats.org/presentationml/2006/main">
  <p:tag name="APLORISTAG" val="MQssZdDHvvuWdF0PK.103"/>
</p:tagLst>
</file>

<file path=ppt/tags/tag524.xml><?xml version="1.0" encoding="utf-8"?>
<p:tagLst xmlns:a="http://schemas.openxmlformats.org/drawingml/2006/main" xmlns:r="http://schemas.openxmlformats.org/officeDocument/2006/relationships" xmlns:p="http://schemas.openxmlformats.org/presentationml/2006/main">
  <p:tag name="APLORISTAG" val="MQssZdDHvvuWdF0PK.104"/>
</p:tagLst>
</file>

<file path=ppt/tags/tag525.xml><?xml version="1.0" encoding="utf-8"?>
<p:tagLst xmlns:a="http://schemas.openxmlformats.org/drawingml/2006/main" xmlns:r="http://schemas.openxmlformats.org/officeDocument/2006/relationships" xmlns:p="http://schemas.openxmlformats.org/presentationml/2006/main">
  <p:tag name="APLORISTAG" val="MQssZdDHvvuWdF0PK.105"/>
</p:tagLst>
</file>

<file path=ppt/tags/tag526.xml><?xml version="1.0" encoding="utf-8"?>
<p:tagLst xmlns:a="http://schemas.openxmlformats.org/drawingml/2006/main" xmlns:r="http://schemas.openxmlformats.org/officeDocument/2006/relationships" xmlns:p="http://schemas.openxmlformats.org/presentationml/2006/main">
  <p:tag name="APLORISTAG" val="MHhv7vsga9jjekkac"/>
</p:tagLst>
</file>

<file path=ppt/tags/tag527.xml><?xml version="1.0" encoding="utf-8"?>
<p:tagLst xmlns:a="http://schemas.openxmlformats.org/drawingml/2006/main" xmlns:r="http://schemas.openxmlformats.org/officeDocument/2006/relationships" xmlns:p="http://schemas.openxmlformats.org/presentationml/2006/main">
  <p:tag name="APLORISTAG" val="MHhv7vsga9jjekkac.230"/>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ZQXBsb3Jpcy5DaGFydC5CdWJibGVDaGFydDYAAAAGbVhBeGlzDm1YQXhpc1Bvc2l0aW9uBm1ZQXhpcw5tWUF4aXNQb3NpdGlvbgptQ2hhcnRUeXBlDm1DaGFydEVsZW1lbnRzDG1DaGFydEdyb3Vwcw9tVW51c2VkRWxlbWVudHMTbVVudXNlZEVsZW1lbnRzTGlzdAdtTGVnZW5kEW1CdWJibGVTaXplTGVnZW5kE21EaWFtZXRlckJ1YmJsZVNpemUWbUJ1YmJsZVNjYWxlRmFjdG9yQXV0bxJtQnViYmxlU2NhbGVGYWN0b3ILbUNoYXJ0TGluZXMWbVNpemVNYWduaXR1ZGVQcm92aWRlchRtTnVtYmVyRm9ybWF0U2l6ZUFicxhtTnVtYmVyRm9ybWF0U2l6ZVBlcmNlbnQ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QEBAMDBAQAAAAEBAQEBAQEAAMAAQEHAAQHBwAAAAAABAAAAAAEAQABAQQEAAIDBAQDHUFwbG9yaXMuQ2hhcnQuQnViYmxlQ2hhcnRBeGlzAgAAAChBcGxvcmlzLkNoYXJ0LkJ1YmJsZUNoYXJ0K2VYQXhpc1Bvc2l0aW9uAgAAAB1BcGxvcmlzLkNoYXJ0LkJ1YmJsZUNoYXJ0QXhpcwIAAAAoQXBsb3Jpcy5DaGFydC5CdWJibGVDaGFydCtlWUF4aXNQb3NpdGlvbgIAAAAqQXBsb3Jpcy5DaGFydC5CdWJibGVDaGFydCtlQnViYmxlQ2hhcnRUeXBlAgAAAKQBQXBsb3Jpcy5CYXNlLk9iamVjdHMuRGF0YU9iamVjdENvbGxlY3Rpb25gMVtbQXBsb3Jpcy5DaGFydC5CdWJibGVDaGFydEVsZW1lbnQsIEFwbG9yaXMuQ2hhcnQsIFZlcnNpb249NC4wLjAuMTQ4NiwgQ3VsdHVyZT1uZXV0cmFsLCBQdWJsaWNLZXlUb2tlbj0xNmZjMTNhMjI2YzBlOTUxXV0DAAAAogFBcGxvcmlzLkJhc2UuT2JqZWN0cy5EYXRhT2JqZWN0Q29sbGVjdGlvbmAxW1tBcGxvcmlzLkNoYXJ0LkJ1YmJsZUNoYXJ0R3JvdXAsIEFwbG9yaXMuQ2hhcnQsIFZlcnNpb249NC4wLjAuMTQ4NiwgQ3VsdHVyZT1uZXV0cmFsLCBQdWJsaWNLZXlUb2tlbj0xNmZjMTNhMjI2YzBlOTUxXV0DAAAAqwFTeXN0ZW0uQ29sbGVjdGlvbnMuT2JqZWN0TW9kZWwuQ29sbGVjdGlvbmAxW1tBcGxvcmlzLkNoYXJ0LkJ1YmJsZUNoYXJ0K1VudXNlZEVsZW1lbnQsIEFwbG9yaXMuQ2hhcnQsIFZlcnNpb249NC4wLjAuMTQ4NiwgQ3VsdHVyZT1uZXV0cmFsLCBQdWJsaWNLZXlUb2tlbj0xNmZjMTNhMjI2YzBlOTUxXV2hAVN5c3RlbS5Db2xsZWN0aW9ucy5HZW5lcmljLkxpc3RgMVtbQXBsb3Jpcy5DaGFydC5CdWJibGVDaGFydCtVbnVzZWRFbGVtZW50LCBBcGxvcmlzLkNoYXJ0LCBWZXJzaW9uPTQuMC4wLjE0ODYsIEN1bHR1cmU9bmV1dHJhbCwgUHVibGljS2V5VG9rZW49MTZmYzEzYTIyNmMwZTk1MV1dH0FwbG9yaXMuQ2hhcnQuQnViYmxlQ2hhcnRMZWdlbmQCAAAAHkFwbG9yaXMuQ2hhcnQuQnViYmxlU2l6ZUxlZ2VuZAIAAAABAQahAUFwbG9yaXMuQmFzZS5PYmplY3RzLkRhdGFPYmplY3RDb2xsZWN0aW9uYDFbW0FwbG9yaXMuQ2hhcnQuQnViYmxlQ2hhcnRMaW5lLCBBcGxvcmlzLkNoYXJ0LCBWZXJzaW9uPTQuMC4wLjE0ODYsIEN1bHR1cmU9bmV1dHJhbCwgUHVibGljS2V5VG9rZW49MTZmYzEzYTIyNmMwZTk1MV1dAwAAACdBcGxvcmlzLkNoYXJ0LlN0YW5kYXJkTWFnbml0dWRlUHJvdmlkZXICAAAAGkFwbG9yaXMuQ2hhcnQuTnVtYmVyRm9ybWF0AgAAABpBcGxvcmlzLkNoYXJ0Lk51bWJlckZvcm1hdAIAAAAZQXBsb3Jpcy5DaGFydC5PcmllbnRhdGlvbgIAAAAaQXBsb3Jpcy5CYXNlLlVJLlZpc3VhbFJlY3QDAAAAGVN5c3RlbS5EcmF3aW5nLlJlY3RhbmdsZUYEAAAAAQtTeXN0ZW0uR3VpZAECARxBcGxvcmlzLkNoYXJ0LkRhdGEuRGF0YVRhYmxlAgAAAAgICAgIAQEZU3lzdGVtLkRyYXdpbmcuUmVjdGFuZ2xlRgQAAAALCwsLFVN5c3RlbS5EcmF3aW5nLlBvaW50RgQAAAAIH0FwbG9yaXMuQmFzZS5PYmplY3RzLlRleHRGb3JtYXQDAAAAFlN5c3RlbS5EcmF3aW5nLkNvbG9yW10EAAAA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UAAAAFBgAAAChBcGxvcmlzLkNoYXJ0LkJ1YmJsZUNoYXJ0K2VYQXhpc1Bvc2l0aW9uAQAAAAd2YWx1ZV9fAAgCAAAAAAAAAAkHAAAABQgAAAAoQXBsb3Jpcy5DaGFydC5CdWJibGVDaGFydCtlWUF4aXNQb3NpdGlvbgEAAAAHdmFsdWVfXwAIAgAAAAAAAAAFCQAAACpBcGxvcmlzLkNoYXJ0LkJ1YmJsZUNoYXJ0K2VCdWJibGVDaGFydFR5cGUBAAAAB3ZhbHVlX18ACAIAAAABAAAACQoAAAAJCwAAAAoJDAAAAAoKAAEAAAAAAAAAAAkNAAAACQ4AAAAJDwAAAAoFEAAAABlBcGxvcmlzLkNoYXJ0Lk9yaWVudGF0aW9uAQAAAAd2YWx1ZV9fAAgCAAAAAQAAAAkRAAAABRIAAAAZU3lzdGVtLkRyYXdpbmcuUmVjdGFuZ2xlRgQAAAABeAF5BXdpZHRoBmhlaWdodAAAAAALCwsLBAAAAKWLvkEHAC5Bii4PRIDXnEMABBMAAAALU3lzdGVtLkd1aWQLAAAAAl9hAl9iAl9jAl9kAl9lAl9mAl9nAl9oAl9pAl9qAl9rAAAAAAAAAAAAAAAIBwcCAgICAgICAgAAAAAAAAAAAAAAAAAAAAAACgoJFAAAAAAKCgkVAAAAAQAAAAAAAAAAAAAAAQABFgAAABIAAAAAACBBRhefQ6N8FUQQXcRB4LxdQk9eCEOjfBpEF12wQwUXAAAAFVN5c3RlbS5EcmF3aW5nLlBvaW50RgIAAAABeAF5AAALCwQAAADgzrZDTz4TQwYYAAAAEEhodjd2c2dhOWpqZWtrYWMAAAAACgoJGQAAAAkaAAAAAAoJGwAAAAoJAQAAAAkcAAAABQUAAAAdQXBsb3Jpcy5DaGFydC5CdWJibGVDaGFydEF4aXMmAAAABm1DaGFydAltQXhpc1R5cGUKbUF4aXNUaXRsZQ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BBAQEAAAAAAAAAAAAAAQEBAQEBAQEBAQHAAAABAAAAAMEBAMZQXBsb3Jpcy5DaGFydC5CdWJibGVDaGFydAIAAAAhQXBsb3Jpcy5DaGFydC5CdWJibGVDaGFydEF4aXNUeXBlAgAAABNBcGxvcmlzLkNoYXJ0LkNoYXJ0AgAAAJsBQXBsb3Jpcy5CYXNlLk9iamVjdHMuRGF0YU9iamVjdENvbGxlY3Rpb25gMVtbQXBsb3Jpcy5DaGFydC5WYWx1ZUxpbmUsIEFwbG9yaXMuQ2hhcnQsIFZlcnNpb249NC4wLjAuMTQ4NiwgQ3VsdHVyZT1uZXV0cmFsLCBQdWJsaWNLZXlUb2tlbj0xNmZjMTNhMjI2YzBlOTUxXV0DAAAAmwFBcGxvcmlzLkJhc2UuT2JqZWN0cy5EYXRhT2JqZWN0Q29sbGVjdGlvbmAxW1tBcGxvcmlzLkNoYXJ0LkF4aXNCcmVhaywgQXBsb3Jpcy5DaGFydCwgVmVyc2lvbj00LjAuMC4xNDg2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AuMC4xNDg2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R0AAAAhQXBsb3Jpcy5DaGFydC5CdWJibGVDaGFydEF4aXNUeXBlAQAAAAd2YWx1ZV9fAAgCAAAAAAAAAAYeAAAAAVgJAQAAAAkfAAAACSAAAAABAAAAAAAAAAAAAAAAAAAAWUABAAAAAAAAJEAAAAAgQQABCSEAAAAKCSIAAAAJIwAAAAkkAAAAASUAAAAXAAAApYu+QYBHokMBJgAAABcAAADnIhVEgEeiQwknAAAACSgAAAAJKQAAAAoAAAAAAAAAAAAAAAAJKgAAAAAAAAAAAAkrAAAACQEAAAAJAQAAAAksAAAAAQcAAAAFAAAACQEAAAABLQAAAB0AAAABAAAABi4AAAABWQkBAAAACS8AAAAJMAAAAAEAAAAAAAAAAAAAAAAAAAAIQAAAAAAAAADwPwAAACBBAAEJMQAAAAoJMgAAAAkzAAAACTQAAAABNQAAABcAAACli75BgEeiQwE2AAAAFwAAAKWLvkEHAC5BCTcAAAAJOAAAAAk5AAAACgAAAAAAAAAAAAAAAAk6AAAAAAAAAAAACTsAAAAJAQAAAAkBAAAACTwAAAAFCgAAAKQBQXBsb3Jpcy5CYXNlLk9iamVjdHMuRGF0YU9iamVjdENvbGxlY3Rpb25gMVtbQXBsb3Jpcy5DaGFydC5CdWJibGVDaGFydE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iAUFwbG9yaXMuQmFzZS5PYmplY3RzLlNvcnRhYmxlQ29sbGVjdGlvbmAxW1tBcGxvcmlzLkNoYXJ0LkJ1YmJsZUNoYXJ0RWxlbWVudCwgQXBsb3Jpcy5DaGFydCwgVmVyc2lvbj00LjAuMC4xNDg2LCBDdWx0dXJlPW5ldXRyYWwsIFB1YmxpY0tleVRva2VuPTE2ZmMxM2EyMjZjMGU5NTFdXQMAAACaAVN5c3RlbS5Db2xsZWN0aW9ucy5HZW5lcmljLkxpc3RgMVtbQXBsb3Jpcy5DaGFydC5CdWJibGVDaGFydE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PQAAAAk+AAAACQEAAAAJAQAAAAk/AAAABQsAAACiAUFwbG9yaXMuQmFzZS5PYmplY3RzLkRhdGFPYmplY3RDb2xsZWN0aW9uYDFbW0FwbG9yaXMuQ2hhcnQuQnViYmxlQ2hhcnR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QnViYmxlQ2hhcnRHcm91cCwgQXBsb3Jpcy5DaGFydCwgVmVyc2lvbj00LjAuMC4xNDg2LCBDdWx0dXJlPW5ldXRyYWwsIFB1YmxpY0tleVRva2VuPTE2ZmMxM2EyMjZjMGU5NTFdXQMAAACYAVN5c3RlbS5Db2xsZWN0aW9ucy5HZW5lcmljLkxpc3RgMVtbQXBsb3Jpcy5DaGFydC5CdWJibGVDaGFydE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AAAAAJQQAAAAkBAAAACQEAAAAJQgAAAAQMAAAAoQFTeXN0ZW0uQ29sbGVjdGlvbnMuR2VuZXJpYy5MaXN0YDFbW0FwbG9yaXMuQ2hhcnQuQnViYmxlQ2hhcnQrVW51c2VkRWxlbWVudCwgQXBsb3Jpcy5DaGFydCwgVmVyc2lvbj00LjAuMC4xNDg2LCBDdWx0dXJlPW5ldXRyYWwsIFB1YmxpY0tleVRva2VuPTE2ZmMxM2EyMjZjMGU5NTFdXQMAAAAGX2l0ZW1zBV9zaXplCF92ZXJzaW9uBAAAKUFwbG9yaXMuQ2hhcnQuQnViYmxlQ2hhcnQrVW51c2VkRWxlbWVudFtdAgAAAAgICUMAAAAAAAAABAAAAAUNAAAAoQFBcGxvcmlzLkJhc2UuT2JqZWN0cy5EYXRhT2JqZWN0Q29sbGVjdGlvbmAxW1tBcGxvcmlzLkNoYXJ0LkJ1YmJsZUNoYXJ0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nViYmxlQ2hhcnRMaW5lLCBBcGxvcmlzLkNoYXJ0LCBWZXJzaW9uPTQuMC4wLjE0ODYsIEN1bHR1cmU9bmV1dHJhbCwgUHVibGljS2V5VG9rZW49MTZmYzEzYTIyNmMwZTk1MV1dAwAAAJcBU3lzdGVtLkNvbGxlY3Rpb25zLkdlbmVyaWMuTGlzdGAxW1tBcGxvcmlzLkNoYXJ0LkJ1YmJsZUNoYXJ0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EAAAACUUAAAAJAQAAAAkBAAAACUYAAAAFDgAAACdBcGxvcmlzLkNoYXJ0LlN0YW5kYXJkTWFnbml0dWRlUHJvdmlkZXIEAAAAEm1NYWduaXR1ZGVBYnNvbHV0ZRFtTWFnbml0dWRlUGVyY2VudBJtQWJzb2x1dGVWYXJpYWJsZXMRbVBlcmNlbnRWYXJpYWJsZXMAAAcHCAgICAIAAAAAAAAAAAAAAAlHAAAACUgAAAAFD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GUFwbG9yaXMuQ2hhcnQuQnViYmxlQ2hhcnQCAAAAGUFwbG9yaXMuQ2hhcnQuQnViYmxlQ2hhcnQCAAAACAEICAEICAgCAAAACQEAAAAJAQAAAAAAAAAABkkAAAABLgMAAAAGSgAAAAEsBksAAAABLQZMAAAAASsBAAAAAAoKBk0AAAAITS9kL3l5eXkAAAAACgAAAAAAAAAABREAAAAaQXBsb3Jpcy5CYXNlLlVJLlZpc3VhbFJlY3QUAAAAC21TdGFydFBvaW50CW1FbmRQb2ludAttTGluZUZvcm1hdAttRmlsbEZvcm1hdAltUm90YXRpb24SbVJlY3RhbmdsZVByb3ZpZGVyDG1QYWludE9mZnNldBJtUGFpbnRTaXplT3ZlcnJpZGUObUV4dHJhUm90YXRpb24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BAAEBAQABAAAAAAHAgAAAwAVU3lzdGVtLkRyYXdpbmcuUG9pbnRGBAAAABVTeXN0ZW0uRHJhd2luZy5Qb2ludEYEAAAAH0FwbG9yaXMuQmFzZS5PYmplY3RzLkxpbmVGb3JtYXQDAAAAH0FwbG9yaXMuQmFzZS5PYmplY3RzLkZpbGxGb3JtYXQDAAAACypBcGxvcmlzLkJhc2UuVUkuSVJlY3RhbmdsZVBvc2l0aW9uUHJvdmlkZXIDAAAAFFN5c3RlbS5EcmF3aW5nLlNpemVGBAAAABRTeXN0ZW0uRHJhd2luZy5TaXplRgQAAAALGVN5c3RlbS5EcmF3aW5nLlJlY3RhbmdsZUYEAAAACAgBAQgBAQ9TeXN0ZW0uSW50UHRyW10BAwAAAAFOAAAAFwAAAKWLvkEHAC5BAU8AAAAXAAAA5yIVRIBHokMJUAAAAAlRAAAAAAAAAAoFUgAAABRTeXN0ZW0uRHJhd2luZy5TaXplRgIAAAAFd2lkdGgGaGVpZ2h0AAALCwQAAAAAAAAAAAAAAAFTAAAAUgAAAAAAAAAAAAAAAAAAAAFUAAAAEgAAAAAAAAAAAAAAAAAAAAAAAAAUAAAA/////wEBCglVAAAAAQAKAA8UAAAAKCwAAAJQSwMEFAAGAAgAAAAhANAr4s+DAQAAgAYAABMACAJbQ29udGVudF9UeXBlc10ueG1s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xV3UrDMBS+F3yHkltZs00QkXW7cHqpA+cDxOZ0DUuTkJP9vb2n2RQdtXNsoDcNbfL9JeTrYLSudLIEj8qajPXSLkvA5FYqM8vY6/Sxc8sSDMJIoa2BjG0A2Wh4eTGYbhxgQmiDGStDcHecY15CJTC1DgzNFNZXItCrn3En8rmYAe93uzc8tyaACZ1Qc7DhYAyFWOiQPKzp89YJwVlyv11XS2VMOKdVLgIZ5fUsb8QtW3FLI/fMdWxRqBykzRcVWUoJP/ZiRfF/EPCgscVZg8IuekrI6B5L5fBqF+GZ9t4rCclE+PAkKgrK15qvrJ+/WTtP2/ehQW0vDzoPQmIJECqdxjGthDK/0I+Lkcehd2Yjdb5IfKSP/j/xcf1HPgJdMODxefqRRJoDB4BhowHPnHZLeki5FB7kS/B0F89u4Cv3AR+5repmwNP3+/td/OBtk6damnjrkBrTw/GH8NE8NbrjiAh8UNDaPZ+KVLfHC+6VD9R9LkE2aPP4/xi+AwAA//8DAFBLAwQUAAYACAAAACEAUHxOwfY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ySz0oDMRCH74LvEObezbaCiDTbiwi9idQHGJPZP+xuJiTTun17g6C4sNYek8x8882PbHfTOKgTxdSxN7AuSlDkLbvONwbeDs+rB1BJ0Dsc2JOBMyXYVbc321caUHJTaruQVKb4ZKAVCY9aJ9vSiKngQD6/1BxHlHyMjQ5oe2xIb8ryXsffDKhmTLV3BuLerUEdziFP/p/Ndd1ZemJ7HMnLwgg9r8hkjA2JgWnQHxz7d+a+yMKgl10217v8vaceSdChoLYcaRViTilKl3P90XFsX/J1+qq4JHR3vdB89aVwaBLyjtxlJQzh20jP/kD1CQAA//8DAFBLAwQUAAYACAAAACEAqBE78gsBAADUAw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vJPBasMwDIbvg72D0X1xkm5ljDq9lEGvW/cAJlHi0MQOlrotbz+TbWkKJbuEXQyS8P9//JY328+2Ee/oqXZWQRLFINDmrqhtpeDt8Hz3CIJY20I3zqKCHgm22e3N5gUbzeESmbojEVQsKTDM3ZOUlBtsNUWuQxsmpfOt5lD6SnY6P+oKZRrHa+mnGpBdaIp9ocDvixWIQ98F57+1XVnWOe5cfmrR8hUL+eH8kQwiB1HtK2QFY4vkMFlFgRjkdZj7JWE4hIRnkKGUw5nMMTwsyUDcN+FFxzS+6zn79aL2RnssXtmHdZtSTNtzMMmSMOMmnOMYWz/LMfsw6T/DpL/JyIu/mH0BAAD//wMAUEsDBBQABgAIAAAAIQAirucU0wEAACYDAAAPAAAAeGwvd29ya2Jvb2sueG1sjFJNb5wwEL1X6n+wfGdtDGyiFRCl+6GuVFWR0iZn15jFCraRbQpR1f/eAbrbrdJDL8yM5zHzZubld6Nu0XfpvLKmwPGKYiSNsJUypwJ//XKIbjHygZuKt9bIAr9Kj+/K9+/ywbqXb9a+IChgfIGbELoNIV40UnO/sp00kKmt0zxA6E7Ed07yyjdSBt0SRumaaK4MXips3P/UsHWthNxZ0WtpwlLEyZYHoO8b1Xlc5rVq5dMyEeJd95lr4D22GLXch32lgqwKnEFoB/nXg+u7D71qIcvWlKaYlJcpHxzifbBbq2EI7x+UCD04BaYTatrDk5KD//PDFKLxWZnKDgVObigs9vUcMsogHObks6pCAx3jeIIsbx+lOjUBzsGSdG5ArjrMC4ROs0Vmnu5xWmoMl5rsEQYA320UOO5YxRPFN2h2hQb/gmb/RCdXaPAv6GRCk7k4UBK8FbCpycwkUkopMBHWiN45ONgWMr93JsfwyYcyB4t6pwr84yZjyT7bJRHLDkl0n+1pFK8TFq3TA8vSLWNpxn6e1aLHN3LRSjjrbR1WwmqyKAUUJogchZwFd7sIrsz1uLl3ojnu0KHlJzjjPDUAgdD0nZmRs8TLXwAAAP//AwBQSwMEFAAGAAgAAAAhAPtipW2UBgAApxsAABMAAAB4bC90aGVtZS90aGVtZTEueG1s7FlPb9s2FL8P2HcgdG9tJ7YbB3WK2LGbrU0bxG6HHmmZllhTokDSSX0b2uOAAcO6YZcBu+0wbCvQArt0nyZbh60D+hX2SEqyGMtL0gYb1tWHRCJ/fP/f4yN19dqDiKFDIiTlcdurXa56iMQ+H9M4aHt3hv1LGx6SCsdjzHhM2t6cSO/a1vvvXcWbKiQRQbA+lpu47YVKJZuVivRhGMvLPCExzE24iLCCVxFUxgIfAd2IVdaq1WYlwjT2UIwjIHt7MqE+QUNN0tvKiPcYvMZK6gGfiYEmTZwVBjue1jRCzmWXCXSIWdsDPmN+NCQPlIcYlgom2l7V/LzK1tUK3kwXMbVibWFd3/zSdemC8XTN8BTBKGda69dbV3Zy+gbA1DKu1+t1e7WcngFg3wdNrSxFmvX+Rq2T0SyA7OMy7W61Ua27+AL99SWZW51Op9FKZbFEDcg+1pfwG9VmfXvNwRuQxTeW8PXOdrfbdPAGZPHNJXz/SqtZd/EGFDIaT5fQ2qH9fko9h0w42y2FbwB8o5rCFyiIhjy6NIsJj9WqWIvwfS76ANBAhhWNkZonZIJ9iOIujkaCYs0AbxJcmLFDvlwa0ryQ9AVNVNv7MMGQEQt6r55//+r5U/Tq+ZPjh8+OH/50/OjR8cMfLS1n4S6Og+LCl99+9ufXH6M/nn7z8vEX5XhZxP/6wye//Px5ORAyaCHRiy+f/PbsyYuvPv39u8cl8G2BR0X4kEZEolvkCB3wCHQzhnElJyNxvhXDEFNnBQ6Bdgnpngod4K05ZmW4DnGNd1dA8SgDXp/dd2QdhGKmaAnnG2HkAPc4Zx0uSg1wQ/MqWHg4i4Ny5mJWxB1gfFjGu4tjx7W9WQJVMwtKx/bdkDhi7jMcKxyQmCik5/iUkBLt7lHq2HWP+oJLPlHoHkUdTEtNMqQjJ5AWi3ZpBH6Zl+kMrnZss3cXdTgr03qHHLpISAjMSoQfEuaY8TqeKRyVkRziiBUNfhOrsEzIwVz4RVxPKvB0QBhHvTGRsmzNbQH6Fpx+A0O9KnX7HptHLlIoOi2jeRNzXkTu8Gk3xFFShh3QOCxiP5BTCFGM9rkqg+9xN0P0O/gBxyvdfZcSx92nF4I7NHBEWgSInpmJEl9eJ9yJ38GcTTAxVQZKulOpIxr/XdlmFOq25fCubLe9bdjEypJn90SxXoX7D5boHTyL9wlkxfIW9a5Cv6vQ3ltfoVfl8sXX5UUphiqtGxLba5vOO1rZeE8oYwM1Z+SmNL23hA1o3IdBvc4cOkl+EEtCeNSZDAwcXCCwWYMEVx9RFQ5CnEDfXvM0kUCmpAOJEi7hvGiGS2lrPPT+yp42G/ocYiuHxGqPj+3wuh7Ojhs5GSNVYM60GaN1TeCszNavpERBt9dhVtNCnZlbzYhmiqLDLVdZm9icy8HkuWowmFsTOhsE/RBYuQnHfs0azjuYkbG2u/VR5hbjhYt0kQzxmKQ+0nov+6hmnJTFypIiWg8bDPrseIrVCtxamuwbcDuLk4rs6ivYZd57Ey9lEbzwElA7mY4sLiYni9FR22s11hoe8nHS9iZwVIbHKAGvS91MYhbAfZOvhA37U5PZZPnCm61MMTcJanD7Ye2+pLBTBxIh1Q6WoQ0NM5WGAIs1Jyv/WgPMelEKlFSjs0mxvgHB8K9JAXZ0XUsmE+KrorMLI9p29jUtpXymiBiE4yM0YjNxgMH9OlRBnzGVcONhKoJ+ges5bW0z5RbnNOmKl2IGZ8cxS0KclludolkmW7gpSLkM5q0gHuhWKrtR7vyqmJS/IFWKYfw/U0XvJ3AFsT7WHvDhdlhgpDOl7XGhQg5VKAmp3xfQOJjaAdECV7wwDUEFd9TmvyCH+r/NOUvDpDWcJNUBDZCgsB+pUBCyD2XJRN8pxGrp3mVJspSQiaiCuDKxYo/IIWFDXQObem/3UAihbqpJWgYM7mT8ue9pBo0C3eQU882pZPnea3Pgn+58bDKDUm4dNg1NZv9cxLw9WOyqdr1Znu29RUX0xKLNqmdZAcwKW0ErTfvXFOGcW62tWEsarzUy4cCLyxrDYN4QJXCRhPQf2P+o8Jn94KE31CE/gNqK4PuFJgZhA1F9yTYeSBdIOziCxskO2mDSpKxp09ZJWy3brC+40835njC2luws/j6nsfPmzGXn5OJFGju1sGNrO7bS1ODZkykKQ5PsIGMcY76UFT9m8dF9cPQOfDaYMSVNMMGnKoGhhx6YPIDktxzN0q2/AA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FJ8IHNoBAABVAwAAGAAAAHhsL3dvcmtzaGVldHMvc2hlZXQyLnhtbIyTy27bMBBF9wX6DwT3FinZsWzDcpDECBogQY0+kjVNjSTCIimQdC2jyL93JFVpAW+8kTh8HM7cO1zftromv8B5ZU1G44hTAkbaXJkyoz9/PE4WlPggTC5qayCjZ/D0dvP50/pk3cFXAIEgwfiMViE0K8a8rEALH9kGDK4U1mkRMHQl840DkfeHdM0SzudMC2XoQFi5axi2KJSErZVHDSYMEAe1CJi/r1TjR5qW1+C0cIdjM5FWN4jYq1qFcw+lRMvVU2msE/sa627jmZAjuw8u8FpJZ70tQoQ4NiR6WfOSLRmSNutcYQWd7MRBkdG7mLLNuhfnVcHJ/zcmndZ7aw/dwlOeUd5tZRd7H3utd47shYcHW7+pPFRoKnqaQyGOdfg3uYgW04RP4+TmY/GbPX0BVVYBj8yw1K7iVX7egpco9d9b+0u3IgjMoBElvAhXKuNJDUW3JUopcQOjHwfb9LN4y96GYPUYVdgJgI7zaEpJYW0YA+RCG5596P/k6FRGf89nnCfpNJ7cze/55Kb7JPOUT9I0ie/TB76cc/4+uqPb66zRQjJoJfStuBhacbPW7Wr3/EpebI6uo3JfDeywzn789l2KrhkG/TFNdGFMln08iM0fAAAA//8DAFBLAwQUAAYACAAAACEAFJ8IHNoBAABVAwAAGAAAAHhsL3dvcmtzaGVldHMvc2hlZXQzLnhtbIyTy27bMBBF9wX6DwT3FinZsWzDcpDECBogQY0+kjVNjSTCIimQdC2jyL93JFVpAW+8kTh8HM7cO1zftromv8B5ZU1G44hTAkbaXJkyoz9/PE4WlPggTC5qayCjZ/D0dvP50/pk3cFXAIEgwfiMViE0K8a8rEALH9kGDK4U1mkRMHQl840DkfeHdM0SzudMC2XoQFi5axi2KJSErZVHDSYMEAe1CJi/r1TjR5qW1+C0cIdjM5FWN4jYq1qFcw+lRMvVU2msE/sa627jmZAjuw8u8FpJZ70tQoQ4NiR6WfOSLRmSNutcYQWd7MRBkdG7mLLNuhfnVcHJ/zcmndZ7aw/dwlOeUd5tZRd7H3utd47shYcHW7+pPFRoKnqaQyGOdfg3uYgW04RP4+TmY/GbPX0BVVYBj8yw1K7iVX7egpco9d9b+0u3IgjMoBElvAhXKuNJDUW3JUopcQOjHwfb9LN4y96GYPUYVdgJgI7zaEpJYW0YA+RCG5596P/k6FRGf89nnCfpNJ7cze/55Kb7JPOUT9I0ie/TB76cc/4+uqPb66zRQjJoJfStuBhacbPW7Wr3/EpebI6uo3JfDeywzn789l2KrhkG/TFNdGFMln08iM0fAAAA//8DAFBLAwQUAAYACAAAACEAgp9vyAgDAACtBgAAGAAAAHhsL3dvcmtzaGVldHMvc2hlZXQxLnhtbIxV32/aMBB+n7T/wfI75BcEiJJUBVStUqdV69Y+G8chVpM4s02BTfvfd7aBhtJJfQn2ne/77s6fj/Rq19TohUnFRZvhYOhjxFoqCt6uM/zzx81gipHSpC1ILVqW4T1T+Cr//CndCvmsKsY0AoRWZbjSuks8T9GKNUQNRcda8JRCNkTDVq491UlGChvU1F7o+7HXEN5ih5DIj2CIsuSULQXdNKzVDkSymmjIX1W8U0e0XfEhvEKSLdR6zKeX4tJ5TnjB6CK/hlMplCj1kIrGc6ldVjnzZmd1NvQC6J1mNUQ+b7oBAHdQ3IrXXO9tuRg1NLldt0KSVQ03sgtGhPayJJfwH88TkPK04NBbIwgkWZnh6yBZRtjLU3tzj5xtVW+NNFk9sJpRzQoQEEZGGCshns3BWzD5gKjsAYNIqOYvbMHqOsPzCLT1y3LAEgi8E0N/fWS7sVK6l2hFFFuI+okXugJKkGzBSrKp9atxOpxGoR8F4fjk/C62XxhfVxpCRtAv07ak2C+ZoqAkkydkQEUNdPBFDTfvAZpNdq4sx9YHVnpvLiA+BLqQ8BgSR1Og2f43LLAVO0Jb95JokqdSbBEoF5hVR8y7CpIRdJAa47WxZnhkCY1h7gxQJBSg4NhL7qfeC3SPHkIWlyeC8xNLdyK06QD7KQWo5J0UjNXU/MoYnuPN3YnIZjMenzsXfedroNfnNaq4LN1Yz3mjc2irpgwfeN84Fy7cOd82wPl6DXA6dPfRkTX7SuSatwrVrDRCGU4wkk5Jdq1FZ61wDSuhtWiOuwrGHYNr8odAUQqhjxtQmsF9YHrTISE5CNBOsAx3QmpJuMaoAvtvAY562XG49HA2msWTcAYdhHmtOb10AGzN1oTuD7MLyYQXGZa3hRUb2+k7pfMUftFGAuafeOT74SQKBtfx3B+MzSeMJ/5gMgmD+WThz2Lf/3ucLQ08hDdD/t3B0hDqsR1ldsRP3ejL02aX3N89oq+igCcDT/Zby+6hBXb99ADF2KUZApCe+9pkvdMfTf4PAAD//wMAUEsDBBQABgAIAAAAIQAUSeSYawMAAOQKAAANAAAAeGwvc3R5bGVzLnhtbMRWW2/TMBR+R+I/WH7v0pZ2W6umiHaLQAKEtCHx6iZOas2XyHFGC+K/c46dNqFbWQdC9KW+ne9855oze71RktxzWwmjYzo461PCdWoyoYuYfr5NepeUVI7pjEmjeUy3vKKv5y9fzCq3lfxmzbkjAKGrmK6dK6dRVKVrrlh1Zkqu4SY3VjEHW1tEVWk5yyoUUjIa9vvnkWJC04AwVekpIIrZu7rspUaVzImVkMJtPRYlKp2+K7SxbCWB6mYwYukO228ewCuRWlOZ3J0BXGTyXKT8IctJNIkAaT7LjXYVSU2tXUzHAI0apnfafNUJXoEDm1fzWfWN3DMJJwMazWepkcYSB54BYv5EM8XDiyWTYmUFPsuZEnIbjod44J3ZvFMCTMPDCHkENh09fbxqUd9YweSjmL+Ir1BJQ3WCzwNToTO+4VlMLw/I3rK1Uexp3LqD+5gLDtj+nQ+eUnZgw58q846rwPFCyn0ajDDicDCfQTo6bnUCG9Ksb7clxFtD5aDHovDuideFZdvBcHy6QGWkyJBFsfRZZotVTBP4La8DzKq52Af1fOTRO4RPJXdU1/XFJEHQ5+jy/gB/rozNoAPtCgtrKBzNZ5LnDlCtKNb470yJOoxzUK7zWSZYYTSTsIx2Es0CYFMu5Q12qS/5HhujtcmJrlWi3DvIb+h3WE27JcSuWQa8sAH8Y0IDkH+20KujQoSVpdx+rNWK28R3Tk/Rn2JitbuFd1q7fyNFoRXHzgQ2eYFP1jieOt/Zfb0dM2L0n/hE3RCFgHVidfFHsSKb/MmgYdAfD9peOnhw52TfQI557wS03yTQP5cOloTkOdWOISXd/D/wyvOwINlPw/LZAPHvVO4vdbtPFoJfOWhxRkrzlWfkLXRZK4W+gy+yDz6qrIV0QmMqTChZiyzjON9gizrEeSCO1rfiMAD9VvwjlqncqYZwdmR91R3qCwIEtAS2nlRbCmB/tmk7lodwONH4Xrb3CCjKeM5q6W73lzFt1x94JmoFSppXn8S9cR4ipu36PTbWwTm6hW/c+wrGCvgntRUx/X69uJhcXSfD3mV/cdkbveLj3mS8uOqNR8vF1VUy6Q/7yx9gBY5/U5iF/mK88mMgdNnBaFpJGMJsY2xD/qY9i2lnE+j7jxnQhq/Azoio2o+n858AAAD//wMAUEsDBBQABgAIAAAAIQADVe21iwIAAAsHAAAbAAAAeGwvZHJhd2luZ3Mvdm1sRHJhd2luZzEudm1s7FVNb9swDL33VwjqIZcE/ujaYYodoOjQ2zZg7bZjodhKrFYSDZtxnP76UbKTNh06FNiAXWYkDkVSJN/jA5L11jD6ulZ0Od80TrRFpaxsZ1YXDbSwwlkBVnTW8JMxEX6XCKuVLpQYfg5X+jdcUX2hnppYGqdCrEUUWVl8t+YmzPWt0XxxwjIQbSVrZeQONsg6oXrMuSo1+qgP69LK+ijASoky5wmPfIHoqMIi64aCuKsV02XO7/qYnjtM45SzAqApW/2ocp4mF3E8DW/OqEZNfX0Oda0lVjm38TQ2Y8aQd/SOezWMSA2xgQfF7kG7FneGiluNqgnzMRrI12PrRpZaOQxw4SHn6NsW4Jwq0E+b84asEdQzFAdIz+G0SZyeczbcOz3COIwwqaHVqMEJuWzBbFDNCZmVzVq7mVErFEma1DgfPQi1SOm41SVWItVuXim9rlCEpMeZdqXqReJrdLrVS2007kSly1K5uW1htm1kPQutBfqLE7bSxhRgoMn56YoelXjARJFCCyXBlRuEPYU+mbZD2elTut+v548oK2HLwA2kLdti0yha7UDWgeEXbDpw6rACJF0toWcjOX7iUnu+iaGZNCj8MBPfj2Wl7vZ5/hqF9doJz9lkkUUUDWNFnRiLhmMvroxf70fSJvuyvKfSt2GpnwEHobCsF5+gUz80VlfKmDbA894bEuSv3ktXVNCEkVg6Zcn5lMVTbw1GMmUfsqgXz9Ko1CXBuCYuF9fStCrE956ArRdfYbuIfcAbo++KBGLdIvHu0fbM+9MBFOVmhDnI91VJXvyhJN+/e02SSerluRflGdl7Uab/RflvRHn2QpRnJEn/CTL6i7JM3y7LiP4BFz8BAAD//wMAUEsDBBQABgAIAAAAIQAswCV4vAAAAAMBAAAUAAAAeGwvc2hhcmVkU3RyaW5ncy54bWxsj0GLwjAQhe8L/ocwd5sqIrIk8SB69uCCHkM6tYFmUjvTov9+uywiiMfve+8dntneU6tG7DlmsrAoSlBIIVeRrhZ+Tof5BhSLp8q3mdDCAxm2bvZlmEVNW2ILjUj3rTWHBpPnIndIU1LnPnmZsL9q7nr0FTeIklq9LMu1Tj4SqJAHEgsrUAPF24C7JzvD0RlxZ6PFGf0H/+LyLk4YGrWvawwSRyRk/tgYuVBHzF2Lr1hPJ9wvAAAA//8DAFBLAwQUAAYACAAAACEATYKpTjUBAAAS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FfS8MwFMXfBb9DyXubpoWioe1AZYg4EJwovoXkrg02f0ii3b69WTfrZD5ezrk/zrm3XmzVkHyB89LoBpEsRwloboTUXYNe1sv0CiU+MC3YYDQ0aAceLdrLi5pbyo2DJ2csuCDBJ5GkPeW2QX0IlmLseQ+K+Sw6dBQ3xikW4ug6bBn/YB3gIs8rrCAwwQLDe2BqZyI6IgWfkfbTDRNAcAwDKNDBY5IR/OsN4JT/d2FSTpxKhp2NnY5xT9mCH8TZvfVyNo7jmI3lFCPmJ/ht9fg8VU2l3t+KA2prwSl3wIJxbY1Ph3i4gfmwijfeSBA3u/bBaBZ6ppN74yIApK7xuSsSpwJUHTeTmIkeGvxIr+Xt3XqJ2iInVZqTlJTroqD5NS2r932Kv4AY7OyL7TcAAAD//wMAUEsDBBQABgAIAAAAIQAUvZ0oHQEAAEECAAAQAAAAeGwvY29tbWVudHMxLnhtbLxQTUsDMRC9C/6HkLvNbg9SZbOFFgqCoIcKehx3Z7uBfJTMbGn99U7drqA3L0II7728mfdItTwGrw6YyaVodTkrtMLYpNbFndUv283NQitiiC34FNHqE5Je1tdXVZNCwMikZEEkq3vm/b0x1PQYgGZpj1FeupQDsNC8M7TPCC31iBy8mRfFrQngoq4rGLhPmSZgJlCvPQytG0g99ZkrM/rqCcjApcWjI/4mKmNn9arUavQ/tFYXksJ4FFOW8yzXu6TQhzqAt/pOC2mST1m52OIRZWJRnsW8SZFH0xb6FOAsdhCcP43q/CyYr41cv6ompSx/B4wC/RBiZSTTSJ4Z482l8a+26x9ty39p+/aXtlPv8acnRvUnAAAA//8DAFBLAwQUAAYACAAAACEAvyvrnpEBAAA+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0FP4zAQhe9I+x8i36nTFiFUOUYIdsUBRKUW9mycSWPh2pFniFp+PZNEpemye9nbzLynl89jR13vtj5rIaGLoRDTSS4yCDaWLmwK8bz+dX4lMiQTSuNjgELsAcW1/nGmlik2kMgBZhwRsBA1UbOQEm0NW4MTlgMrVUxbQ9ymjYxV5SzcRfu+hUBylueXEnYEoYTyvPkKFEPioqX/DS2j7fjwZb1vGFirm6bxzhriU+pHZ1PEWFH2aKwLFLHOfu4seCXHNsWcK7DvydFe50qOW7WyxsMtf0JXxiMoeRyoezDd+pbGJdSqpUULlmLK0H3wAmciezUIHVghWpOcCcSAnW1o+to3SEn/jukNawBCJdkwDPty7B3X7kLPewMXp8YuYABh4RRx7cgDPlVLk+gvxPMxcc8w8A44q45vOub7Iu2l2b+lgXR8qn5RzPcH0YMLb/jcrOOdIThs/HSoVrVJUPIlHfTjQN3zspPvQm5rEzZQHjzfhe6lvAy/g55eTPJ5zlc/mil5fPj6EwAA//8DAFBLAQItABQABgAIAAAAIQDQK+LPgwEAAIAGAAATAAAAAAAAAAAAAAAAAAAAAABbQ29udGVudF9UeXBlc10ueG1sUEsBAi0AFAAGAAgAAAAhAFB8TsH2AAAATAIAAAsAAAAAAAAAAAAAAAAAvAMAAF9yZWxzLy5yZWxzUEsBAi0AFAAGAAgAAAAhAKgRO/ILAQAA1AMAABoAAAAAAAAAAAAAAAAA4wYAAHhsL19yZWxzL3dvcmtib29rLnhtbC5yZWxzUEsBAi0AFAAGAAgAAAAhACKu5xTTAQAAJgMAAA8AAAAAAAAAAAAAAAAALgkAAHhsL3dvcmtib29rLnhtbFBLAQItABQABgAIAAAAIQD7YqVtlAYAAKcbAAATAAAAAAAAAAAAAAAAAC4LAAB4bC90aGVtZS90aGVtZTEueG1sUEsBAi0AFAAGAAgAAAAhAOdldbjWAAAAuAEAACMAAAAAAAAAAAAAAAAA8xEAAHhsL3dvcmtzaGVldHMvX3JlbHMvc2hlZXQxLnhtbC5yZWxzUEsBAi0AFAAGAAgAAAAhABSfCBzaAQAAVQMAABgAAAAAAAAAAAAAAAAAChMAAHhsL3dvcmtzaGVldHMvc2hlZXQyLnhtbFBLAQItABQABgAIAAAAIQAUnwgc2gEAAFUDAAAYAAAAAAAAAAAAAAAAABoVAAB4bC93b3Jrc2hlZXRzL3NoZWV0My54bWxQSwECLQAUAAYACAAAACEAgp9vyAgDAACtBgAAGAAAAAAAAAAAAAAAAAAqFwAAeGwvd29ya3NoZWV0cy9zaGVldDEueG1sUEsBAi0AFAAGAAgAAAAhABRJ5JhrAwAA5AoAAA0AAAAAAAAAAAAAAAAAaBoAAHhsL3N0eWxlcy54bWxQSwECLQAUAAYACAAAACEAA1XttYsCAAALBwAAGwAAAAAAAAAAAAAAAAD+HQAAeGwvZHJhd2luZ3Mvdm1sRHJhd2luZzEudm1sUEsBAi0AFAAGAAgAAAAhACzAJXi8AAAAAwEAABQAAAAAAAAAAAAAAAAAwiAAAHhsL3NoYXJlZFN0cmluZ3MueG1sUEsBAi0AFAAGAAgAAAAhAE2CqU41AQAAEgIAABEAAAAAAAAAAAAAAAAAsCEAAGRvY1Byb3BzL2NvcmUueG1sUEsBAi0AFAAGAAgAAAAhABS9nSgdAQAAQQIAABAAAAAAAAAAAAAAAAAAHCQAAHhsL2NvbW1lbnRzMS54bWxQSwECLQAUAAYACAAAACEAvyvrnpEBAAA+AwAAEAAAAAAAAAAAAAAAAABnJQAAZG9jUHJvcHMvYXBwLnhtbFBLBQYAAAAADwAPAOQDAAAuKAAAAAAPFQAAAAMAAAAIAgAAAAMAAAAEAAAABRk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lYAAAAFQXJpYWwGVwAAAAYrbW4tZWEJWAAAAAEACVkAAAAHGgAAAAABAAAAEQAAAAQUU3lzdGVtLkRyYXdpbmcuQ29sb3IEAAAABVoAAAAUU3lzdGVtLkRyYXdpbmcuQ29sb3IEAAAABXZhbHVlBXN0YXRlCmtub3duQ29sb3IEbmFtZQAAAAEJBwcEAAAAAAAAAAAAAAAAAAAACgFbAAAAWgAAAAAAAP//////AgAAAAoBXAAAAFoAAAD//////////wIAAAAKAV0AAABaAAAATkEi//////8CAAAACgFeAAAAWgAAAN7c2///////AgAAAAoBXwAAAFoAAAB+aT///////wIAAAAKAWAAAABaAAAAjIRy//////8CAAAACgFhAAAAWgAAACUh7f//////AgAAAAoBYgAAAFoAAAA0O0b//////wIAAAAKAWMAAABaAAAAdJjD//////8CAAAACgFkAAAAWgAAAB6U9///////AgAAAAoBZQAAAFoAAAAelPf//////wIAAAAKAWYAAABaAAAAJSHt//////8CAAAACgFnAAAAWgAAAAAAAP//////AgAAAAoBaAAAAFoAAAD//////////wIAAAAKAWkAAABaAAAATkEi//////8CAAAACgFqAAAAWgAAAN7c2///////AgAAAAoEGwAAAJgBU3lzdGVtLkNvbGxlY3Rpb25zLkdlbmVyaWMuTGlzdGAxW1tBcGxvcmlzLkJhc2UuT2JqZWN0cy5EYXRhT2JqZWN0LCBBcGxvcmlzLkJhc2UsIFZlcnNpb249NC4wLjAuMTQ4NiwgQ3VsdHVyZT1uZXV0cmFsLCBQdWJsaWNLZXlUb2tlbj0xNmZjMTNhMjI2YzBlOTUxXV0DAAAABl9pdGVtcwVfc2l6ZQhfdmVyc2lvbgQAACFBcGxvcmlzLkJhc2UuT2JqZWN0cy5EYXRhT2JqZWN0W10DAAAACAgJawAAAAYAAAAGAAAABBwAAACVAVN5c3RlbS5Db2xsZWN0aW9ucy5HZW5lcmljLkxpc3RgMVtbQXBsb3Jpcy5CYXNlLlVJLlZpc3VhbE9iamVjdCwgQXBsb3Jpcy5CYXNlLCBWZXJzaW9uPTQuMC4wLjE0ODYsIEN1bHR1cmU9bmV1dHJhbCwgUHVibGljS2V5VG9rZW49MTZmYzEzYTIyNmMwZTk1MV1dAwAAAAZfaXRlbXMFX3NpemUIX3ZlcnNpb24EAAAeQXBsb3Jpcy5CYXNlLlVJLlZpc3VhbE9iamVjdFtdAwAAAAgICWwAAAABAAAAAQAAAAUfAAAAmwFBcGxvcmlzLkJhc2UuT2JqZWN0cy5EYXRhT2JqZWN0Q29sbGVjdGlvbmAxW1tBcGxvcmlzLkNoYXJ0LlZhbHVl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C4wLjE0ODYsIEN1bHR1cmU9bmV1dHJhbCwgUHVibGljS2V5VG9rZW49MTZmYzEzYTIyNmMwZTk1MV1dAwAAAJEBU3lzdGVtLkNvbGxlY3Rpb25zLkdlbmVyaWMuTGlzdGAxW1tBcGxvcmlzLkNoYXJ0LlZhbHVl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tAAAACW4AAAAJBQAAAAkBAAAACW8AAAAFIAAAAJsBQXBsb3Jpcy5CYXNlLk9iamVjdHMuRGF0YU9iamVjdENvbGxlY3Rpb25gMVtbQXBsb3Jpcy5DaGFydC5BeGlzQnJlYWs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AuMC4xNDg2LCBDdWx0dXJlPW5ldXRyYWwsIFB1YmxpY0tleVRva2VuPTE2ZmMxM2EyMjZjMGU5NTFdXQMAAACRAVN5c3RlbS5Db2xsZWN0aW9ucy5HZW5lcmljLkxpc3RgMVtbQXBsb3Jpcy5DaGFydC5BeGlzQnJlYW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cAAAAAlxAAAACQUAAAAJAQAAAAlyAAAABSE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B1BcGxvcmlzLkNoYXJ0LkJ1YmJsZUNoYXJ0QXhpcwIAAAAZQXBsb3Jpcy5DaGFydC5CdWJibGVDaGFydAIAAAAIAQgIAQgICAIAAAAJBQAAAAkBAAAAAAAAAAAJSQAAAAMAAAAJSgAAAAlLAAAACUwAAAABAAAAAAoKCU0AAAAAAAAACgAAAAAAAAAABSI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B1BcGxvcmlzLkNoYXJ0LkJ1YmJsZUNoYXJ0QXhpcwIAAAAZQXBsb3Jpcy5DaGFydC5CdWJibGVDaGFydAIAAAAIAQgIAQgICAIAAAAJBQAAAAkBAAAAAAAAAAAJSQAAAAMAAAAJSgAAAAlLAAAACUwAAAABAAAAAAoKCU0AAAAAAAAACgAAAAAAAAAABSM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B1BcGxvcmlzLkNoYXJ0LkJ1YmJsZUNoYXJ0QXhpcwIAAAAZQXBsb3Jpcy5DaGFydC5CdWJibGVDaGFydAIAAAAIAQgIAQgICAIAAAAJBQAAAAkBAAAAAAAAAAAJSQAAAAMAAAAJSgAAAAlLAAAACUwAAAABAAAAAAoGcwAAAAElCU0AAAABAAAACgAAAAAAAAAABSQAAACaAUFwbG9yaXMuQmFzZS5PYmplY3RzLkRhdGFPYmplY3RDb2xsZWN0aW9uYDFbW0FwbG9yaXMuQ2hhcnQuVGlja01hcms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C4wLjE0ODYsIEN1bHR1cmU9bmV1dHJhbCwgUHVibGljS2V5VG9rZW49MTZmYzEzYTIyNmMwZTk1MV1dAwAAAJABU3lzdGVtLkNvbGxlY3Rpb25zLkdlbmVyaWMuTGlzdGAxW1tBcGxvcmlzLkNoYXJ0LlRpY2tNYXJ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XQAAAAJdQAAAAkFAAAACQEAAAAJdgAAAAUn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XcAAAAXAAAApYu+QYBHokMBeAAAABcAAADnIhVEgEeiQwl5AAAAuAEAAP////8BAQoJegAAAAEACgAHKAAAAAABAAAABAAAAAQVU3lzdGVtLkRyYXdpbmcuUG9pbnRGBAAAAAF7AAAAFwAAAMQPGESAR6JDAXwAAAAXAAAApYu+QZdkq0MBfQAAABcAAABEF5tDl2SrQwF+AAAAFwAAAOciFUSXZKtDBykAAAAAAQAAAAQAAAAEF0FwbG9yaXMuQmFzZS5BbmNob3JNb2RlAwAAAAV/AAAAF0FwbG9yaXMuQmFzZS5BbmNob3JNb2RlAQAAAAd2YWx1ZV9fAAgDAAAABAAAAAGAAAAAfwAAAAUAAAABgQAAAH8AAAADAAAAAYIAAAB/AAAABgAAAAUqAAAAFUFwbG9yaXMuQmFzZS5VSS5MYWJlbBwAAAAPbUFuY2hvclBvc2l0aW9uC21BbmNob3JNb2RlD21BZGRJbm5lck1hcmdpbhZtT2Zmc2V0RGlyZWN0aW9uQW5jaG9yF21PZmZzZXRPcnRob2dvbmFsQW5jaG9yC21UZXh0Rm9ybWF0CW1Sb3RhdGlvbgptQmFja0NvbG9yDW1Vc2VCYWNrQ29sb3IObVVzZ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EBAQAAQMDAQAAAAAHAgAAAwA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wAAAAGDAAAAFwAAAMQPGESAR6JDAYQAAAB/AAAABAAAAAAAAAAAAAAAAAmFAAAAAAAAAAmGAAAAAAAFhwAAACpBcGxvcmlzLkJhc2UuVUkuTGFiZWwrTGluZUFsaWdubWVudE9wdGlvbnMBAAAAB3ZhbHVlX18ACAMAAAAAAAAAAYgAAABSAAAAAAAAQQAAYEEBiQAAABIAAAAAAAAAAAAAAAAAAAAAAAAAXrrZPwkeAAAACgmKAAAABosAAAAA5AIAAP////8AAQoJjAAAAAEACgABKwAAABsAAAAJjQAAAAYAAAAGAAAAASwAAAAcAAAACY4AAAACAAAAAgAAAAEvAAAAHwAAAAoJjwAAAAmQAAAACQcAAAAJAQAAAAmRAAAAATAAAAAgAAAACgmSAAAACZMAAAAJBwAAAAkBAAAACZQAAAAFM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HUFwbG9yaXMuQ2hhcnQuQnViYmxlQ2hhcnRBeGlzAgAAABlBcGxvcmlzLkNoYXJ0LkJ1YmJsZUNoYXJ0AgAAAAgBCAgBCAgIAgAAAAkHAAAACQEAAAAAAAAAAAlJAAAAAwAAAAlKAAAACUsAAAAJTAAAAAEAAAAACgoJTQAAAAAAAAAKAAAAAAAAAAAFM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HUFwbG9yaXMuQ2hhcnQuQnViYmxlQ2hhcnRBeGlzAgAAABlBcGxvcmlzLkNoYXJ0LkJ1YmJsZUNoYXJ0AgAAAAgBCAgBCAgIAgAAAAkHAAAACQEAAAABAAAAAAlJAAAAAwAAAAlKAAAACUsAAAAJTAAAAAEAAAAACgoJTQAAAAAAAAAKAAAAAAAAAAAFM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HUFwbG9yaXMuQ2hhcnQuQnViYmxlQ2hhcnRBeGlzAgAAABlBcGxvcmlzLkNoYXJ0LkJ1YmJsZUNoYXJ0AgAAAAgBCAgBCAgIAgAAAAkHAAAACQEAAAAAAAAAAAlJAAAAAwAAAAlKAAAACUsAAAAJTAAAAAEAAAAACglzAAAACU0AAAABAAAACgAAAAAAAAAAATQAAAAkAAAACgmVAAAACZYAAAAJBwAAAAkBAAAACZcAAAABNwAAACcAAAABmAAAABcAAACli75BgEeiQwGZAAAAFwAAAKWLvkEHAC5BCZoAAAC4AQAA/////wEBCgmbAAAAAQAKAAc4AAAAAAEAAAAEAAAABBVTeXN0ZW0uRHJhd2luZy5Qb2ludEYEAAAAAZwAAAAXAAAApYu+QQ4A/EABnQAAABcAAACKDiRBgEeiQwGeAAAAFwAAAIoOJEGAtydDAZ8AAAAXAAAAig4kQQcALkEHOQAAAAABAAAABAAAAAQXQXBsb3Jpcy5CYXNlLkFuY2hvck1vZGUDAAAAAaAAAAB/AAAAAQAAAAGhAAAAfwAAAAYAAAABogAAAH8AAAACAAAAAaMAAAB/AAAACAAAAAE6AAAAKgAAAAGkAAAAFwAAAKWLvkEOAPxAAaUAAAB/AAAAAQAAAAAAAAAAAAAAAAmmAAAAAAAAAAmnAAAAAAABqAAAAIcAAAAAAAAAAakAAABSAAAAAAAAQQAAYEEBqgAAABIAAAAAAAAAAAAAAAAAAAAAAAAAXrrZPwkuAAAACgmrAAAACYsAAADkAgAA/////wABCgmsAAAAAQAKAAE7AAAAGwAAAAmtAAAABgAAAAYAAAABPAAAABwAAAAJrgAAAAIAAAACAAAABD0AAACaAVN5c3RlbS5Db2xsZWN0aW9ucy5HZW5lcmljLkxpc3RgMVtbQXBsb3Jpcy5DaGFydC5CdWJibGVDaGFydEVsZW1lbnQsIEFwbG9yaXMuQ2hhcnQsIFZlcnNpb249NC4wLjAuMTQ4NiwgQ3VsdHVyZT1uZXV0cmFsLCBQdWJsaWNLZXlUb2tlbj0xNmZjMTNhMjI2YzBlOTUxXV0DAAAABl9pdGVtcwVfc2l6ZQhfdmVyc2lvbgQAACJBcGxvcmlzLkNoYXJ0LkJ1YmJsZUNoYXJ0RWxlbWVudFtdAgAAAAgICa8AAAACAAAAHQAAAAE+AAAAGwAAAAmwAAAAAgAAAAYAAAABPwAAABwAAAAJsQAAAAAAAAAAAAAABEAAAACYAVN5c3RlbS5Db2xsZWN0aW9ucy5HZW5lcmljLkxpc3RgMVtbQXBsb3Jpcy5DaGFydC5CdWJibGVDaGFydEdyb3VwLCBBcGxvcmlzLkNoYXJ0LCBWZXJzaW9uPTQuMC4wLjE0ODYsIEN1bHR1cmU9bmV1dHJhbCwgUHVibGljS2V5VG9rZW49MTZmYzEzYTIyNmMwZTk1MV1dAwAAAAZfaXRlbXMFX3NpemUIX3ZlcnNpb24EAAAgQXBsb3Jpcy5DaGFydC5CdWJibGVDaGFydEdyb3VwW10CAAAACAgJsgAAAAEAAAAeAAAAAUEAAAAbAAAACbMAAAABAAAABQAAAAFCAAAAHAAAAAmxAAAAAAAAAAAAAAAHQwAAAAABAAAABAAAAAQnQXBsb3Jpcy5DaGFydC5CdWJibGVDaGFydCtVbnVzZWRFbGVtZW50AgAAAA0EBEQAAACXAVN5c3RlbS5Db2xsZWN0aW9ucy5HZW5lcmljLkxpc3RgMVtbQXBsb3Jpcy5DaGFydC5CdWJibGVDaGFydExpbmUsIEFwbG9yaXMuQ2hhcnQsIFZlcnNpb249NC4wLjAuMTQ4NiwgQ3VsdHVyZT1uZXV0cmFsLCBQdWJsaWNLZXlUb2tlbj0xNmZjMTNhMjI2YzBlOTUxXV0DAAAABl9pdGVtcwVfc2l6ZQhfdmVyc2lvbgQAAB9BcGxvcmlzLkNoYXJ0LkJ1YmJsZUNoYXJ0TGluZVtdAgAAAAgICbQAAAAAAAAAAAAAAAFFAAAAGwAAAAm1AAAAAAAAAAAAAAABRgAAABwAAAAJsQAAAAAAAAAAAAAAD0cAAAAAAAAACA9IAAAAAAAAAAgFUA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m2AAAACbcAAAABAAAA/v///wEAAAABAAAAAQAAAAEAAAABAAAAAQAAAAAAAQVR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bgAAAAJuQAAAAEAAAAAAAAAAAAAAAAAAAAAAQVVAAAAH0FwbG9yaXMuQmFzZS5PYmplY3RzLlBlcnNJZERhdGECAAAAA21JZAttQ3VzdG9tRGF0YQcCCAMAAAAJugAAAAoFWAAAABpBcGxvcmlzLkJhc2UuT2JqZWN0cy5Db2xvcgcAAAASRGF0YU9iamVjdCttUGFyZW50FURhdGFPYmplY3QrbUNvbnRhaW5lcgVtVHlwZQRtUkdCEG1UaGVtZUNvbG9ySW5kZXgMbUF1dG9VcGRhdGVkCW1Nb2RpZmllZAICAAAAAAAICAgBAQMAAAAKCgAAAAAAAAAADQAAAAABAVkAAABYAAAACgoBAAAAAAAAAP////8AAQdrAAAAAAEAAAAIAAAABB9BcGxvcmlzLkJhc2UuT2JqZWN0cy5EYXRhT2JqZWN0AwAAAAkPAAAACQoAAAAJCwAAAAkNAAAACQUAAAAJBwAAAAoKB2wAAAAAAQAAAAQAAAAEHEFwbG9yaXMuQmFzZS5VSS5WaXN1YWxPYmplY3QDAAAACREAAAANAwRtAAAAkQFTeXN0ZW0uQ29sbGVjdGlvbnMuR2VuZXJpYy5MaXN0YDFbW0FwbG9yaXMuQ2hhcnQuVmFsdWVMaW5lLCBBcGxvcmlzLkNoYXJ0LCBWZXJzaW9uPTQuMC4wLjE0ODYsIEN1bHR1cmU9bmV1dHJhbCwgUHVibGljS2V5VG9rZW49MTZmYzEzYTIyNmMwZTk1MV1dAwAAAAZfaXRlbXMFX3NpemUIX3ZlcnNpb24EAAAZQXBsb3Jpcy5DaGFydC5WYWx1ZUxpbmVbXQIAAAAICAm7AAAAAAAAAAAAAAABbgAAABsAAAAJtQAAAAAAAAAAAAAAAW8AAAAcAAAACbEAAAAAAAAAAAAAAARwAAAAkQFTeXN0ZW0uQ29sbGVjdGlvbnMuR2VuZXJpYy5MaXN0YDFbW0FwbG9yaXMuQ2hhcnQuQXhpc0JyZWFrLCBBcGxvcmlzLkNoYXJ0LCBWZXJzaW9uPTQuMC4wLjE0ODYsIEN1bHR1cmU9bmV1dHJhbCwgUHVibGljS2V5VG9rZW49MTZmYzEzYTIyNmMwZTk1MV1dAwAAAAZfaXRlbXMFX3NpemUIX3ZlcnNpb24EAAAZQXBsb3Jpcy5DaGFydC5BeGlzQnJlYWtbXQIAAAAICAm8AAAAAAAAAAAAAAABcQAAABsAAAAJtQAAAAAAAAAAAAAAAXIAAAAcAAAACbEAAAAAAAAAAAAAAAR0AAAAkAFTeXN0ZW0uQ29sbGVjdGlvbnMuR2VuZXJpYy5MaXN0YDFbW0FwbG9yaXMuQ2hhcnQuVGlja01hcmssIEFwbG9yaXMuQ2hhcnQsIFZlcnNpb249NC4wLjAuMTQ4NiwgQ3VsdHVyZT1uZXV0cmFsLCBQdWJsaWNLZXlUb2tlbj0xNmZjMTNhMjI2YzBlOTUxXV0DAAAABl9pdGVtcwVfc2l6ZQhfdmVyc2lvbgQAABhBcGxvcmlzLkNoYXJ0LlRpY2tNYXJrW10CAAAACAgJvQAAAAsAAAAXAAAAAXUAAAAbAAAACb4AAAALAAAAFwAAAAF2AAAAHAAAAAmxAAAAAAAAAAAAAAABeQAAAFAAAAAKCgAAAEA/Cb8AAAAJwAAAAAEAAAD+////AAAAAAEAAAAAAAAAAAAAAAEAAAAAAAAAAAAAAXoAAABVAAAACcEAAAAKBYU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nViYmxlQ2hhcnRBeGlzAgAAAAEBAQsaQXBsb3Jpcy5CYXNlLk9iamVjdHMuQ29sb3IDAAAAAQEaQXBsb3Jpcy5CYXNlLk9iamVjdHMuQ29sb3IDAAAAAwAAAAkFAAAACgAAAAAAQEEJVgAAAAlXAAAACcIAAAABAAnDAAAAAYYAAABYAAAACgoBAAAAAAAAAP////8AAQSKAAAAlgFTeXN0ZW0uQ29sbGVjdGlvbnMuR2VuZXJpYy5MaXN0YDFbW0FwbG9yaXMuQmFzZS5PYmplY3RzLlZhcmlhYmxlLCBBcGxvcmlzLkJhc2UsIFZlcnNpb249NC4wLjAuMTQ4NiwgQ3VsdHVyZT1uZXV0cmFsLCBQdWJsaWNLZXlUb2tlbj0xNmZjMTNhMjI2YzBlOTUxXV0DAAAABl9pdGVtcwVfc2l6ZQhfdmVyc2lvbgQAAB9BcGxvcmlzLkJhc2UuT2JqZWN0cy5WYXJpYWJsZVtdAwAAAAgICcQAAAABAAAAAQAAAAGMAAAAVQAAAAnFAAAACgeNAAAAAAEAAAAIAAAABB9BcGxvcmlzLkJhc2UuT2JqZWN0cy5EYXRhT2JqZWN0AwAAAAkhAAAACSIAAAAJIwAAAAkkAAAACR8AAAAJIAAAAAoKB44AAAAAAQAAAAQAAAAEHEFwbG9yaXMuQmFzZS5VSS5WaXN1YWxPYmplY3QDAAAACScAAAAJKgAAAAoKAY8AAABtAAAACbsAAAAAAAAAAAAAAAGQAAAAGwAAAAm1AAAAAAAAAAAAAAABkQAAABwAAAAJsQAAAAAAAAAAAAAAAZIAAABwAAAACbwAAAAAAAAAAAAAAAGTAAAAGwAAAAm1AAAAAAAAAAAAAAABlAAAABwAAAAJsQAAAAAAAAAAAAAAAZUAAAB0AAAACcYAAAAEAAAAGgAAAAGWAAAAGwAAAAnHAAAABAAAABoAAAABlwAAABwAAAAJsQAAAAAAAAAAAAAAAZoAAABQAAAACgoAAABAPwnIAAAACckAAAABAAAA/v///wAAAAABAAAAAAAAAAAAAAABAAAAAAAAAAAAAAGbAAAAVQAAAAnKAAAACgWm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J1YmJsZUNoYXJ0QXhpcwIAAAABAQELGkFwbG9yaXMuQmFzZS5PYmplY3RzLkNvbG9yAwAAAAEBGkFwbG9yaXMuQmFzZS5PYmplY3RzLkNvbG9yAwAAAAMAAAAJBwAAAAoAAAAAAEBBCVYAAAAJVwAAAAnLAAAAAQAJzAAAAAGnAAAAWAAAAAoKAQAAAAAAAAD/////AAEBqwAAAIoAAAAJzQAAAAEAAAABAAAAAawAAABVAAAACc4AAAAKB60AAAAAAQAAAAgAAAAEH0FwbG9yaXMuQmFzZS5PYmplY3RzLkRhdGFPYmplY3QDAAAACTEAAAAJMgAAAAkzAAAACTQAAAAJLwAAAAkwAAAACgoHrgAAAAABAAAABAAAAAQcQXBsb3Jpcy5CYXNlLlVJLlZpc3VhbE9iamVjdAMAAAAJNwAAAAk6AAAACgoHrwAAAAABAAAABAAAAAQgQXBsb3Jpcy5DaGFydC5CdWJibGVDaGFydEVsZW1lbnQCAAAACc8AAAAJ0AAAAAoKB7AAAAAAAQAAAAQAAAAEH0FwbG9yaXMuQmFzZS5PYmplY3RzLkRhdGFPYmplY3QDAAAACdAAAAAJzwAAAAoKB7EAAAAAAQAAAAAAAAAEHEFwbG9yaXMuQmFzZS5VSS5WaXN1YWxPYmplY3QDAAAAB7IAAAAAAQAAAAQAAAAEHkFwbG9yaXMuQ2hhcnQuQnViYmxlQ2hhcnRHcm91cAIAAAAJ0QAAAA0DB7MAAAAAAQAAAAQAAAAEH0FwbG9yaXMuQmFzZS5PYmplY3RzLkRhdGFPYmplY3QDAAAACdEAAAANAwe0AAAAAAEAAAAAAAAABB1BcGxvcmlzLkNoYXJ0LkJ1YmJsZUNoYXJ0TGluZQIAAAAHtQAAAAABAAAAAAAAAAQfQXBsb3Jpcy5CYXNlLk9iamVjdHMuRGF0YU9iamVjdAMAAAABtgAAAFgAAAAKCgAAAAAAAAAADQAAAAABAbcAAABYAAAACgoBAAAAAAAAAP////8AAQG4AAAAWAAAAAoKAQAAAP///wD/////AAEBuQAAAFgAAAAKCgEAAAAAAAAA/////wABD7oAAAABAAAACAAAAAAHuwAAAAABAAAAAAAAAAQXQXBsb3Jpcy5DaGFydC5WYWx1ZUxpbmUCAAAAB7wAAAAAAQAAAAAAAAAEF0FwbG9yaXMuQ2hhcnQuQXhpc0JyZWFrAgAAAAe9AAAAAAEAAAAQAAAABBZBcGxvcmlzLkNoYXJ0LlRpY2tNYXJrAgAAAAnSAAAACdMAAAAJ1AAAAAnVAAAACdYAAAAJ1wAAAAnYAAAACdkAAAAJ2gAAAAnbAAAACdwAAAANBQe+AAAAAAEAAAAQAAAABB9BcGxvcmlzLkJhc2UuT2JqZWN0cy5EYXRhT2JqZWN0AwAAAAnSAAAACdMAAAAJ1AAAAAnVAAAACdYAAAAJ1wAAAAnYAAAACdkAAAAJ2gAAAAnbAAAACdwAAAANBQW/AAAAGkFwbG9yaXMuQmFzZS5PYmplY3RzLkNvbG9yBwAAABJEYXRhT2JqZWN0K21QYXJlbnQVRGF0YU9iamVjdCttQ29udGFpbmVyBW1UeXBlBG1SR0IQbVRoZW1lQ29sb3JJbmRleAxtQXV0b1VwZGF0ZWQJbU1vZGlmaWVkBAIAAAAAAB9BcGxvcmlzLkJhc2UuT2JqZWN0cy5MaW5lRm9ybWF0AwAAAAgICAEBAwAAAAl5AAAACgAAAAAAAAAADQAAAAAABcAAAAAaQXBsb3Jpcy5CYXNlLk9iamVjdHMuQ29sb3IHAAAAEkRhdGFPYmplY3QrbVBhcmVudBVEYXRhT2JqZWN0K21Db250YWluZXIFbVR5cGUEbVJHQhBtVGhlbWVDb2xvckluZGV4DG1BdXRvVXBkYXRlZAltTW9kaWZpZWQEAgAAAAAAH0FwbG9yaXMuQmFzZS5PYmplY3RzLkxpbmVGb3JtYXQDAAAACAgIAQEDAAAACXkAAAAKAQAAAAAAAAD/////AAEPwQAAAAEAAAAI7AAAAAHCAAAAWAAAAAoKAAAAAAAAAAANAAAAAAEBwwAAAFgAAAAKCgEAAAAAAAAA/////wABB8QAAAAAAQAAAAQAAAAEHUFwbG9yaXMuQmFzZS5PYmplY3RzLlZhcmlhYmxlAwAAAAXdAAAAHUFwbG9yaXMuQmFzZS5PYmplY3RzLlZhcmlhYmxlAgAAAAZOdW1iZXIIUG9zaXRpb24AAAgIAwAAAAEAAAAAAAAAAd4AAADdAAAAAAAAAAAAAAAB3wAAAN0AAAAAAAAAAAAAAAHgAAAA3QAAAAAAAAAAAAAAD8UAAAABAAAACAAAAAAHxgAAAAABAAAAEAAAAAQWQXBsb3Jpcy5DaGFydC5UaWNrTWFyawIAAAAJ4QAAAAniAAAACeMAAAAJ5AAAAA0MB8cAAAAAAQAAABAAAAAEH0FwbG9yaXMuQmFzZS5PYmplY3RzLkRhdGFPYmplY3QDAAAACeEAAAAJ4gAAAAnjAAAACeQAAAANDAXIAAAAGkFwbG9yaXMuQmFzZS5PYmplY3RzLkNvbG9yBwAAABJEYXRhT2JqZWN0K21QYXJlbnQVRGF0YU9iamVjdCttQ29udGFpbmVyBW1UeXBlBG1SR0IQbVRoZW1lQ29sb3JJbmRleAxtQXV0b1VwZGF0ZWQJbU1vZGlmaWVkBAIAAAAAAB9BcGxvcmlzLkJhc2UuT2JqZWN0cy5MaW5lRm9ybWF0AwAAAAgICAEBAwAAAAmaAAAACgAAAAAAAAAADQAAAAAABckAAAAaQXBsb3Jpcy5CYXNlLk9iamVjdHMuQ29sb3IHAAAAEkRhdGFPYmplY3QrbVBhcmVudBVEYXRhT2JqZWN0K21Db250YWluZXIFbVR5cGUEbVJHQhBtVGhlbWVDb2xvckluZGV4DG1BdXRvVXBkYXRlZAltTW9kaWZpZWQEAgAAAAAAH0FwbG9yaXMuQmFzZS5PYmplY3RzLkxpbmVGb3JtYXQDAAAACAgIAQEDAAAACZoAAAAKAQAAAAAAAAD/////AAEPygAAAAEAAAAI6wAAAAHLAAAAWAAAAAoKAAAAAAAAAAANAAAAAAEBzAAAAFgAAAAKCgEAAAAAAAAA/////wABB80AAAAAAQAAAAQAAAAEHUFwbG9yaXMuQmFzZS5PYmplY3RzLlZhcmlhYmxlAwAAAAHlAAAA3QAAAAEAAAAAAAAAAeYAAADdAAAAAAAAAAAAAAAB5wAAAN0AAAAAAAAAAAAAAAHoAAAA3QAAAAAAAAAAAAAAD84AAAABAAAACAAAAAAFzwAAACBBcGxvcmlzLkNoYXJ0LkJ1YmJsZUNoYXJ0RWxlbWVudBwAAAAGbUNoYXJ0E21FbGVtZW50RGVzY3JpcHRpb24HbVhWYWx1ZQdtWVZhbHVlCm1TaXplVmFsdWUIbVZpc2libGUNbUN1c3RvbVpPcmRlcgZtR3JvdXALbUdyb3VwVmFsdWUHbUxhYmVsMQdtTGFiZWwyDW1PdXRsaWVyQXJyb3cNbVZpc3VhbEJ1YmJsZQ1tVmlzdWFsTWFya2VyDG1DZW50ZXJQb2ludAdtUmFkaXVzC21Hcm91cEluZGV4CW1FeGNlbFJvdxBtTGFiZWwxUG9zaXRpb25zEm1MYWJlbDFBbmNob3JNb2Rlcw9tTGFiZWwxUG9zaXRpb24QbUxhYmVsMlBvc2l0aW9ucxJtTGFiZWwyQW5jaG9yTW9kZXMPbUxhYmVsMlBvc2l0aW9uGERhdGFPYmplY3QrbUNoaWxkT2JqZWN0cxJEYXRhT2JqZWN0K21QYXJlbnQVRGF0YU9iamVjdCttQ29udGFpbmVyGURhdGFPYmplY3QrbVZpc3VhbE9iamVjdHMEAgICAgAABAIEBAQEBAQAAAAEBAAEBAADBAQDGUFwbG9yaXMuQ2hhcnQuQnViYmxlQ2hhcnQCAAAAAQgeQXBsb3Jpcy5DaGFydC5CdWJibGVDaGFydEdyb3VwAgAAABxBcGxvcmlzLkNoYXJ0LkNvbm5lY3RlZExhYmVsAgAAABxBcGxvcmlzLkNoYXJ0LkNvbm5lY3RlZExhYmVsAgAAABpBcGxvcmlzLkJhc2UuVUkuVmlzdWFsTGluZQMAAAAdQXBsb3Jpcy5CYXNlLlVJLlZpc3VhbEVsbGlwc2UDAAAAGkFwbG9yaXMuQ2hhcnQuVmlzdWFsTWFya2VyAgAAABVTeXN0ZW0uRHJhd2luZy5Qb2ludEYEAAAACwgIF1N5c3RlbS5EcmF3aW5nLlBvaW50RltdBAAAABlBcGxvcmlzLkJhc2UuQW5jaG9yTW9kZVtdAwAAAAgXU3lzdGVtLkRyYXdpbmcuUG9pbnRGW10EAAAAGUFwbG9yaXMuQmFzZS5BbmNob3JNb2RlW10DAAAAC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G6QAAABJUZWNoIEVmZmVjdGl2ZW5lc3MIBgAAAAAAgEtACAYAAAAAAAAAQAoBAgAAAAnRAAAACgnqAAAACesAAAAKCgnsAAAAAe0AAAAXAAAAuGipQ1bf5kIAAJBAAAAAAAIAAAAJ7gAAAAnvAAAABAAAAAnwAAAACfEAAAAEAAAACfIAAAAJAQAAAAkBAAAACfMAAAAB0AAAAM8AAAAJAQAAAAb0AAAAD1RlY2ggdnMuIFBlb3BsZQgGAAAAAACASkAIBgAAAAAAAPA/CgEBAAAACdEAAAAKCfUAAAAJ9gAAAAoKCfcAAAAB+AAAABcAAACKrqNDVf9bQwAAkEAAAAAAAwAAAAn5AAAACfoAAAAEAAAACfsAAAAJ/AAAAAQAAAAJ/QAAAAkBAAAACQEAAAAJ/gAAAAXRAAAAHkFwbG9yaXMuQ2hhcnQuQnViYmxlQ2hhcnRHcm91cAgAAAAGbUNoYXJ0EW1Hcm91cERlc2NyaXB0aW9uDW1TaG93SW5MZWdlbmQSbUZpcnN0RWxlbWVudEluZGV4GERhdGFPYmplY3QrbUNoaWxkT2JqZWN0cxJEYXRhT2JqZWN0K21QYXJlbnQVRGF0YU9iamVjdCttQ29udGFpbmVyGURhdGFPYmplY3QrbVZpc3VhbE9iamVjdHMEAQAAAwQEAxlBcGxvcmlzLkNoYXJ0LkJ1YmJsZUNoYXJ0AgAAAAEI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mLAAAAAQAAAAAJ/wAAAAkBAAAACQEAAAAJAAEAAAXSAAAAFkFwbG9yaXMuQ2hhcnQuVGlja01hcmsNAAAAC21WaXN1YWxMaW5lCW1HcmlkTGluZQZtTGFiZWwFbUF4aXMIbVZpc2libGUJbVBvc2l0aW9uC21TdGFydFBvaW50CW1FbmRQb2ludAxtSGFzR3JpZExpbmUYRGF0YU9iamVjdCttQ2hpbGRPYmplY3RzEkRhdGFPYmplY3QrbVBhcmVudBVEYXRhT2JqZWN0K21Db250YWluZXIZRGF0YU9iamVjdCttVmlzdWFsT2JqZWN0cwQEBAQAAAQEAAMEBAMaQXBsb3Jpcy5CYXNlLlVJLlZpc3VhbExpbmUDAAAAGkFwbG9yaXMuQmFzZS5VSS5WaXN1YWxMaW5lAwAAABVBcGxvcmlzLkJhc2UuVUkuTGFiZWwDAAAAEkFwbG9yaXMuQ2hhcnQuQXhpcwIAAAABBhVTeXN0ZW0uRHJhd2luZy5Qb2ludEYEAAAAFVN5c3RlbS5EcmF3aW5nLlBvaW50RgQAAAA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EAAAkCAQAACQMBAAAJBQAAAAEAAAAAAAAAAAEEAQAAFwAAAKWLvkGAR6JDAQUBAAAXAAAApYu+QYBHpEMBCQYBAAAJBQAAAAkBAAAACQcBAAAB0wAAANIAAAAJCAEAAAoJCQEAAAkFAAAAAQAAAAAAACRAAQoBAAAXAAAAiy6iQoBHokMBCwEAABcAAACLLqJCgEekQwAJDAEAAAkFAAAACQEAAAAJDQEAAAHUAAAA0gAAAAkOAQAACgkPAQAACQUAAAABAAAAAAAANEABEAEAABcAAAAWXQpDgEeiQwERAQAAFwAAABZdCkOAR6RDAAkSAQAACQUAAAAJAQAAAAkTAQAAAdUAAADSAAAACRQBAAAKCRUBAAAJBQAAAAEAAAAAAAA+QAEWAQAAFwAAAOeiQ0OAR6JDARcBAAAXAAAA56JDQ4BHpEMACRgBAAAJBQAAAAkBAAAACRkBAAAB1gAAANIAAAAJGgEAAAoJGwEAAAkFAAAAAQAAAAAAAERAARwBAAAXAAAAuOh8Q4BHokMBHQEAABcAAAC46HxDgEekQwAJHgEAAAkFAAAACQEAAAAJHwEAAAHXAAAA0gAAAAkgAQAACSEBAAAJIgEAAAkFAAAAAQAAAAAAAElAASMBAAAXAAAARBebQ4BHokMBJAEAABcAAABEF5tDgEekQwEJJQEAAAkFAAAACQEAAAAJJgEAAAHYAAAA0gAAAAknAQAACgkoAQAACQUAAAABAAAAAAAATkABKQEAABcAAAAturdDgEeiQwEqAQAAFwAAAC26t0OAR6RDAAkrAQAACQUAAAAJAQAAAAksAQAAAdkAAADSAAAACS0BAAAKCS4BAAAJBQAAAAEAAAAAAIBRQAEvAQAAFwAAABVd1EOAR6JDATABAAAXAAAAFV3UQ4BHpEMACTEBAAAJBQAAAAkBAAAACTIBAAAB2gAAANIAAAAJMwEAAAoJNAEAAAkFAAAAAQAAAAAAAFRAATUBAAAXAAAA/f/wQ4BHokMBNgEAABcAAAD9//BDgEekQwAJNwEAAAkFAAAACQEAAAAJOAEAAAHbAAAA0gAAAAk5AQAACgk6AQAACQUAAAABAAAAAACAVkABOwEAABcAAABz0QZEgEeiQwE8AQAAFwAAAHPRBkSAR6RDAAk9AQAACQUAAAAJAQAAAAk+AQAAAdwAAADSAAAACT8BAAAKCUABAAAJBQAAAAEAAAAAAABZQAFBAQAAFwAAAOciFUSAR6JDAUIBAAAXAAAA5yIVRIBHpEMACUMBAAAJBQAAAAkBAAAACUQBAAAB4QAAANIAAAAJRQEAAAlGAQAACUcBAAAJBwAAAAEAAAAAAAAAAAFIAQAAFwAAAKWLvkGAR6JDAUkBAAAXAAAApYueQYBHokMBCUoBAAAJBwAAAAkBAAAACUsBAAAB4gAAANIAAAAJTAEAAAlNAQAACU4BAAAJBwAAAAEAAAAAAADwPwFPAQAAFwAAAKWLvkFV/1tDAVABAAAXAAAApYueQVX/W0MBCVEBAAAJBwAAAAkBAAAACVIBAAAB4wAAANIAAAAJUwEAAAlUAQAACVUBAAAJBwAAAAEAAAAAAAAAQAFWAQAAFwAAAKWLvkFW3+ZCAVcBAAAXAAAApYueQVbf5kIBCVgBAAAJBwAAAAkBAAAACVkBAAAB5AAAANIAAAAJWgEAAAoJWwEAAAkHAAAAAQAAAAAAAAhAAVwBAAAXAAAApYu+QQcALkEBXQEAABcAAACli55BBwAuQQAJXgEAAAkHAAAACQEAAAAJXwEAAAXqAAAAHEFwbG9yaXMuQ2hhcnQuQ29ubmVjdGVkTGFiZWwkAAAADm1Db25uZWN0b3JMaW5lEG1aT3JkZXJDb25uZWN0b3IObUNvbm5lY3Rvck1vZGUZbUFuZ2xlZENvbm5lY3RvckRpcmVjdGlvbhBtQ29ubmVjdG9yVGFyZ2V0GW1Db25uZWN0b3JUYXJnZXRBcmVhU2hhcGUabUNvbm5lY3RvckRpc3BsYXlUaHJlc2hvbGQTbUNvbm5lY3RBbmNob3JQb2ludB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RMYWJlbCttTGluZUFsaWdubWVudA9MYWJlbCttVGV4dFNpemUVTGFiZWwrbUxhYmVsUmVjdGFuZ2xlG0xhYmVsK21Jbm5lck1hcmdpbkxlZnRSaWdodAtMYWJlbCttVGV4dBBMYWJlbCttVmFyaWFibGVzE0xhYmVsK21WYXJpYWJsZUxpc3QUTGFiZWwr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EBAQEAAAEBAAAAAQABAAABAQEAAEDAwEAAAAABwIAAAMAHkFwbG9yaXMuQmFzZS5VSS5WaXN1YWxQb2x5bGluZQMAAAAIK0FwbG9yaXMuQ2hhcnQuQ29ubmVjdGVkTGFiZWwrZUNvbm5lY3Rvck1vZGUCAAAANkFwbG9yaXMuQ2hhcnQuQ29ubmVjdGVkTGFiZWwrZUFuZ2xlZENvbm5lY3RvckRpcmVjdGlvbgIAAAAZU3lzdGVtLkRyYXdpbmcuUmVjdGFuZ2xlRgQAAAAtQXBsb3Jpcy5DaGFydC5Db25uZWN0ZWRMYWJlbCtlVGFyZ2V0QXJlYVNoYXBlAgAAAAsB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IAAAAKPgMAAAVgAQAAK0FwbG9yaXMuQ2hhcnQuQ29ubmVjdGVkTGFiZWwrZUNvbm5lY3Rvck1vZGUBAAAAB3ZhbHVlX18ACAIAAAABAAAABWEBAAA2QXBsb3Jpcy5DaGFydC5Db25uZWN0ZWRMYWJlbCtlQW5nbGVkQ29ubmVjdG9yRGlyZWN0aW9uAQAAAAd2YWx1ZV9fAAgCAAAAAAAAAAFiAQAAEgAAALgop0NW391CAAAQQQAAEEEFYwEAAC1BcGxvcmlzLkNoYXJ0LkNvbm5lY3RlZExhYmVsK2VUYXJnZXRBcmVhU2hhcGUBAAAAB3ZhbHVlX18ACAIAAAABAAAAAACgQAABZAEAABcAAAC4aKlDVt/XQgFlAQAAfwAAAAEAAAAAAAAAAAAAAAAJZgEAAAAAAAAJZwEAAAAAAWgBAACHAAAAAAAAAAFpAQAAUgAAAAAAHEMAAGBBAWoBAAASAAAAAAAAAAAAAAAAAAAAAAAAAF662T8J6QAAAAoJawEAAAmLAAAANAMAAP////8AAQoJbAEAAAEACgAB6wAAAOoAAAAKPgMAAAFtAQAAYAEAAAEAAAABbgEAAGEBAAAAAAAAAW8BAAASAAAAuCinQ1bf3UIAABBBAAAQQQFwAQAAYwEAAAEAAAAAAKBAAAFxAQAAFwAAALhoqUNW3/VCAXIBAAB/AAAAAwAAAAAAAAAAAAAAAAlzAQAAAAAAAAl0AQAAAAABdQEAAIcAAAAAAAAAAXYBAABSAAAAAAAAAAAAAAABdwEAABIAAAAAAAAAAAAAAAAAAAAAAAAAAAAAAAZ4AQAABjU1LzIuMAoJeQEAAAZ6AQAAAS80AwAA/////wABCgl7AQAAAQAKAAXsAAAAGkFwbG9yaXMuQ2hhcnQuVmlzdWFsTWFya2VyDgAAAAxtQ2VudGVyUG9pbnQNbU1hcmtlckZvcm1hdAttTGluZUZvcm1hdA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AAAAcCAAADABVTeXN0ZW0uRHJhd2luZy5Qb2ludEYEAAAAGkFwbG9yaXMuQ2hhcnQuTWFya2VyRm9ybWF0AgAAAB9BcGxvcmlzLkJhc2UuT2JqZWN0cy5MaW5lRm9ybWF0AwAAABlTeXN0ZW0uRHJhd2luZy5SZWN0YW5nbGVGBAAAAAgIAQEIAQEPU3lzdGVtLkludFB0cltdAQIAAAABfAEAABcAAAC4aKlDVt/mQgl9AQAACgF+AQAAEgAAALgop0NW391CAAAQQQAAEEH4AgAA/////wEBCgl/AQAAAQEKAAfuAAAAAAEAAAAFAAAABBVTeXN0ZW0uRHJhd2luZy5Qb2ludEYEAAAAAYABAAAXAAAAuCitQ1bf5kIBgQEAABcAAAC4qKVDVt/mQgGCAQAAFwAAALhoqUNW3/VCAYMBAAAXAAAAuGipQ1bf10IBhAEAABcAAAC4aKlDVt/mQgfvAAAAAAEAAAAFAAAABBdBcGxvcmlzLkJhc2UuQW5jaG9yTW9kZQMAAAABhQEAAH8AAAAEAAAAAYYBAAB/AAAAAgAAAAGHAQAAfwAAAAMAAAABiAEAAH8AAAABAAAAAYkBAAB/AAAAAAAAAAfwAAAAAAEAAAAFAAAABBVTeXN0ZW0uRHJhd2luZy5Qb2ludEYEAAAAAYoBAAAXAAAAuCitQ1bf5kIBiwEAABcAAAC4qKVDVt/mQgGMAQAAFwAAALhoqUNW3/VCAY0BAAAXAAAAuGipQ1bf10IBjgEAABcAAAC4aKlDVt/mQgfxAAAAAAEAAAAFAAAABBdBcGxvcmlzLkJhc2UuQW5jaG9yTW9kZQMAAAABjwEAAH8AAAAEAAAAAZABAAB/AAAAAgAAAAGRAQAAfwAAAAMAAAABkgEAAH8AAAABAAAAAZMBAAB/AAAAAAAAAAHyAAAAGwAAAAm1AAAAAAAAAAAAAAAB8wAAABwAAAAJlAEAAAMAAAADAAAAAfUAAADqAAAACj4DAAABlQEAAGABAAABAAAAAZYBAABhAQAAAAAAAAGXAQAAEgAAAIpuoUNVf1dDAAAQQQAAEEEBmAEAAGMBAAABAAAAAACgQAABmQEAABcAAACKrqNDVX9UQwGaAQAAfwAAAAEAAAAAAAAAAAAAAAAJmwEAAAAAAAAJnAEAAAAAAZ0BAACHAAAAAAAAAAGeAQAAUgAAAAAAQkMAAGBBAZ8BAAASAAAAAAAAAAAAAAAAAAAAAAAAAF662T8J9AAAAAoJoAEAAAmLAAAANAMAAP////8AAQoJoQEAAAEACgAB9gAAAOoAAAAKPgMAAAGiAQAAYAEAAAEAAAABowEAAGEBAAAAAAAAAaQBAAASAAAAim6hQ1V/V0MAABBBAAAQQQGlAQAAYwEAAAEAAAAAAKBAAAGmAQAAFwAAAIquo0NVf2NDAacBAAB/AAAAAwAAAAAAAAAAAAAAAAmoAQAAAAAAAAmpAQAAAAABqgEAAIcAAAAAAAAAAasBAABSAAAAAAAAAAAAAAABrAEAABIAAAAAAAAAAAAAAAAAAAAAAAAAAAAAAAatAQAABjUzLzEuMAoJrgEAAAl6AQAANAMAAP////8AAQoJrwEAAAEACgAB9wAAAOwAAAABsAEAABcAAACKrqNDVf9bQwmxAQAACgGyAQAAEgAAAIpuoUNVf1dDAAAQQQAAEEH4AgAA/////wEBCgmzAQAAAQEKAAf5AAAAAAEAAAAFAAAABBVTeXN0ZW0uRHJhd2luZy5Qb2ludEYEAAAAAbQBAAAXAAAAim6nQ1X/W0MBtQEAABcAAACK7p9DVf9bQwG2AQAAFwAAAIquo0NVf2NDAbcBAAAXAAAAiq6jQ1V/VEMBuAEAABcAAACKrqNDVf9bQwf6AAAAAAEAAAAFAAAABBdBcGxvcmlzLkJhc2UuQW5jaG9yTW9kZQMAAAABuQEAAH8AAAAEAAAAAboBAAB/AAAAAgAAAAG7AQAAfwAAAAMAAAABvAEAAH8AAAABAAAAAb0BAAB/AAAAAAAAAAf7AAAAAAEAAAAFAAAABBVTeXN0ZW0uRHJhd2luZy5Qb2ludEYEAAAAAb4BAAAXAAAAim6nQ1X/W0MBvwEAABcAAACK7p9DVf9bQwHAAQAAFwAAAIquo0NVf2NDAcEBAAAXAAAAiq6jQ1V/VEMBwgEAABcAAACKrqNDVf9bQwf8AAAAAAEAAAAFAAAABBdBcGxvcmlzLkJhc2UuQW5jaG9yTW9kZQMAAAABwwEAAH8AAAAEAAAAAcQBAAB/AAAAAgAAAAHFAQAAfwAAAAMAAAABxgEAAH8AAAABAAAAAccBAAB/AAAAAAAAAAH9AAAAGwAAAAm1AAAAAAAAAAAAAAAB/gAAABwAAAAJyAEAAAMAAAADAAAAAf8AAAAbAAAACbUAAAAAAAAAAAAAAAEAAQAAHAAAAAmxAAAAAAAAAAAAAAABAQEAACcAAAAByQEAABcAAACli75BgEeiQwHKAQAAFwAAAKWLvkGAR6RDCcsBAADMAQAA/////wEBCgnMAQAAAQAKAAECAQAAJwAAAAHNAQAAFwAAAKWLvkEHAC5BAc4BAAAXAAAApYu+QYBHokMJzwEAAF4BAAD/////AQEKCdABAAABAAoAAQMBAAAqAAAAAdEBAAAXAAAApYu+QYAHpUMB0gEAAH8AAAADAAAAAAAAAAAAAAAACdMBAAAAAAAACdQBAAAAAAHVAQAAhwAAAAAAAAAB1gEAAFIAAAAAAOBAAABgQQHXAQAAEgAAAC66mEEAAKVDDEAcQeiiS0Feutk/BtgBAAABMAoJ2QEAAAmLAAAA0AIAAP////8BAQoJ2gEAAAEACgABBgEAABsAAAAJtQAAAAAAAAAAAAAAAQcBAAAcAAAACdsBAAADAAAAAwAAAAEIAQAAJwAAAAHcAQAAFwAAAIsuokKAR6JDAd0BAAAXAAAAiy6iQoBHpEMJ3gEAAMwBAAD/////AQEKCd8BAAABAAoAAQkBAAAqAAAAAeABAAAXAAAAiy6iQoAHpUMB4QEAAH8AAAADAAAAAAAAAAAAAAAACeIBAAAAAAAACeMBAAAAAAHkAQAAhwAAAAAAAAAB5QEAAFIAAAAAAGBBAABgQQHmAQAAEgAAAF10kUIAAKVDwAiBQeiiS0Feutk/BucBAAACMTAKCegBAAAJiwAAANACAAD/////AQEKCekBAAABAAoAAQwBAAAbAAAACbUAAAAAAAAAAAAAAAENAQAAHAAAAAnqAQAAAgAAAAQAAAABDgEAACcAAAAB6wEAABcAAAAWXQpDgEeiQwHsAQAAFwAAABZdCkOAR6RDCe0BAADMAQAA/////wEBCgnuAQAAAQAKAAEPAQAAKgAAAAHvAQAAFwAAABZdCkOAB6VDAfABAAB/AAAAAwAAAAAAAAAAAAAAAAnxAQAAAAAAAAnyAQAAAAAB8wEAAIcAAAAAAAAAAfQBAABSAAAAAABgQQAAYEEB9QEAABIAAAAAAAJDAAClQ8AIgUHooktBXrrZPwb2AQAAAjIwCgn3AQAACYsAAADQAgAA/////wEBCgn4AQAAAQAKAAESAQAAGwAAAAm1AAAAAAAAAAAAAAABEwEAABwAAAAJ+QEAAAIAAAAEAAAAARQBAAAnAAAAAfoBAAAXAAAA56JDQ4BHokMB+wEAABcAAADnokNDgEekQwn8AQAAzAEAAP////8BAQoJ/QEAAAEACgABFQEAACoAAAAB/gEAABcAAADnokNDgAelQwH/AQAAfwAAAAMAAAAAAAAAAAAAAAAJAAIAAAAAAAAJAQIAAAAAAQICAACHAAAAAAAAAAEDAgAAUgAAAAAAYEEAAGBBAQQCAAASAAAA0UU7QwAApUPACIFB6KJLQV662T8GBQIAAAIzMAoJBgIAAAmLAAAA0AIAAP////8BAQoJBwIAAAEACgABGAEAABsAAAAJtQAAAAAAAAAAAAAAARkBAAAcAAAACQgCAAACAAAABAAAAAEaAQAAJwAAAAEJAgAAFwAAALjofEOAR6JDAQoCAAAXAAAAuOh8Q4BHpEMJCwIAAMwBAAD/////AQEKCQwCAAABAAoAARsBAAAqAAAAAQ0CAAAXAAAAuOh8Q4AHpUMBDgIAAH8AAAADAAAAAAAAAAAAAAAACQ8CAAAAAAAACRACAAAAAAERAgAAhwAAAAAAAAABEgIAAFIAAAAAAGBBAABgQQETAgAAEgAAAKOLdEMAAKVDwAiBQeiiS0Feutk/BhQCAAACNDAKCRUCAAAJiwAAANACAAD/////AQEKCRYCAAABAAoAAR4BAAAbAAAACbUAAAAAAAAAAAAAAAEfAQAAHAAAAAkXAgAAAgAAAAQAAAABIAEAACcAAAABGAIAABcAAABEF5tDgEeiQwEZAgAAFwAAAEQXm0OAR6RDCRoCAADMAQAA/////wEBCgkbAgAAAQAKAAEhAQAAJwAAAAEcAgAAFwAAAEQXm0MHAC5BAR0CAAAXAAAARBebQ4BHokMJHgIAAF4BAAD/////AQEKCR8CAAABAAoAASIBAAAqAAAAASACAAAXAAAARBebQ4AHpUMBIQIAAH8AAAADAAAAAAAAAAAAAAAACSICAAAAAAAACSMCAAAAAAEkAgAAhwAAAAAAAAABJQIAAFIAAAAAAGBBAABgQQEmAgAAEgAAALrolkMAAKVDwAiBQeiiS0Feutk/BicCAAACNTAKCSgCAAAJiwAAANACAAD/////AQEKCSkCAAABAAoAASUBAAAbAAAACbUAAAAAAAAAAAAAAAEmAQAAHAAAAAkqAgAAAwAAAAMAAAABJwEAACcAAAABKwIAABcAAAAturdDgEeiQwEsAgAAFwAAAC26t0OAR6RDCS0CAADMAQAA/////wEBCgkuAgAAAQAKAAEoAQAAKgAAAAEvAgAAFwAAAC26t0OAB6VDATACAAB/AAAAAwAAAAAAAAAAAAAAAAkxAgAAAAAAAAkyAgAAAAABMwIAAIcAAAAAAAAAATQCAABSAAAAAABgQQAAYEEBNQIAABIAAACji7NDAAClQ8AIgUHooktBXrrZPwY2AgAAAjYwCgk3AgAACYsAAADQAgAA/////wEBCgk4AgAAAQAKAAErAQAAGwAAAAm1AAAAAAAAAAAAAAABLAEAABwAAAAJOQIAAAIAAAAEAAAAAS0BAAAnAAAAAToCAAAXAAAAFV3UQ4BHokMBOwIAABcAAAAVXdRDgEekQwk8AgAAzAEAAP////8BAQoJPQIAAAEACgABLgEAACoAAAABPgIAABcAAAAVXdRDgAelQwE/AgAAfwAAAAMAAAAAAAAAAAAAAAAJQAIAAAAAAAAJQQIAAAAAAUICAACHAAAAAAAAAAFDAgAAUgAAAAAAYEEAAGBBAUQCAAASAAAAiy7QQwAApUPACIFB6KJLQV662T8GRQIAAAI3MAoJRgIAAAmLAAAA0AIAAP////8BAQoJRwIAAAEACgABMQEAABsAAAAJtQAAAAAAAAAAAAAAATIBAAAcAAAACUgCAAACAAAABAAAAAEzAQAAJwAAAAFJAgAAFwAAAP3/8EOAR6JDAUoCAAAXAAAA/f/wQ4BHpEMJSwIAAMwBAAD/////AQEKCUwCAAABAAoAATQBAAAqAAAAAU0CAAAXAAAA/f/wQ4AHpUMBTgIAAH8AAAADAAAAAAAAAAAAAAAACU8CAAAAAAAACVACAAAAAAFRAgAAhwAAAAAAAAABUgIAAFIAAAAAAGBBAABgQQFTAgAAEgAAAHTR7EMAAKVDwAiBQeiiS0Feutk/BlQCAAACODAKCVUCAAAJiwAAANACAAD/////AQEKCVYCAAABAAoAATcBAAAbAAAACbUAAAAAAAAAAAAAAAE4AQAAHAAAAAlXAgAAAgAAAAQAAAABOQEAACcAAAABWAIAABcAAABz0QZEgEeiQwFZAgAAFwAAAHPRBkSAR6RDCVoCAADMAQAA/////wEBCglbAgAAAQAKAAE6AQAAKgAAAAFcAgAAFwAAAHPRBkSAB6VDAV0CAAB/AAAAAwAAAAAAAAAAAAAAAAleAgAAAAAAAAlfAgAAAAABYAIAAIcAAAAAAAAAAWECAABSAAAAAABgQQAAYEEBYgIAABIAAAAuugREAAClQ8AIgUHooktBXrrZPwZjAgAAAjkwCglkAgAACYsAAADQAgAA/////wEBCgllAgAAAQAKAAE9AQAAGwAAAAm1AAAAAAAAAAAAAAABPgEAABwAAAAJZgIAAAIAAAAEAAAAAT8BAAAnAAAAAWcCAAAXAAAA5yIVRIBHokMBaAIAABcAAADnIhVEgEekQwlpAgAAzAEAAP////8BAQoJagIAAAEACgABQAEAACoAAAABawIAABcAAADnIhVEgAelQwFsAgAAfwAAAAMAAAAAAAAAAAAAAAAJbQIAAAAAAAAJbgIAAAAAAW8CAACHAAAAAAAAAAFwAgAAUgAAAAAAsEEAAGBBAXECAAASAAAA6SISRAAApUNMN7tB6KJLQV662T8GcgIAAAMxMDAKCXMCAAAJiwAAANACAAD/////AQEKCXQCAAABAAoAAUMBAAAbAAAACXUCAAAAAAAAAAAAAAFEAQAAHAAAAAl2AgAAAgAAAAQAAAABRQEAACcAAAABdwIAABcAAACli75BgEeiQwF4AgAAFwAAAKWLnkGAR6JDCXkCAADMAQAA/////wEBCgl6AgAAAQAKAAFGAQAAJwAAAAF7AgAAFwAAAKWLvkGAR6JDAXwCAAAXAAAA5yIVRIBHokMJfQIAAF4BAAD/////AQEKCX4CAAABAAoAAUcBAAAqAAAAAX8CAAAXAAAApYuSQYBHokMBgAIAAH8AAAACAAAAAAAAAAAAAAAACYECAAAAAAAACYICAAAAAAGDAgAAhwAAAAAAAAABhAIAAFIAAAAAAOBAAABgQQGFAgAAEgAAAAAAIEFGF59DDEAcQeiiS0Feutk/BoYCAAABMAoJhwIAAAmLAAAA0AIAAP////8BAQoJiAIAAAEACgABSgEAABsAAAAJtQAAAAAAAAAAAAAAAUsBAAAcAAAACYkCAAADAAAAAwAAAAFMAQAAJwAAAAGKAgAAFwAAAKWLvkFV/1tDAYsCAAAXAAAApYueQVX/W0MJjAIAAMwBAAD/////AQEKCY0CAAABAAoAAU0BAAAnAAAAAY4CAAAXAAAApYu+QVX/W0MBjwIAABcAAADnIhVEVf9bQwmQAgAAXgEAAP////8BAQoJkQIAAAEACgABTgEAACoAAAABkgIAABcAAACli5JBVf9bQwGTAgAAfwAAAAIAAAAAAAAAAAAAAAAJlAIAAAAAAAAJlQIAAAAAAZYCAACHAAAAAAAAAAGXAgAAUgAAAAAAkEEAAGBBAZgCAAASAAAAAAAAAAAAAAAAAAAAAAAAAF662T8GmQIAAAExCgmaAgAACYsAAADQAgAA/////wABCgmbAgAAAQAKAAFRAQAAGwAAAAm1AAAAAAAAAAAAAAABUgEAABwAAAAJnAIAAAMAAAADAAAAAVMBAAAnAAAAAZ0CAAAXAAAApYu+QVbf5kIBngIAABcAAACli55BVt/mQgmfAgAAzAEAAP////8BAQoJoAIAAAEACgABVAEAACcAAAABoQIAABcAAACli75BVt/mQgGiAgAAFwAAAOciFURW3+ZCCaMCAABeAQAA/////wEBCgmkAgAAAQAKAAFVAQAAKgAAAAGlAgAAFwAAAKWLkkFW3+ZCAaYCAAB/AAAAAgAAAAAAAAAAAAAAAAmnAgAAAAAAAAmoAgAAAAABqQIAAIcAAAAAAAAAAaoCAABSAAAAAACQQQAAYEEBqwIAABIAAAAAAAAAAAAAAAAAAAAAAAAAXrrZPwasAgAAATIKCa0CAAAJiwAAANACAAD/////AAEKCa4CAAABAAoAAVgBAAAbAAAACbUAAAAAAAAAAAAAAAFZAQAAHAAAAAmvAgAAAwAAAAUAAAABWgEAACcAAAABsAIAABcAAACli75BBwAuQQGxAgAAFwAAAKWLnkEHAC5BCbICAADMAQAA/////wEBCgmzAgAAAQAKAAFbAQAAKgAAAAG0AgAAFwAAAKWLkkEHAC5BAbUCAAB/AAAAAgAAAAAAAAAAAAAAAAm2AgAAAAAAAAm3AgAAAAABuAIAAIcAAAAAAAAAAbkCAABSAAAAAACQQQAAYEEBugIAABIAAAAAAAAAAAAAAAAAAAAAAAAAXrrZPwa7AgAAATMKCbwCAAAJiwAAANACAAD/////AAEKCb0CAAABAAoAAV4BAAAbAAAACbUAAAAAAAAAAAAAAAFfAQAAHAAAAAm+AgAAAgAAAAQAAAAFZ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gQXBsb3Jpcy5DaGFydC5CdWJibGVDaGFydEVsZW1lbnQCAAAAAQEBCxpBcGxvcmlzLkJhc2UuT2JqZWN0cy5Db2xvcgMAAAABARpBcGxvcmlzLkJhc2UuT2JqZWN0cy5Db2xvcgMAAAADAAAACc8AAAAKAAAAAABAQQlWAAAACVcAAAAJvwIAAAEACcACAAABZwEAAFgAAAAKCgAAAAD///8ADgAAAAABAWsBAACKAAAACcECAAABAAAAAwAAAAFsAQAAVQAAAAnCAgAACgVz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BBcGxvcmlzLkNoYXJ0LkJ1YmJsZUNoYXJ0RWxlbWVudAIAAAABAQELGkFwbG9yaXMuQmFzZS5PYmplY3RzLkNvbG9yAwAAAAEBGkFwbG9yaXMuQmFzZS5PYmplY3RzLkNvbG9yAwAAAAMAAAAJzwAAAAoAAAAAAEBBCVYAAAAJVwAAAAnDAgAAAQAJxAIAAAF0AQAAWAAAAAoKAQAAAAAAAAD/////AAEBeQEAAIoAAAAJxQIAAAIAAAADAAAAAXsBAABVAAAACcYCAAAKBX0BAAAaQXBsb3Jpcy5DaGFydC5NYXJrZXJGb3JtYXQKAAAAEkRhdGFPYmplY3QrbVBhcmVudBVEYXRhT2JqZWN0K21Db250YWluZXIGbUNvbG9yBm1TdHlsZQVtU2l6ZQ1tVHJhbnNwYXJlbmN5CG1WaXNpYmxlC21Gb3JtYXRUeXBlFG1EZWZhdWx0U2NoZW1lRm9ybWF0CW1Nb2RpZmllZAICBAAAAAAAAAAaQXBsb3Jpcy5CYXNlLk9iamVjdHMuQ29sb3IDAAAACAsLCAgBAQIAAAAKCgnHAgAABQAAAAAAEEEAAAAAAAAAAAcAAAAAAQF/AQAAVQAAAAnIAgAACgeUAQAAAAEAAAAEAAAABBxBcGxvcmlzLkJhc2UuVUkuVmlzdWFsT2JqZWN0AwAAAAnsAAAACeoAAAAJ6wAAAAoFmw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gQXBsb3Jpcy5DaGFydC5CdWJibGVDaGFydEVsZW1lbnQCAAAAAQEBCxpBcGxvcmlzLkJhc2UuT2JqZWN0cy5Db2xvcgMAAAABARpBcGxvcmlzLkJhc2UuT2JqZWN0cy5Db2xvcgMAAAADAAAACdAAAAAKAAAAAABAQQlWAAAACVcAAAAJyQIAAAEACcoCAAABnAEAAFgAAAAKCgAAAAD///8ADgAAAAABAaABAACKAAAACcsCAAABAAAAAwAAAAGhAQAAVQAAAAnMAgAACgWo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BBcGxvcmlzLkNoYXJ0LkJ1YmJsZUNoYXJ0RWxlbWVudAIAAAABAQELGkFwbG9yaXMuQmFzZS5PYmplY3RzLkNvbG9yAwAAAAEBGkFwbG9yaXMuQmFzZS5PYmplY3RzLkNvbG9yAwAAAAMAAAAJ0AAAAAoAAAAAAEBBCVYAAAAJVwAAAAnNAgAAAQAJzgIAAAGpAQAAWAAAAAoKAQAAAAAAAAD/////AAEBrgEAAIoAAAAJzwIAAAIAAAADAAAAAa8BAABVAAAACdACAAAKAbEBAAB9AQAACgoJ0QIAAAUAAAAAABBBAAAAAAAAAAAHAAAAAAEBswEAAFUAAAAJ0gIAAAoHyAEAAAABAAAABAAAAAQcQXBsb3Jpcy5CYXNlLlVJLlZpc3VhbE9iamVjdAMAAAAJ9wAAAAn1AAAACfYAAAAKAcsBAABQAAAACgoAAABAPwnTAgAACdQCAAABAAAA/v///wAAAAABAAAAAAAAAAAAAAABAAAAAAAAAAAAAAHMAQAAVQAAAAnVAgAACgHPAQAAUAAAAAoKAAAAQD8J1gIAAAnXAgAAAQAAAP7///8AAAAAAQAAAAAAAAAAAAAAAQAAAAAAAAAAAAAB0AEAAFUAAAAJ2AIAAAoB0wEAABkAAAAKCgAAAAAAQEEJVgAAAAlXAAAACdkCAAAAAAnaAgAAAdQBAABYAAAACgoBAAAAAAAAAP////8AAQHZAQAAigAAAAnbAgAAAQAAAAEAAAAB2gEAAFUAAAAJ3AIAAAoH2wEAAAABAAAABAAAAAQcQXBsb3Jpcy5CYXNlLlVJLlZpc3VhbE9iamVjdAMAAAAJAQEAAAkDAQAACQIBAAAKAd4BAABQAAAACgoAAABAPwndAgAACd4CAAABAAAA/v///wAAAAABAAAAAAAAAAAAAAABAAAAAAAAAAAAAAHfAQAAVQAAAAnfAgAACgHiAQAAGQAAAAoKAAAAAABAQQlWAAAACVcAAAAJ4AIAAAAACeECAAAB4wEAAFgAAAAKCgEAAAAAAAAA/////wABAegBAACKAAAACeICAAABAAAAAwAAAAHpAQAAVQAAAAnjAgAACgfqAQAAAAEAAAAEAAAABBxBcGxvcmlzLkJhc2UuVUkuVmlzdWFsT2JqZWN0AwAAAAkIAQAACQkBAAAKCgHtAQAAUAAAAAoKAAAAQD8J5AIAAAnlAgAAAQAAAP7///8AAAAAAQAAAAAAAAAAAAAAAQAAAAAAAAAAAAAB7gEAAFUAAAAJ5gIAAAoB8QEAABkAAAAKCgAAAAAAQEEJVgAAAAlXAAAACecCAAAAAAnoAgAAAfIBAABYAAAACgoBAAAAAAAAAP////8AAQH3AQAAigAAAAnpAgAAAQAAAAMAAAAB+AEAAFUAAAAJ6gIAAAoH+QEAAAABAAAABAAAAAQcQXBsb3Jpcy5CYXNlLlVJLlZpc3VhbE9iamVjdAMAAAAJDgEAAAkPAQAACgoB/AEAAFAAAAAKCgAAAEA/CesCAAAJ7AIAAAEAAAD+////AAAAAAEAAAAAAAAAAAAAAAEAAAAAAAAAAAAAAf0BAABVAAAACe0CAAAKAQACAAAZAAAACgoAAAAAAEBBCVYAAAAJVwAAAAnuAgAAAAAJ7wIAAAEBAgAAWAAAAAoKAQAAAAAAAAD/////AAEBBgIAAIoAAAAJ8AIAAAEAAAADAAAAAQcCAABVAAAACfECAAAKBwgCAAAAAQAAAAQAAAAEHEFwbG9yaXMuQmFzZS5VSS5WaXN1YWxPYmplY3QDAAAACRQBAAAJFQEAAAoKAQsCAABQAAAACgoAAABAPwnyAgAACfMCAAABAAAA/v///wAAAAABAAAAAAAAAAAAAAABAAAAAAAAAAAAAAEMAgAAVQAAAAn0AgAACgEPAgAAGQAAAAoKAAAAAABAQQlWAAAACVcAAAAJ9QIAAAAACfYCAAABEAIAAFgAAAAKCgEAAAAAAAAA/////wABARUCAACKAAAACfcCAAABAAAAAwAAAAEWAgAAVQAAAAn4AgAACgcXAgAAAAEAAAAEAAAABBxBcGxvcmlzLkJhc2UuVUkuVmlzdWFsT2JqZWN0AwAAAAkaAQAACRsBAAAKCgEaAgAAUAAAAAoKAAAAQD8J+QIAAAn6AgAAAQAAAP7///8AAAAAAQAAAAAAAAAAAAAAAQAAAAAAAAAAAAABGwIAAFUAAAAJ+wIAAAoBHgIAAFAAAAAKCgAAAEA/CfwCAAAJ/QIAAAEAAAD+////AAAAAAEAAAAAAAAAAAAAAAEAAAAAAAAAAAAAAR8CAABVAAAACf4CAAAKASICAAAZAAAACgoAAAAAAEBBCVYAAAAJVwAAAAn/AgAAAAAJAAMAAAEjAgAAWAAAAAoKAQAAAAAAAAD/////AAEBKAIAAIoAAAAJAQMAAAEAAAADAAAAASkCAABVAAAACQIDAAAKByoCAAAAAQAAAAQAAAAEHEFwbG9yaXMuQmFzZS5VSS5WaXN1YWxPYmplY3QDAAAACSABAAAJIgEAAAkhAQAACgEtAgAAUAAAAAoKAAAAQD8JAwMAAAkEAwAAAQAAAP7///8AAAAAAQAAAAAAAAAAAAAAAQAAAAAAAAAAAAABLgIAAFUAAAAJBQMAAAoBMQIAABkAAAAKCgAAAAAAQEEJVgAAAAlXAAAACQYDAAAAAAkHAwAAATICAABYAAAACgoBAAAAAAAAAP////8AAQE3AgAAigAAAAkIAwAAAQAAAAMAAAABOAIAAFUAAAAJCQMAAAoHOQIAAAABAAAABAAAAAQcQXBsb3Jpcy5CYXNlLlVJLlZpc3VhbE9iamVjdAMAAAAJJwEAAAkoAQAACgoBPAIAAFAAAAAKCgAAAEA/CQoDAAAJCwMAAAEAAAD+////AAAAAAEAAAAAAAAAAAAAAAEAAAAAAAAAAAAAAT0CAABVAAAACQwDAAAKAUACAAAZAAAACgoAAAAAAEBBCVYAAAAJVwAAAAkNAwAAAAAJDgMAAAFBAgAAWAAAAAoKAQAAAAAAAAD/////AAEBRgIAAIoAAAAJDwMAAAEAAAADAAAAAUcCAABVAAAACRADAAAKB0gCAAAAAQAAAAQAAAAEHEFwbG9yaXMuQmFzZS5VSS5WaXN1YWxPYmplY3QDAAAACS0BAAAJLgEAAAoKAUsCAABQAAAACgoAAABAPwkRAwAACRIDAAABAAAA/v///wAAAAABAAAAAAAAAAAAAAABAAAAAAAAAAAAAAFMAgAAVQAAAAkTAwAACgFPAgAAGQAAAAoKAAAAAABAQQlWAAAACVcAAAAJFAMAAAAACRUDAAABUAIAAFgAAAAKCgEAAAAAAAAA/////wABAVUCAACKAAAACRYDAAABAAAAAwAAAAFWAgAAVQAAAAkXAwAACgdXAgAAAAEAAAAEAAAABBxBcGxvcmlzLkJhc2UuVUkuVmlzdWFsT2JqZWN0AwAAAAkzAQAACTQBAAAKCgFaAgAAUAAAAAoKAAAAQD8JGAMAAAkZAwAAAQAAAP7///8AAAAAAQAAAAAAAAAAAAAAAQAAAAAAAAAAAAABWwIAAFUAAAAJGgMAAAoBXgIAABkAAAAKCgAAAAAAQEEJVgAAAAlXAAAACRsDAAAAAAkcAwAAAV8CAABYAAAACgoBAAAAAAAAAP////8AAQFkAgAAigAAAAkdAwAAAQAAAAMAAAABZQIAAFUAAAAJHgMAAAoHZgIAAAABAAAABAAAAAQcQXBsb3Jpcy5CYXNlLlVJLlZpc3VhbE9iamVjdAMAAAAJOQEAAAk6AQAACgoBaQIAAFAAAAAKCgAAAEA/CR8DAAAJIAMAAAEAAAD+////AAAAAAEAAAAAAAAAAAAAAAEAAAAAAAAAAAAAAWoCAABVAAAACSEDAAAKAW0CAAAZAAAACgoAAAAAAEBBCVYAAAAJVwAAAAkiAwAAAAAJIwMAAAFuAgAAWAAAAAoKAQAAAAAAAAD/////AAEBcwIAAIoAAAAJJAMAAAEAAAADAAAAAXQCAABVAAAACSUDAAAKB3UCAAAAAQAAAAAAAAAEH0FwbG9yaXMuQmFzZS5PYmplY3RzLkRhdGFPYmplY3QDAAAAB3YCAAAAAQAAAAQAAAAEHEFwbG9yaXMuQmFzZS5VSS5WaXN1YWxPYmplY3QDAAAACT8BAAAJQAEAAAoKAXkCAABQAAAACgoAAABAPwkmAwAACScDAAABAAAA/v///wAAAAABAAAAAAAAAAAAAAABAAAAAAAAAAAAAAF6AgAAVQAAAAkoAwAACgF9AgAAUAAAAAoKAAAAQD8JKQMAAAkqAwAAAQAAAP7///8AAAAAAQAAAAAAAAAAAAAAAQAAAAAAAAAAAAABfgIAAFUAAAAJKwMAAAoBgQIAABkAAAAKCgAAAAAAQEEJVgAAAAlXAAAACSwDAAAAAAktAwAAAYICAABYAAAACgoBAAAAAAAAAP////8AAQGHAgAAigAAAAkuAwAAAQAAAAEAAAABiAIAAFUAAAAJLwMAAAoHiQIAAAABAAAABAAAAAQcQXBsb3Jpcy5CYXNlLlVJLlZpc3VhbE9iamVjdAMAAAAJRQEAAAlHAQAACUYBAAAKAYwCAABQAAAACgoAAABAPwkwAwAACTEDAAABAAAA/v///wAAAAABAAAAAAAAAAAAAAABAAAAAAAAAAAAAAGNAgAAVQAAAAkyAwAACgGQAgAAUAAAAAoKAAAAQD8JMwMAAAk0AwAAAQAAAP7///8AAAAAAQAAAAAAAAAAAAAAAQAAAAAAAAAAAAABkQIAAFUAAAAJNQMAAAoFlA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WQXBsb3Jpcy5DaGFydC5UaWNrTWFyawIAAAABAQELGkFwbG9yaXMuQmFzZS5PYmplY3RzLkNvbG9yAwAAAAEBGkFwbG9yaXMuQmFzZS5PYmplY3RzLkNvbG9yAwAAAAMAAAAJ4gAAAAoAAAAAAEBBCVYAAAAJVwAAAAk2AwAAAQAJNwMAAAGVAgAAWAAAAAoKAQAAAAAAAAD/////AAEBmgIAAIoAAAAJOAMAAAEAAAADAAAAAZsCAABVAAAACTkDAAAKB5wCAAAAAQAAAAQAAAAEHEFwbG9yaXMuQmFzZS5VSS5WaXN1YWxPYmplY3QDAAAACUwBAAAJTgEAAAlNAQAACgGfAgAAUAAAAAoKAAAAQD8JOgMAAAk7AwAAAQAAAP7///8AAAAAAQAAAAAAAAAAAAAAAQAAAAAAAAAAAAABoAIAAFUAAAAJPAMAAAoBowIAAFAAAAAKCgAAAEA/CT0DAAAJPgMAAAEAAAD+////AAAAAAEAAAAAAAAAAAAAAAEAAAAAAAAAAAAAAaQCAABVAAAACT8DAAAKBac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FkFwbG9yaXMuQ2hhcnQuVGlja01hcmsCAAAAAQEBCxpBcGxvcmlzLkJhc2UuT2JqZWN0cy5Db2xvcgMAAAABARpBcGxvcmlzLkJhc2UuT2JqZWN0cy5Db2xvcgMAAAADAAAACeMAAAAKAAAAAABAQQlWAAAACVcAAAAJQAMAAAEACUEDAAABqAIAAFgAAAAKCgEAAAAAAAAA/////wABAa0CAACKAAAACUIDAAABAAAAAwAAAAGuAgAAVQAAAAlDAwAACgevAgAAAAEAAAAEAAAABBxBcGxvcmlzLkJhc2UuVUkuVmlzdWFsT2JqZWN0AwAAAAlTAQAACVUBAAAJVAEAAAoBsgIAAFAAAAAKCgAAAEA/CUQDAAAJRQMAAAEAAAD+////AAAAAAEAAAAAAAAAAAAAAAEAAAAAAAAAAAAAAbMCAABVAAAACUYDAAAKBbY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FkFwbG9yaXMuQ2hhcnQuVGlja01hcmsCAAAAAQEBCxpBcGxvcmlzLkJhc2UuT2JqZWN0cy5Db2xvcgMAAAABARpBcGxvcmlzLkJhc2UuT2JqZWN0cy5Db2xvcgMAAAADAAAACeQAAAAKAAAAAABAQQlWAAAACVcAAAAJRwMAAAEACUgDAAABtwIAAFgAAAAKCgEAAAAAAAAA/////wABAbwCAACKAAAACUkDAAABAAAAAwAAAAG9AgAAVQAAAAlKAwAACge+AgAAAAEAAAAEAAAABBxBcGxvcmlzLkJhc2UuVUkuVmlzdWFsT2JqZWN0AwAAAAlaAQAACVsBAAAKCgG/AgAAWAAAAAoKAAAAAAAAAAANAAAAAAEBwAIAAFgAAAAKCgEAAAAAAAAA/////wABB8ECAAAAAQAAAAQAAAAEHUFwbG9yaXMuQmFzZS5PYmplY3RzLlZhcmlhYmxlAwAAAAFLAwAA3QAAAAEAAAAAAAAAAUwDAADdAAAAAAAAAAAAAAABTQMAAN0AAAAAAAAAAAAAAAFOAwAA3QAAAAAAAAAAAAAAD8ICAAABAAAACAAAAAABwwIAAFgAAAAKCgAAAAAAAAAADQAAAAABAcQCAABYAAAACgoBAAAAAAAAAP////8AAQfFAgAAAAEAAAAEAAAABB1BcGxvcmlzLkJhc2UuT2JqZWN0cy5WYXJpYWJsZQMAAAABTwMAAN0AAAACAAAAAAAAAAFQAwAA3QAAAAMAAAABAAAAAVEDAADdAAAAAAAAAAAAAAABUgMAAN0AAAAAAAAAAAAAAA/GAgAAAQAAAAgAAAAAAccCAABYAAAACgoAAAAA95QeAAoAAAAAAA/IAgAAAQAAAAi5AAAAAckCAABYAAAACgoAAAAAAAAAAA0AAAAAAQHKAgAAWAAAAAoKAQAAAAAAAAD/////AAEHywIAAAABAAAABAAAAAQdQXBsb3Jpcy5CYXNlLk9iamVjdHMuVmFyaWFibGUDAAAAAVMDAADdAAAAAQAAAAAAAAABVAMAAN0AAAAAAAAAAAAAAAFVAwAA3QAAAAAAAAAAAAAAAVYDAADdAAAAAAAAAAAAAAAPzAIAAAEAAAAIAAAAAAHNAgAAWAAAAAoKAAAAAAAAAAANAAAAAAEBzgIAAFgAAAAKCgEAAAAAAAAA/////wABB88CAAAAAQAAAAQAAAAEHUFwbG9yaXMuQmFzZS5PYmplY3RzLlZhcmlhYmxlAwAAAAFXAwAA3QAAAAIAAAAAAAAAAVgDAADdAAAAAwAAAAEAAAABWQMAAN0AAAAAAAAAAAAAAAFaAwAA3QAAAAAAAAAAAAAAD9ACAAABAAAACAAAAAAB0QIAAFgAAAAKCgAAAAD3lB4ACgAAAAAAD9ICAAABAAAACLgAAAAB0wIAAFgAAAAKCgAAAAAAAAAADQAAAAAABdQCAAAaQXBsb3Jpcy5CYXNlLk9iamVjdHMuQ29sb3IHAAAAEkRhdGFPYmplY3QrbVBhcmVudBVEYXRhT2JqZWN0K21Db250YWluZXIFbVR5cGUEbVJHQhBtVGhlbWVDb2xvckluZGV4DG1BdXRvVXBkYXRlZAltTW9kaWZpZWQEAgAAAAAAH0FwbG9yaXMuQmFzZS5PYmplY3RzLkxpbmVGb3JtYXQDAAAACAgIAQEDAAAACcsBAAAKAQAAAAAAAAD/////AAEP1QIAAAEAAAAI+AAAAAXWAgAAGkFwbG9yaXMuQmFzZS5PYmplY3RzLkNvbG9yBwAAABJEYXRhT2JqZWN0K21QYXJlbnQVRGF0YU9iamVjdCttQ29udGFpbmVyBW1UeXBlBG1SR0IQbVRoZW1lQ29sb3JJbmRleAxtQXV0b1VwZGF0ZWQJbU1vZGlmaWVkBAIAAAAAAB9BcGxvcmlzLkJhc2UuT2JqZWN0cy5MaW5lRm9ybWF0AwAAAAgICAEBAwAAAAnPAQAACgAAAAAAAAAADQAAAAAABdcCAAAaQXBsb3Jpcy5CYXNlLk9iamVjdHMuQ29sb3IHAAAAEkRhdGFPYmplY3QrbVBhcmVudBVEYXRhT2JqZWN0K21Db250YWluZXIFbVR5cGUEbVJHQhBtVGhlbWVDb2xvckluZGV4DG1BdXRvVXBkYXRlZAltTW9kaWZpZWQEAgAAAAAAH0FwbG9yaXMuQmFzZS5PYmplY3RzLkxpbmVGb3JtYXQDAAAACAgIAQEDAAAACc8BAAAKAQAAAAAAAAD/////AAEP2AIAAAEAAAAI5wAAAAHZAgAAWAAAAAoKAAAAAAAAAAANAAAAAAAB2gIAAFgAAAAKCgEAAAAAAAAA/////wABB9sCAAAAAQAAAAQAAAAEHUFwbG9yaXMuQmFzZS5PYmplY3RzLlZhcmlhYmxlAwAAAAFbAwAA3QAAAAEAAAAAAAAAAVwDAADdAAAAAAAAAAAAAAABXQMAAN0AAAAAAAAAAAAAAAFeAwAA3QAAAAAAAAAAAAAAD9wCAAABAAAACCEAAAAB3QIAAFgAAAAKCgAAAAAAAAAADQAAAAAABd4CAAAaQXBsb3Jpcy5CYXNlLk9iamVjdHMuQ29sb3IHAAAAEkRhdGFPYmplY3QrbVBhcmVudBVEYXRhT2JqZWN0K21Db250YWluZXIFbVR5cGUEbVJHQhBtVGhlbWVDb2xvckluZGV4DG1BdXRvVXBkYXRlZAltTW9kaWZpZWQEAgAAAAAAH0FwbG9yaXMuQmFzZS5PYmplY3RzLkxpbmVGb3JtYXQDAAAACAgIAQEDAAAACd4BAAAKAQAAAAAAAAD/////AAEP3wIAAAEAAAAI+wAAAAHgAgAAWAAAAAoKAAAAAAAAAAANAAAAAAAB4QIAAFgAAAAKCgEAAAAAAAAA/////wABB+ICAAAAAQAAAAQAAAAEHUFwbG9yaXMuQmFzZS5PYmplY3RzLlZhcmlhYmxlAwAAAAFfAwAA3QAAAAEAAAAAAAAAAWADAADdAAAAAAAAAAAAAAABYQMAAN0AAAAAAAAAAAAAAAFiAwAA3QAAAAAAAAAAAAAAD+MCAAABAAAACCIAAAAB5AIAAFgAAAAKCgAAAAAAAAAADQAAAAAABeUCAAAaQXBsb3Jpcy5CYXNlLk9iamVjdHMuQ29sb3IHAAAAEkRhdGFPYmplY3QrbVBhcmVudBVEYXRhT2JqZWN0K21Db250YWluZXIFbVR5cGUEbVJHQhBtVGhlbWVDb2xvckluZGV4DG1BdXRvVXBkYXRlZAltTW9kaWZpZWQEAgAAAAAAH0FwbG9yaXMuQmFzZS5PYmplY3RzLkxpbmVGb3JtYXQDAAAACAgIAQEDAAAACe0BAAAKAQAAAAAAAAD/////AAEP5gIAAAEAAAAI+gAAAAHnAgAAWAAAAAoKAAAAAAAAAAANAAAAAAAB6AIAAFgAAAAKCgEAAAAAAAAA/////wABB+kCAAAAAQAAAAQAAAAEHUFwbG9yaXMuQmFzZS5PYmplY3RzLlZhcmlhYmxlAwAAAAFjAwAA3QAAAAEAAAAAAAAAAWQDAADdAAAAAAAAAAAAAAABZQMAAN0AAAAAAAAAAAAAAAFmAwAA3QAAAAAAAAAAAAAAD+oCAAABAAAACCAAAAAB6wIAAFgAAAAKCgAAAAAAAAAADQAAAAAABewCAAAaQXBsb3Jpcy5CYXNlLk9iamVjdHMuQ29sb3IHAAAAEkRhdGFPYmplY3QrbVBhcmVudBVEYXRhT2JqZWN0K21Db250YWluZXIFbVR5cGUEbVJHQhBtVGhlbWVDb2xvckluZGV4DG1BdXRvVXBkYXRlZAltTW9kaWZpZWQEAgAAAAAAH0FwbG9yaXMuQmFzZS5PYmplY3RzLkxpbmVGb3JtYXQDAAAACAgIAQEDAAAACfwBAAAKAQAAAAAAAAD/////AAEP7QIAAAEAAAAI+QAAAAHuAgAAWAAAAAoKAAAAAAAAAAANAAAAAAAB7wIAAFgAAAAKCgEAAAAAAAAA/////wABB/ACAAAAAQAAAAQAAAAEHUFwbG9yaXMuQmFzZS5PYmplY3RzLlZhcmlhYmxlAwAAAAFnAwAA3QAAAAEAAAAAAAAAAWgDAADdAAAAAAAAAAAAAAABaQMAAN0AAAAAAAAAAAAAAAFqAwAA3QAAAAAAAAAAAAAAD/ECAAABAAAACB4AAAAB8gIAAFgAAAAKCgAAAAAAAAAADQAAAAAABfMCAAAaQXBsb3Jpcy5CYXNlLk9iamVjdHMuQ29sb3IHAAAAEkRhdGFPYmplY3QrbVBhcmVudBVEYXRhT2JqZWN0K21Db250YWluZXIFbVR5cGUEbVJHQhBtVGhlbWVDb2xvckluZGV4DG1BdXRvVXBkYXRlZAltTW9kaWZpZWQEAgAAAAAAH0FwbG9yaXMuQmFzZS5PYmplY3RzLkxpbmVGb3JtYXQDAAAACAgIAQEDAAAACQsCAAAKAQAAAAAAAAD/////AAEP9AIAAAEAAAAI9wAAAAH1AgAAWAAAAAoKAAAAAAAAAAANAAAAAAAB9gIAAFgAAAAKCgEAAAAAAAAA/////wABB/cCAAAAAQAAAAQAAAAEHUFwbG9yaXMuQmFzZS5PYmplY3RzLlZhcmlhYmxlAwAAAAFrAwAA3QAAAAEAAAAAAAAAAWwDAADdAAAAAAAAAAAAAAABbQMAAN0AAAAAAAAAAAAAAAFuAwAA3QAAAAAAAAAAAAAAD/gCAAABAAAACB8AAAAB+QIAAFgAAAAKCgAAAAAAAAAADQAAAAAABfoCAAAaQXBsb3Jpcy5CYXNlLk9iamVjdHMuQ29sb3IHAAAAEkRhdGFPYmplY3QrbVBhcmVudBVEYXRhT2JqZWN0K21Db250YWluZXIFbVR5cGUEbVJHQhBtVGhlbWVDb2xvckluZGV4DG1BdXRvVXBkYXRlZAltTW9kaWZpZWQEAgAAAAAAH0FwbG9yaXMuQmFzZS5PYmplY3RzLkxpbmVGb3JtYXQDAAAACAgIAQEDAAAACRoCAAAKAQAAAAAAAAD/////AAEP+wIAAAEAAAAI8AAAAAX8AgAAGkFwbG9yaXMuQmFzZS5PYmplY3RzLkNvbG9yBwAAABJEYXRhT2JqZWN0K21QYXJlbnQVRGF0YU9iamVjdCttQ29udGFpbmVyBW1UeXBlBG1SR0IQbVRoZW1lQ29sb3JJbmRleAxtQXV0b1VwZGF0ZWQJbU1vZGlmaWVkBAIAAAAAAB9BcGxvcmlzLkJhc2UuT2JqZWN0cy5MaW5lRm9ybWF0AwAAAAgICAEBAwAAAAkeAgAACgAAAAAAAAAADQAAAAAABf0CAAAaQXBsb3Jpcy5CYXNlLk9iamVjdHMuQ29sb3IHAAAAEkRhdGFPYmplY3QrbVBhcmVudBVEYXRhT2JqZWN0K21Db250YWluZXIFbVR5cGUEbVJHQhBtVGhlbWVDb2xvckluZGV4DG1BdXRvVXBkYXRlZAltTW9kaWZpZWQEAgAAAAAAH0FwbG9yaXMuQmFzZS5PYmplY3RzLkxpbmVGb3JtYXQDAAAACAgIAQEDAAAACR4CAAAKAQAAAAAAAAD/////AAEP/gIAAAEAAAAI5gAAAAH/AgAAWAAAAAoKAAAAAAAAAAANAAAAAAABAAMAAFgAAAAKCgEAAAAAAAAA/////wABBwEDAAAAAQAAAAQAAAAEHUFwbG9yaXMuQmFzZS5PYmplY3RzLlZhcmlhYmxlAwAAAAFvAwAA3QAAAAEAAAAAAAAAAXADAADdAAAAAAAAAAAAAAABcQMAAN0AAAAAAAAAAAAAAAFyAwAA3QAAAAAAAAAAAAAADwIDAAABAAAACCYAAAABAwMAAFgAAAAKCgAAAAAAAAAADQAAAAAABQQDAAAaQXBsb3Jpcy5CYXNlLk9iamVjdHMuQ29sb3IHAAAAEkRhdGFPYmplY3QrbVBhcmVudBVEYXRhT2JqZWN0K21Db250YWluZXIFbVR5cGUEbVJHQhBtVGhlbWVDb2xvckluZGV4DG1BdXRvVXBkYXRlZAltTW9kaWZpZWQEAgAAAAAAH0FwbG9yaXMuQmFzZS5PYmplY3RzLkxpbmVGb3JtYXQDAAAACAgIAQEDAAAACS0CAAAKAQAAAAAAAAD/////AAEPBQMAAAEAAAAI8QAAAAEGAwAAWAAAAAoKAAAAAAAAAAANAAAAAAABBwMAAFgAAAAKCgEAAAAAAAAA/////wABBwgDAAAAAQAAAAQAAAAEHUFwbG9yaXMuQmFzZS5PYmplY3RzLlZhcmlhYmxlAwAAAAFzAwAA3QAAAAEAAAAAAAAAAXQDAADdAAAAAAAAAAAAAAABdQMAAN0AAAAAAAAAAAAAAAF2AwAA3QAAAAAAAAAAAAAADwkDAAABAAAACCMAAAABCgMAAFgAAAAKCgAAAAAAAAAADQAAAAAABQsDAAAaQXBsb3Jpcy5CYXNlLk9iamVjdHMuQ29sb3IHAAAAEkRhdGFPYmplY3QrbVBhcmVudBVEYXRhT2JqZWN0K21Db250YWluZXIFbVR5cGUEbVJHQhBtVGhlbWVDb2xvckluZGV4DG1BdXRvVXBkYXRlZAltTW9kaWZpZWQEAgAAAAAAH0FwbG9yaXMuQmFzZS5PYmplY3RzLkxpbmVGb3JtYXQDAAAACAgIAQEDAAAACTwCAAAKAQAAAAAAAAD/////AAEPDAMAAAEAAAAI7wAAAAENAwAAWAAAAAoKAAAAAAAAAAANAAAAAAABDgMAAFgAAAAKCgEAAAAAAAAA/////wABBw8DAAAAAQAAAAQAAAAEHUFwbG9yaXMuQmFzZS5PYmplY3RzLlZhcmlhYmxlAwAAAAF3AwAA3QAAAAEAAAAAAAAAAXgDAADdAAAAAAAAAAAAAAABeQMAAN0AAAAAAAAAAAAAAAF6AwAA3QAAAAAAAAAAAAAADxADAAABAAAACCQAAAABEQMAAFgAAAAKCgAAAAAAAAAADQAAAAAABRIDAAAaQXBsb3Jpcy5CYXNlLk9iamVjdHMuQ29sb3IHAAAAEkRhdGFPYmplY3QrbVBhcmVudBVEYXRhT2JqZWN0K21Db250YWluZXIFbVR5cGUEbVJHQhBtVGhlbWVDb2xvckluZGV4DG1BdXRvVXBkYXRlZAltTW9kaWZpZWQEAgAAAAAAH0FwbG9yaXMuQmFzZS5PYmplY3RzLkxpbmVGb3JtYXQDAAAACAgIAQEDAAAACUsCAAAKAQAAAAAAAAD/////AAEPEwMAAAEAAAAI7QAAAAEUAwAAWAAAAAoKAAAAAAAAAAANAAAAAAABFQMAAFgAAAAKCgEAAAAAAAAA/////wABBxYDAAAAAQAAAAQAAAAEHUFwbG9yaXMuQmFzZS5PYmplY3RzLlZhcmlhYmxlAwAAAAF7AwAA3QAAAAEAAAAAAAAAAXwDAADdAAAAAAAAAAAAAAABfQMAAN0AAAAAAAAAAAAAAAF+AwAA3QAAAAAAAAAAAAAADxcDAAABAAAACCUAAAABGAMAAFgAAAAKCgAAAAAAAAAADQAAAAAABRkDAAAaQXBsb3Jpcy5CYXNlLk9iamVjdHMuQ29sb3IHAAAAEkRhdGFPYmplY3QrbVBhcmVudBVEYXRhT2JqZWN0K21Db250YWluZXIFbVR5cGUEbVJHQhBtVGhlbWVDb2xvckluZGV4DG1BdXRvVXBkYXRlZAltTW9kaWZpZWQEAgAAAAAAH0FwbG9yaXMuQmFzZS5PYmplY3RzLkxpbmVGb3JtYXQDAAAACAgIAQEDAAAACVoCAAAKAQAAAAAAAAD/////AAEPGgMAAAEAAAAI7gAAAAEbAwAAWAAAAAoKAAAAAAAAAAANAAAAAAABHAMAAFgAAAAKCgEAAAAAAAAA/////wABBx0DAAAAAQAAAAQAAAAEHUFwbG9yaXMuQmFzZS5PYmplY3RzLlZhcmlhYmxlAwAAAAF/AwAA3QAAAAEAAAAAAAAAAYADAADdAAAAAAAAAAAAAAABgQMAAN0AAAAAAAAAAAAAAAGCAwAA3QAAAAAAAAAAAAAADx4DAAABAAAACBsAAAABHwMAAFgAAAAKCgAAAAAAAAAADQAAAAAABSADAAAaQXBsb3Jpcy5CYXNlLk9iamVjdHMuQ29sb3IHAAAAEkRhdGFPYmplY3QrbVBhcmVudBVEYXRhT2JqZWN0K21Db250YWluZXIFbVR5cGUEbVJHQhBtVGhlbWVDb2xvckluZGV4DG1BdXRvVXBkYXRlZAltTW9kaWZpZWQEAgAAAAAAH0FwbG9yaXMuQmFzZS5PYmplY3RzLkxpbmVGb3JtYXQDAAAACAgIAQEDAAAACWkCAAAKAQAAAAAAAAD/////AAEPIQMAAAEAAAAI9QAAAAEiAwAAWAAAAAoKAAAAAAAAAAANAAAAAAABIwMAAFgAAAAKCgEAAAAAAAAA/////wABByQDAAAAAQAAAAQAAAAEHUFwbG9yaXMuQmFzZS5PYmplY3RzLlZhcmlhYmxlAwAAAAGDAwAA3QAAAAEAAAAAAAAAAYQDAADdAAAAAAAAAAAAAAABhQMAAN0AAAAAAAAAAAAAAAGGAwAA3QAAAAAAAAAAAAAADyUDAAABAAAACB0AAAABJgMAAFgAAAAKCgAAAAAAAAAADQAAAAAABScDAAAaQXBsb3Jpcy5CYXNlLk9iamVjdHMuQ29sb3IHAAAAEkRhdGFPYmplY3QrbVBhcmVudBVEYXRhT2JqZWN0K21Db250YWluZXIFbVR5cGUEbVJHQhBtVGhlbWVDb2xvckluZGV4DG1BdXRvVXBkYXRlZAltTW9kaWZpZWQEAgAAAAAAH0FwbG9yaXMuQmFzZS5PYmplY3RzLkxpbmVGb3JtYXQDAAAACAgIAQEDAAAACXkCAAAKAQAAAAAAAAD/////AAEPKAMAAAEAAAAI9AAAAAUpAwAAGkFwbG9yaXMuQmFzZS5PYmplY3RzLkNvbG9yBwAAABJEYXRhT2JqZWN0K21QYXJlbnQVRGF0YU9iamVjdCttQ29udGFpbmVyBW1UeXBlBG1SR0IQbVRoZW1lQ29sb3JJbmRleAxtQXV0b1VwZGF0ZWQJbU1vZGlmaWVkBAIAAAAAAB9BcGxvcmlzLkJhc2UuT2JqZWN0cy5MaW5lRm9ybWF0AwAAAAgICAEBAwAAAAl9AgAACgAAAAAAAAAADQAAAAAABSoDAAAaQXBsb3Jpcy5CYXNlLk9iamVjdHMuQ29sb3IHAAAAEkRhdGFPYmplY3QrbVBhcmVudBVEYXRhT2JqZWN0K21Db250YWluZXIFbVR5cGUEbVJHQhBtVGhlbWVDb2xvckluZGV4DG1BdXRvVXBkYXRlZAltTW9kaWZpZWQEAgAAAAAAH0FwbG9yaXMuQmFzZS5PYmplY3RzLkxpbmVGb3JtYXQDAAAACAgIAQEDAAAACX0CAAAKAQAAAAAAAAD/////AAEPKwMAAAEAAAAI6AAAAAEsAwAAWAAAAAoKAAAAAAAAAAANAAAAAAABLQMAAFgAAAAKCgEAAAAAAAAA/////wABBy4DAAAAAQAAAAQAAAAEHUFwbG9yaXMuQmFzZS5PYmplY3RzLlZhcmlhYmxlAwAAAAGHAwAA3QAAAAEAAAAAAAAAAYgDAADdAAAAAAAAAAAAAAABiQMAAN0AAAAAAAAAAAAAAAGKAwAA3QAAAAAAAAAAAAAADy8DAAABAAAACBwAAAABMAMAAFgAAAAKCgAAAAAAAAAADQAAAAAABTEDAAAaQXBsb3Jpcy5CYXNlLk9iamVjdHMuQ29sb3IHAAAAEkRhdGFPYmplY3QrbVBhcmVudBVEYXRhT2JqZWN0K21Db250YWluZXIFbVR5cGUEbVJHQhBtVGhlbWVDb2xvckluZGV4DG1BdXRvVXBkYXRlZAltTW9kaWZpZWQEAgAAAAAAH0FwbG9yaXMuQmFzZS5PYmplY3RzLkxpbmVGb3JtYXQDAAAACAgIAQEDAAAACYwCAAAKAQAAAAAAAAD/////AAEPMgMAAAEAAAAI8gAAAAUzAwAAGkFwbG9yaXMuQmFzZS5PYmplY3RzLkNvbG9yBwAAABJEYXRhT2JqZWN0K21QYXJlbnQVRGF0YU9iamVjdCttQ29udGFpbmVyBW1UeXBlBG1SR0IQbVRoZW1lQ29sb3JJbmRleAxtQXV0b1VwZGF0ZWQJbU1vZGlmaWVkBAIAAAAAAB9BcGxvcmlzLkJhc2UuT2JqZWN0cy5MaW5lRm9ybWF0AwAAAAgICAEBAwAAAAmQAgAACgAAAAAAAAAADQAAAAAABTQDAAAaQXBsb3Jpcy5CYXNlLk9iamVjdHMuQ29sb3IHAAAAEkRhdGFPYmplY3QrbVBhcmVudBVEYXRhT2JqZWN0K21Db250YWluZXIFbVR5cGUEbVJHQhBtVGhlbWVDb2xvckluZGV4DG1BdXRvVXBkYXRlZAltTW9kaWZpZWQEAgAAAAAAH0FwbG9yaXMuQmFzZS5PYmplY3RzLkxpbmVGb3JtYXQDAAAACAgIAQEDAAAACZACAAAKAQAAAAAAAAD/////AAEPNQMAAAEAAAAI6gAAAAE2AwAAWAAAAAoKAAAAAAAAAAANAAAAAAEBNwMAAFgAAAAKCgEAAAAAAAAA/////wABBzgDAAAAAQAAAAQAAAAEHUFwbG9yaXMuQmFzZS5PYmplY3RzLlZhcmlhYmxlAwAAAAGLAwAA3QAAAAEAAAAAAAAAAYwDAADdAAAAAAAAAAAAAAABjQMAAN0AAAAAAAAAAAAAAAGOAwAA3QAAAAAAAAAAAAAADzkDAAABAAAACAAAAAABOgMAAFgAAAAKCgAAAAAAAAAADQAAAAAABTsDAAAaQXBsb3Jpcy5CYXNlLk9iamVjdHMuQ29sb3IHAAAAEkRhdGFPYmplY3QrbVBhcmVudBVEYXRhT2JqZWN0K21Db250YWluZXIFbVR5cGUEbVJHQhBtVGhlbWVDb2xvckluZGV4DG1BdXRvVXBkYXRlZAltTW9kaWZpZWQEAgAAAAAAH0FwbG9yaXMuQmFzZS5PYmplY3RzLkxpbmVGb3JtYXQDAAAACAgIAQEDAAAACZ8CAAAKAQAAAAAAAAD/////AAEPPAMAAAEAAAAI8wAAAAU9AwAAGkFwbG9yaXMuQmFzZS5PYmplY3RzLkNvbG9yBwAAABJEYXRhT2JqZWN0K21QYXJlbnQVRGF0YU9iamVjdCttQ29udGFpbmVyBW1UeXBlBG1SR0IQbVRoZW1lQ29sb3JJbmRleAxtQXV0b1VwZGF0ZWQJbU1vZGlmaWVkBAIAAAAAAB9BcGxvcmlzLkJhc2UuT2JqZWN0cy5MaW5lRm9ybWF0AwAAAAgICAEBAwAAAAmjAgAACgAAAAAAAAAADQAAAAAABT4DAAAaQXBsb3Jpcy5CYXNlLk9iamVjdHMuQ29sb3IHAAAAEkRhdGFPYmplY3QrbVBhcmVudBVEYXRhT2JqZWN0K21Db250YWluZXIFbVR5cGUEbVJHQhBtVGhlbWVDb2xvckluZGV4DG1BdXRvVXBkYXRlZAltTW9kaWZpZWQEAgAAAAAAH0FwbG9yaXMuQmFzZS5PYmplY3RzLkxpbmVGb3JtYXQDAAAACAgIAQEDAAAACaMCAAAKAQAAAAAAAAD/////AAEPPwMAAAEAAAAI6QAAAAFAAwAAWAAAAAoKAAAAAAAAAAANAAAAAAEBQQMAAFgAAAAKCgEAAAAAAAAA/////wABB0IDAAAAAQAAAAQAAAAEHUFwbG9yaXMuQmFzZS5PYmplY3RzLlZhcmlhYmxlAwAAAAGPAwAA3QAAAAEAAAAAAAAAAZADAADdAAAAAAAAAAAAAAABkQMAAN0AAAAAAAAAAAAAAAGSAwAA3QAAAAAAAAAAAAAAD0MDAAABAAAACAAAAAABRAMAAFgAAAAKCgAAAAAAAAAADQAAAAAABUUDAAAaQXBsb3Jpcy5CYXNlLk9iamVjdHMuQ29sb3IHAAAAEkRhdGFPYmplY3QrbVBhcmVudBVEYXRhT2JqZWN0K21Db250YWluZXIFbVR5cGUEbVJHQhBtVGhlbWVDb2xvckluZGV4DG1BdXRvVXBkYXRlZAltTW9kaWZpZWQEAgAAAAAAH0FwbG9yaXMuQmFzZS5PYmplY3RzLkxpbmVGb3JtYXQDAAAACAgIAQEDAAAACbICAAAKAQAAAAAAAAD/////AAEPRgMAAAEAAAAI9gAAAAFHAwAAWAAAAAoKAAAAAAAAAAANAAAAAAEBSAMAAFgAAAAKCgEAAAAAAAAA/////wABB0kDAAAAAQAAAAQAAAAEHUFwbG9yaXMuQmFzZS5PYmplY3RzLlZhcmlhYmxlAwAAAAGTAwAA3QAAAAEAAAAAAAAAAZQDAADdAAAAAAAAAAAAAAABlQMAAN0AAAAAAAAAAAAAAAGWAwAA3QAAAAAAAAAAAAAAD0oDAAABAAAACAAAAAAL"/>
</p:tagLst>
</file>

<file path=ppt/tags/tag528.xml><?xml version="1.0" encoding="utf-8"?>
<p:tagLst xmlns:a="http://schemas.openxmlformats.org/drawingml/2006/main" xmlns:r="http://schemas.openxmlformats.org/officeDocument/2006/relationships" xmlns:p="http://schemas.openxmlformats.org/presentationml/2006/main">
  <p:tag name="APLORISTAG" val="MHhv7vsga9jjekkac.232"/>
</p:tagLst>
</file>

<file path=ppt/tags/tag529.xml><?xml version="1.0" encoding="utf-8"?>
<p:tagLst xmlns:a="http://schemas.openxmlformats.org/drawingml/2006/main" xmlns:r="http://schemas.openxmlformats.org/officeDocument/2006/relationships" xmlns:p="http://schemas.openxmlformats.org/presentationml/2006/main">
  <p:tag name="APLORISTAG" val="MHhv7vsga9jjekkac.233"/>
</p:tagLst>
</file>

<file path=ppt/tags/tag53.xml><?xml version="1.0" encoding="utf-8"?>
<p:tagLst xmlns:a="http://schemas.openxmlformats.org/drawingml/2006/main" xmlns:r="http://schemas.openxmlformats.org/officeDocument/2006/relationships" xmlns:p="http://schemas.openxmlformats.org/presentationml/2006/main">
  <p:tag name="APLORISTAG" val="MMq8K+TY0y1GzdU7X"/>
</p:tagLst>
</file>

<file path=ppt/tags/tag530.xml><?xml version="1.0" encoding="utf-8"?>
<p:tagLst xmlns:a="http://schemas.openxmlformats.org/drawingml/2006/main" xmlns:r="http://schemas.openxmlformats.org/officeDocument/2006/relationships" xmlns:p="http://schemas.openxmlformats.org/presentationml/2006/main">
  <p:tag name="APLORISTAG" val="MHhv7vsga9jjekkac.234"/>
</p:tagLst>
</file>

<file path=ppt/tags/tag531.xml><?xml version="1.0" encoding="utf-8"?>
<p:tagLst xmlns:a="http://schemas.openxmlformats.org/drawingml/2006/main" xmlns:r="http://schemas.openxmlformats.org/officeDocument/2006/relationships" xmlns:p="http://schemas.openxmlformats.org/presentationml/2006/main">
  <p:tag name="APLORISTAG" val="MHhv7vsga9jjekkac.236"/>
</p:tagLst>
</file>

<file path=ppt/tags/tag532.xml><?xml version="1.0" encoding="utf-8"?>
<p:tagLst xmlns:a="http://schemas.openxmlformats.org/drawingml/2006/main" xmlns:r="http://schemas.openxmlformats.org/officeDocument/2006/relationships" xmlns:p="http://schemas.openxmlformats.org/presentationml/2006/main">
  <p:tag name="APLORISTAG" val="MHhv7vsga9jjekkac.237"/>
</p:tagLst>
</file>

<file path=ppt/tags/tag533.xml><?xml version="1.0" encoding="utf-8"?>
<p:tagLst xmlns:a="http://schemas.openxmlformats.org/drawingml/2006/main" xmlns:r="http://schemas.openxmlformats.org/officeDocument/2006/relationships" xmlns:p="http://schemas.openxmlformats.org/presentationml/2006/main">
  <p:tag name="APLORISTAG" val="MHhv7vsga9jjekkac.238"/>
</p:tagLst>
</file>

<file path=ppt/tags/tag534.xml><?xml version="1.0" encoding="utf-8"?>
<p:tagLst xmlns:a="http://schemas.openxmlformats.org/drawingml/2006/main" xmlns:r="http://schemas.openxmlformats.org/officeDocument/2006/relationships" xmlns:p="http://schemas.openxmlformats.org/presentationml/2006/main">
  <p:tag name="APLORISTAG" val="MHhv7vsga9jjekkac.239"/>
</p:tagLst>
</file>

<file path=ppt/tags/tag535.xml><?xml version="1.0" encoding="utf-8"?>
<p:tagLst xmlns:a="http://schemas.openxmlformats.org/drawingml/2006/main" xmlns:r="http://schemas.openxmlformats.org/officeDocument/2006/relationships" xmlns:p="http://schemas.openxmlformats.org/presentationml/2006/main">
  <p:tag name="APLORISTAG" val="MHhv7vsga9jjekkac.240"/>
</p:tagLst>
</file>

<file path=ppt/tags/tag536.xml><?xml version="1.0" encoding="utf-8"?>
<p:tagLst xmlns:a="http://schemas.openxmlformats.org/drawingml/2006/main" xmlns:r="http://schemas.openxmlformats.org/officeDocument/2006/relationships" xmlns:p="http://schemas.openxmlformats.org/presentationml/2006/main">
  <p:tag name="APLORISTAG" val="MHhv7vsga9jjekkac.241"/>
</p:tagLst>
</file>

<file path=ppt/tags/tag537.xml><?xml version="1.0" encoding="utf-8"?>
<p:tagLst xmlns:a="http://schemas.openxmlformats.org/drawingml/2006/main" xmlns:r="http://schemas.openxmlformats.org/officeDocument/2006/relationships" xmlns:p="http://schemas.openxmlformats.org/presentationml/2006/main">
  <p:tag name="APLORISTAG" val="MHhv7vsga9jjekkac.242"/>
</p:tagLst>
</file>

<file path=ppt/tags/tag538.xml><?xml version="1.0" encoding="utf-8"?>
<p:tagLst xmlns:a="http://schemas.openxmlformats.org/drawingml/2006/main" xmlns:r="http://schemas.openxmlformats.org/officeDocument/2006/relationships" xmlns:p="http://schemas.openxmlformats.org/presentationml/2006/main">
  <p:tag name="APLORISTAG" val="MHhv7vsga9jjekkac.243"/>
</p:tagLst>
</file>

<file path=ppt/tags/tag539.xml><?xml version="1.0" encoding="utf-8"?>
<p:tagLst xmlns:a="http://schemas.openxmlformats.org/drawingml/2006/main" xmlns:r="http://schemas.openxmlformats.org/officeDocument/2006/relationships" xmlns:p="http://schemas.openxmlformats.org/presentationml/2006/main">
  <p:tag name="APLORISTAG" val="MHhv7vsga9jjekkac.244"/>
</p:tagLst>
</file>

<file path=ppt/tags/tag54.xml><?xml version="1.0" encoding="utf-8"?>
<p:tagLst xmlns:a="http://schemas.openxmlformats.org/drawingml/2006/main" xmlns:r="http://schemas.openxmlformats.org/officeDocument/2006/relationships" xmlns:p="http://schemas.openxmlformats.org/presentationml/2006/main">
  <p:tag name="APLORISTAG" val="MMq8K+TY0y1GzdU7X.83"/>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3////9/////f////3//ARUAAAAUAAAA//9/////f////3////9//wAAAAAABRYAAAAsQXBsb3Jpcy5DaGFydC5BeGlzQnJlYWsrQXhpc0JyZWFrRGlzcGxheU1vZGUBAAAAB3ZhbHVlX18ACAIAAAABAAAAAQEBCgoJFwAAAAoKAAAAAAAJGAAAAAoJGQAAAAAAAAAKBRoAAAAZQXBsb3Jpcy5DaGFydC5PcmllbnRhdGlvbgEAAAAHdmFsdWVfXwAIAgAAAAEAAAAJGwAAAAEcAAAAFAAAALvoLkIM/npBu2gZRJAlqUMABB0AAAALU3lzdGVtLkd1aWQLAAAAAl9hAl9iAl9jAl9kAl9lAl9mAl9nAl9oAl9pAl9qAl9rAAAAAAAAAAAAAAAIBwcCAgICAgICAgAAAAAAAAAAAAAAAAAAAAAACgoJHgAAAAAKCgoBAAAAAAAAAP////8AAAEfAAAAFAAAAIsu2kKji65CjMWTQqOLLkEndIlBvm4CQ0cPJ0QAAL5DBSAAAAAVU3lzdGVtLkRyYXdpbmcuUG9pbnRGAgAAAAF4AXkAAAsLBAAAAELnl0ORv9JDBiEAAAAQTXE4SytUWTB5MUd6ZFU3WA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wLjAuMTQ4NiwgQ3VsdHVyZT1uZXV0cmFsLCBQdWJsaWNLZXlUb2tlbj0xNmZjMTNhMjI2YzBlOTUxXV0DAAAAmwFBcGxvcmlzLkJhc2UuT2JqZWN0cy5EYXRhT2JqZWN0Q29sbGVjdGlvbmAxW1tBcGxvcmlzLkNoYXJ0LkF4aXNCcmVhaywgQXBsb3Jpcy5DaGFydCwgVmVyc2lvbj00LjAuMC4xNDg2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AuMC4xNDg2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SYAAAAWQXBsb3Jpcy5DaGFydC5BeGlzVHlwZQEAAAAHdmFsdWVfXwAIAgAAAAEAAACamRk/AAAACgkBAAAACScAAAAJKAAAAAEAAAAAAAAAAAEAAAAAAADwPwGamZmZmZm5PwAAACBBAAEJKQAAAAoJKgAAAAkrAAAACSwAAAABLQAAACAAAAC76C5CgP2wQwEuAAAAIAAAAEdXJESA/bBDCS8AAAAJMAAAAAkxAAAACTIAAAAAAAAAAAAAAAAAAAAJMwAAAAAAAAAAAAk0AAAACQEAAAAJAQAAAAk1AAAAAQcAAAAGAAAACQEAAAABNgAAACYAAAAAAAAAzcxMPwAAAAgBAAkBAAAACTcAAAAJOAAAAAEAAAAAAAAAAAEAAAAAAADwPwGamZmZmZm5PwAAACBBAQEJOQAAAAoJOgAAAAk7AAAACTwAAAABPQAAACAAAAC76C5CgP2wQwE+AAAAIAAAALvoLkIM/npBCT8AAAAJQAAAAAlBAAAACUIAAAAAAAAAAAAAAAAAAAAJQwAAAAAAAAAAAAlEAAAACQEAAAAJAQAAAAlFAAAABAgAAACoAVN5c3RlbS5Db2xsZWN0aW9ucy5HZW5lcmljLkxpc3RgMVtbQXBsb3Jpcy5DaGFydC5Db2x1bW5PcmllbnRlZENoYXJ0K1VudXNlZFNlcmllcywgQXBsb3Jpcy5DaGFydCwgVmVyc2lvbj00LjAuMC4xNDg2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AuMC4xNDg2LCBDdWx0dXJlPW5ldXRyYWwsIFB1YmxpY0tleVRva2VuPTE2ZmMxM2EyMjZjMGU5NTFdXQMAAACXAVN5c3RlbS5Db2xsZWN0aW9ucy5HZW5lcmljLkxpc3RgMVtbQXBsb3Jpcy5DaGFydC5DaGFydERhdGFTZXJpZXM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RwAAAAlIAAAACQEAAAAJAQAAAAlJAAAABQoAAACmAUFwbG9yaXMuQmFzZS5PYmplY3RzLkRhdGFPYmplY3RDb2xsZWN0aW9uYDFbW0FwbG9yaXMuQ2hhcnQuQW5ub3RhdGlvbk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C4wLjE0ODYsIEN1bHR1cmU9bmV1dHJhbCwgUHVibGljS2V5VG9rZW49MTZmYzEzYTIyNmMwZTk1MV1dAwAAAJwBU3lzdGVtLkNvbGxlY3Rpb25zLkdlbmVyaWMuTGlzdGAxW1tBcGxvcmlzLkNoYXJ0LkFubm90YXRpb25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oAAAAJSwAAAAkBAAAACQEAAAAJTAAAAAULAAAAoQFBcGxvcmlzLkJhc2UuT2JqZWN0cy5EYXRhT2JqZWN0Q29sbGVjdGlvbmAxW1tBcGxvcmlzLkNoYXJ0LkFubm90YXRpb25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C4wLjE0ODYsIEN1bHR1cmU9bmV1dHJhbCwgUHVibGljS2V5VG9rZW49MTZmYzEzYTIyNmMwZTk1MV1dAwAAAJcBU3lzdGVtLkNvbGxlY3Rpb25zLkdlbmVyaWMuTGlzdGAxW1tBcGxvcmlzLkNoYXJ0LkFubm90YXRpb25Hcm91c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NAAAACU4AAAAJAQAAAAkBAAAACU8AAAAFDAAAAKABQXBsb3Jpcy5CYXNlLk9iamVjdHMuRGF0YU9iamVjdENvbGxlY3Rpb25gMVtbQXBsb3Jpcy5DaGFydC5DaGFydERhdGF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wLjAuMTQ4NiwgQ3VsdHVyZT1uZXV0cmFsLCBQdWJsaWNLZXlUb2tlbj0xNmZjMTNhMjI2YzBlOTUxXV0DAAAAlgFTeXN0ZW0uQ29sbGVjdGlvbnMuR2VuZXJpYy5MaXN0YDFbW0FwbG9yaXMuQ2hhcnQuQ2hhcnREYXRh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UAAAAAlRAAAACQEAAAAJAQAAAAlSAAAABQ0AAACaAUFwbG9yaXMuQmFzZS5PYmplY3RzLkRhdGFPYmplY3RDb2xsZWN0aW9uYDFbW0FwbG9yaXMuQ2hhcnQuRGVsdGFCYXI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C4wLjE0ODYsIEN1bHR1cmU9bmV1dHJhbCwgUHVibGljS2V5VG9rZW49MTZmYzEzYTIyNmMwZTk1MV1dAwAAAJABU3lzdGVtLkNvbGxlY3Rpb25zLkdlbmVyaWMuTGlzdGAxW1tBcGxvcmlzLkNoYXJ0LkRlbHRhQmF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MAAAAJVAAAAAkBAAAACQEAAAAJVQAAAAUOAAAAnQFBcGxvcmlzLkJhc2UuT2JqZWN0cy5EYXRhT2JqZWN0Q29sbGVjdGlvbmAxW1tBcGxvcmlzLkNoYXJ0LkRlbHRhQnJpZGdlLCBBcGxvcmlzLkNoYXJ0LCBWZXJzaW9uPTQuMC4wLjE0ODY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AuMC4xNDg2LCBDdWx0dXJlPW5ldXRyYWwsIFB1YmxpY0tleVRva2VuPTE2ZmMxM2EyMjZjMGU5NTFdXQMAAACTAVN5c3RlbS5Db2xsZWN0aW9ucy5HZW5lcmljLkxpc3RgMVtbQXBsb3Jpcy5DaGFydC5EZWx0YUJyaWRn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WAAAACVcAAAAJAQAAAAkBAAAACVgAAAAFDwAAAJ0BQXBsb3Jpcy5CYXNlLk9iamVjdHMuRGF0YU9iamVjdENvbGxlY3Rpb25gMVtbQXBsb3Jpcy5DaGFydC5Hcm93dGhBcnJvdy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wLjAuMTQ4NiwgQ3VsdHVyZT1uZXV0cmFsLCBQdWJsaWNLZXlUb2tlbj0xNmZjMTNhMjI2YzBlOTUxXV0DAAAAkwFTeXN0ZW0uQ29sbGVjdGlvbnMuR2VuZXJpYy5MaXN0YDFbW0FwbG9yaXMuQ2hhcnQuR3Jvd3RoQXJyb3c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WQAAAAlaAAAACQEAAAAJAQAAAAlbAAAABRAAAACkAUFwbG9yaXMuQmFzZS5PYmplY3RzLkRhdGFPYmplY3RDb2xsZWN0aW9uYDFbW0FwbG9yaXMuQ2hhcnQuV2F0ZXJmYWxs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wLjAuMTQ4NiwgQ3VsdHVyZT1uZXV0cmFsLCBQdWJsaWNLZXlUb2tlbj0xNmZjMTNhMjI2YzBlOTUxXV0DAAAAmgFTeXN0ZW0uQ29sbGVjdGlvbnMuR2VuZXJpYy5MaXN0YDFbW0FwbG9yaXMuQ2hhcnQuV2F0ZXJmYWxsQ29ubmVjdG9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wAAAAJXQAAAAkBAAAACQEAAAAJXgAAAAURAAAAogFBcGxvcmlzLkJhc2UuT2JqZWN0cy5EYXRhT2JqZWN0Q29sbGVjdGlvbmAxW1tBcGxvcmlzLkNoYXJ0LkVsZW1lbnRDb25uZWN0b3I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wLjAuMTQ4NiwgQ3VsdHVyZT1uZXV0cmFsLCBQdWJsaWNLZXlUb2tlbj0xNmZjMTNhMjI2YzBlOTUxXV0DAAAAmAFTeXN0ZW0uQ29sbGVjdGlvbnMuR2VuZXJpYy5MaXN0YDFbW0FwbG9yaXMuQ2hhcnQuRWxlbWVud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gAAAAgBAAAAAgAAAAMAAAAEAAAABQAAAAYAAAAFGwAAABpBcGxvcmlzLkJhc2UuVUkuVmlzdWFsUmVjdBQAAAALbVN0YXJ0UG9pbnQJbUVuZFBvaW50C21MaW5lRm9ybWF0C21GaWxsRm9ybWF0CW1Sb3RhdGlvbhJtUmVjdGFuZ2xlUHJvdmlkZXIMbVBhaW50T2Zmc2V0Em1QYWludFNpemVPdmVycmlkZQ5tRXh0cmFSb3RhdGlvbg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QEBAAEAAAAAAcCAAADABVTeXN0ZW0uRHJhd2luZy5Qb2ludEYEAAAAFVN5c3RlbS5EcmF3aW5nLlBvaW50RgQAAAAfQXBsb3Jpcy5CYXNlLk9iamVjdHMuTGluZUZvcm1hdAMAAAAfQXBsb3Jpcy5CYXNlLk9iamVjdHMuRmlsbEZvcm1hdAMAAAALKkFwbG9yaXMuQmFzZS5VSS5JUmVjdGFuZ2xlUG9zaXRpb25Qcm92aWRlcgMAAAAUU3lzdGVtLkRyYXdpbmcuU2l6ZUYEAAAAFFN5c3RlbS5EcmF3aW5nLlNpemVGBAAAAAsZU3lzdGVtLkRyYXdpbmcuUmVjdGFuZ2xlRgQAAAAICAEBCAEBD1N5c3RlbS5JbnRQdHJbXQEDAAAAAWgAAAAgAAAAu+guQgz+ekEBaQAAACAAAABHVyREgP2wQwlqAAAACWsAAAAAAAAACgVsAAAAFFN5c3RlbS5EcmF3aW5nLlNpemVGAgAAAAV3aWR0aAZoZWlnaHQAAAsLBAAAAAAAAAAAAAAAAW0AAABsAAAAAAAAAAAAAAAAAAAAAW4AAAAUAAAAAAAAAAAAAAAAAAAAAAAAABQAAAD/////AQEKCW8AAAABAAoADx4AAACEOQAAAlBLAwQUAAYACAAAACEASRKs94wBAAB4Bg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xFXdTsIwFL438R2W3pqtwIUxhsEF6KWSiA9Q2wNb6Nqmp/y9vWcDjJK5SVjizZqt/f7Ods6G412how14zK1JWT/psQiMtCo3y5S9z5/jBxZhEEYJbQ2kbA/IxqPbm+F87wAjQhtMWRaCe+QcZQaFwMQ6MLSzsL4QgW79kjshV2IJfNDr3XNpTQAT4lBysNFwCgux1iF62tHjgxOCs2hyOFdKpUw4p3MpAhnl5S6vxW0acRujzszFdrHIJSgr1wVZSgg/9WJL8X8R8KCxwVmNwjF6QsjKPWa5w7tjhFeqvc8VRDPhw4soKCjfab61fvVh7SpprkON2lkedB6EwgwgFDqp1qQQufmDfnUYebX0OzZS5quIL/Qx+CcfgT5s4NX1+lJUNC3BMew1YMdpD6RtypnwoN6Cpx7o3MB37hYf0hZlR+L19f7ZAyfeNnmh5SSjTun4HcgTb5M+jaOZtw5pUnq43MBp4pTo2BER+JBD48z5UqQxe7ng2dCBco4rUDXavPpvjD4BAAD//wMAUEsDBBQABgAIAAAAIQBQfE7B9g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JLPSgMxEIfvgu8Q5t7NtoKINNuLCL2J1AcYk9k/7G4mJNO6fXuDoLiw1h6TzHzzzY9sd9M4qBPF1LE3sC5KUOQtu843Bt4Oz6sHUEnQOxzYk4EzJdhVtzfbVxpQclNqu5BUpvhkoBUJj1on29KIqeBAPr/UHEeUfIyNDmh7bEhvyvJex98MqGZMtXcG4t6tQR3OIU/+n8113Vl6YnscycvCCD2vyGSMDYmBadAfHPt35r7IwqCXXTbXu/y9px5J0KGgthxpFWJOKUqXc/3RcWxf8nX6qrgkdHe90Hz1pXBoEvKO3GUlDOHbSM/+QPUJAAD//wMAUEsDBBQABgAIAAAAIQAAQZj4CQEAAMwD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8k81qwzAQhO+FvoPYey3bbUMpkXNoKeTapg8g5LVlYktGu/3x21ck1HEguBfT486imY+RtN58d634xECNdwqyJAWBzviycbWC993LzQMIYu1K3XqHCgYk2BTXV+tXbDXHQ2SbnkR0caTAMvePUpKx2GlKfI8ubiofOs1xDLXstdnrGmWepisZph5QnHmKbakgbMtbELuhj8l/e/uqagw+e/PRoeMLEZIjF0ZDHWpkBYfxKGZJBAV5meFuSQbioY0ljhDHeS7+ftF4qwOWbxziDU8ppvIczGpJGKNb82R14051jNIcRLYkxJcPe7KIfIIYJZKHzezryP8ZJv9tRp79weIHAAD//wMAUEsDBBQABgAIAAAAIQCt96GT0QEAAAQDAAAPAAAAeGwvd29ya2Jvb2sueG1sjFJNj9MwEL0j8R8s31s7TtJdVU1WpR+iEkIrWHbPxnEba/0R2Q7JCvHfmSRkKXDhZI/HM2/em7e5641G36QPytkCJ0uKkbTCVcpeCvzl4bi4xShEbiuunZUFfpEB35Vv32w655+/OveMoIENBa5jbNaEBFFLw8PSNdJC5uy84RFCfyGh8ZJXoZYyGk0YpStiuLJ46rD2/9PDnc9KyL0TrZE2Tk281DzC+KFWTcDl5qy0fJwYId40H7mBuXuNkeYhHioVZVXgHELXyT8efNu8a5WGLFtRmmFSvrK894i30e2cARIh3CsRW7gUmA6/Bh0elezC74IhRP2TspXrCpzeUBD2ZQ4ZZRB2Y/JJVbEGxCQZvkxv76W61BHWwdJsBCBXCKOAgDSeyI7sto12XoU9jxzWNSh8AhYJRn6t4OJPVTLMeV3y2RmJPvEO/VXErorYUERmQMG1AB2GY+yeUUoBQjgrWu9hHTvI/FJE9vFDiOUGTtR6VeDvNzlLD/k+XbD8mC62+YEuklXKFqvsyPJsx1iWsx+zF0z/jxmMEt4Fd45L4QyZfAD+EUT2Qo52up3sVG5Mv956UZ/26Kj5BZY08YBZgM08GZkNXP4EAAD//wMAUEsDBBQABgAIAAAAIQAlp5p+rgYAABlQAAANAAAAeGwvc3R5bGVzLnhtbOxc3W/bNhB/H7D/QVCxx0TWpz9gu1iSeivQFQGSAXuVJcomKomGJLd2h/3vO5KSJdmxbIdMm27MgyPKx+Pxx7vjh483frtJYu0zynJM0oluXvd0DaUBCXG6mOh/Ps6uBrqWF34a+jFJ0UTfolx/O/35p3FebGP0sESo0IBFmk/0ZVGsRoaRB0uU+Pk1WaEUvolIlvgFFLOFka8y5Ic5rZTEhtXreUbi41TnHEZJcA6TxM8+rVdXAUlWfoHnOMbFlvHStSQYvV+kJPPnMYi6MR0/qHizwgH7BAcZyUlUXAM7g0QRDtChlENjaACn6ThdJ7OkyLWArNNiolu7Vxr/5n0IEHqOrvFO35IQxOhd937Rjapyi9JtU75586YiNsqmpuOIpHWLQ+gO7dXoU0q+pDP6FbQIYlCq6Tj/qn32Y3hj0gYDEpNMK2A0QAr2JvUTxClu/RjPM0zJIj/B8Za/tugLNoAlXYIBTvrS4C3wzzmlKtsa0m95UzgN0QYBBoO91h79JUl8SnjQWItvxfOl5T+/nd9wHGsPfpofYPAUj2wxn+izWY/90Ro14McZzRtgXtTx0+O0PsG615ZRTClONbanE2KN7dBnGsvV70L0mebloJIwxC2Tpi+mY3AuBcrSGVWA8vlxuwJLSsEPcm1gdCeoF5m/NS23UcFgDU7Hc5KF4HcrZ0KtmL+ajmMUFTB0GV4s6f+CrOBzTooCnNR0HGJ/QVI/hkejqlE+QHcCFMcP1Df/Fe1494fAfBM1fA+4eWrK1GHRR+hJ+cgZ8gI00KoE3qeqZB2tpPmrVbydAXPGmpeAf126YR2vy7/GeJEmqFnhPiMFCgo2JzElbcnREP64HPvCq0owdVXjXQ79s9DzTgz9x3UyR9mMTfv1IFM7qksyVaD/yuRR+IBL6bA+hY/CR8TlK/1R+qP05+XmU2Vfyr6UfSn7gg0T27x96/W88j/K/yj/o/yP8j/8fE6db3T7Q4WPwkdkvlD6o/RH6c/LrTeUfSn7Uval7Ot7reeV/1H+R/kf5X+U/+HnCep8tdsfKny68XlW0ND/rpLRjMPjUXmNgDyLhg4fi2kDRxU9HZCnbaKnI/NolZPhfLvaZYgei8hiUZnHJLFPS9IM9zPLX4yq6K6q3Jh9aZSjX8X7aUuS4a8gN41ZDiAAEGW69iXzV49oA9GDTDRjEx1HikZadyIFatcIR6zk4XNhVXo90gLcP5C0AP4PJC2E2r+MtDRW9wytNT0W7H8q5HbPRtu/vXba6hleo0SgtHteusQ2acDxgTmW9x3O7FhldPsdOz0431jQp1eLlfhtDyIsWsN9n3RpP5aT+P4O+DXq50WTnGzDljrBVmbC4/0r87jEIC7C4qR1CMjzHEd+tjzn+LsXQ43OPJ3LJFHUjkwMjRkPbhF2i9CHbReboM9Bqu1+hRZwcPWxwEFjASqjL3Dk+J/pC4zcq+oL21jBVqpx06l9z2m38dLo7Tu4j0fimHxBofY7XN/KYpx+gkuUbB9lgt7P1zgucEq3VXC9aYnDENF7sPQCwwWMYJqTwwgcihxGYE5yGMH4S2FkyQIb9s6SJJIFtiULbEsW2LYssG1ZYNuywLZlgW3LAtuRBbYjC2xHFtiOLLAdWWC7ssB2ZYHtygLblQW2KwtsTxbYniywaXIFKdORJwtsTxbYfVlg9y8D+2BZBOugBsTQvc5V0UF1yGEgVh9OOITah22HUH1YvQvVF8TPEsTPEsQPkhUI9d8SxM8SxM8WxM8WxM8WxM8WxM8WxM8RxM8RxM8RxM8RxM8RxM8VxM8VxM8VxM8VxM8VxM8TxM8TxI/+UCPi/z1B/DxB/PqX4feRJuqIqyOR9hqE5XHYPwa5Rxn9rbaq0W6NJbrZr8FShZmO0x/YpmWZDt1U8hOYs8j7MKCcnCf7qRLclOc7+9yHsETk5M5Tpzh75J4JC0FO7p1DTrefnHxwDjk91uTk9hnkfRPGnpP3u8gHw4E7HFBAd+Sd7Et6t1fTd2JT0dOpqBSna6Rcyx6Y7sDr0R1MSd8F5o6+D6ZW0nehuaMf1vQMnzrIAo4Dw02d8IgpbkHTwLFUSLsDQlDvEEX+Oi4ed19O9Pr5DxTidQLqWVLd48+kYCwmev38geZlAr2BM0IIVPiQQ+Y1+K+tMzzR/3530x/evZtZV4PezeDKsZF7NXRv7q5c5/bm7m427Fm923+g2zRn3giSuQnkpGO58yA6wnRGeQyZ67Kys6XwD/W7id4ocPGp9AaIzT9ZJwxmGyyn3/RfAA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9Ekj23gFAAC9DwAAGAAAAHhsL3dvcmtzaGVldHMvc2hlZXQyLnhtbIxX2XKjRhR9T1X+geLd0PuisjQ12mzZsjOVSWaeMWpJ1AihAN6Syr/nNkiymiZV8yLB6XMvfZc+cK8/veW74MWUVVbshyGOUBiYfVqssv1mGP75x/xKhUFVJ/tVsiv2Zhi+myr8NPr1l+vXovxRbY2pA/Cwr4bhtq4Pgziu0q3JkyoqDmYPK+uizJMabstNXB1Kk6wao3wXE4REnCfZPmw9DMqf8VGs11lqpkX6nJt93TopzS6pYf/VNjtUJ295+jPu8qT88Xy4Sov8AC6esl1WvzdOwyBPB4vNviiTpx3E/YZZkp58Nzee+zxLy6Iq1nUE7uJ2o37MOtYxeBpdrzKIwKY9KM16GH7Gg0fMwnh03SToW2Zeq4vrwOb7qSh+2IXFahgicFGZnUlt5EECfy9mYna7YfhgS/ZX4xQuwWF89nh5ffI+byr0pQyekspMit33bFVvoRWgE1ZmnTzv6t+L11uTbbY1oAxyYFMxWL1PTZVCDexWTrueJnUyui6L1wCKiWEbh8S2Bh6A3eg6tehnCwMEmwTTCuCXESXX8QvsLT1yxmcOOG6sJh4y9ZCZh8w95MZDbj1k4SF3HnLvIUsPefCQx0skhjSdc0X6c2XhYSibIl7SqUsPmtJgcs6xXR+GxNo16Ru3APyec46Vm/NJS4H6flC0S5n6FIJcyqyHgl3KvIfSqf9ND4W6Xm57KMylLHoo3KXc9VCES7nvoUiXsuyhdLL70EPpZPexpfCLAtCP7DrdAkW6PFlN+aUVhPaE2eVhKC4ddWowbilYN8ePRUJRxBVVmhAqiaazq05FJq0BwUcDqTGVghEuMEdcMM9g2jHQkjJBNNeCa4S09gxmjgGNCFdYCkWQgOdoCQadDpg7BigiWGNNYDMacwXWHfqNQyfgXyLEMKPUkrkf8q1jgCIsKMNYEQJhgBnv+F94dEYIwwhhBY/AtNt5XTqnSDGJmZQIwu608r3DphFljCjFBORHUdiMl82lY4AjwjSkHQlE7Y8knsGDY0AiyRDm0AlICQ41EF76H48Gtu1eRirCSCskMdGacLC8fIDTu9CWl7176lkLd94KvNOD4zPnJGsTD5l6yMxD5h5y4yG3HrLwkDsPufeQ5SXi5EH25uHGwn2Kb9/pFy/T5shzcT7ydhnSxz8U/4x86DntiNKkj9NRpWkPh33IUiM4sz5OR3HmfZyO1N4cOZCD8zuIdbT2ts9PJ65FH6dzXO/6OJ3Y73s4vBP7sofzf7Kte2qoPj6M7DLUEDrmHD3vZHF85LS6bTXP6i8C5SOCC4k6CZ209KNqg4QRzEBjpMSICZCQTk6mDl1GIMCUcFAODXqDqa8yM8cAZEkIpjDH4F8xLvGlCDSdMncMYP8gvloIIjVVnBPVKcCNQwf/migEMiw1vHmU9DTp1uGrSCsgKgGCRBnIpPIMFo6BfYCCaIVUkFjQMf+1ducYsIjDrjnljCnGEMeO7DUR3zsGKlJUKCwY1/BqYHDppWh5NGh1FWpGsZaQUgpxIIL0R80cObEf5pcCcdTVWYM7gtJOA+2Xem7KTTM1VEFaPNtvefsNeUYvJhMrLF1cDEDeAI/PCzBTHJKNeUjKTbavgp1Zg0sUSfioKdsBor2piwN0ehg8FXVd5M3lFkZDA/MBioC8Lor6dAMPsD6/mvr5EBRlBiNHM+0Nw0NR1mWS1WGwBfzvAhZ200M2DBnRDKpINHw/w2xbZ6m/AG7NW72s6uY/eC7B7h/BECKS4qvPYoyuuP0hcKyupCR4LCdIC4T+PU2B+dvPjYB5ksbmLTXNyKvakReS+Tb4svwWPBQrmC5h1vptb75AmM3196+w4ebSZhe22f42m41fT4P36D8A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DYIcuJmCAAA1xsAABgAAAB4bC93b3Jrc2hlZXRzL3NoZWV0MS54bWyMWVtzozgWfp+q+Q8sLzNbW7ElIQFy2Z5KfOmJG3a7JnN5JhgnVNvGC6ST7Nb+9z1CAuviuLof0vjocPR9R0f6JDH95e2w974VdVNWx5mPR8j3imNebcvj08z/4/f1Tex7TZsdt9m+OhYz/71o/F/mP/4wfa3qr81zUbQeRDg2M/+5bU+T8bjJn4tD1oyqU3GEll1VH7IWftZP4+ZUF9m2e+mwHxOEwvEhK4++jDCpvydGtduVebGs8pdDcWxlkLrYZy3gb57LU9NHe9t+V7xtnb0C1x6PBnEpW4Z4mDr4DmVeV021a0d5dRhLaC5LPuYGz0PuBLqQrENWf3053UDgE5B7LPdl+97R9b1DPrl/OlZ19riHEXnDNMs1lJkb/vtxQqT5dFtCbkVBeHWxm/m3eJIGyB/Pp93Q/VkWr4327LXZ40OxL/K22EIF+Z6ojMeq+ioc78GEIGTTOYiQWd6W34pFsd/P/E8Q1mv+3fUinqGL8dCH/tz3t+6q6UvtPWZNsaj2f5Xb9hk6hTDbYpe97NuzMR7FAUEBJmxo/K16/bUon55beIVCykTmJtv3ZdHkUEwCKSDIqz10B3+9QymmBOQ7e5PEVG94BCGb9l1kH5ofi6ZdlyKm7+UvTVsdelgqnAxEVCAOGZKBdIQqHDdeEbxk58G1l2LzJWAmXwqDGJ4/7gyL98aSb5f2ZdZm82ldvXowd4BNc8rEzMYTDP2LrJEYxjIXrXeieeYDGTA3YP02R9PxNxFPeSxcj8D0WEoPEXwIwojps3Kj4NB0WV8Ig9ngMwY+AykYBIcUZj2pW9HcMR/w4CGOpK08uGQ8IjHmmFFIdMiCCPHYdN8od1lYIm+fHUviWFLdYsCHTF2DL5pN+FY276QHEVMSBmwU4RjFlIWYBTQMMLXQq3gaeseSOJZUtxjooRivoRfNJnoLz0J59MnHKMQkIogyhKOAI6u8Nspdg+9YEseS6hYDvpj09oTQakc0m/DPNdjVzkJ6ENzXDqIoCBnnPCIU0m+V9UYF1OA7lsSxpLrFgB9ehy+aTfgWnoX0GOAHmIccU8oppRhDCVnFowJq8B1L4lhS3WLAj67DF80m/MjEs5AeQ+nDbAXwEQ1RjCMUEGumbFRADb5jSRxLqlsM+GIbdaV4RLMJ31pJ1spD1j4fBYgB+iDiLEQBpcHqxiagXtAIOJbEsaS6xSAAK/01AqLZJMDN/K+lx1A+hCJMcBDDvCUs4tQuHxVQg+9YEseS6hYDvpDSa/i7dpMAtgRtrXwGCrDw8wjSDzobcBza0rXpY2ocXFPimlLDZNIQWneljrDSQk1RsSVha+VzphEBA0RISFjMEbPGbdOH1FmoXs6mxPVKDZPJQgjcNRZKAHUWVnmvsfQ5s6AgYfAvwhFDsKaa1bdR7pBZscXrlNg1Ja4pNUwmCyF011goIdRZWBK1FnsfmDeKRTSilESMwKrEwpiFIXWntXrDIKIrbsctcb1Sw2QSEZJ3jYiSRJ2IJc1rsZ8WRPqdBYatNwmABMIxwQxZy9lG+Rs0dOVVNBxTarxo0hDSp9FQ43wLGm2vTdgSh5XyEavrbv7wR/rzTw/VofB+y149sSn+6W+f6eSf9O/T8U5unDDhUYww4sCPwpyxV6++T73cdGVW9BxTarxo0hPSqNGzNuS3WEknzIth9xo4PKWT5GlzvINB7fjRURiDwMRBzAkJIsINeTFRCcW7hkopIgzkGZWVrRWWTh9nf0EnKz37CHEUsgiFUUBxZB8INiqeUVy6MqvsO6bUeNHkKYTR5slCqJcu2C1Wwgkr45mntYNaKafL2V/32UcjAocKThCD/RWLYVW2Vo1N35leXbpwK36OKTVeNPkJ5dT4DbyUohq8LDwrLJ0u87o/88IhJYRiBGtCEMQ4sOpgo+IY46YruuLlmFLjRYMXLEgGL3vWdO2g+zo/ZvNTTpf5bTR+LIDjVIRpFKEojKFBPxBv+r60YXNNiWtKDZNJTyixNmwdPa0sQVi6tU+nF1i4Vsrp4+n3if7DXit+1adjzHiM45CikMCZILDX+h6EzlvhOpsS1ys1TCZvawfRlytROwedr73YL5XT5eFMYOfQL/JwxIkYHC3jkCCCuFUWm76zM4nPrilxTalhMnld2lOcb11uiZJ6nR+1cC2V02V+9z2/YBTwGDZKYQQCHXLCjM2GiUrIsFZlQ7aVPBtorOpaEul0Gc2mR0NHjDHCAjjVxBQUFRN962Oi+UDnxUWfOIMYaKzN71I5XUaz6tFAbmDzFWMYfCwuSCL8MRpLlofcKDnW9MA+4yzJNTX+3IMR14RhDGsn47B2Unj8GIyQNG2gnNVOSZ6RIuuYsyTS6XKKltxdCs5AQYoJbB1CuM+IYBjDj4FeklO9zi/JKfSjr6dL8BcDfhnookeFRnDOBDw4grGkIeywz/PFrCuhK9eSp3RHT5691i2JdLqM6e6MCaYc7IoRCD2BvT7sZAZuBqbugtzGRMmw7ejaoeb17RW1jkpL5XQZ09od0E8aTIrDmMPRisDyzhk97yclTHldL++NT9lTkWb1U3lsvH2xg20QXDD6Xi0v3Lvntjp1Vpipj1ULN+X9r2f4MFTA9SgawQK3q6q2/wGnNRH3oWhfTl5Vl3BP333rmfmnqm7rrGzhZhrs/6mgYb88lTOfEk5hVSMctAC+bLVl7jZA2H3xlOXv6iuPV0/K7cyv77fdpXjx1iZNO5/C/95LDTH/C+KGSBTgm9vwDt0w8YfAsN1EEcF30QLxEKH/9V9hDvC9wPocdvETzCHLx8VbXnQfw2L5kWg+PbxNviR/emm1he8LsH3517H4Ainonv96ADLdo7i6B3jybwd2/Np/kpv/HwAA//8DAFBLAwQUAAYACAAAACEAK1gvqfECAACDCAAAFAAAAHhsL3NoYXJlZFN0cmluZ3MueG1snFZNbxoxEL1Hyn8Y7YmqgYUEorYCIpSUNlIRqJBWPTreWdaS16a2l5Z/3/EChdhBSnLzjt98v2fo3/wtJazRWKHVIOm02gmg4joTajlIHhbj5ocErGMqY1IrHCQbtMnN8Pysb60D8lV2kBTOrT6lqeUFlsy29AoV3eTalMzRp1mmdmWQZbZAdKVML9vt67RkQiXAdaXcILm+TKBS4neFt1tDr5sM+1YM+274BVWGpp+6YT/1lq11wiSGtjGlj62jZQR88BHhqhcGuOo1u93Q2O01e5Gx13sf4r6hteAKpqATXnXAabgKrV1vjWq49taPIbbT9uZOhO7U8Mt2iJ9og9ti4rtfyIwFoWCmrXC099B5IVw8xqkr4i2MGa+k28Af4QpgnGVYCg4sWwtLBAKDdqWVFY9CUiK0YaJxJWXTiRJhZnRO86NimIS5Y3kOIx9FR4sf7bN4pliUMWJGbPZx0gkqR+G+IpNU3kn8nTDInTagd0mp9LTO7nsYZaVQwjrDCBI2QGWvtXWh+YfgviW0IqMSgELvLDUaGkJxWXmJAaOevbycvfBnzQVzSGd0vPUuDHuHRK43O++7fGuAW60N1fzcGG4LgTncq63kaYkwzXOagYHG7f30HaSwRSyQF0pLvdwcARbTqNFjWunKvYFZNVuhMZPILIJdIRf5Jsrzs2AOHpFesgwtN4KOsNGVAecVAHRZfwllyVB5qdyEO6m14pH3B1CI8XsLbTvmXDxhxgWcnx3IsqNP6LnTRfo6Pp+fPWV0GPV45FvpET1D0NxVNaHnaNa03kjP+/tRnjNhouvPymgpSy+JCVNsif4Y5vB6qx+CyP2/8g+9pIuKVPlMpfULvzQsq0hP9KCQ2uJyv6Olp5AXUQn7J4aWRDHK9A5XrnUStR/sScCpIsekJkWKlzASWeh9xCcCvLRUkhoVy4yrp9yYv5b4eaW45zmlZPST/SIJjA8+I/IJG9k/r+dnjVqVRypM6U/E8B8AAAD//wMAUEsDBBQABgAIAAAAIQDs15QcmAIAAA8HAAAbAAAAeGwvZHJhd2luZ3Mvdm1sRHJhd2luZzEudm1s7FXLbtswELznKwjl4IsNPfJowEgGghS5tQWaPo4BLdEWE5IriGtZztd3ScmO3aBF0B56qQCKFHe4uzMcQHlvNKNhHe+KaN1a7spaGuFmRpUtOFjirATDO6OjkxEIvwPCcqlKyYdpf6R/wxHZl/KliKF2asSGx7ER5Tej70NfX1sVzU9YDtzVopFabGGNrOOyxyKSlUIf9WFVGdEcBVglUBRRGsU+QXyUYZ53Q0LcNpKpqoge+oSeB8ySLGIlQFs59SyLKEsvk2Qa3hGjHA3V9Riq2gisi8gk00SPiAF39E56ObRIBbGFJ8keQVmHW03JjULZhv4YNeTzsVUrKiUtBrrwVEToy5ZgrSzRd1tELa1GUgcs9pQO6bg0yS4iNpw7PeI4tDBpwClUYLlYONBrlNfEzIh2pexMyyXyy6sGr8cNhIanCX1vVIU1T7NzWtdSrWrkqcc9z5StZM9Tn6VTTi2UVrjltaoqaa+Ng9mmFc0sFOfoD07YUmldgoa2iE6X9MjUUyaRJBqoiLBYI+xE9GC6H0JnL3B/w15BEq2CDQM7yLZw5bqVdLmDXHuNf9LTgpX7S0By1gJ6NsrjO66UV5w0mgmN3Dcz8fVYXqluh/PHKKxWlnvVJvM8pmhoK+74mDR89vxW+wt+T+5knxaPlPpLuNaPgINVWN7zD9DJ7wrrW6m1C/T87j1Z8vXujS1raENLLJmyy6upn1IaZzS9o0EbedzzAyAluyEid6Tm/E5oJ0N8txPY9fwzbOapD/jFuHdLJjF2HvKNa689gV5oETYn1sHCv7Tl5d/ZMs3SY19mB7b0VhxtGWA7W2b/bflvbEkOvMiCLel9PmWZtyRNZ39qy+C/17YMbn2bLWP6C85/AAAA//8DAFBLAwQUAAYACAAAACEACMS//TQBAAAS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FfS8MwFMXfBb9DyXubppUhoe1AZYg4EJwovoXkrg02f0ii3b69WTdrZT5ezrk/zrm3Wu5Un3yB89LoGpEsRwloboTUbY1eNqv0GiU+MC1YbzTUaA8eLZvLi4pbyo2DJ2csuCDBJ5GkPeW2Rl0IlmLseQeK+Sw6dBS3xikW4uhabBn/YC3gIs8XWEFgggWGD8DUTkR0Qgo+Ie2n60eA4Bh6UKCDxyQj+NcbwCn/78KozJxKhr2NnU5x52zBj+Lk3nk5GYdhyIZyjBHzE/y2fnweq6ZSH27FATWV4JQ7YMG4psLzIR6uZz6s4423EsTNvnkwmoWO6eTeuAgAqSt87orEsQBVp80kZqLHBj/Sa3l7t1mhpsjJIs1JSspNkdOyoMXV+yHFX0AMdvbF5hsAAP//AwBQSwMEFAAGAAgAAAAhAHT+6QQPAQAAIgIAABAAAAB4bC9jb21tZW50czEueG1svFDLTsMwELwj8Q/W3qmTHFBBsSs4FCFxQKJ8gIk3jSU/Iq9bpXw9W9Jw4MQJybI849mZ0babKXhxxEwuRQX1qgKBsUvWxb2C9932Zg2CionW+BRRwQkJNvr6qu1SCBgLCTaIpGAoZbyXkroBg6FVGjHyT59yMIVh3ksaMxpLA2IJXjZVdSuDcRF0aw5lSJmWh9St/KEuOS+Oil5CRcZewWMNYpY9WwUV+xScWJT5vPL1wT70KY7GK7gDBl3yKQsXLU7IE+v6TOZtimUW7cyQgjmTvQnOn2a2ORPy27Hop5wOo7BIXXZj4Z1RKzlScpyc0+Wl8K+yD83/l33D7JD+2HbpPS96QaS/AAAA//8DAFBLAwQUAAYACAAAACEA2WYniZEBAAAv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PGzEQhu9I/Q+W78RLilAVeY0QtOJQ1IgEep56Z7MWXnvlGZakv77erEI29FCpt/l4/frxePT1tvWix0QuhlJezAopMNhYubAp5dP62/kXKYghVOBjwFLukOS1+XSmlyl2mNghiWwRqJQNc7dQimyDLdAst0Pu1DG1wDlNGxXr2lm8i/a1xcBqXhRXCreMocLqvHs3lKPjouf/Na2iHfjoeb3rMrDRN13nnQXOrzQPzqZIsWbxANYFjtSIr1uLXqupTGfOFdrX5HhnCq2mqV5Z8HibrzA1eEKtjgV9jzCMbwkukdE9L3q0HJMg9zsPcC7FLyAcwErZQ3IQOAMOsjHZx74jTuZnTC/UIDJplQVjcR9OtdPYXZr5XpCDU+FgMILkxini2rFH+lEvIfG/iPcMI++Ic9P5mBzdAcMU8h13FVsUj/AmPipOgD4gfHfhhZ66dcyH8DDi06JeNZCwyr9y6B8L+j5PN/nB5LaBsMHqoPm7MazG87j/5uJyVnwu8l9PalodN938AQAA//8DAFBLAwQUAAYACAAAACEAl02nD88AAAC4AQAAEAAAAHhsL2NhbGNDaGFpbi54bWxkkEuOAiEQhveTeAdSe6XB0VHTtIsZPIEegNCl3QmPDhDj3H7QZIzCphK+Cv+j2v3NGnLFEEfvBLBFAwSd9v3oLgJOx8N8AyQm5XplvEMBvxhh380+Wq2M/h7U6EhWcFHAkNK0ozTqAa2KCz+hy5uzD1al/AwXGqeAqo8DYrKG8qZZU5sFoGs1CQJ++BLImEMAMfdJ//kyh3rwJ+GrinxVJCcvfm0rwivyWZF1QSQrvSQrvSTPLd7cJat1yjySl00le2lKnzfv/gAAAP//AwBQSwECLQAUAAYACAAAACEASRKs94wBAAB4BgAAEwAAAAAAAAAAAAAAAAAAAAAAW0NvbnRlbnRfVHlwZXNdLnhtbFBLAQItABQABgAIAAAAIQBQfE7B9gAAAEwCAAALAAAAAAAAAAAAAAAAAMUDAABfcmVscy8ucmVsc1BLAQItABQABgAIAAAAIQAAQZj4CQEAAMwDAAAaAAAAAAAAAAAAAAAAAOwGAAB4bC9fcmVscy93b3JrYm9vay54bWwucmVsc1BLAQItABQABgAIAAAAIQCt96GT0QEAAAQDAAAPAAAAAAAAAAAAAAAAADUJAAB4bC93b3JrYm9vay54bWxQSwECLQAUAAYACAAAACEAJaeafq4GAAAZUAAADQAAAAAAAAAAAAAAAAAzCwAAeGwvc3R5bGVzLnhtbFBLAQItABQABgAIAAAAIQDnZXW41gAAALgBAAAjAAAAAAAAAAAAAAAAAAwSAAB4bC93b3Jrc2hlZXRzL19yZWxzL3NoZWV0MS54bWwucmVsc1BLAQItABQABgAIAAAAIQD0SSPbeAUAAL0PAAAYAAAAAAAAAAAAAAAAACMTAAB4bC93b3Jrc2hlZXRzL3NoZWV0Mi54bWxQSwECLQAUAAYACAAAACEA+2KlbZQGAACnGwAAEwAAAAAAAAAAAAAAAADRGAAAeGwvdGhlbWUvdGhlbWUxLnhtbFBLAQItABQABgAIAAAAIQA2CHLiZggAANcbAAAYAAAAAAAAAAAAAAAAAJYfAAB4bC93b3Jrc2hlZXRzL3NoZWV0MS54bWxQSwECLQAUAAYACAAAACEAK1gvqfECAACDCAAAFAAAAAAAAAAAAAAAAAAyKAAAeGwvc2hhcmVkU3RyaW5ncy54bWxQSwECLQAUAAYACAAAACEA7NeUHJgCAAAPBwAAGwAAAAAAAAAAAAAAAABVKwAAeGwvZHJhd2luZ3Mvdm1sRHJhd2luZzEudm1sUEsBAi0AFAAGAAgAAAAhAAjEv/00AQAAEgIAABEAAAAAAAAAAAAAAAAAJi4AAGRvY1Byb3BzL2NvcmUueG1sUEsBAi0AFAAGAAgAAAAhAHT+6QQPAQAAIgIAABAAAAAAAAAAAAAAAAAAkTAAAHhsL2NvbW1lbnRzMS54bWxQSwECLQAUAAYACAAAACEA2WYniZEBAAAvAwAAEAAAAAAAAAAAAAAAAADOMQAAZG9jUHJvcHMvYXBwLnhtbFBLAQItABQABgAIAAAAIQCXTacPzwAAALgBAAAQAAAAAAAAAAAAAAAAAJU0AAB4bC9jYWxjQ2hhaW4ueG1sUEsFBgAAAAAPAA8A3AMAAJI1AAAAAAUi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wAAAABUFyaWFsBnEAAAAGK21uLWVhCXIAAAABAAlzAAAAByMAAAAAAQAAABEAAAAEFFN5c3RlbS5EcmF3aW5nLkNvbG9yBAAAAAV0AAAAFFN5c3RlbS5EcmF3aW5nLkNvbG9yBAAAAAV2YWx1ZQVzdGF0ZQprbm93bkNvbG9yBG5hbWUAAAABCQcHBAAAAAAAAAAAAAAAAAAAAAoBdQAAAHQAAAAAAAD//////wIAAAAKAXYAAAB0AAAA//////////8CAAAACgF3AAAAdAAAAE5BIv//////AgAAAAoBeAAAAHQAAADe3Nv//////wIAAAAKAXkAAAB0AAAAfmk///////8CAAAACgF6AAAAdAAAAIyEcv//////AgAAAAoBewAAAHQAAAAlIe3//////wIAAAAKAXwAAAB0AAAANDtG//////8CAAAACgF9AAAAdAAAAHSYw///////AgAAAAoBfgAAAHQAAAAelPf//////wIAAAAKAX8AAAB0AAAAHpT3//////8CAAAACgGAAAAAdAAAACUh7f//////AgAAAAoBgQAAAHQAAAAAAAD//////wIAAAAKAYIAAAB0AAAA//////////8CAAAACgGDAAAAdAAAAE5BIv//////AgAAAAoBhAAAAHQAAADe3Nv//////wIAAAAKBCQAAACYAVN5c3RlbS5Db2xsZWN0aW9ucy5HZW5lcmljLkxpc3RgMVtbQXBsb3Jpcy5CYXNlLk9iamVjdHMuRGF0YU9iamVjdCwgQXBsb3Jpcy5CYXNlLCBWZXJzaW9uPTQuMC4wLjE0ODYsIEN1bHR1cmU9bmV1dHJhbCwgUHVibGljS2V5VG9rZW49MTZmYzEzYTIyNmMwZTk1MV1dAwAAAAZfaXRlbXMFX3NpemUIX3ZlcnNpb24EAAAhQXBsb3Jpcy5CYXNlLk9iamVjdHMuRGF0YU9iamVjdFtdAwAAAAgICYUAAAAMAAAADAAAAAQlAAAAlQFTeXN0ZW0uQ29sbGVjdGlvbnMuR2VuZXJpYy5MaXN0YDFbW0FwbG9yaXMuQmFzZS5VSS5WaXN1YWxPYmplY3QsIEFwbG9yaXMuQmFzZSwgVmVyc2lvbj00LjAuMC4xNDg2LCBDdWx0dXJlPW5ldXRyYWwsIFB1YmxpY0tleVRva2VuPTE2ZmMxM2EyMjZjMGU5NTFdXQMAAAAGX2l0ZW1zBV9zaXplCF92ZXJzaW9uBAAAHkFwbG9yaXMuQmFzZS5VSS5WaXN1YWxPYmplY3RbXQMAAAAICAmGAAAAAQAAAAEAAAAFJwAAAJsBQXBsb3Jpcy5CYXNlLk9iamVjdHMuRGF0YU9iamVjdENvbGxlY3Rpb25gMVtbQXBsb3Jpcy5DaGFydC5WYWx1ZUxpbmU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AuMC4xNDg2LCBDdWx0dXJlPW5ldXRyYWwsIFB1YmxpY0tleVRva2VuPTE2ZmMxM2EyMjZjMGU5NTFdXQMAAACRAVN5c3RlbS5Db2xsZWN0aW9ucy5HZW5lcmljLkxpc3RgMVtbQXBsb3Jpcy5DaGFydC5WYWx1ZUxpbm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hwAAAAmIAAAACQYAAAAJAQAAAAmJAAAABSgAAACbAUFwbG9yaXMuQmFzZS5PYmplY3RzLkRhdGFPYmplY3RDb2xsZWN0aW9uYDFbW0FwbG9yaXMuQ2hhcnQuQXhpc0JyZWFr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wLjAuMTQ4NiwgQ3VsdHVyZT1uZXV0cmFsLCBQdWJsaWNLZXlUb2tlbj0xNmZjMTNhMjI2YzBlOTUxXV0DAAAAkQFTeXN0ZW0uQ29sbGVjdGlvbnMuR2VuZXJpYy5MaXN0YDFbW0FwbG9yaXMuQ2hhcnQuQXhpc0JyZWF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YoAAAAJiwAAAAkGAAAACQEAAAAJjAAAAAUp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IAAAADAAAACWMAAAAJZAAAAAllAAAAAQAAAAAKBo0AAAABJQlmAAAAAQAAAAoAAAAAAAAAAAUsAAAAmgFBcGxvcmlzLkJhc2UuT2JqZWN0cy5EYXRhT2JqZWN0Q29sbGVjdGlvbmAxW1tBcGxvcmlzLkNoYXJ0LlRpY2tNYXJr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AuMC4xNDg2LCBDdWx0dXJlPW5ldXRyYWwsIFB1YmxpY0tleVRva2VuPTE2ZmMxM2EyMjZjMGU5NTFdXQMAAACQAVN5c3RlbS5Db2xsZWN0aW9ucy5HZW5lcmljLkxpc3RgMVtbQXBsb3Jpcy5DaGFydC5UaWNrTWFy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OAAAACY8AAAAJBgAAAAkBAAAACZAAAAAFLw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RAAAAIAAAALvoLkKA/bBDAZIAAAAgAAAAR1ckRID9sEMJkwAAALgBAAD/////AQEKCZQAAAABAAoABzAAAAAAAQAAAAUAAAAEFVN5c3RlbS5EcmF3aW5nLlBvaW50RgQAAAABlQAAACAAAABGFyVEgP2wQwGWAAAAIAAAALvoLkLe8bhDAZcAAAAgAAAA00WvQ97xuEMBmAAAACAAAABHVyRE3vG4QwGZAAAAIAAAAEYXJUSAfbNDBzEAAAAAAQAAAAUAAAAEF0FwbG9yaXMuQmFzZS5BbmNob3JNb2RlAwAAAAWaAAAAF0FwbG9yaXMuQmFzZS5BbmNob3JNb2RlAQAAAAd2YWx1ZV9fAAgDAAAABAAAAAGbAAAAmgAAAAUAAAABnAAAAJoAAAADAAAAAZ0AAACaAAAABgAAAAGeAAAAmgAAAAUAAAAPMgAAAAUAAAABAAAAAAEFMwAAABVBcGxvcmlzLkJhc2UuVUkuTGFiZWwcAAAAD21BbmNob3JQb3NpdGlvbgttQW5jaG9yTW9kZQ9tQWRkSW5uZXJNYXJnaW4WbU9mZnNldERpcmVjdGlvbkFuY2hvchdtT2Zmc2V0T3J0aG9nb25hbEFuY2hvcgttVGV4dEZvcm1hdAltUm90YXRpb24KbUJhY2tDb2xvcg1tVXNlQmFja0NvbG9yDm1Vc2V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BAQEAAEDAwEAAAAABwIAAAMA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MAAAABnwAAACAAAABGFyVEgP2wQwGgAAAAmgAAAAQAAAAAAAAAAAAAAAAJoQAAAAAAAAAJogAAAAAABaMAAAAqQXBsb3Jpcy5CYXNlLlVJLkxhYmVsK0xpbmVBbGlnbm1lbnRPcHRpb25zAQAAAAd2YWx1ZV9fAAgDAAAAAAAAAAGkAAAAbAAAAAAAAAAAAAAAAaUAAAAUAAAAAAAAAAAAAAAAAAAAAAAAAAAAAAAGpgAAAA1DYXRlZ29yeSBheGlzCgmnAAAACaYAAADkAgAA/////wABCgmoAAAAAQAKAAE0AAAAJAAAAAmpAAAABgAAAAYAAAABNQAAACUAAAAJqgAAAAIAAAACAAAAATcAAAAnAAAACgmrAAAACawAAAAJBwAAAAkBAAAACa0AAAABOAAAACgAAAAKCa4AAAAJrwAAAAkHAAAACQEAAAAJsAAAAAU5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iAAAAAwAAAAljAAAACWQAAAAJZQAAAAEAAAAACgmNAAAACWYAAAAAAAAACgAAAAAA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cAAAAJAQAAAAEAAAAACWIAAAADAAAACWMAAAAJZAAAAAllAAAAAQAAAAAKCglmAAAAAAAAAAoAAAAAAA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iAAAAAwAAAAljAAAACWQAAAAJZQAAAAEAAAAACgmNAAAACWYAAAABAAAACgAAAAAAAAAAATwAAAAsAAAACgmxAAAACbIAAAAJBwAAAAkBAAAACbMAAAABPwAAAC8AAAABtAAAACAAAAC76C5CgP2wQwG1AAAAIAAAALvoLkIM/npBCbYAAAC4AQAA/////wEBCgm3AAAAAQAKAAdAAAAAAAEAAAAFAAAABBVTeXN0ZW0uRHJhd2luZy5Qb2ludEYEAAAAAbgAAAAgAAAAu+guQjq4I0EBuQAAACAAAAAWASZBgP2wQwG6AAAAIAAAABYBJkFw1ThDAbsAAAAgAAAAFgEmQQz+ekEBvAAAACAAAAAWASZBOrgjQQdBAAAAAAEAAAAFAAAABBdBcGxvcmlzLkJhc2UuQW5jaG9yTW9kZQMAAAABvQAAAJoAAAABAAAAAb4AAACaAAAACAAAAAG/AAAAmgAAAAIAAAABwAAAAJoAAAAGAAAAAcEAAACaAAAABwAAAA9CAAAABQAAAAEAAAAAAQFDAAAAMwAAAAHCAAAAIAAAALvoLkI6uCNBAcMAAACaAAAAAQAAAAAAAAAAAAAAAAnEAAAAAAAAAAnFAAAAAAABxgAAAKMAAAAAAAAAAccAAABsAAAAAAAAAAAAAAAByAAAABQAAAAAAAAAAAAAAAAAAAAAAAAAAAAAAAbJAAAAClZhbHVlIGF4aXMKCcoAAAAJyQAAAOQCAAD/////AAEKCcsAAAABAAoAAUQAAAAkAAAACcwAAAAHAAAABwAAAAFFAAAAJQAAAAnNAAAAAgAAAAIAAAAHRgAAAAABAAAAAAAAAAQuQXBsb3Jpcy5DaGFydC5Db2x1bW5PcmllbnRlZENoYXJ0K1VudXNlZFNlcmllcwIAAAAERw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zgAAAB0AAACLAAAAAUgAAAAkAAAACc8AAAAdAAAAKQAAAAFJAAAAJQAAAAnQAAAAAAAAAAAAAAAESg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dEAAAAAAAAAAAAAAAFLAAAAJAAAAAnSAAAAAAAAAAAAAAABTAAAACUAAAAJ0AAAAAAAAAAAAAAABE0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dMAAAAAAAAAAAAAAAFOAAAAJAAAAAnSAAAAAAAAAAAAAAABTwAAACUAAAAJ0AAAAAAAAAAAAAAABFA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UAAAABQAAAAsAAAABUQAAACQAAAAJ1QAAAAUAAAAHAAAAAVIAAAAlAAAACdAAAAAAAAAAAAAAAART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1gAAAAAAAAAAAAAAAVQAAAAkAAAACdIAAAAAAAAAAAAAAAFVAAAAJQAAAAnQAAAAAAAAAAAAAAAEVg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dcAAAAAAAAAAAAAAAFXAAAAJAAAAAnSAAAAAAAAAAAAAAABWAAAACUAAAAJ0AAAAAAAAAAAAAAABFk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YAAAAAAAAAAAAAAABWgAAACQAAAAJ0gAAAAAAAAAAAAAAAVsAAAAlAAAACdAAAAAAAAAAAAAAAARc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ZAAAAAAAAAAAAAAABXQAAACQAAAAJ0gAAAAAAAAAAAAAAAV4AAAAlAAAACdAAAAAAAAAAAAAAAARf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doAAAAAAAAAAAAAAAFgAAAAJAAAAAnSAAAAAAAAAAAAAAABYQAAACUAAAAJ0AAAAAAAAAAAAAAABWo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2wAAAAncAAAAAQAAAP7///8BAAAAAQAAAAEAAAABAAAAAQAAAAEAAAAAAAEFaw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dAAAACd4AAAABAAAAAAAAAAAAAAAAAAAAAAEFbwAAAB9BcGxvcmlzLkJhc2UuT2JqZWN0cy5QZXJzSWREYXRhAgAAAANtSWQLbUN1c3RvbURhdGEHAggDAAAACd8AAAAKBXIAAAAaQXBsb3Jpcy5CYXNlLk9iamVjdHMuQ29sb3IHAAAAEkRhdGFPYmplY3QrbVBhcmVudBVEYXRhT2JqZWN0K21Db250YWluZXIFbVR5cGUEbVJHQhBtVGhlbWVDb2xvckluZGV4DG1BdXRvVXBkYXRlZAltTW9kaWZpZWQCAgAAAAAACAgIAQEDAAAACgoAAAAAAAAAAA0AAAAAAQFzAAAAcgAAAAoKAQAAAAAAAAD/////AAEHhQAAAAABAAAAEAAAAAQfQXBsb3Jpcy5CYXNlLk9iamVjdHMuRGF0YU9iamVjdAMAAAAJCQAAAAkKAAAACQsAAAAJDAAAAAkQAAAACREAAAAJDQAAAAkOAAAACQ8AAAAJBwAAAAkGAAAACRcAAAANBAeGAAAAAAEAAAAEAAAABBxBcGxvcmlzLkJhc2UuVUkuVmlzdWFsT2JqZWN0AwAAAAkbAAAADQMEhwAAAJEBU3lzdGVtLkNvbGxlY3Rpb25zLkdlbmVyaWMuTGlzdGAxW1tBcGxvcmlzLkNoYXJ0LlZhbHVlTGluZSwgQXBsb3Jpcy5DaGFydCwgVmVyc2lvbj00LjAuMC4xNDg2LCBDdWx0dXJlPW5ldXRyYWwsIFB1YmxpY0tleVRva2VuPTE2ZmMxM2EyMjZjMGU5NTFdXQMAAAAGX2l0ZW1zBV9zaXplCF92ZXJzaW9uBAAAGUFwbG9yaXMuQ2hhcnQuVmFsdWVMaW5lW10CAAAACAgJ4AAAAAAAAAAAAAAAAYgAAAAkAAAACdIAAAAAAAAAAAAAAAGJAAAAJQAAAAnQAAAAAAAAAAAAAAAEigAAAJEBU3lzdGVtLkNvbGxlY3Rpb25zLkdlbmVyaWMuTGlzdGAxW1tBcGxvcmlzLkNoYXJ0LkF4aXNCcmVhaywgQXBsb3Jpcy5DaGFydCwgVmVyc2lvbj00LjAuMC4xNDg2LCBDdWx0dXJlPW5ldXRyYWwsIFB1YmxpY0tleVRva2VuPTE2ZmMxM2EyMjZjMGU5NTFdXQMAAAAGX2l0ZW1zBV9zaXplCF92ZXJzaW9uBAAAGUFwbG9yaXMuQ2hhcnQuQXhpc0JyZWFrW10CAAAACAgJ4QAAAAAAAAAAAAAAAYsAAAAkAAAACdIAAAAAAAAAAAAAAAGMAAAAJQAAAAnQAAAAAAAAAAAAAAAEjgAAAJABU3lzdGVtLkNvbGxlY3Rpb25zLkdlbmVyaWMuTGlzdGAxW1tBcGxvcmlzLkNoYXJ0LlRpY2tNYXJrLCBBcGxvcmlzLkNoYXJ0LCBWZXJzaW9uPTQuMC4wLjE0ODYsIEN1bHR1cmU9bmV1dHJhbCwgUHVibGljS2V5VG9rZW49MTZmYzEzYTIyNmMwZTk1MV1dAwAAAAZfaXRlbXMFX3NpemUIX3ZlcnNpb24EAAAYQXBsb3Jpcy5DaGFydC5UaWNrTWFya1tdAgAAAAgICeIAAAAAAAAAAAAAAAGPAAAAJAAAAAnSAAAAAAAAAAAAAAABkAAAACUAAAAJ0AAAAAAAAAAAAAAAAZMAAABqAAAACgoAAABAPwnjAAAACeQAAAABAAAA/v///wAAAAABAAAAAAAAAAAAAAABAAAAAAAAAAAAAAGUAAAAbwAAAAnlAAAACgWh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QEEJcAAAAAlxAAAACeYAAAABAAnnAAAAAaIAAAByAAAACgoBAAAAAAAAAP////8AAQSnAAAAlgFTeXN0ZW0uQ29sbGVjdGlvbnMuR2VuZXJpYy5MaXN0YDFbW0FwbG9yaXMuQmFzZS5PYmplY3RzLlZhcmlhYmxlLCBBcGxvcmlzLkJhc2UsIFZlcnNpb249NC4wLjAuMTQ4NiwgQ3VsdHVyZT1uZXV0cmFsLCBQdWJsaWNLZXlUb2tlbj0xNmZjMTNhMjI2YzBlOTUxXV0DAAAABl9pdGVtcwVfc2l6ZQhfdmVyc2lvbgQAAB9BcGxvcmlzLkJhc2UuT2JqZWN0cy5WYXJpYWJsZVtdAwAAAAgICegAAAAAAAAAAAAAAAGoAAAAbwAAAAnpAAAACgepAAAAAAEAAAAIAAAABB9BcGxvcmlzLkJhc2UuT2JqZWN0cy5EYXRhT2JqZWN0AwAAAAkpAAAACSoAAAAJKwAAAAksAAAACScAAAAJKAAAAAoKB6oAAAAAAQAAAAQAAAAEHEFwbG9yaXMuQmFzZS5VSS5WaXN1YWxPYmplY3QDAAAACS8AAAAJMwAAAAoKAasAAACHAAAACeAAAAAAAAAAAAAAAAGsAAAAJAAAAAnSAAAAAAAAAAAAAAABrQAAACUAAAAJ0AAAAAAAAAAAAAAAAa4AAACKAAAACeEAAAAAAAAAAAAAAAGvAAAAJAAAAAnSAAAAAAAAAAAAAAABsAAAACUAAAAJ0AAAAAAAAAAAAAAAAbEAAACOAAAACeoAAAALAAAAIQAAAAGyAAAAJAAAAAnrAAAACwAAACEAAAABswAAACUAAAAJ0AAAAAAAAAAAAAAAAbYAAABqAAAACgoAAABAPwnsAAAACe0AAAABAAAA/v///wAAAAABAAAAAAAAAAAAAAABAAAAAAAAAAAAAAG3AAAAbwAAAAnuAAAACgXE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QEEJcAAAAAlxAAAACe8AAAABAAnwAAAAAcUAAAByAAAACgoBAAAAAAAAAP////8AAQHKAAAApwAAAAnoAAAAAAAAAAAAAAABywAAAG8AAAAJ8QAAAAoHzAAAAAABAAAACAAAAAQfQXBsb3Jpcy5CYXNlLk9iamVjdHMuRGF0YU9iamVjdAMAAAAJOQAAAAk6AAAACTsAAAAJPAAAAAk3AAAACTgAAAAJ8gAAAAoHzQAAAAABAAAABAAAAAQcQXBsb3Jpcy5CYXNlLlVJLlZpc3VhbE9iamVjdAMAAAAJPwAAAAlDAAAACgoHzgAAAAABAAAAIAAAAAQdQXBsb3Jpcy5DaGFydC5DaGFydERhdGFTZXJpZXMCAAAACfMAAAAJ9AAAAAn1AAAACfYAAAAJ9wAAAAn4AAAACfkAAAAJ+gAAAAn7AAAACfwAAAAJ/QAAAAn+AAAACf8AAAAJAAEAAAkBAQAACQIBAAAJAwEAAAkEAQAACQUBAAAJBgEAAAkHAQAACQgBAAAJCQEAAAkKAQAACQsBAAAJDAEAAAkNAQAACQ4BAAAJDwEAAA0DB88AAAAAAQAAACAAAAAEH0FwbG9yaXMuQmFzZS5PYmplY3RzLkRhdGFPYmplY3QDAAAACfMAAAAJ9AAAAAn1AAAACfYAAAAJ9wAAAAn4AAAACfkAAAAJ+gAAAAn7AAAACfwAAAAJ/QAAAAn+AAAACf8AAAAJAAEAAAkFAQAACQQBAAAJBgEAAAkDAQAACQIBAAAJAQEAAAkHAQAACQ4BAAAJDQEAAAkMAQAACQoBAAAJDwEAAAkIAQAACQkBAAAJCwEAAA0DB9AAAAAAAQAAAAAAAAAEHEFwbG9yaXMuQmFzZS5VSS5WaXN1YWxPYmplY3QDAAAAB9EAAAAAAQAAAAAAAAAEIkFwbG9yaXMuQ2hhcnQuQW5ub3RhdGlvbkRhdGFTZXJpZXMCAAAAB9IAAAAAAQAAAAAAAAAEH0FwbG9yaXMuQmFzZS5PYmplY3RzLkRhdGFPYmplY3QDAAAAB9MAAAAAAQAAAAAAAAAEHUFwbG9yaXMuQ2hhcnQuQW5ub3RhdGlvbkdyb3VwAgAAAAfUAAAAAAEAAAAIAAAABBxBcGxvcmlzLkNoYXJ0LkNoYXJ0RGF0YUdyb3VwAgAAAAkQAQAACREBAAAJEgEAAAkTAQAACRQBAAANAwfVAAAAAAEAAAAIAAAABB9BcGxvcmlzLkJhc2UuT2JqZWN0cy5EYXRhT2JqZWN0AwAAAAkQAQAACREBAAAJFAEAAAkTAQAACRIBAAANAwfWAAAAAAEAAAAAAAAABBZBcGxvcmlzLkNoYXJ0LkRlbHRhQmFyAgAAAAfXAAAAAAEAAAAAAAAABBlBcGxvcmlzLkNoYXJ0LkRlbHRhQnJpZGdlAgAAAAfYAAAAAAEAAAAAAAAABBlBcGxvcmlzLkNoYXJ0Lkdyb3d0aEFycm93AgAAAAfZAAAAAAEAAAAAAAAABCBBcGxvcmlzLkNoYXJ0LldhdGVyZmFsbENvbm5lY3RvcgIAAAAH2gAAAAABAAAAAAAAAAQeQXBsb3Jpcy5DaGFydC5FbGVtZW50Q29ubmVjdG9yAgAAAAHbAAAAcgAAAAoKAAAAAAAAAAANAAAAAAEB3AAAAHIAAAAKCgEAAAAAAAAA/////wABAd0AAAByAAAACgoBAAAA////AP////8AAQHeAAAAcgAAAAoKAQAAAAAAAAD/////AAEP3wAAAAEAAAAIAAAAAAfgAAAAAAEAAAAAAAAABBdBcGxvcmlzLkNoYXJ0LlZhbHVlTGluZQIAAAAH4QAAAAABAAAAAAAAAAQXQXBsb3Jpcy5DaGFydC5BeGlzQnJlYWsCAAAAB+IAAAAAAQAAAAAAAAAEFkFwbG9yaXMuQ2hhcnQuVGlja01hcmsCAAAABeMAAAAaQXBsb3Jpcy5CYXNlLk9iamVjdHMuQ29sb3IHAAAAEkRhdGFPYmplY3QrbVBhcmVudBVEYXRhT2JqZWN0K21Db250YWluZXIFbVR5cGUEbVJHQhBtVGhlbWVDb2xvckluZGV4DG1BdXRvVXBkYXRlZAltTW9kaWZpZWQEAgAAAAAAH0FwbG9yaXMuQmFzZS5PYmplY3RzLkxpbmVGb3JtYXQDAAAACAgIAQEDAAAACZMAAAAKAAAAAAAAAAANAAAAAAAF5AAAABpBcGxvcmlzLkJhc2UuT2JqZWN0cy5Db2xvcgcAAAASRGF0YU9iamVjdCttUGFyZW50FURhdGFPYmplY3QrbUNvbnRhaW5lcgVtVHlwZQRtUkdCEG1UaGVtZUNvbG9ySW5kZXgMbUF1dG9VcGRhdGVkCW1Nb2RpZmllZAQCAAAAAAAfQXBsb3Jpcy5CYXNlLk9iamVjdHMuTGluZUZvcm1hdAMAAAAICAgBAQMAAAAJkwAAAAoBAAAAAAAAAP////8AAQ/lAAAAAQAAAAjRAAAAAeYAAAByAAAACgoAAAAAAAAAAA0AAAAAAQHnAAAAcgAAAAoKAQAAAAAAAAD/////AAEH6AAAAAABAAAAAAAAAAQdQXBsb3Jpcy5CYXNlLk9iamVjdHMuVmFyaWFibGUDAAAAD+kAAAABAAAACAAAAAAH6gAAAAABAAAAEAAAAAQWQXBsb3Jpcy5DaGFydC5UaWNrTWFyawIAAAAJFQEAAAkWAQAACRcBAAAJGAEAAAkZAQAACRoBAAAJGwEAAAkcAQAACR0BAAAJHgEAAAkfAQAADQUH6wAAAAABAAAAEAAAAAQfQXBsb3Jpcy5CYXNlLk9iamVjdHMuRGF0YU9iamVjdAMAAAAJFQEAAAkWAQAACRcBAAAJGAEAAAkZAQAACRoBAAAJGwEAAAkcAQAACR0BAAAJHgEAAAkfAQAADQUF7AAAABpBcGxvcmlzLkJhc2UuT2JqZWN0cy5Db2xvcgcAAAASRGF0YU9iamVjdCttUGFyZW50FURhdGFPYmplY3QrbUNvbnRhaW5lcgVtVHlwZQRtUkdCEG1UaGVtZUNvbG9ySW5kZXgMbUF1dG9VcGRhdGVkCW1Nb2RpZmllZAQCAAAAAAAfQXBsb3Jpcy5CYXNlLk9iamVjdHMuTGluZUZvcm1hdAMAAAAICAgBAQMAAAAJtgAAAAoAAAAAAAAAAA0AAAAAAAXtAAAAGkFwbG9yaXMuQmFzZS5PYmplY3RzLkNvbG9yBwAAABJEYXRhT2JqZWN0K21QYXJlbnQVRGF0YU9iamVjdCttQ29udGFpbmVyBW1UeXBlBG1SR0IQbVRoZW1lQ29sb3JJbmRleAxtQXV0b1VwZGF0ZWQJbU1vZGlmaWVkBAIAAAAAAB9BcGxvcmlzLkJhc2UuT2JqZWN0cy5MaW5lRm9ybWF0AwAAAAgICAEBAwAAAAm2AAAACgEAAAAAAAAA/////wABD+4AAAABAAAACNAAAAAB7wAAAHIAAAAKCgAAAAAAAAAADQAAAAABAfAAAAByAAAACgoBAAAAAAAAAP////8AAQ/xAAAAAQAAAAgAAAAABfI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IAAAADAAAACWMAAAAJZAAAAAllAAAAAQAAAAAKCY0AAAAJZgAAAAEAAAAKAAAAAAAAAAAF8wA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AuMC4xNDg2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ASABAAATAAAAAAAAAAIAAAD/////CQcAAAAJIQEAAAYiAQAABE1hbGUKCgAAAAAAAAAAAAAAAAoKAAkjAQAACSQBAAAJJQEAAAAAAAAAAAAAAAAAAAAAAAAAAAkmAQAACQEAAAAJAQAAAAknAQAAAfQAAADzAAAACQEAAAABKAEAABMAAAAAAAAAAwAAAP////8JBwAAAAkpAQAABioBAAAGRmVtYWxlCgoAAAAAAAAAAAAAAAAKCgAJKwEAAAksAQAACS0BAAAAAAAAAAEAAAAAAAAAAAAAAAAJLgEAAAkBAAAACQEAAAAJLwEAAAH1AAAA8wAAAAkBAAAAATABAAATAAAAAAAAAAQAAAD/////CQcAAAAJMQEAAAYyAQAACFVuZGVyIDM1CgoAAAAAAAAAAAAAAAAKCgAJMwEAAAk0AQAACTUBAAAAAAAAAAIAAAAAAAAAAAAAAAAJNgEAAAkBAAAACQEAAAAJNwEAAAH2AAAA8wAAAAkBAAAAATgBAAATAAAAAAAAAAUAAAD/////CQcAAAAJOQEAAAY6AQAABTM1LTQ0CgoAAAAAAAAAAAAAAAAKCgAJOwEAAAk8AQAACT0BAAAAAAAAAAMAAAAAAAAAAAAAAAAJPgEAAAkBAAAACQEAAAAJPwEAAAH3AAAA8wAAAAkBAAAAAUABAAATAAAAAAAAAAYAAAD/////CQcAAAAJQQEAAAZCAQAABTQ1LTU0CgoAAAAAAAAAAAAAAAAKCgAJQwEAAAlEAQAACUUBAAAAAAAAAAQAAAAAAAAAAAAAAAAJRgEAAAkBAAAACQEAAAAJRwEAAAH4AAAA8wAAAAkBAAAAAUgBAAATAAAAAAAAAAcAAAD/////CQcAAAAJSQEAAAZKAQAAAzU1KwoKAAAAAAAAAAAAAAAACgoACUsBAAAJTAEAAAlNAQAAAAAAAAAFAAAAAAAAAAAAAAAACU4BAAAJAQAAAAkBAAAACU8BAAAB+QAAAPMAAAAJAQAAAAFQAQAAEwAAAAAAAAAIAAAA/////wkHAAAACVEBAAAGUgEAAAtMZXNzIHRoYW4gMQoKAAAAAAAAAAAAAAAACgoACVMBAAAJVAEAAAlVAQAAAAAAAAAGAAAAAAAAAAAAAAAACVYBAAAJAQAAAAkBAAAACVcBAAAB+gAAAPMAAAAJAQAAAAFYAQAAEwAAAAAAAAAJAAAA/////wkHAAAACVkBAAAGWgEAAAYxIHRvIDMKCgAAAAAAAAAAAAAAAAoKAAlbAQAACVwBAAAJXQEAAAAAAAAABwAAAAAAAAAAAAAAAAleAQAACQEAAAAJAQAAAAlfAQAAAfsAAADzAAAACQEAAAABYAEAABMAAAAAAAAACgAAAP////8JBwAAAAlhAQAABmIBAAAGNCB0byA1CgoAAAAAAAAAAAAAAAAKCgAJYwEAAAlkAQAACWUBAAAAAAAAAAgAAAAAAAAAAAAAAAAJZgEAAAkBAAAACQEAAAAJZwEAAAH8AAAA8wAAAAkBAAAAAWgBAAATAAAAAAAAAAsAAAD/////CQcAAAAJaQEAAAZqAQAABjYgdG8gOQoKAAAAAAAAAAAAAAAACgoACWsBAAAJbAEAAAltAQAAAAAAAAAJAAAAAAAAAAAAAAAACW4BAAAJAQAAAAkBAAAACW8BAAAB/QAAAPMAAAAJAQAAAAFwAQAAEwAAAAAAAAAMAAAA/////wkHAAAACXEBAAAGcgEAAAgxMCB0byAxNQoKAAAAAAAAAAAAAAAACgoACXMBAAAJdAEAAAl1AQAAAAAAAAAKAAAAAAAAAAAAAAAACXYBAAAJAQAAAAkBAAAACXcBAAAB/gAAAPMAAAAJAQAAAAF4AQAAEwAAAAAAAAANAAAA/////wkHAAAACXkBAAAGegEAAAgxNiB0byAyMAoKAAAAAAAAAAAAAAAACgoACXsBAAAJfAEAAAl9AQAAAAAAAAALAAAAAAAAAAAAAAAACX4BAAAJAQAAAAkBAAAACX8BAAAB/wAAAPMAAAAJAQAAAAGAAQAAEwAAAAAAAAAOAAAA/////wkHAAAACYEBAAAGggEAAAxNb3JlIHRoYW4gMjAKCgAAAAAAAAAAAAAAAAoKAAmDAQAACYQBAAAJhQEAAAAAAAAADAAAAAAAAAAAAAAAAAmGAQAACQEAAAAJAQAAAAmHAQAAAQABAADzAAAACQEAAAABiAEAABMAAAAAAAAADwAAAP////8JBwAAAAmJAQAABooBAAAFT3RoZXIKCgAAAAAAAAAAAAAAAAoKAAmLAQAACYwBAAAJjQEAAAAAAAAADQAAAAAAAAAAAAAAAAmOAQAACQEAAAAJAQAAAAmPAQAAAQEBAADzAAAACQEAAAABkAEAABMAAAAAAAAAEAAAAP////8JBwAAAAmRAQAABpIBAAAVRmFjdWx0eSB3aXRoIEFkdmlzaW5nCgoAAAAAAAAAAAAAAAAKCgAJkwEAAAmUAQAACZUBAAAAAAAAAA4AAAAAAAAAAAAAAAAJlgEAAAkBAAAACQEAAAAJlwEAAAECAQAA8wAAAAkBAAAAAZgBAAATAAAAAAAAABEAAAD/////CQcAAAAJmQEAAAaaAQAAEUFkdmlzb3IvQ291bnNlbG9yCgoAAAAAAAAAAAAAAAAKCgAJmwEAAAmcAQAACZ0BAAAAAAAAAA8AAAAAAAAAAAAAAAAJngEAAAkBAAAACQEAAAAJnwEAAAEDAQAA8wAAAAkBAAAAAaABAAATAAAAAAAAABIAAAD/////CQcAAAAJoQEAAAaiAQAAJURpcmVjdG9yIG9mIEFkdmlzaW5nLw0KQWR2aXNpbmcgQWRtaW4KCgAAAAAAAAAAAAAAAAoKAAmjAQAACaQBAAAJpQEAAAAAAAAAEAAAAAAAAAAAAAAAAAmmAQAACQEAAAAJAQAAAAmnAQAAAQQBAADzAAAACQEAAAABqAEAABMAAAAAAAAAEwAAAP////8JBwAAAAmpAQAABqoBAAAERGVhbgoKAAAAAAAAAAAAAAAACgoACasBAAAJrAEAAAmtAQAAAAAAAAARAAAAAAAAAAAAAAAACa4BAAAJAQAAAAkBAAAACa8BAAABBQEAAPMAAAAJAQAAAAGwAQAAEwAAAAAAAAAUAAAA/////wkHAAAACbEBAAAGsgEAABFEaXJlY3Rvcg0KKE90aGVyKQoKAAAAAAAAAAAAAAAACgoACbMBAAAJtAEAAAm1AQAAAAAAAAASAAAAAAAAAAAAAAAACbYBAAAJAQAAAAkBAAAACbcBAAABBgEAAPMAAAAJAQAAAAG4AQAAEwAAAAAAAAAVAAAA/////wkHAAAACbkBAAAGugEAACpQcm92b3N0LCBWaWNlIFByb3Zvc3QsIA0Kb3IgVmljZSBQcmVzaWRlbnQKCgAAAAAAAAAAAAAAAAoKAAm7AQAACbwBAAAJvQEAAAAAAAAAEwAAAAAAAAAAAAAAAAm+AQAACQEAAAAJAQAAAAm/AQAAAQcBAADzAAAACQEAAAABwAEAABMAAAAAAAAAFgAAAP////8JBwAAAAnBAQAABsIBAAAFT3RoZXIKCgAAAAAAAAAAAAAAAAoKAAnDAQAACcQBAAAJxQEAAAAAAAAAFAAAAAAAAAAAAAAAAAnGAQAACQEAAAAJAQAAAAnHAQAAAQgBAADzAAAACQEAAAAByAEAABMAAAAAAAAAFwAAAP////8JBwAAAAnJAQAABsoBAAAVVW5kZXJncmFkdWF0ZSBTdHVkaWVzCgoAAAAAAAAAAAAAAAAKCgAJywEAAAnMAQAACc0BAAAAAAAAABUAAAAAAAAAAAAAAAAJzgEAAAkBAAAACQEAAAAJzwEAAAEJAQAA8wAAAAkBAAAAAdABAAATAAAAAAAAABgAAAD/////CQcAAAAJ0QEAAAbSAQAACFJlc2VhcmNoCgoAAAAAAAAAAAAAAAAKCgAJ0wEAAAnUAQAACdUBAAAAAAAAABYAAAAAAAAAAAAAAAAJ1gEAAAkBAAAACQEAAAAJ1wEAAAEKAQAA8wAAAAkBAAAAAdgBAAATAAAAAAAAABkAAAD/////CQcAAAAJ2QEAAAbaAQAACkFkbWlzc2lvbnMKCgAAAAAAAAAAAAAAAAoKAAnbAQAACdwBAAAJ3QEAAAAAAAAAFwAAAAAAAAAAAAAAAAneAQAACQEAAAAJAQAAAAnfAQAAAQsBAADzAAAACQEAAAAB4AEAABMAAAAAAAAAGgAAAP////8JBwAAAAnhAQAABuIBAAAWQWNhZGVtaWMgUHJvZ3JhbS9EZXB0LgoKAAAAAAAAAAAAAAAACgoACeMBAAAJ5AEAAAnlAQAAAAAAAAAYAAAAAAAAAAAAAAAACeYBAAAJAQAAAAkBAAAACecBAAABDAEAAPMAAAAJAQAAAAHoAQAAEwAAAAAAAAAbAAAA/////wkHAAAACekBAAAG6gEAABVFbnJvbGxtZW50IE1hbmFnZW1lbnQKCgAAAAAAAAAAAAAAAAoKAAnrAQAACewBAAAJ7QEAAAAAAAAAGQAAAAAAAAAAAAAAAAnuAQAACQEAAAAJAQAAAAnvAQAAAQ0BAADzAAAACQEAAAAB8AEAABMAAAAAAAAAHAAAAP////8JBwAAAAnxAQAABvIBAAAPU3R1ZGVudCBBZmZhaXJzCgoAAAAAAAAAAAAAAAAKCgAJ8wEAAAn0AQAACfUBAAAAAAAAABoAAAAAAAAAAAAAAAAJ9gEAAAkBAAAACQEAAAAJ9wEAAAEOAQAA8wAAAAkBAAAAAfgBAAATAAAAAAAAAB0AAAD/////CQcAAAAJ+QEAAAb6AQAAEFN0dWRlbnQgU2VydmljZXMKCgAAAAAAAAAAAAAAAAoKAAn7AQAACfwBAAAJ/QEAAAAAAAAAGwAAAAAAAAAAAAAAAAn+AQAACQEAAAAJAQAAAAn/AQAAAQ8BAADzAAAACQEAAAABAAIAABMAAAAAAAAAHgAAAP////8JBwAAAAkBAgAABgICAAAcQWNhZGVtaWMgDQpBZHZpc2luZy9UdXRvcmluZwoKAAAAAAAAAAAAAAAACgoACQMCAAAJBAIAAAkFAgAAAAAAAAAcAAAAAAAAAAAAAAAACQYCAAAJAQAAAAkBAAAACQcCAAAFEA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YIAgAABkdlbmRlcgEFCQIAAB5BcGxvcmlzLkNoYXJ0LkNoYXJ0R3JvdXBBbmNob3IBAAAAB3ZhbHVlX18ACAIAAAAAAAAACgAAAAABAAAAAQAAAAkKAgAACQsCAAAKCgkHAAAACQwCAAAJAQAAAAkBAAAACQ0CAAABEQEAABABAAAJAQAAAAYOAgAAA0FnZQEBDwIAAAkCAAAAAAAACgAAAAABAAAAAQAAAAkQAgAACRECAAAKCgkHAAAACRICAAAJAQAAAAkBAAAACRMCAAABEgEAABABAAAJAQAAAAYUAgAAD0Z1bmN0aW9uYWwgQXJlYQABFQIAAAkCAAAAAAAACgAAAAABAAAAAQAAAAkWAgAACRcCAAAJGAIAAAoJBwAAAAkZAgAACQEAAAAJAQAAAAkaAgAAARMBAAAQAQAACQEAAAAGGwIAAAVUaXRsZQABHAIAAAkCAAAAAAAACgAAAAABAAAAAQAAAAkdAgAACR4CAAAJHwIAAAoJBwAAAAkgAgAACQEAAAAJAQAAAAkhAgAAARQBAAAQAQAACQEAAAAGIgIAABFZZWFycyBpbiBQb3NpdGlvbgABIwIAAAkCAAAAAAAACgAAAAABAAAAAQAAAAkkAgAACSUCAAAJJgIAAAoJBwAAAAknAgAACQEAAAAJAQAAAAkoAgAABRUBAAAWQXBsb3Jpcy5DaGFydC5UaWNrTWFyaw0AAAALbVZpc3VhbExpbmUJbUdyaWRMaW5lBm1MYWJlbAVtQXhpcwhtVmlzaWJsZQltUG9zaXRpb24LbVN0YXJ0UG9pbnQJbUVuZFBvaW50DG1IYXNHcmlkTGluZRhEYXRhT2JqZWN0K21DaGlsZE9iamVjdHMSRGF0YU9iamVjdCttUGFyZW50FURhdGFPYmplY3QrbUNvbnRhaW5lchlEYXRhT2JqZWN0K21WaXN1YWxPYmplY3RzBAQEBAAABAQAAwQEAxpBcGxvcmlzLkJhc2UuVUkuVmlzdWFsTGluZQMAAAAaQXBsb3Jpcy5CYXNlLlVJLlZpc3VhbExpbmUDAAAAFUFwbG9yaXMuQmFzZS5VSS5MYWJlbAMAAAASQXBsb3Jpcy5DaGFydC5BeGlzAgAAAAEGFVN5c3RlbS5EcmF3aW5nLlBvaW50RgQAAAAVU3lzdGVtLkRyYXdpbmcuUG9pbnRG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pAgAACgkqAgAACQcAAAABAAAAAAAAAAABKwIAACAAAAC76C5CgP2wQwEsAgAAIAAAALvoHkKA/bBDAAktAgAACQcAAAAJAQAAAAkuAgAAARYBAAAVAQAACS8CAAAKCTACAAAJBwAAAAGamZmZmZm5PwExAgAAIAAAALvoLkJYE6BDATICAAAgAAAAu+geQlgToEMACTMCAAAJBwAAAAkBAAAACTQCAAABFwEAABUBAAAJNQIAAAoJNgIAAAkHAAAAAZqZmZmZmck/ATcCAAAgAAAAu+guQjApj0MBOAIAACAAAAC76B5CMCmPQwAJOQIAAAkHAAAACQEAAAAJOgIAAAEYAQAAFQEAAAk7AgAACgk8AgAACQcAAAABMzMzMzMz0z8BPQIAACAAAAC76C5CEH58QwE+AgAAIAAAALvoHkIQfnxDAAk/AgAACQcAAAAJAQAAAAlAAgAAARkBAAAVAQAACUECAAAKCUICAAAJBwAAAAGamZmZmZnZPwFDAgAAIAAAALvoLkLAqVpDAUQCAAAgAAAAu+geQsCpWkMACUUCAAAJBwAAAAkBAAAACUYCAAABGgEAABUBAAAJRwIAAAoJSAIAAAkHAAAAAQAAAAAAAOA/AUkCAAAgAAAAu+guQnDVOEMBSgIAACAAAAC76B5CcNU4QwAJSwIAAAkHAAAACQEAAAAJTAIAAAEbAQAAFQEAAAlNAgAACglOAgAACQcAAAABMzMzMzMz4z8BTwIAACAAAAC76C5CIAEXQwFQAgAAIAAAALvoHkIgARdDAAlRAgAACQcAAAAJAQAAAAlSAgAAARwBAAAVAQAACVMCAAAKCVQCAAAJBwAAAAFmZmZmZmbmPwFVAgAAIAAAALvoLkKhWepCAVYCAAAgAAAAu+geQqFZ6kIACVcCAAAJBwAAAAkBAAAACVgCAAABHQEAABUBAAAJWQIAAAoJWgIAAAkHAAAAAZqZmZmZmek/AVsCAAAgAAAAu+guQgGxpkIBXAIAACAAAAC76B5CAbGmQgAJXQIAAAkHAAAACQEAAAAJXgIAAAEeAQAAFQEAAAlfAgAACglgAgAACQcAAAABzczMzMzM7D8BYQIAACAAAAC76C5CwxBGQgFiAgAAIAAAALvoHkLDEEZCAAljAgAACQcAAAAJAQAAAAlkAgAAAR8BAAAVAQAACWUCAAAKCWYCAAAJBwAAAAEAAAAAAADwPwFnAgAAIAAAALvoLkIM/npBAWgCAAAgAAAAu+geQgz+ekEACWkCAAAJBwAAAAkBAAAACWoCAAAFIQEAAKIBQXBsb3Jpcy5CYXNlLk9iamVjdHMuRGF0YU9iamVjdENvbGxlY3Rpb25gMVtbQXBsb3Jpcy5DaGFydC5DaGFydERhdGF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C4wLjE0ODYsIEN1bHR1cmU9bmV1dHJhbCwgUHVibGljS2V5VG9rZW49MTZmYzEzYTIyNmMwZTk1MV1dAwAAAJgBU3lzdGVtLkNvbGxlY3Rpb25zLkdlbmVyaWMuTGlzdGAxW1tBcGxvcmlzLkNoYXJ0LkNoYXJ0RGF0YU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awIAAAlsAgAACfMAAAAJAQAAAAltAgAABSMBAAAcQXBsb3Jpcy5DaGFydC5Db25uZWN0ZWRMYWJlbCQAAAAObUNvbm5lY3RvckxpbmUQbVpPcmRlckNvbm5lY3Rvcg5tQ29ubmVjdG9yTW9kZRltQW5nbGVkQ29ubmVjdG9yRGlyZWN0aW9uEG1Db25uZWN0b3JUYXJnZXQZbUNvbm5lY3RvclRhcmdldEFyZWFTaGFwZRptQ29ubmVjdG9yRGlzcGxheVRocmVzaG9sZBNtQ29ubmVjdEFuY2hvclBvaW5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QEAAAABAAE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gAAAApYAgAABW4CAAArQXBsb3Jpcy5DaGFydC5Db25uZWN0ZWRMYWJlbCtlQ29ubmVjdG9yTW9kZQEAAAAHdmFsdWVfXwAIAgAAAAEAAAAFbwIAADZBcGxvcmlzLkNoYXJ0LkNvbm5lY3RlZExhYmVsK2VBbmdsZWRDb25uZWN0b3JEaXJlY3Rpb24BAAAAB3ZhbHVlX18ACAIAAAAAAAAAAXACAAAUAAAA0hX3Qwz+ekGQrvNCAAAAAAVxAgAALUFwbG9yaXMuQ2hhcnQuQ29ubmVjdGVkTGFiZWwrZVRhcmdldEFyZWFTaGFwZQEAAAAHdmFsdWVfXwAIAgAAAAAAAAAAABBBAQFyAgAAIAAAALsAHEQM/npBAXMCAACaAAAABAAAAAAAAAAAAAAAAAl0AgAAAAAAAAl1AgAAAAABdgIAAKMAAAAAAAAAAXcCAABsAAAAAADgQQAAYEEBeAIAABQAAAAAAAAAAAAAAAAAAAAAAAAAXrrZPwkiAQAACgl5AgAABnoCAAAAIAMAAP////8AAQoJewIAAAEACgAHJAEAAAABAAAAAgAAAAQVU3lzdGVtLkRyYXdpbmcuUG9pbnRGBAAAAAF8AgAAIAAAALsAHEQM/npBAX0CAAAgAAAAu+gaQgz+ekEHJQEAAAABAAAAAgAAAAQXQXBsb3Jpcy5CYXNlLkFuY2hvck1vZGUDAAAAAX4CAACaAAAABAAAAAF/AgAAmgAAAAIAAAABJgEAACQAAAAJgAIAAAEAAAABAAAAAScBAAAlAAAACYECAAABAAAAAwAAAAEpAQAAIQEAAAoJggIAAAmDAgAACfQAAAAJAQAAAAmEAgAAASsBAAAjAQAAClgCAAABhQIAAG4CAAABAAAAAYYCAABvAgAAAAAAAAGHAgAAFAAAANIV90MM/npBkK7zQgAAAAABiAIAAHECAAAAAAAAAAAQQQEBiQIAACAAAAC7ABxEDP56QQGKAgAAmgAAAAQAAAAAAAAAAAAAAAAJiwIAAAAAAAAJjAIAAAAAAY0CAACjAAAAAAAAAAGOAgAAbAAAAAAAMEIAAGBBAY8CAAAUAAAAAAAAAAAAAAAAAAAAAAAAAF662T8JKgEAAAoJkAIAAAl6AgAAIAMAAP////8AAQoJkQIAAAEACgAHLAEAAAABAAAAAgAAAAQVU3lzdGVtLkRyYXdpbmcuUG9pbnRGBAAAAAGSAgAAIAAAALsAHEQM/npBAZMCAAAgAAAAu+gaQgz+ekEHLQEAAAABAAAAAgAAAAQXQXBsb3Jpcy5CYXNlLkFuY2hvck1vZGUDAAAAAZQCAACaAAAABAAAAAGVAgAAmgAAAAIAAAABLgEAACQAAAAJlgIAAAEAAAABAAAAAS8BAAAlAAAACZcCAAABAAAAAwAAAAExAQAAIQEAAAoJmAIAAAmZAgAACfUAAAAJAQAAAAmaAgAAATMBAAAjAQAAClgCAAABmwIAAG4CAAABAAAAAZwCAABvAgAAAAAAAAGdAgAAFAAAANIV90MM/npBkK7zQgAAAAABngIAAHECAAAAAAAAAAAQQQEBnwIAACAAAAC7ABxEDP56QQGgAgAAmgAAAAQAAAAAAAAAAAAAAAAJoQIAAAAAAAAJogIAAAAAAaMCAACjAAAAAAAAAAGkAgAAbAAAAAAAWEIAAGBBAaUCAAAUAAAAAAAAAAAAAAAAAAAAAAAAAF662T8JMgEAAAoJpgIAAAl6AgAAIAMAAP////8AAQoJpwIAAAEACgAHNAEAAAABAAAAAgAAAAQVU3lzdGVtLkRyYXdpbmcuUG9pbnRGBAAAAAGoAgAAIAAAALsAHEQM/npBAakCAAAgAAAAu+gaQgz+ekEHNQEAAAABAAAAAgAAAAQXQXBsb3Jpcy5CYXNlLkFuY2hvck1vZGUDAAAAAaoCAACaAAAABAAAAAGrAgAAmgAAAAIAAAABNgEAACQAAAAJrAIAAAEAAAABAAAAATcBAAAlAAAACa0CAAABAAAAAwAAAAE5AQAAIQEAAAoJrgIAAAmvAgAACfYAAAAJAQAAAAmwAgAAATsBAAAjAQAAClgCAAABsQIAAG4CAAABAAAAAbICAABvAgAAAAAAAAGzAgAAFAAAANIV90MM/npBkK7zQgAAAAABtAIAAHECAAAAAAAAAAAQQQEBtQIAACAAAAC7ABxEDP56QQG2AgAAmgAAAAQAAAAAAAAAAAAAAAAJtwIAAAAAAAAJuAIAAAAAAbkCAACjAAAAAAAAAAG6AgAAbAAAAAAABEIAAGBBAbsCAAAUAAAAAAAAAAAAAAAAAAAAAAAAAF662T8JOgEAAAoJvAIAAAl6AgAAIAMAAP////8AAQoJvQIAAAEACgAHPAEAAAABAAAAAgAAAAQVU3lzdGVtLkRyYXdpbmcuUG9pbnRGBAAAAAG+AgAAIAAAALsAHEQM/npBAb8CAAAgAAAAu+gaQgz+ekEHPQEAAAABAAAAAgAAAAQXQXBsb3Jpcy5CYXNlLkFuY2hvck1vZGUDAAAAAcACAACaAAAABAAAAAHBAgAAmgAAAAIAAAABPgEAACQAAAAJwgIAAAEAAAABAAAAAT8BAAAlAAAACcMCAAABAAAAAwAAAAFBAQAAIQEAAAoJxAIAAAnFAgAACfcAAAAJAQAAAAnGAgAAAUMBAAAjAQAAClgCAAABxwIAAG4CAAABAAAAAcgCAABvAgAAAAAAAAHJAgAAFAAAANIV90MM/npBkK7zQgAAAAABygIAAHECAAAAAAAAAAAQQQEBywIAACAAAAC7ABxEDP56QQHMAgAAmgAAAAQAAAAAAAAAAAAAAAAJzQIAAAAAAAAJzgIAAAAAAc8CAACjAAAAAAAAAAHQAgAAbAAAAAAABEIAAGBBAdECAAAUAAAAAAAAAAAAAAAAAAAAAAAAAF662T8JQgEAAAoJ0gIAAAl6AgAAIAMAAP////8AAQoJ0wIAAAEACgAHRAEAAAABAAAAAgAAAAQVU3lzdGVtLkRyYXdpbmcuUG9pbnRGBAAAAAHUAgAAIAAAALsAHEQM/npBAdUCAAAgAAAAu+gaQgz+ekEHRQEAAAABAAAAAgAAAAQXQXBsb3Jpcy5CYXNlLkFuY2hvck1vZGUDAAAAAdYCAACaAAAABAAAAAHXAgAAmgAAAAIAAAABRgEAACQAAAAJ2AIAAAEAAAABAAAAAUcBAAAlAAAACdkCAAABAAAAAwAAAAFJAQAAIQEAAAoJ2gIAAAnbAgAACfgAAAAJAQAAAAncAgAAAUsBAAAjAQAAClgCAAAB3QIAAG4CAAABAAAAAd4CAABvAgAAAAAAAAHfAgAAFAAAANIV90MM/npBkK7zQgAAAAAB4AIAAHECAAAAAAAAAAAQQQEB4QIAACAAAAC7ABxEDP56QQHiAgAAmgAAAAQAAAAAAAAAAAAAAAAJ4wIAAAAAAAAJ5AIAAAAAAeUCAACjAAAAAAAAAAHmAgAAbAAAAAAAsEEAAGBBAecCAAAUAAAAAAAAAAAAAAAAAAAAAAAAAF662T8JSgEAAAoJ6AIAAAl6AgAAIAMAAP////8AAQoJ6QIAAAEACgAHTAEAAAABAAAAAgAAAAQVU3lzdGVtLkRyYXdpbmcuUG9pbnRGBAAAAAHqAgAAIAAAALsAHEQM/npBAesCAAAgAAAAu+gaQgz+ekEHTQEAAAABAAAAAgAAAAQXQXBsb3Jpcy5CYXNlLkFuY2hvck1vZGUDAAAAAewCAACaAAAABAAAAAHtAgAAmgAAAAIAAAABTgEAACQAAAAJ7gIAAAEAAAABAAAAAU8BAAAlAAAACe8CAAABAAAABQAAAAFRAQAAIQEAAAoJ8AIAAAnxAgAACfkAAAAJAQAAAAnyAgAAAVMBAAAjAQAAClgCAAAB8wIAAG4CAAABAAAAAfQCAABvAgAAAAAAAAH1AgAAFAAAANIV90MGf5VBkK7zQnbWy0EB9gIAAHECAAAAAAAAAAAQQQEB9wIAACAAAAC7ABxEQWr7QQH4AgAAmgAAAAQAAAAAAAAAAAAAAAAJ+QIAAAAAAAAJ+gIAAAAAAfsCAACjAAAAAAAAAAH8AgAAbAAAAAAAiEIAAGBBAf0CAAAUAAAAAAAAAAAAAAAAAAAAAAAAAF662T8JUgEAAAoJ/gIAAAl6AgAAIAMAAP////8AAQoJ/wIAAAEACgAHVAEAAAABAAAAAgAAAAQVU3lzdGVtLkRyYXdpbmcuUG9pbnRGBAAAAAEAAwAAIAAAALsAHERBavtBAQEDAAAgAAAAu+gaQgz+ekEHVQEAAAABAAAAAgAAAAQXQXBsb3Jpcy5CYXNlLkFuY2hvck1vZGUDAAAAAQIDAACaAAAABAAAAAEDAwAAmgAAAAIAAAABVgEAACQAAAAJBAMAAAEAAAABAAAAAVcBAAAlAAAACQUDAAABAAAABQAAAAFZAQAAIQEAAAoJBgMAAAkHAwAACfoAAAAJAQAAAAkIAwAAAVsBAAAjAQAAClgCAAABCQMAAG4CAAABAAAAAQoDAABvAgAAAAAAAAELAwAAFAAAANIV90O+qkhCkK7zQod2lkIBDAMAAHECAAAAAAAAAAAQQQEBDQMAACAAAAC7ABxEopCvQgEOAwAAmgAAAAQAAAAAAAAAAAAAAAAJDwMAAAAAAAAJEAMAAAAAAREDAACjAAAAAAAAAAESAwAAbAAAAAAABEIAAGBBARMDAAAUAAAAAAAAAAAAAAAAAAAAAAAAAF662T8JWgEAAAoJFAMAAAl6AgAAIAMAAP////8AAQoJFQMAAAEACgAHXAEAAAABAAAAAgAAAAQVU3lzdGVtLkRyYXdpbmcuUG9pbnRGBAAAAAEWAwAAIAAAALsAHESikK9CARcDAAAgAAAAu+gaQgz+ekEHXQEAAAABAAAAAgAAAAQXQXBsb3Jpcy5CYXNlLkFuY2hvck1vZGUDAAAAARgDAACaAAAABAAAAAEZAwAAmgAAAAIAAAABXgEAACQAAAAJGgMAAAEAAAABAAAAAV8BAAAlAAAACRsDAAABAAAABQAAAAFhAQAAIQEAAAoJHAMAAAkdAwAACfsAAAAJAQAAAAkeAwAAAWMBAAAjAQAAClgCAAABHwMAAG4CAAABAAAAASADAABvAgAAAAAAAAEhAwAAFAAAANIV90PzZQNDkK7zQqC1OUIBIgMAAHECAAAAAAAAAAAQQQEBIwMAACAAAAC7ABxEp5waQwEkAwAAmgAAAAQAAAAAAAAAAAAAAAAJJQMAAAAAAAAJJgMAAAAAAScDAACjAAAAAAAAAAEoAwAAbAAAAAAABEIAAGBBASkDAAAUAAAAAAAAAAAAAAAAAAAAAAAAAF662T8JYgEAAAoJKgMAAAl6AgAAIAMAAP////8AAQoJKwMAAAEACgAHZAEAAAABAAAAAgAAAAQVU3lzdGVtLkRyYXdpbmcuUG9pbnRGBAAAAAEsAwAAIAAAALsAHESnnBpDAS0DAAAgAAAAu+gaQgz+ekEHZQEAAAABAAAAAgAAAAQXQXBsb3Jpcy5CYXNlLkFuY2hvck1vZGUDAAAAAS4DAACaAAAABAAAAAEvAwAAmgAAAAIAAAABZgEAACQAAAAJMAMAAAEAAAABAAAAAWcBAAAlAAAACTEDAAABAAAABQAAAAFpAQAAIQEAAAoJMgMAAAkzAwAACfwAAAAJAQAAAAk0AwAAAWsBAAAjAQAAClgCAAABNQMAAG4CAAABAAAAATYDAABvAgAAAAAAAAE3AwAAFAAAANIV90Nb0zdDkK7zQrDzUkIBOAMAAHECAAAAAAAAAAAQQQEBOQMAACAAAAC7ABxE0TFSQwE6AwAAmgAAAAQAAAAAAAAAAAAAAAAJOwMAAAAAAAAJPAMAAAAAAT0DAACjAAAAAAAAAAE+AwAAbAAAAAAABEIAAGBBAT8DAAAUAAAAAAAAAAAAAAAAAAAAAAAAAF662T8JagEAAAoJQAMAAAl6AgAAIAMAAP////8AAQoJQQMAAAEACgAHbAEAAAABAAAAAgAAAAQVU3lzdGVtLkRyYXdpbmcuUG9pbnRGBAAAAAFCAwAAIAAAALsAHETRMVJDAUMDAAAgAAAAu+gaQgz+ekEHbQEAAAABAAAAAgAAAAQXQXBsb3Jpcy5CYXNlLkFuY2hvck1vZGUDAAAAAUQDAACaAAAABAAAAAFFAwAAmgAAAAIAAAABbgEAACQAAAAJRgMAAAEAAAABAAAAAW8BAAAlAAAACUcDAAABAAAABQAAAAFxAQAAIQEAAAoJSAMAAAlJAwAACf0AAAAJAQAAAAlKAwAAAXMBAAAjAQAAClgCAAABSwMAAG4CAAABAAAAAUwDAABvAgAAAAAAAAFNAwAAFAAAANIV90NHkHJDkK7zQqQiKkIBTgMAAHECAAAAAAAAAAAQQQEBTwMAACAAAAC7ABxETuqDQwFQAwAAmgAAAAQAAAAAAAAAAAAAAAAJUQMAAAAAAAAJUgMAAAAAAVMDAACjAAAAAAAAAAFUAwAAbAAAAAAAPEIAAGBBAVUDAAAUAAAAAAAAAAAAAAAAAAAAAAAAAF662T8JcgEAAAoJVgMAAAl6AgAAIAMAAP////8AAQoJVwMAAAEACgAHdAEAAAABAAAAAgAAAAQVU3lzdGVtLkRyYXdpbmcuUG9pbnRGBAAAAAFYAwAAIAAAALsAHERO6oNDAVkDAAAgAAAAu+gaQgz+ekEHdQEAAAABAAAAAgAAAAQXQXBsb3Jpcy5CYXNlLkFuY2hvck1vZGUDAAAAAVoDAACaAAAABAAAAAFbAwAAmgAAAAIAAAABdgEAACQAAAAJXAMAAAEAAAABAAAAAXcBAAAlAAAACV0DAAABAAAABQAAAAF5AQAAIQEAAAoJXgMAAAlfAwAACf4AAAAJAQAAAAlgAwAAAXsBAAAjAQAAClgCAAABYQMAAG4CAAABAAAAAWIDAABvAgAAAAAAAAFjAwAAFAAAANIV90N4jJFDkK7zQkBtmUEBZAMAAHECAAAAAAAAAAAQQQEBZQMAACAAAAC7ABxE4leWQwFmAwAAmgAAAAQAAAAAAAAAAAAAAAAJZwMAAAAAAAAJaAMAAAAAAWkDAACjAAAAAAAAAAFqAwAAbAAAAAAAPEIAAGBBAWsDAAAUAAAAAAAAAAAAAAAAAAAAAAAAAF662T8JegEAAAoJbAMAAAl6AgAAIAMAAP////8AAQoJbQMAAAEACgAHfAEAAAABAAAAAgAAAAQVU3lzdGVtLkRyYXdpbmcuUG9pbnRGBAAAAAFuAwAAIAAAALsAHETiV5ZDAW8DAAAgAAAAu+gaQgz+ekEHfQEAAAABAAAAAgAAAAQXQXBsb3Jpcy5CYXNlLkFuY2hvck1vZGUDAAAAAXADAACaAAAABAAAAAFxAwAAmgAAAAIAAAABfgEAACQAAAAJcgMAAAEAAAABAAAAAX8BAAAlAAAACXMDAAABAAAABQAAAAGBAQAAIQEAAAoJdAMAAAl1AwAACf8AAAAJAQAAAAl2AwAAAYMBAAAjAQAAClgCAAABdwMAAG4CAAABAAAAAXgDAABvAgAAAAAAAAF5AwAAFAAAANIV90NMI55DkK7zQqDRCkIBegMAAHECAAAAAAAAAAAQQQEBewMAACAAAAC7ABxEZtCmQwF8AwAAmgAAAAQAAAAAAAAAAAAAAAAJfQMAAAAAAAAJfgMAAAAAAX8DAACjAAAAAAAAAAGAAwAAbAAAAAAAmkIAAGBBAYEDAAAUAAAAAAAAAAAAAAAAAAAAAAAAAF662T8JggEAAAoJggMAAAl6AgAAIAMAAP////8AAQoJgwMAAAEACgAHhAEAAAABAAAAAgAAAAQVU3lzdGVtLkRyYXdpbmcuUG9pbnRGBAAAAAGEAwAAIAAAALsAHERm0KZDAYUDAAAgAAAAu+gaQgz+ekEHhQEAAAABAAAAAgAAAAQXQXBsb3Jpcy5CYXNlLkFuY2hvck1vZGUDAAAAAYYDAACaAAAABAAAAAGHAwAAmgAAAAIAAAABhgEAACQAAAAJiAMAAAEAAAABAAAAAYcBAAAlAAAACYkDAAABAAAAAwAAAAGJAQAAIQEAAAoJigMAAAmLAwAACQABAAAJAQAAAAmMAwAAAYsBAAAjAQAAClgCAAABjQMAAG4CAAABAAAAAY4DAABvAgAAAAAAAAGPAwAAFAAAANIV90OA/bBDkK7zQgAAAAABkAMAAHECAAAAAAAAAAAQQQEBkQMAACAAAAC7ABxEgP2wQwGSAwAAmgAAAAQAAAAAAAAAAAAAAAAJkwMAAAAAAAAJlAMAAAAAAZUDAACjAAAAAAAAAAGWAwAAbAAAAAAAAAAAAAAAAZcDAAAUAAAAAAAAAAAAAAAAAAAAAAAAAAAAAAAJigEAAAoJmAMAAAl6AgAAIAMAAP////8AAQoJmQMAAAEACgAHjAEAAAABAAAAAgAAAAQVU3lzdGVtLkRyYXdpbmcuUG9pbnRGBAAAAAGaAwAAIAAAALsAHESA/bBDAZsDAAAgAAAAu+gaQgz+ekEHjQEAAAABAAAAAgAAAAQXQXBsb3Jpcy5CYXNlLkFuY2hvck1vZGUDAAAAAZwDAACaAAAABAAAAAGdAwAAmgAAAAIAAAABjgEAACQAAAAJngMAAAEAAAABAAAAAY8BAAAlAAAACZ8DAAABAAAAAQAAAAGRAQAAIQEAAAoJoAMAAAmhAwAACQEBAAAJAQAAAAmiAwAAAZMBAAAjAQAAClgCAAABowMAAG4CAAABAAAAAaQDAABvAgAAAAAAAAGlAwAAFAAAANIV90OA/bBDkK7zQgAAAAABpgMAAHECAAAAAAAAAAAQQQEBpwMAACAAAAC7ABxEgP2wQwGoAwAAmgAAAAQAAAAAAAAAAAAAAAAJqQMAAAAAAAAJqgMAAAAAAasDAACjAAAAAAAAAAGsAwAAbAAAAAAAAAAAAAAAAa0DAAAUAAAAAAAAAAAAAAAAAAAAAAAAAAAAAAAJkgEAAAoJrgMAAAl6AgAAIAMAAP////8AAQoJrwMAAAEACgAHlAEAAAABAAAAAgAAAAQVU3lzdGVtLkRyYXdpbmcuUG9pbnRGBAAAAAGwAwAAIAAAALsAHESA/bBDAbEDAAAgAAAAu+gaQgz+ekEHlQEAAAABAAAAAgAAAAQXQXBsb3Jpcy5CYXNlLkFuY2hvck1vZGUDAAAAAbIDAACaAAAABAAAAAGzAwAAmgAAAAIAAAABlgEAACQAAAAJtAMAAAEAAAABAAAAAZcBAAAlAAAACbUDAAABAAAAAQAAAAGZAQAAIQEAAAoJtgMAAAm3AwAACQIBAAAJAQAAAAm4AwAAAZsBAAAjAQAAClgCAAABuQMAAG4CAAABAAAAAboDAABvAgAAAAAAAAG7AwAAFAAAANIV90OA/bBDkK7zQgAAAAABvAMAAHECAAAAAAAAAAAQQQEBvQMAACAAAAC7ABxEgP2wQwG+AwAAmgAAAAQAAAAAAAAAAAAAAAAJvwMAAAAAAAAJwAMAAAAAAcEDAACjAAAAAAAAAAHCAwAAbAAAAAAAAAAAAAAAAcMDAAAUAAAAAAAAAAAAAAAAAAAAAAAAAAAAAAAJmgEAAAoJxAMAAAl6AgAAIAMAAP////8AAQoJxQMAAAEACgAHnAEAAAABAAAAAgAAAAQVU3lzdGVtLkRyYXdpbmcuUG9pbnRGBAAAAAHGAwAAIAAAALsAHESA/bBDAccDAAAgAAAAu+gaQgz+ekEHnQEAAAABAAAAAgAAAAQXQXBsb3Jpcy5CYXNlLkFuY2hvck1vZGUDAAAAAcgDAACaAAAABAAAAAHJAwAAmgAAAAIAAAABngEAACQAAAAJygMAAAEAAAABAAAAAZ8BAAAlAAAACcsDAAABAAAAAQAAAAGhAQAAIQEAAAoJzAMAAAnNAwAACQMBAAAJAQAAAAnOAwAAAaMBAAAjAQAAClgCAAABzwMAAG4CAAABAAAAAdADAABvAgAAAAAAAAHRAwAAFAAAANIV90OA/bBDkK7zQgAAAAAB0gMAAHECAAAAAAAAAAAQQQEB0wMAACAAAAC7ABxEgP2wQwHUAwAAmgAAAAQAAAAAAAAAAAAAAAAJ1QMAAAAAAAAJ1gMAAAAAAdcDAACjAAAAAAAAAAHYAwAAbAAAAAAAAAAAAAAAAdkDAAAUAAAAAAAAAAAAAAAAAAAAAAAAAAAAAAAJogEAAAoJ2gMAAAl6AgAAIAMAAP////8AAQoJ2wMAAAEACgAHpAEAAAABAAAAAgAAAAQVU3lzdGVtLkRyYXdpbmcuUG9pbnRGBAAAAAHcAwAAIAAAALsAHESA/bBDAd0DAAAgAAAAu+gaQgz+ekEHpQEAAAABAAAAAgAAAAQXQXBsb3Jpcy5CYXNlLkFuY2hvck1vZGUDAAAAAd4DAACaAAAABAAAAAHfAwAAmgAAAAIAAAABpgEAACQAAAAJ4AMAAAEAAAABAAAAAacBAAAlAAAACeEDAAABAAAAAQAAAAGpAQAAIQEAAAoJ4gMAAAnjAwAACQQBAAAJAQAAAAnkAwAAAasBAAAjAQAAClgCAAAB5QMAAG4CAAABAAAAAeYDAABvAgAAAAAAAAHnAwAAFAAAANIV90OA/bBDkK7zQgAAAAAB6AMAAHECAAAAAAAAAAAQQQEB6QMAACAAAAC7ABxEgP2wQwHqAwAAmgAAAAQAAAAAAAAAAAAAAAAJ6wMAAAAAAAAJ7AMAAAAAAe0DAACjAAAAAAAAAAHuAwAAbAAAAAAAAAAAAAAAAe8DAAAUAAAAAAAAAAAAAAAAAAAAAAAAAAAAAAAJqgEAAAoJ8AMAAAl6AgAAIAMAAP////8AAQoJ8QMAAAEACgAHrAEAAAABAAAAAgAAAAQVU3lzdGVtLkRyYXdpbmcuUG9pbnRGBAAAAAHyAwAAIAAAALsAHESA/bBDAfMDAAAgAAAAu+gaQgz+ekEHrQEAAAABAAAAAgAAAAQXQXBsb3Jpcy5CYXNlLkFuY2hvck1vZGUDAAAAAfQDAACaAAAABAAAAAH1AwAAmgAAAAIAAAABrgEAACQAAAAJ9gMAAAEAAAABAAAAAa8BAAAlAAAACfcDAAABAAAAAQAAAAGxAQAAIQEAAAoJ+AMAAAn5AwAACQUBAAAJAQAAAAn6AwAAAbMBAAAjAQAAClgCAAAB+wMAAG4CAAABAAAAAfwDAABvAgAAAAAAAAH9AwAAFAAAANIV90OA/bBDkK7zQgAAAAAB/gMAAHECAAAAAAAAAAAQQQEB/wMAACAAAAC7ABxEgP2wQwEABAAAmgAAAAQAAAAAAAAAAAAAAAAJAQQAAAAAAAAJAgQAAAAAAQMEAACjAAAAAAAAAAEEBAAAbAAAAAAAAAAAAAAAAQUEAAAUAAAAAAAAAAAAAAAAAAAAAAAAAAAAAAAJsgEAAAoJBgQAAAl6AgAAIAMAAP////8AAQoJBwQAAAEACgAHtAEAAAABAAAAAgAAAAQVU3lzdGVtLkRyYXdpbmcuUG9pbnRGBAAAAAEIBAAAIAAAALsAHESA/bBDAQkEAAAgAAAAu+gaQgz+ekEHtQEAAAABAAAAAgAAAAQXQXBsb3Jpcy5CYXNlLkFuY2hvck1vZGUDAAAAAQoEAACaAAAABAAAAAELBAAAmgAAAAIAAAABtgEAACQAAAAJDAQAAAEAAAABAAAAAbcBAAAlAAAACQ0EAAABAAAAAQAAAAG5AQAAIQEAAAoJDgQAAAkPBAAACQYBAAAJAQAAAAkQBAAAAbsBAAAjAQAAClgCAAABEQQAAG4CAAABAAAAARIEAABvAgAAAAAAAAETBAAAFAAAANIV90OA/bBDkK7zQgAAAAABFAQAAHECAAAAAAAAAAAQQQEBFQQAACAAAAC7ABxEgP2wQwEWBAAAmgAAAAQAAAAAAAAAAAAAAAAJFwQAAAAAAAAJGAQAAAAAARkEAACjAAAAAAAAAAEaBAAAbAAAAAAAAAAAAAAAARsEAAAUAAAAAAAAAAAAAAAAAAAAAAAAAAAAAAAJugEAAAoJHAQAAAl6AgAAIAMAAP////8AAQoJHQQAAAEACgAHvAEAAAABAAAAAgAAAAQVU3lzdGVtLkRyYXdpbmcuUG9pbnRGBAAAAAEeBAAAIAAAALsAHESA/bBDAR8EAAAgAAAAu+gaQgz+ekEHvQEAAAABAAAAAgAAAAQXQXBsb3Jpcy5CYXNlLkFuY2hvck1vZGUDAAAAASAEAACaAAAABAAAAAEhBAAAmgAAAAIAAAABvgEAACQAAAAJIgQAAAEAAAABAAAAAb8BAAAlAAAACSMEAAABAAAAAQAAAAHBAQAAIQEAAAoJJAQAAAklBAAACQcBAAAJAQAAAAkmBAAAAcMBAAAjAQAAClgCAAABJwQAAG4CAAABAAAAASgEAABvAgAAAAAAAAEpBAAAFAAAANIV90OA/bBDkK7zQgAAAAABKgQAAHECAAAAAAAAAAAQQQEBKwQAACAAAAC7ABxEgP2wQwEsBAAAmgAAAAQAAAAAAAAAAAAAAAAJLQQAAAAAAAAJLgQAAAAAAS8EAACjAAAAAAAAAAEwBAAAbAAAAAAAAAAAAAAAATEEAAAUAAAAAAAAAAAAAAAAAAAAAAAAAAAAAAAJwgEAAAoJMgQAAAl6AgAAIAMAAP////8AAQoJMwQAAAEACgAHxAEAAAABAAAAAgAAAAQVU3lzdGVtLkRyYXdpbmcuUG9pbnRGBAAAAAE0BAAAIAAAALsAHESA/bBDATUEAAAgAAAAu+gaQnAKGEIHxQEAAAABAAAAAgAAAAQXQXBsb3Jpcy5CYXNlLkFuY2hvck1vZGUDAAAAATYEAACaAAAABAAAAAE3BAAAmgAAAAIAAAABxgEAACQAAAAJOAQAAAEAAAABAAAAAccBAAAlAAAACTkEAAABAAAAAQAAAAHJAQAAIQEAAAoJOgQAAAk7BAAACQgBAAAJAQAAAAk8BAAAAcsBAAAjAQAAClgCAAABPQQAAG4CAAABAAAAAT4EAABvAgAAAAAAAAE/BAAAFAAAANIV90OA/bBDkK7zQgAAAAABQAQAAHECAAAAAAAAAAAQQQEBQQQAACAAAAC7ABxEgP2wQwFCBAAAmgAAAAQAAAAAAAAAAAAAAAAJQwQAAAAAAAAJRAQAAAAAAUUEAACjAAAAAAAAAAFGBAAAbAAAAAAAAAAAAAAAAUcEAAAUAAAAAAAAAAAAAAAAAAAAAAAAAAAAAAAJygEAAAoJSAQAAAl6AgAAIAMAAP////8AAQoJSQQAAAEACgAHzAEAAAABAAAAAgAAAAQVU3lzdGVtLkRyYXdpbmcuUG9pbnRGBAAAAAFKBAAAIAAAALsAHESA/bBDAUsEAAAgAAAAu+gaQlIqhEIHzQEAAAABAAAAAgAAAAQXQXBsb3Jpcy5CYXNlLkFuY2hvck1vZGUDAAAAAUwEAACaAAAABAAAAAFNBAAAmgAAAAIAAAABzgEAACQAAAAJTgQAAAEAAAABAAAAAc8BAAAlAAAACU8EAAABAAAAAQAAAAHRAQAAIQEAAAoJUAQAAAlRBAAACQkBAAAJAQAAAAlSBAAAAdMBAAAjAQAAClgCAAABUwQAAG4CAAABAAAAAVQEAABvAgAAAAAAAAFVBAAAFAAAANIV90OA/bBDkK7zQgAAAAABVgQAAHECAAAAAAAAAAAQQQEBVwQAACAAAAC7ABxEgP2wQwFYBAAAmgAAAAQAAAAAAAAAAAAAAAAJWQQAAAAAAAAJWgQAAAAAAVsEAACjAAAAAAAAAAFcBAAAbAAAAAAAAAAAAAAAAV0EAAAUAAAAAAAAAAAAAAAAAAAAAAAAAAAAAAAJ0gEAAAoJXgQAAAl6AgAAIAMAAP////8AAQoJXwQAAAEACgAH1AEAAAABAAAAAgAAAAQVU3lzdGVtLkRyYXdpbmcuUG9pbnRGBAAAAAFgBAAAIAAAALsAHESA/bBDAWEEAAAgAAAAu+gaQvQSn0IH1QEAAAABAAAAAgAAAAQXQXBsb3Jpcy5CYXNlLkFuY2hvck1vZGUDAAAAAWIEAACaAAAABAAAAAFjBAAAmgAAAAIAAAAB1gEAACQAAAAJZAQAAAEAAAABAAAAAdcBAAAlAAAACWUEAAABAAAAAQAAAAHZAQAAIQEAAAoJZgQAAAlnBAAACQoBAAAJAQAAAAloBAAAAdsBAAAjAQAAClgCAAABaQQAAG4CAAABAAAAAWoEAABvAgAAAAAAAAFrBAAAFAAAANIV90OA/bBDkK7zQgAAAAABbAQAAHECAAAAAAAAAAAQQQEBbQQAACAAAAC7ABxEgP2wQwFuBAAAmgAAAAQAAAAAAAAAAAAAAAAJbwQAAAAAAAAJcAQAAAAAAXEEAACjAAAAAAAAAAFyBAAAbAAAAAAAAAAAAAAAAXMEAAAUAAAAAAAAAAAAAAAAAAAAAAAAAAAAAAAJ2gEAAAoJdAQAAAl6AgAAIAMAAP////8AAQoJdQQAAAEACgAH3AEAAAABAAAAAgAAAAQVU3lzdGVtLkRyYXdpbmcuUG9pbnRGBAAAAAF2BAAAIAAAALsAHESA/bBDAXcEAAAgAAAAu+gaQmzfuUIH3QEAAAABAAAAAgAAAAQXQXBsb3Jpcy5CYXNlLkFuY2hvck1vZGUDAAAAAXgEAACaAAAABAAAAAF5BAAAmgAAAAIAAAAB3gEAACQAAAAJegQAAAEAAAABAAAAAd8BAAAlAAAACXsEAAABAAAAAQAAAAHhAQAAIQEAAAoJfAQAAAl9BAAACQsBAAAJAQAAAAl+BAAAAeMBAAAjAQAAClgCAAABfwQAAG4CAAABAAAAAYAEAABvAgAAAAAAAAGBBAAAFAAAANIV90OA/bBDkK7zQgAAAAABggQAAHECAAAAAAAAAAAQQQEBgwQAACAAAAC7ABxEgP2wQwGEBAAAmgAAAAQAAAAAAAAAAAAAAAAJhQQAAAAAAAAJhgQAAAAAAYcEAACjAAAAAAAAAAGIBAAAbAAAAAAAAAAAAAAAAYkEAAAUAAAAAAAAAAAAAAAAAAAAAAAAAAAAAAAJ4gEAAAoJigQAAAl6AgAAIAMAAP////8AAQoJiwQAAAEACgAH5AEAAAABAAAAAgAAAAQVU3lzdGVtLkRyYXdpbmcuUG9pbnRGBAAAAAGMBAAAIAAAALsAHESA/bBDAY0EAAAgAAAAu+gaQtwn40IH5QEAAAABAAAAAgAAAAQXQXBsb3Jpcy5CYXNlLkFuY2hvck1vZGUDAAAAAY4EAACaAAAABAAAAAGPBAAAmgAAAAIAAAAB5gEAACQAAAAJkAQAAAEAAAABAAAAAecBAAAlAAAACZEEAAABAAAAAQAAAAHpAQAAIQEAAAoJkgQAAAmTBAAACQwBAAAJAQAAAAmUBAAAAesBAAAjAQAAClgCAAABlQQAAG4CAAABAAAAAZYEAABvAgAAAAAAAAGXBAAAFAAAANIV90OA/bBDkK7zQgAAAAABmAQAAHECAAAAAAAAAAAQQQEBmQQAACAAAAC7ABxEgP2wQwGaBAAAmgAAAAQAAAAAAAAAAAAAAAAJmwQAAAAAAAAJnAQAAAAAAZ0EAACjAAAAAAAAAAGeBAAAbAAAAAAAAAAAAAAAAZ8EAAAUAAAAAAAAAAAAAAAAAAAAAAAAAAAAAAAJ6gEAAAoJoAQAAAl6AgAAIAMAAP////8AAQoJoQQAAAEACgAH7AEAAAABAAAAAgAAAAQVU3lzdGVtLkRyYXdpbmcuUG9pbnRGBAAAAAGiBAAAIAAAALsAHESA/bBDAaMEAAAgAAAAu+gaQrBED0MH7QEAAAABAAAAAgAAAAQXQXBsb3Jpcy5CYXNlLkFuY2hvck1vZGUDAAAAAaQEAACaAAAABAAAAAGlBAAAmgAAAAIAAAAB7gEAACQAAAAJpgQAAAEAAAABAAAAAe8BAAAlAAAACacEAAABAAAAAQAAAAHxAQAAIQEAAAoJqAQAAAmpBAAACQ0BAAAJAQAAAAmqBAAAAfMBAAAjAQAAClgCAAABqwQAAG4CAAABAAAAAawEAABvAgAAAAAAAAGtBAAAFAAAANIV90OA/bBDkK7zQgAAAAABrgQAAHECAAAAAAAAAAAQQQEBrwQAACAAAAC7ABxEgP2wQwGwBAAAmgAAAAQAAAAAAAAAAAAAAAAJsQQAAAAAAAAJsgQAAAAAAbMEAACjAAAAAAAAAAG0BAAAbAAAAAAAAAAAAAAAAbUEAAAUAAAAAAAAAAAAAAAAAAAAAAAAAAAAAAAJ8gEAAAoJtgQAAAl6AgAAIAMAAP////8AAQoJtwQAAAEACgAH9AEAAAABAAAAAgAAAAQVU3lzdGVtLkRyYXdpbmcuUG9pbnRGBAAAAAG4BAAAIAAAALsAHESA/bBDAbkEAAAgAAAAu+gaQtKNMkMH9QEAAAABAAAAAgAAAAQXQXBsb3Jpcy5CYXNlLkFuY2hvck1vZGUDAAAAAboEAACaAAAABAAAAAG7BAAAmgAAAAIAAAAB9gEAACQAAAAJvAQAAAEAAAABAAAAAfcBAAAlAAAACb0EAAABAAAAAQAAAAH5AQAAIQEAAAoJvgQAAAm/BAAACQ4BAAAJAQAAAAnABAAAAfsBAAAjAQAAClgCAAABwQQAAG4CAAABAAAAAcIEAABvAgAAAAAAAAHDBAAAFAAAANIV90OA/bBDkK7zQgAAAAABxAQAAHECAAAAAAAAAAAQQQEBxQQAACAAAAC7ABxEgP2wQwHGBAAAmgAAAAQAAAAAAAAAAAAAAAAJxwQAAAAAAAAJyAQAAAAAAckEAACjAAAAAAAAAAHKBAAAbAAAAAAAAAAAAAAAAcsEAAAUAAAAAAAAAAAAAAAAAAAAAAAAAAAAAAAJ+gEAAAoJzAQAAAl6AgAAIAMAAP////8AAQoJzQQAAAEACgAH/AEAAAABAAAAAgAAAAQVU3lzdGVtLkRyYXdpbmcuUG9pbnRGBAAAAAHOBAAAIAAAALsAHESA/bBDAc8EAAAgAAAAu+gaQk6oa0MH/QEAAAABAAAAAgAAAAQXQXBsb3Jpcy5CYXNlLkFuY2hvck1vZGUDAAAAAdAEAACaAAAABAAAAAHRBAAAmgAAAAIAAAAB/gEAACQAAAAJ0gQAAAEAAAABAAAAAf8BAAAlAAAACdMEAAABAAAAAQAAAAEBAgAAIQEAAAoJ1AQAAAnVBAAACQ8BAAAJAQAAAAnWBAAAAQMCAAAjAQAAClgCAAAB1wQAAG4CAAABAAAAAdgEAABvAgAAAAAAAAHZBAAAFAAAANIV90OA/bBDkK7zQgAAAAAB2gQAAHECAAAAAAAAAAAQQQEB2wQAACAAAAC7ABxEgP2wQwHcBAAAmgAAAAQAAAAAAAAAAAAAAAAJ3QQAAAAAAAAJ3gQAAAAAAd8EAACjAAAAAAAAAAHgBAAAbAAAAAAAAAAAAAAAAeEEAAAUAAAAAAAAAAAAAAAAAAAAAAAAAAAAAAAJAgIAAAoJ4gQAAAl6AgAAIAMAAP////8AAQoJ4wQAAAEACgAHBAIAAAABAAAAAgAAAAQVU3lzdGVtLkRyYXdpbmcuUG9pbnRGBAAAAAHkBAAAIAAAALsAHESA/bBDAeUEAAAgAAAAu+gaQryMnEMHBQIAAAABAAAAAgAAAAQXQXBsb3Jpcy5CYXNlLkFuY2hvck1vZGUDAAAAAeYEAACaAAAABAAAAAHnBAAAmgAAAAIAAAABBgIAACQAAAAJ6AQAAAEAAAABAAAAAQcCAAAlAAAACekEAAABAAAAAQAAAA8KAgAAAQAAAAgAAAAABwsCAAAAAQAAAAEAAAAEFUFwbG9yaXMuQmFzZS5VSS5MYWJlbAMAAAAKAQwCAAAkAAAACdIAAAAAAAAAAAAAAAENAgAAJQAAAAnqBAAAAAAAAAQAAAAPEAIAAAEAAAAIAAAAAAcRAgAAAAEAAAABAAAABBVBcGxvcmlzLkJhc2UuVUkuTGFiZWwDAAAACgESAgAAJAAAAAnSAAAAAAAAAAAAAAABEwIAACUAAAAJ6wQAAAAAAAAEAAAADxYCAAABAAAACAAAAAAHFwIAAAABAAAAAQAAAAQVQXBsb3Jpcy5CYXNlLlVJLkxhYmVsAwAAAAnsBAAAARgCAAAzAAAAAe0EAAAgAAAAAQASQ4B9s0MB7gQAAJoAAAADAAAAAAAAAAAAAAAACe8EAAAAAAAACfAEAAAAAAHxBAAAowAAAAAAAAAB8gQAAGwAAAAAAKBCAABAQQHzBAAAFAAAABdd2EKji7NDdWiXQqOLLkESg74/CRQCAAAKCfQEAAAJegIAACADAAD/////AQEKCfUEAAABAAoAARkCAAAkAAAACfYEAAAAAAAAAAAAAAEaAgAAJQAAAAn3BAAAAgAAAAYAAAAPHQIAAAEAAAAIAAAAAAceAgAAAAEAAAABAAAABBVBcGxvcmlzLkJhc2UuVUkuTGFiZWwDAAAACfgEAAABHwIAADMAAAAB+QQAACAAAADSRa9DgH2zQwH6BAAAmgAAAAMAAAAAAAAAAAAAAAAJ+wQAAAAAAAAJ/AQAAAAAAf0EAACjAAAAAAAAAAH+BAAAbAAAAAAAqEEAAEBBAf8EAAAUAAAAo4upQ6OLs0ORirBBo4suQRKDvj8JGwIAAAoJAAUAAAl6AgAAIAMAAP////8BAQoJAQUAAAEACgABIAIAACQAAAAJ0gAAAAAAAAAAAAAAASECAAAlAAAACQIFAAACAAAABgAAAA8kAgAAAQAAAAgAAAAAByUCAAAAAQAAAAEAAAAEFUFwbG9yaXMuQmFzZS5VSS5MYWJlbAMAAAAJAwUAAAEmAgAAMwAAAAEEBQAAIAAAANLFCkSAfbNDAQUFAACaAAAAAwAAAAAAAAAAAAAAAAkGBQAAAAAAAAkHBQAAAAABCAUAAKMAAAAAAAAAAQkFAABsAAAAAACsQgAAQEEBCgUAABQAAADpogBEo4uzQy9RokKjiy5BEoO+PwkiAgAACgkLBQAACXoCAAAgAwAA/////wEBCgkMBQAAAQAKAAEnAgAAJAAAAAnSAAAAAAAAAAAAAAABKAIAACUAAAAJDQUAAAIAAAACAAAAASkCAAAvAAAAAQ4FAAAgAAAAu+guQoD9sEMBDwUAACAAAAC76B5CgP2wQwkQBQAAzAEAAP////8BAQoJEQUAAAEACgABKgIAADMAAAABEgUAACAAAAC76BhCgP2wQwETBQAAmgAAAAIAAAAAAAAAAAAAAAAJFAUAAAAAAAAJFQUAAAAAARYFAACjAAAAAAAAAAEXBQAAbAAAAAAAgEEAAEBBARgFAAAUAAAAo4uuQUYXrkN6LYxBo4suQRKDvj8GGQUAAAIwJQoJGgUAAAl6AgAA0AIAAP////8BAQoJGwUAAAEACgABLQIAACQAAAAJ0gAAAAAAAAAAAAAAAS4CAAAlAAAACRwFAAACAAAAAgAAAAEvAgAALwAAAAEdBQAAIAAAALvoLkJYE6BDAR4FAAAgAAAAu+geQlgToEMJHwUAAMwBAAD/////AQEKCSAFAAABAAoAATACAAAzAAAAASEFAAAgAAAAu+gYQlgToEMBIgUAAJoAAAACAAAAAAAAAAAAAAAACSMFAAAAAAAACSQFAAAAAAElBQAAowAAAAAAAAABJgUAAGwAAAAAALhBAABAQQEnBQAAFAAAANFFd0HRRZ1DNBa/QaOLLkESg74/BigFAAADMTAlCgkpBQAACXoCAADQAgAA/////wEBCgkqBQAAAQAKAAEzAgAAJAAAAAnSAAAAAAAAAAAAAAABNAIAACUAAAAJKwUAAAIAAAACAAAAATUCAAAvAAAAASwFAAAgAAAAu+guQjApj0MBLQUAACAAAAC76B5CMCmPQwkuBQAAzAEAAP////8BAQoJLwUAAAEACgABNgIAADMAAAABMAUAACAAAAC76BhCMCmPQwExBQAAmgAAAAIAAAAAAAAAAAAAAAAJMgUAAAAAAAAJMwUAAAAAATQFAACjAAAAAAAAAAE1BQAAbAAAAAAAuEEAAEBBATYFAAAUAAAA0UV3QV10jEM0Fr9Bo4suQRKDvj8GNwUAAAMyMCUKCTgFAAAJegIAANACAAD/////AQEKCTkFAAABAAoAATkCAAAkAAAACdIAAAAAAAAAAAAAAAE6AgAAJQAAAAk6BQAAAgAAAAIAAAABOwIAAC8AAAABOwUAACAAAAC76C5CEH58QwE8BQAAIAAAALvoHkIQfnxDCT0FAADMAQAA/////wEBCgk+BQAAAQAKAAE8AgAAMwAAAAE/BQAAIAAAALvoGEIQfnxDAUAFAACaAAAAAgAAAAAAAAAAAAAAAAlBBQAAAAAAAAlCBQAAAAABQwUAAKMAAAAAAAAAAUQFAABsAAAAAAC4QQAAQEEBRQUAABQAAADRRXdB0UV3QzQWv0Gjiy5BEoO+PwZGBQAAAzMwJQoJRwUAAAl6AgAA0AIAAP////8BAQoJSAUAAAEACgABPwIAACQAAAAJ0gAAAAAAAAAAAAAAAUACAAAlAAAACUkFAAACAAAAAgAAAAFBAgAALwAAAAFKBQAAIAAAALvoLkLAqVpDAUsFAAAgAAAAu+geQsCpWkMJTAUAAMwBAAD/////AQEKCU0FAAABAAoAAUICAAAzAAAAAU4FAAAgAAAAu+gYQsCpWkMBTwUAAJoAAAACAAAAAAAAAAAAAAAACVAFAAAAAAAACVEFAAAAAAFSBQAAowAAAAAAAAABUwUAAGwAAAAAALhBAABAQQFUBQAAFAAAANFFd0HoolVDNBa/QaOLLkESg74/BlUFAAADNDAlCglWBQAACXoCAADQAgAA/////wEBCglXBQAAAQAKAAFFAgAAJAAAAAnSAAAAAAAAAAAAAAABRgIAACUAAAAJWAUAAAIAAAACAAAAAUcCAAAvAAAAAVkFAAAgAAAAu+guQnDVOEMBWgUAACAAAAC76B5CcNU4QwlbBQAAzAEAAP////8BAQoJXAUAAAEACgABSAIAADMAAAABXQUAACAAAAC76BhCcNU4QwFeBQAAmgAAAAIAAAAAAAAAAAAAAAAJXwUAAAAAAAAJYAUAAAAAAWEFAACjAAAAAAAAAAFiBQAAbAAAAAAAuEEAAEBBAWMFAAAUAAAA0UV3QUYXM0M0Fr9Bo4suQRKDvj8GZAUAAAM1MCUKCWUFAAAJegIAANACAAD/////AQEKCWYFAAABAAoAAUsCAAAkAAAACdIAAAAAAAAAAAAAAAFMAgAAJQAAAAlnBQAAAgAAAAIAAAABTQIAAC8AAAABaAUAACAAAAC76C5CIAEXQwFpBQAAIAAAALvoHkIgARdDCWoFAADMAQAA/////wEBCglrBQAAAQAKAAFOAgAAMwAAAAFsBQAAIAAAALvoGEIgARdDAW0FAACaAAAAAgAAAAAAAAAAAAAAAAluBQAAAAAAAAlvBQAAAAABcAUAAKMAAAAAAAAAAXEFAABsAAAAAAC4QQAAQEEBcgUAABQAAADRRXdBXXQRQzQWv0Gjiy5BEoO+PwZzBQAAAzYwJQoJdAUAAAl6AgAA0AIAAP////8BAQoJdQUAAAEACgABUQIAACQAAAAJ0gAAAAAAAAAAAAAAAVICAAAlAAAACXYFAAACAAAAAgAAAAFTAgAALwAAAAF3BQAAIAAAALvoLkKhWepCAXgFAAAgAAAAu+geQqFZ6kIJeQUAAMwBAAD/////AQEKCXoFAAABAAoAAVQCAAAzAAAAAXsFAAAgAAAAu+gYQqFZ6kIBfAUAAJoAAAACAAAAAAAAAAAAAAAACX0FAAAAAAAACX4FAAAAAAF/BQAAowAAAAAAAAABgAUAAGwAAAAAALhBAABAQQGBBQAAFAAAANFFd0Hoot9CNBa/QaOLLkESg74/BoIFAAADNzAlCgmDBQAACXoCAADQAgAA/////wEBCgmEBQAAAQAKAAFXAgAAJAAAAAnSAAAAAAAAAAAAAAABWAIAACUAAAAJhQUAAAIAAAACAAAAAVkCAAAvAAAAAYYFAAAgAAAAu+guQgGxpkIBhwUAACAAAAC76B5CAbGmQgmIBQAAzAEAAP////8BAQoJiQUAAAEACgABWgIAADMAAAABigUAACAAAAC76BhCAbGmQgGLBQAAmgAAAAIAAAAAAAAAAAAAAAAJjAUAAAAAAAAJjQUAAAAAAY4FAACjAAAAAAAAAAGPBQAAbAAAAAAAuEEAAEBBAZAFAAAUAAAA0UV3QRddnEI0Fr9Bo4suQRKDvj8GkQUAAAM4MCUKCZIFAAAJegIAANACAAD/////AQEKCZMFAAABAAoAAV0CAAAkAAAACdIAAAAAAAAAAAAAAAFeAgAAJQAAAAmUBQAAAgAAAAIAAAABXwIAAC8AAAABlQUAACAAAAC76C5CwxBGQgGWBQAAIAAAALvoHkLDEEZCCZcFAADMAQAA/////wEBCgmYBQAAAQAKAAFgAgAAMwAAAAGZBQAAIAAAALvoGELDEEZCAZoFAACaAAAAAgAAAAAAAAAAAAAAAAmbBQAAAAAAAAmcBQAAAAABnQUAAKMAAAAAAAAAAZ4FAABsAAAAAAC4QQAAQEEBnwUAABQAAADRRXdBo4suQjQWv0Gjiy5BEoO+PwagBQAAAzkwJQoJoQUAAAl6AgAA0AIAAP////8BAQoJogUAAAEACgABYwIAACQAAAAJ0gAAAAAAAAAAAAAAAWQCAAAlAAAACaMFAAACAAAAAgAAAAFlAgAALwAAAAGkBQAAIAAAALvoLkIM/npBAaUFAAAgAAAAu+geQgz+ekEJpgUAAMwBAAD/////AQEKCacFAAABAAoAAWYCAAAzAAAAAagFAAAgAAAAu+gYQgz+ekEBqQUAAJoAAAACAAAAAAAAAAAAAAAACaoFAAAAAAAACasFAAAAAAGsBQAAowAAAAAAAAABrQUAAGwAAAAAAOhBAABAQQGuBQAAFAAAAAAAIEEAACBBHLnqQaOLLkESg74/Bq8FAAAEMTAwJQoJsAUAAAl6AgAA0AIAAP////8BAQoJsQUAAAEACgABaQIAACQAAAAJ0gAAAAAAAAAAAAAAAWoCAAAlAAAACbIFAAACAAAAAgAAAARrAgAAmAFTeXN0ZW0uQ29sbGVjdGlvbnMuR2VuZXJpYy5MaXN0YDFbW0FwbG9yaXMuQ2hhcnQuQ2hhcnREYXRhRWxlbWVudCwgQXBsb3Jpcy5DaGFydCwgVmVyc2lvbj00LjAuMC4xNDg2LCBDdWx0dXJlPW5ldXRyYWwsIFB1YmxpY0tleVRva2VuPTE2ZmMxM2EyMjZjMGU5NTFdXQMAAAAGX2l0ZW1zBV9zaXplCF92ZXJzaW9uBAAAIEFwbG9yaXMuQ2hhcnQuQ2hhcnREYXRhRWxlbWVudFtdAgAAAAgICbMFAAAFAAAACwAAAAFsAgAAJAAAAAm0BQAABQAAAAcAAAABbQIAACUAAAAJ0AAAAAAAAAAAAAAABXQ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zAAAACgAAAAAAQEEJcAAAAAlxAAAACbUFAAABAAm2BQAAAXUCAAByAAAACgoAAAAA////AA4AAAAAAQF5AgAApwAAAAm3BQAAAQAAAAEAAAABewIAAG8AAAAJuAUAAAoHgAIAAAABAAAABAAAAAQfQXBsb3Jpcy5CYXNlLk9iamVjdHMuRGF0YU9iamVjdAMAAAAJIQEAAA0DB4ECAAAAAQAAAAQAAAAEHEFwbG9yaXMuQmFzZS5VSS5WaXN1YWxPYmplY3QDAAAACSMBAAANAwGCAgAAawIAAAm5BQAABQAAAAsAAAABgwIAACQAAAAJugUAAAUAAAAHAAAAAYQCAAAlAAAACdAAAAAAAAAAAAAAAAWL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AAAAAoAAAAAAEBBCXAAAAAJcQAAAAm7BQAAAQAJvAUAAAGMAgAAcgAAAAoKAAAAAP///wAOAAAAAAEBkAIAAKcAAAAJvQUAAAEAAAABAAAAAZECAABvAAAACb4FAAAKB5YCAAAAAQAAAAQAAAAEH0FwbG9yaXMuQmFzZS5PYmplY3RzLkRhdGFPYmplY3QDAAAACSkBAAANAweXAgAAAAEAAAAEAAAABBxBcGxvcmlzLkJhc2UuVUkuVmlzdWFsT2JqZWN0AwAAAAkrAQAADQMBmAIAAGsCAAAJvwUAAAUAAAALAAAAAZkCAAAkAAAACcAFAAAFAAAABwAAAAGaAgAAJQAAAAnQAAAAAAAAAAAAAAAFoQ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UAAAAKAAAAAABAQQlwAAAACXEAAAAJwQUAAAEACcIFAAABogIAAHIAAAAKCgAAAAD///8ADgAAAAABAaYCAACnAAAACcMFAAABAAAAAQAAAAGnAgAAbwAAAAnEBQAACgesAgAAAAEAAAAEAAAABB9BcGxvcmlzLkJhc2UuT2JqZWN0cy5EYXRhT2JqZWN0AwAAAAkxAQAADQMHrQIAAAABAAAABAAAAAQcQXBsb3Jpcy5CYXNlLlVJLlZpc3VhbE9iamVjdAMAAAAJMwEAAA0DAa4CAABrAgAACcUFAAAFAAAACwAAAAGvAgAAJAAAAAnGBQAABQAAAAcAAAABsAIAACUAAAAJ0AAAAAAAAAAAAAAABbc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2AAAACgAAAAAAQEEJcAAAAAlxAAAACccFAAABAAnIBQAAAbgCAAByAAAACgoAAAAA////AA4AAAAAAQG8AgAApwAAAAnJBQAAAQAAAAEAAAABvQIAAG8AAAAJygUAAAoHwgIAAAABAAAABAAAAAQfQXBsb3Jpcy5CYXNlLk9iamVjdHMuRGF0YU9iamVjdAMAAAAJOQEAAA0DB8MCAAAAAQAAAAQAAAAEHEFwbG9yaXMuQmFzZS5VSS5WaXN1YWxPYmplY3QDAAAACTsBAAANAwHEAgAAawIAAAnLBQAABQAAAAsAAAABxQIAACQAAAAJzAUAAAUAAAAHAAAAAcYCAAAlAAAACdAAAAAAAAAAAAAAAAXN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wAAAAoAAAAAAEBBCXAAAAAJcQAAAAnNBQAAAQAJzgUAAAHOAgAAcgAAAAoKAAAAAP///wAOAAAAAAEB0gIAAKcAAAAJzwUAAAEAAAABAAAAAdMCAABvAAAACdAFAAAKB9gCAAAAAQAAAAQAAAAEH0FwbG9yaXMuQmFzZS5PYmplY3RzLkRhdGFPYmplY3QDAAAACUEBAAANAwfZAgAAAAEAAAAEAAAABBxBcGxvcmlzLkJhc2UuVUkuVmlzdWFsT2JqZWN0AwAAAAlDAQAADQMB2gIAAGsCAAAJ0QUAAAUAAAALAAAAAdsCAAAkAAAACdIFAAAFAAAABwAAAAHcAgAAJQAAAAnQAAAAAAAAAAAAAAAF4w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gAAAAKAAAAAABAQQlwAAAACXEAAAAJ0wUAAAEACdQFAAAB5AIAAHIAAAAKCgAAAAD///8ADgAAAAABAegCAACnAAAACdUFAAABAAAAAQAAAAHpAgAAbwAAAAnWBQAACgfuAgAAAAEAAAAEAAAABB9BcGxvcmlzLkJhc2UuT2JqZWN0cy5EYXRhT2JqZWN0AwAAAAlJAQAADQMH7wIAAAABAAAABAAAAAQcQXBsb3Jpcy5CYXNlLlVJLlZpc3VhbE9iamVjdAMAAAAJSwEAAA0DAfACAABrAgAACdcFAAAFAAAACwAAAAHxAgAAJAAAAAnYBQAABQAAAAcAAAAB8gIAACUAAAAJ0AAAAAAAAAAAAAAABfk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5AAAACgAAAAAAQEEJcAAAAAlxAAAACdkFAAABAAnaBQAAAfoCAAByAAAACgoAAAAA////AA4AAAAAAQH+AgAApwAAAAnbBQAAAQAAAAEAAAAB/wIAAG8AAAAJ3AUAAAoHBAMAAAABAAAABAAAAAQfQXBsb3Jpcy5CYXNlLk9iamVjdHMuRGF0YU9iamVjdAMAAAAJUQEAAA0DBwUDAAAAAQAAAAQAAAAEHEFwbG9yaXMuQmFzZS5VSS5WaXN1YWxPYmplY3QDAAAACVMBAAANAwEGAwAAawIAAAndBQAABQAAAAsAAAABBwMAACQAAAAJ3gUAAAUAAAAHAAAAAQgDAAAlAAAACdAAAAAAAAAAAAAAAAUP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gAAAAoAAAAAAEBBCXAAAAAJcQAAAAnfBQAAAQAJ4AUAAAEQAwAAcgAAAAoKAAAAAP///wAOAAAAAAEBFAMAAKcAAAAJ4QUAAAEAAAABAAAAARUDAABvAAAACeIFAAAKBxoDAAAAAQAAAAQAAAAEH0FwbG9yaXMuQmFzZS5PYmplY3RzLkRhdGFPYmplY3QDAAAACVkBAAANAwcbAwAAAAEAAAAEAAAABBxBcGxvcmlzLkJhc2UuVUkuVmlzdWFsT2JqZWN0AwAAAAlbAQAADQMBHAMAAGsCAAAJ4wUAAAUAAAALAAAAAR0DAAAkAAAACeQFAAAFAAAABwAAAAEeAwAAJQAAAAnQAAAAAAAAAAAAAAAFJQ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sAAAAKAAAAAABAQQlwAAAACXEAAAAJ5QUAAAEACeYFAAABJgMAAHIAAAAKCgAAAAD///8ADgAAAAABASoDAACnAAAACecFAAABAAAAAQAAAAErAwAAbwAAAAnoBQAACgcwAwAAAAEAAAAEAAAABB9BcGxvcmlzLkJhc2UuT2JqZWN0cy5EYXRhT2JqZWN0AwAAAAlhAQAADQMHMQMAAAABAAAABAAAAAQcQXBsb3Jpcy5CYXNlLlVJLlZpc3VhbE9iamVjdAMAAAAJYwEAAA0DATIDAABrAgAACekFAAAFAAAACwAAAAEzAwAAJAAAAAnqBQAABQAAAAcAAAABNAMAACUAAAAJ0AAAAAAAAAAAAAAABTs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8AAAACgAAAAAAQEEJcAAAAAlxAAAACesFAAABAAnsBQAAATwDAAByAAAACgoAAAAA////AA4AAAAAAQFAAwAApwAAAAntBQAAAQAAAAEAAAABQQMAAG8AAAAJ7gUAAAoHRgMAAAABAAAABAAAAAQfQXBsb3Jpcy5CYXNlLk9iamVjdHMuRGF0YU9iamVjdAMAAAAJaQEAAA0DB0cDAAAAAQAAAAQAAAAEHEFwbG9yaXMuQmFzZS5VSS5WaXN1YWxPYmplY3QDAAAACWsBAAANAwFIAwAAawIAAAnvBQAABQAAAAsAAAABSQMAACQAAAAJ8AUAAAUAAAAHAAAAAUoDAAAlAAAACdAAAAAAAAAAAAAAAAVR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QAAAAoAAAAAAEBBCXAAAAAJcQAAAAnxBQAAAQAJ8gUAAAFSAwAAcgAAAAoKAAAAAP///wAOAAAAAAEBVgMAAKcAAAAJ8wUAAAEAAAABAAAAAVcDAABvAAAACfQFAAAKB1wDAAAAAQAAAAQAAAAEH0FwbG9yaXMuQmFzZS5PYmplY3RzLkRhdGFPYmplY3QDAAAACXEBAAANAwddAwAAAAEAAAAEAAAABBxBcGxvcmlzLkJhc2UuVUkuVmlzdWFsT2JqZWN0AwAAAAlzAQAADQMBXgMAAGsCAAAJ9QUAAAUAAAALAAAAAV8DAAAkAAAACfYFAAAFAAAABwAAAAFgAwAAJQAAAAnQAAAAAAAAAAAAAAAFZw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4AAAAKAAAAAABAQQlwAAAACXEAAAAJ9wUAAAEACfgFAAABaAMAAHIAAAAKCgAAAAD///8ADgAAAAABAWwDAACnAAAACfkFAAABAAAAAQAAAAFtAwAAbwAAAAn6BQAACgdyAwAAAAEAAAAEAAAABB9BcGxvcmlzLkJhc2UuT2JqZWN0cy5EYXRhT2JqZWN0AwAAAAl5AQAADQMHcwMAAAABAAAABAAAAAQcQXBsb3Jpcy5CYXNlLlVJLlZpc3VhbE9iamVjdAMAAAAJewEAAA0DAXQDAABrAgAACfsFAAAFAAAACwAAAAF1AwAAJAAAAAn8BQAABQAAAAcAAAABdgMAACUAAAAJ0AAAAAAAAAAAAAAABX0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AAAACgAAAAAAQEEJcAAAAAlxAAAACf0FAAABAAn+BQAAAX4DAAByAAAACgoAAAAA////AA4AAAAAAQGCAwAApwAAAAn/BQAAAQAAAAEAAAABgwMAAG8AAAAJAAYAAAoHiAMAAAABAAAABAAAAAQfQXBsb3Jpcy5CYXNlLk9iamVjdHMuRGF0YU9iamVjdAMAAAAJgQEAAA0DB4kDAAAAAQAAAAQAAAAEHEFwbG9yaXMuQmFzZS5VSS5WaXN1YWxPYmplY3QDAAAACYMBAAANAwGKAwAAawIAAAkBBgAABQAAAAkAAAABiwMAACQAAAAJAgYAAAUAAAAFAAAAAYwDAAAlAAAACdAAAAAAAAAAAAAAAAWT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AAEAAAoAAAAAAEBBCXAAAAAJcQAAAAkDBgAAAQAJBAYAAAGUAwAAcgAAAAoKAQAAAAAAAAD/////AAEBmAMAAKcAAAAJBQYAAAEAAAABAAAAAZkDAABvAAAACQYGAAAKB54DAAAAAQAAAAQAAAAEH0FwbG9yaXMuQmFzZS5PYmplY3RzLkRhdGFPYmplY3QDAAAACYkBAAANAwefAwAAAAEAAAAEAAAABBxBcGxvcmlzLkJhc2UuVUkuVmlzdWFsT2JqZWN0AwAAAAmLAQAADQMBoAMAAGsCAAAJBwYAAAUAAAAJAAAAAaEDAAAkAAAACQgGAAAFAAAABQAAAAGiAwAAJQAAAAnQAAAAAAAAAAAAAAAFqQ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EBAAAKAAAAAABAQQlwAAAACXEAAAAJCQYAAAEACQoGAAABqgMAAHIAAAAKCgEAAAAAAAAA/////wABAa4DAACnAAAACQsGAAABAAAAAQAAAAGvAwAAbwAAAAkMBgAACge0AwAAAAEAAAAEAAAABB9BcGxvcmlzLkJhc2UuT2JqZWN0cy5EYXRhT2JqZWN0AwAAAAmRAQAADQMHtQMAAAABAAAABAAAAAQcQXBsb3Jpcy5CYXNlLlVJLlZpc3VhbE9iamVjdAMAAAAJkwEAAA0DAbYDAABrAgAACQ0GAAAFAAAACQAAAAG3AwAAJAAAAAkOBgAABQAAAAUAAAABuAMAACUAAAAJ0AAAAAAAAAAAAAAABb8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CAQAACgAAAAAAQEEJcAAAAAlxAAAACQ8GAAABAAkQBgAAAcADAAByAAAACgoBAAAAAAAAAP////8AAQHEAwAApwAAAAkRBgAAAQAAAAEAAAABxQMAAG8AAAAJEgYAAAoHygMAAAABAAAABAAAAAQfQXBsb3Jpcy5CYXNlLk9iamVjdHMuRGF0YU9iamVjdAMAAAAJmQEAAA0DB8sDAAAAAQAAAAQAAAAEHEFwbG9yaXMuQmFzZS5VSS5WaXN1YWxPYmplY3QDAAAACZsBAAANAwHMAwAAawIAAAkTBgAABQAAAAkAAAABzQMAACQAAAAJFAYAAAUAAAAFAAAAAc4DAAAlAAAACdAAAAAAAAAAAAAAAAXV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AwEAAAoAAAAAAEBBCXAAAAAJcQAAAAkVBgAAAQAJFgYAAAHWAwAAcgAAAAoKAQAAAAAAAAD/////AAEB2gMAAKcAAAAJFwYAAAEAAAABAAAAAdsDAABvAAAACRgGAAAKB+ADAAAAAQAAAAQAAAAEH0FwbG9yaXMuQmFzZS5PYmplY3RzLkRhdGFPYmplY3QDAAAACaEBAAANAwfhAwAAAAEAAAAEAAAABBxBcGxvcmlzLkJhc2UuVUkuVmlzdWFsT2JqZWN0AwAAAAmjAQAADQMB4gMAAGsCAAAJGQYAAAUAAAAJAAAAAeMDAAAkAAAACRoGAAAFAAAABQAAAAHkAwAAJQAAAAnQAAAAAAAAAAAAAAAF6w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QBAAAKAAAAAABAQQlwAAAACXEAAAAJGwYAAAEACRwGAAAB7AMAAHIAAAAKCgEAAAAAAAAA/////wABAfADAACnAAAACR0GAAABAAAAAQAAAAHxAwAAbwAAAAkeBgAACgf2AwAAAAEAAAAEAAAABB9BcGxvcmlzLkJhc2UuT2JqZWN0cy5EYXRhT2JqZWN0AwAAAAmpAQAADQMH9wMAAAABAAAABAAAAAQcQXBsb3Jpcy5CYXNlLlVJLlZpc3VhbE9iamVjdAMAAAAJqwEAAA0DAfgDAABrAgAACR8GAAAFAAAACQAAAAH5AwAAJAAAAAkgBgAABQAAAAUAAAAB+gMAACUAAAAJ0AAAAAAAAAAAAAAABQE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FAQAACgAAAAAAQEEJcAAAAAlxAAAACSEGAAABAAkiBgAAAQIEAAByAAAACgoBAAAAAAAAAP////8AAQEGBAAApwAAAAkjBgAAAQAAAAEAAAABBwQAAG8AAAAJJAYAAAoHDAQAAAABAAAABAAAAAQfQXBsb3Jpcy5CYXNlLk9iamVjdHMuRGF0YU9iamVjdAMAAAAJsQEAAA0DBw0EAAAAAQAAAAQAAAAEHEFwbG9yaXMuQmFzZS5VSS5WaXN1YWxPYmplY3QDAAAACbMBAAANAwEOBAAAawIAAAklBgAABQAAAAkAAAABDwQAACQAAAAJJgYAAAUAAAAFAAAAARAEAAAlAAAACdAAAAAAAAAAAAAAAAUXB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BgEAAAoAAAAAAEBBCXAAAAAJcQAAAAknBgAAAQAJKAYAAAEYBAAAcgAAAAoKAQAAAAAAAAD/////AAEBHAQAAKcAAAAJKQYAAAEAAAABAAAAAR0EAABvAAAACSoGAAAKByIEAAAAAQAAAAQAAAAEH0FwbG9yaXMuQmFzZS5PYmplY3RzLkRhdGFPYmplY3QDAAAACbkBAAANAwcjBAAAAAEAAAAEAAAABBxBcGxvcmlzLkJhc2UuVUkuVmlzdWFsT2JqZWN0AwAAAAm7AQAADQMBJAQAAGsCAAAJKwYAAAUAAAAJAAAAASUEAAAkAAAACSwGAAAFAAAABQAAAAEmBAAAJQAAAAktBgAAAAAAAAAAAAAFLQQ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cBAAAKAAAAAABAQQlwAAAACXEAAAAJLgYAAAEACS8GAAABLgQAAHIAAAAKCgEAAAAAAAAA/////wABATIEAACnAAAACTAGAAABAAAAAQAAAAEzBAAAbwAAAAkxBgAACgc4BAAAAAEAAAAEAAAABB9BcGxvcmlzLkJhc2UuT2JqZWN0cy5EYXRhT2JqZWN0AwAAAAnBAQAADQMHOQQAAAABAAAABAAAAAQcQXBsb3Jpcy5CYXNlLlVJLlZpc3VhbE9iamVjdAMAAAAJwwEAAA0DAToEAABrAgAACTIGAAAFAAAACQAAAAE7BAAAJAAAAAkzBgAABQAAAAUAAAABPAQAACUAAAAJLQYAAAAAAAAAAAAABUM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IAQAACgAAAAAAQEEJcAAAAAlxAAAACTQGAAABAAk1BgAAAUQEAAByAAAACgoBAAAAAAAAAP////8AAQFIBAAApwAAAAk2BgAAAQAAAAEAAAABSQQAAG8AAAAJNwYAAAoHTgQAAAABAAAABAAAAAQfQXBsb3Jpcy5CYXNlLk9iamVjdHMuRGF0YU9iamVjdAMAAAAJyQEAAA0DB08EAAAAAQAAAAQAAAAEHEFwbG9yaXMuQmFzZS5VSS5WaXN1YWxPYmplY3QDAAAACcsBAAANAwFQBAAAawIAAAk4BgAABQAAAAkAAAABUQQAACQAAAAJOQYAAAUAAAAFAAAAAVIEAAAlAAAACS0GAAAAAAAAAAAAAAVZB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CQEAAAoAAAAAAEBBCXAAAAAJcQAAAAk6BgAAAQAJOwYAAAFaBAAAcgAAAAoKAQAAAAAAAAD/////AAEBXgQAAKcAAAAJPAYAAAEAAAABAAAAAV8EAABvAAAACT0GAAAKB2QEAAAAAQAAAAQAAAAEH0FwbG9yaXMuQmFzZS5PYmplY3RzLkRhdGFPYmplY3QDAAAACdEBAAANAwdlBAAAAAEAAAAEAAAABBxBcGxvcmlzLkJhc2UuVUkuVmlzdWFsT2JqZWN0AwAAAAnTAQAADQMBZgQAAGsCAAAJPgYAAAUAAAAJAAAAAWcEAAAkAAAACT8GAAAFAAAABQAAAAFoBAAAJQAAAAktBgAAAAAAAAAAAAAFbwQ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oBAAAKAAAAAABAQQlwAAAACXEAAAAJQAYAAAEACUEGAAABcAQAAHIAAAAKCgEAAAAAAAAA/////wABAXQEAACnAAAACUIGAAABAAAAAQAAAAF1BAAAbwAAAAlDBgAACgd6BAAAAAEAAAAEAAAABB9BcGxvcmlzLkJhc2UuT2JqZWN0cy5EYXRhT2JqZWN0AwAAAAnZAQAADQMHewQAAAABAAAABAAAAAQcQXBsb3Jpcy5CYXNlLlVJLlZpc3VhbE9iamVjdAMAAAAJ2wEAAA0DAXwEAABrAgAACUQGAAAFAAAACQAAAAF9BAAAJAAAAAlFBgAABQAAAAUAAAABfgQAACUAAAAJLQYAAAAAAAAAAAAABYU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LAQAACgAAAAAAQEEJcAAAAAlxAAAACUYGAAABAAlHBgAAAYYEAAByAAAACgoBAAAAAAAAAP////8AAQGKBAAApwAAAAlIBgAAAQAAAAEAAAABiwQAAG8AAAAJSQYAAAoHkAQAAAABAAAABAAAAAQfQXBsb3Jpcy5CYXNlLk9iamVjdHMuRGF0YU9iamVjdAMAAAAJ4QEAAA0DB5EEAAAAAQAAAAQAAAAEHEFwbG9yaXMuQmFzZS5VSS5WaXN1YWxPYmplY3QDAAAACeMBAAANAwGSBAAAawIAAAlKBgAABQAAAAkAAAABkwQAACQAAAAJSwYAAAUAAAAFAAAAAZQEAAAlAAAACS0GAAAAAAAAAAAAAAWbB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DAEAAAoAAAAAAEBBCXAAAAAJcQAAAAlMBgAAAQAJTQYAAAGcBAAAcgAAAAoKAQAAAAAAAAD/////AAEBoAQAAKcAAAAJTgYAAAEAAAABAAAAAaEEAABvAAAACU8GAAAKB6YEAAAAAQAAAAQAAAAEH0FwbG9yaXMuQmFzZS5PYmplY3RzLkRhdGFPYmplY3QDAAAACekBAAANAwenBAAAAAEAAAAEAAAABBxBcGxvcmlzLkJhc2UuVUkuVmlzdWFsT2JqZWN0AwAAAAnrAQAADQMBqAQAAGsCAAAJUAYAAAUAAAAJAAAAAakEAAAkAAAACVEGAAAFAAAABQAAAAGqBAAAJQAAAAktBgAAAAAAAAAAAAAFsQQ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0BAAAKAAAAAABAQQlwAAAACXEAAAAJUgYAAAEACVMGAAABsgQAAHIAAAAKCgEAAAAAAAAA/////wABAbYEAACnAAAACVQGAAABAAAAAQAAAAG3BAAAbwAAAAlVBgAACge8BAAAAAEAAAAEAAAABB9BcGxvcmlzLkJhc2UuT2JqZWN0cy5EYXRhT2JqZWN0AwAAAAnxAQAADQMHvQQAAAABAAAABAAAAAQcQXBsb3Jpcy5CYXNlLlVJLlZpc3VhbE9iamVjdAMAAAAJ8wEAAA0DAb4EAABrAgAACVYGAAAFAAAACQAAAAG/BAAAJAAAAAlXBgAABQAAAAUAAAABwAQAACUAAAAJLQYAAAAAAAAAAAAABcc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OAQAACgAAAAAAQEEJcAAAAAlxAAAACVgGAAABAAlZBgAAAcgEAAByAAAACgoBAAAAAAAAAP////8AAQHMBAAApwAAAAlaBgAAAQAAAAEAAAABzQQAAG8AAAAJWwYAAAoH0gQAAAABAAAABAAAAAQfQXBsb3Jpcy5CYXNlLk9iamVjdHMuRGF0YU9iamVjdAMAAAAJ+QEAAA0DB9MEAAAAAQAAAAQAAAAEHEFwbG9yaXMuQmFzZS5VSS5WaXN1YWxPYmplY3QDAAAACfsBAAANAwHUBAAAawIAAAlcBgAABQAAAAkAAAAB1QQAACQAAAAJXQYAAAUAAAAFAAAAAdYEAAAlAAAACS0GAAAAAAAAAAAAAAXdB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DwEAAAoAAAAAAEBBCXAAAAAJcQAAAAleBgAAAQAJXwYAAAHeBAAAcgAAAAoKAQAAAAAAAAD/////AAEB4gQAAKcAAAAJYAYAAAEAAAABAAAAAeMEAABvAAAACWEGAAAKB+gEAAAAAQAAAAQAAAAEH0FwbG9yaXMuQmFzZS5PYmplY3RzLkRhdGFPYmplY3QDAAAACQECAAANAwfpBAAAAAEAAAAEAAAABBxBcGxvcmlzLkJhc2UuVUkuVmlzdWFsT2JqZWN0AwAAAAkDAgAADQMH6gQAAAABAAAABAAAAAQcQXBsb3Jpcy5CYXNlLlVJLlZpc3VhbE9iamVjdAMAAAANBAfrBAAAAAEAAAAEAAAABBxBcGxvcmlzLkJhc2UuVUkuVmlzdWFsT2JqZWN0AwAAAA0EAewEAAAzAAAAAWIGAAAgAAAAAQASQwz+SkEBYwYAAJoAAAABAAAAAAAAAAAAAAAACWQGAAAAAAAACWUGAAAAAAFmBgAAowAAAAAAAAABZwYAAGwAAAAAAAAAAAAAAAFoBgAAFAAAAAAAAAAAAAAAAAAAAAAAAAAAAAAABmkGAAADMS4wCglqBgAACXoCAAA0AwAA/////wABCglrBgAAAQAKAAHvBAAAIgAAAAoKAAAAAAAoQQlwAAAACXEAAAAJbAYAAAAACW0GAAAB8AQAAHIAAAAKCgAAAAD///8ADgAAAAABAfQEAACnAAAACW4GAAABAAAAAQAAAAH1BAAAbwAAAAlvBgAACgf2BAAAAAEAAAAAAAAABB9BcGxvcmlzLkJhc2UuT2JqZWN0cy5EYXRhT2JqZWN0AwAAAAf3BAAAAAEAAAAEAAAABBxBcGxvcmlzLkJhc2UuVUkuVmlzdWFsT2JqZWN0AwAAAAkYAgAACewEAAAKCgH4BAAAMwAAAAFwBgAAIAAAANJFr0MM/kpBAXEGAACaAAAAAQAAAAAAAAAAAAAAAAlyBgAAAAAAAAlzBgAAAAABdAYAAKMAAAAAAAAAAXUGAABsAAAAAAAAAAAAAAABdgYAABQAAAAAAAAAAAAAAAAAAAAAAAAAAAAAAAZ3BgAAAzEuMAoJeAYAAAl6AgAANAMAAP////8AAQoJeQYAAAEACgAB+wQAACIAAAAKCgAAAAAAKEEJcAAAAAlxAAAACXoGAAAAAAl7BgAAAfwEAAByAAAACgoAAAAA////AA4AAAAAAQEABQAApwAAAAl8BgAAAQAAAAEAAAABAQUAAG8AAAAJfQYAAAoHAgUAAAABAAAABAAAAAQcQXBsb3Jpcy5CYXNlLlVJLlZpc3VhbE9iamVjdAMAAAAJHwIAAAn4BAAACgoBAwUAADMAAAABfgYAACAAAADSxQpEDP5KQQF/BgAAmgAAAAEAAAAAAAAAAAAAAAAJgAYAAAAAAAAJgQYAAAAAAYIGAACjAAAAAAAAAAGDBgAAbAAAAAAAkEEAAGBBAYQGAAAUAAAAAAAAAAAAAAAAAAAAAAAAAF662T8GhQYAAAMxLjAKCYYGAAAJegIAADQDAAD/////AAEKCYcGAAABAAoAAQYFAAAiAAAACgoAAAAAAChBCXAAAAAJcQAAAAmIBgAAAAAJiQYAAAEHBQAAcgAAAAoKAAAAAP///wAOAAAAAAEBCwUAAKcAAAAJigYAAAEAAAABAAAAAQwFAABvAAAACYsGAAAKBw0FAAAAAQAAAAQAAAAEHEFwbG9yaXMuQmFzZS5VSS5WaXN1YWxPYmplY3QDAAAACSYCAAAJAwUAAAoKARAFAABqAAAACgoAAABAPwmMBgAACY0GAAABAAAA/v///wAAAAABAAAAAAAAAAAAAAABAAAAAAAAAAAAAAERBQAAbwAAAAmOBgAACgEUBQAAIgAAAAoKAAAAAAAoQQlwAAAACXEAAAAJjwYAAAAACZAGAAABFQUAAHIAAAAKCgAAAAD///8ADgAAAAABARoFAACnAAAACZEGAAABAAAAAQAAAAEbBQAAbwAAAAmSBgAACgccBQAAAAEAAAAEAAAABBxBcGxvcmlzLkJhc2UuVUkuVmlzdWFsT2JqZWN0AwAAAAkpAgAACSoCAAAKCgEfBQAAagAAAAoKAAAAQD8JkwYAAAmUBgAAAQAAAP7///8AAAAAAQAAAAAAAAAAAAAAAQAAAAAAAAAAAAABIAUAAG8AAAAJlQYAAAoBIwUAACIAAAAKCgAAAAAAKEEJcAAAAAlxAAAACZYGAAAAAAmXBgAAASQFAAByAAAACgoAAAAA////AA4AAAAAAQEpBQAApwAAAAmYBgAAAQAAAAMAAAABKgUAAG8AAAAJmQYAAAoHKwUAAAABAAAABAAAAAQcQXBsb3Jpcy5CYXNlLlVJLlZpc3VhbE9iamVjdAMAAAAJLwIAAAkwAgAACgoBLgUAAGoAAAAKCgAAAEA/CZoGAAAJmwYAAAEAAAD+////AAAAAAEAAAAAAAAAAAAAAAEAAAAAAAAAAAAAAS8FAABvAAAACZwGAAAKATIFAAAiAAAACgoAAAAAAChBCXAAAAAJcQAAAAmdBgAAAAAJngYAAAEzBQAAcgAAAAoKAAAAAP///wAOAAAAAAEBOAUAAKcAAAAJnwYAAAEAAAADAAAAATkFAABvAAAACaAGAAAKBzoFAAAAAQAAAAQAAAAEHEFwbG9yaXMuQmFzZS5VSS5WaXN1YWxPYmplY3QDAAAACTUCAAAJNgIAAAoKAT0FAABqAAAACgoAAABAPwmhBgAACaIGAAABAAAA/v///wAAAAABAAAAAAAAAAAAAAABAAAAAAAAAAAAAAE+BQAAbwAAAAmjBgAACgFBBQAAIgAAAAoKAAAAAAAoQQlwAAAACXEAAAAJpAYAAAAACaUGAAABQgUAAHIAAAAKCgAAAAD///8ADgAAAAABAUcFAACnAAAACaYGAAABAAAAAwAAAAFIBQAAbwAAAAmnBgAACgdJBQAAAAEAAAAEAAAABBxBcGxvcmlzLkJhc2UuVUkuVmlzdWFsT2JqZWN0AwAAAAk7AgAACTwCAAAKCgFMBQAAagAAAAoKAAAAQD8JqAYAAAmpBgAAAQAAAP7///8AAAAAAQAAAAAAAAAAAAAAAQAAAAAAAAAAAAABTQUAAG8AAAAJqgYAAAoBUAUAACIAAAAKCgAAAAAAKEEJcAAAAAlxAAAACasGAAAAAAmsBgAAAVEFAAByAAAACgoAAAAA////AA4AAAAAAQFWBQAApwAAAAmtBgAAAQAAAAMAAAABVwUAAG8AAAAJrgYAAAoHWAUAAAABAAAABAAAAAQcQXBsb3Jpcy5CYXNlLlVJLlZpc3VhbE9iamVjdAMAAAAJQQIAAAlCAgAACgoBWwUAAGoAAAAKCgAAAEA/Ca8GAAAJsAYAAAEAAAD+////AAAAAAEAAAAAAAAAAAAAAAEAAAAAAAAAAAAAAVwFAABvAAAACbEGAAAKAV8FAAAiAAAACgoAAAAAAChBCXAAAAAJcQAAAAmyBgAAAAAJswYAAAFgBQAAcgAAAAoKAAAAAP///wAOAAAAAAEBZQUAAKcAAAAJtAYAAAEAAAADAAAAAWYFAABvAAAACbUGAAAKB2cFAAAAAQAAAAQAAAAEHEFwbG9yaXMuQmFzZS5VSS5WaXN1YWxPYmplY3QDAAAACUcCAAAJSAIAAAoKAWoFAABqAAAACgoAAABAPwm2BgAACbcGAAABAAAA/v///wAAAAABAAAAAAAAAAAAAAABAAAAAAAAAAAAAAFrBQAAbwAAAAm4BgAACgFuBQAAIgAAAAoKAAAAAAAoQQlwAAAACXEAAAAJuQYAAAAACboGAAABbwUAAHIAAAAKCgAAAAD///8ADgAAAAABAXQFAACnAAAACbsGAAABAAAAAwAAAAF1BQAAbwAAAAm8BgAACgd2BQAAAAEAAAAEAAAABBxBcGxvcmlzLkJhc2UuVUkuVmlzdWFsT2JqZWN0AwAAAAlNAgAACU4CAAAKCgF5BQAAagAAAAoKAAAAQD8JvQYAAAm+BgAAAQAAAP7///8AAAAAAQAAAAAAAAAAAAAAAQAAAAAAAAAAAAABegUAAG8AAAAJvwYAAAoBfQUAACIAAAAKCgAAAAAAKEEJcAAAAAlxAAAACcAGAAAAAAnBBgAAAX4FAAByAAAACgoAAAAA////AA4AAAAAAQGDBQAApwAAAAnCBgAAAQAAAAMAAAABhAUAAG8AAAAJwwYAAAoHhQUAAAABAAAABAAAAAQcQXBsb3Jpcy5CYXNlLlVJLlZpc3VhbE9iamVjdAMAAAAJUwIAAAlUAgAACgoBiAUAAGoAAAAKCgAAAEA/CcQGAAAJxQYAAAEAAAD+////AAAAAAEAAAAAAAAAAAAAAAEAAAAAAAAAAAAAAYkFAABvAAAACcYGAAAKAYwFAAAiAAAACgoAAAAAAChBCXAAAAAJcQAAAAnHBgAAAAAJyAYAAAGNBQAAcgAAAAoKAAAAAP///wAOAAAAAAEBkgUAAKcAAAAJyQYAAAEAAAADAAAAAZMFAABvAAAACcoGAAAKB5QFAAAAAQAAAAQAAAAEHEFwbG9yaXMuQmFzZS5VSS5WaXN1YWxPYmplY3QDAAAACVkCAAAJWgIAAAoKAZcFAABqAAAACgoAAABAPwnLBgAACcwGAAABAAAA/v///wAAAAABAAAAAAAAAAAAAAABAAAAAAAAAAAAAAGYBQAAbwAAAAnNBgAACgGbBQAAIgAAAAoKAAAAAAAoQQlwAAAACXEAAAAJzgYAAAAACc8GAAABnAUAAHIAAAAKCgAAAAD///8ADgAAAAABAaEFAACnAAAACdAGAAABAAAAAwAAAAGiBQAAbwAAAAnRBgAACgejBQAAAAEAAAAEAAAABBxBcGxvcmlzLkJhc2UuVUkuVmlzdWFsT2JqZWN0AwAAAAlfAgAACWACAAAKCgGmBQAAagAAAAoKAAAAQD8J0gYAAAnTBgAAAQAAAP7///8AAAAAAQAAAAAAAAAAAAAAAQAAAAAAAAAAAAABpwUAAG8AAAAJ1AYAAAoBqgUAACIAAAAKCgAAAAAAKEEJcAAAAAlxAAAACdUGAAAAAAnWBgAAAasFAAByAAAACgoAAAAA////AA4AAAAAAQGwBQAApwAAAAnXBgAAAQAAAAMAAAABsQUAAG8AAAAJ2AYAAAoHsgUAAAABAAAABAAAAAQcQXBsb3Jpcy5CYXNlLlVJLlZpc3VhbE9iamVjdAMAAAAJZQIAAAlmAgAACgoHswUAAAABAAAACAAAAAQeQXBsb3Jpcy5DaGFydC5DaGFydERhdGFFbGVtZW50AgAAAAnZBgAACdoGAAAJ2wYAAAncBgAACd0GAAANAwe0BQAAAAEAAAAIAAAABB9BcGxvcmlzLkJhc2UuT2JqZWN0cy5EYXRhT2JqZWN0AwAAAAnZBgAACdoGAAAJ3QYAAAncBgAACdsGAAANAwG1BQAAcgAAAAoKAAAAAAAAAAANAAAAAAEBtgUAAHIAAAAKCgEAAAAAAAAA/////wABB7cFAAAAAQAAAAQAAAAEHUFwbG9yaXMuQmFzZS5PYmplY3RzLlZhcmlhYmxlAwAAAAXeBgAAHUFwbG9yaXMuQmFzZS5PYmplY3RzLlZhcmlhYmxlAgAAAAZOdW1iZXIIUG9zaXRpb24AAAgIAwAAAAEAAAAAAAAAAd8GAADeBgAAAAAAAAAAAAAB4AYAAN4GAAAAAAAAAAAAAAHhBgAA3gYAAAAAAAAAAAAAD7gFAAABAAAACAAAAAAHuQUAAAABAAAACAAAAAQeQXBsb3Jpcy5DaGFydC5DaGFydERhdGFFbGVtZW50AgAAAAniBgAACeMGAAAJ5AYAAAnlBgAACeYGAAANAwe6BQAAAAEAAAAIAAAABB9BcGxvcmlzLkJhc2UuT2JqZWN0cy5EYXRhT2JqZWN0AwAAAAniBgAACeMGAAAJ5gYAAAnlBgAACeQGAAANAwG7BQAAcgAAAAoKAAAAAAAAAAANAAAAAAEBvAUAAHIAAAAKCgEAAAAAAAAA/////wABB70FAAAAAQAAAAQAAAAEHUFwbG9yaXMuQmFzZS5PYmplY3RzLlZhcmlhYmxlAwAAAAHnBgAA3gYAAAEAAAAAAAAAAegGAADeBgAAAAAAAAAAAAAB6QYAAN4GAAAAAAAAAAAAAAHqBgAA3gYAAAAAAAAAAAAAD74FAAABAAAACAAAAAAHvwUAAAABAAAACAAAAAQeQXBsb3Jpcy5DaGFydC5DaGFydERhdGFFbGVtZW50AgAAAAnrBgAACewGAAAJ7QYAAAnuBgAACe8GAAANAwfABQAAAAEAAAAIAAAABB9BcGxvcmlzLkJhc2UuT2JqZWN0cy5EYXRhT2JqZWN0AwAAAAnrBgAACewGAAAJ7wYAAAnuBgAACe0GAAANAwHBBQAAcgAAAAoKAAAAAAAAAAANAAAAAAEBwgUAAHIAAAAKCgEAAAAAAAAA/////wABB8MFAAAAAQAAAAQAAAAEHUFwbG9yaXMuQmFzZS5PYmplY3RzLlZhcmlhYmxlAwAAAAHwBgAA3gYAAAEAAAAAAAAAAfEGAADeBgAAAAAAAAAAAAAB8gYAAN4GAAAAAAAAAAAAAAHzBgAA3gYAAAAAAAAAAAAAD8QFAAABAAAACAAAAAAHxQUAAAABAAAACAAAAAQeQXBsb3Jpcy5DaGFydC5DaGFydERhdGFFbGVtZW50AgAAAAn0BgAACfUGAAAJ9gYAAAn3BgAACfgGAAANAwfGBQAAAAEAAAAIAAAABB9BcGxvcmlzLkJhc2UuT2JqZWN0cy5EYXRhT2JqZWN0AwAAAAn0BgAACfUGAAAJ+AYAAAn3BgAACfYGAAANAwHHBQAAcgAAAAoKAAAAAAAAAAANAAAAAAEByAUAAHIAAAAKCgEAAAAAAAAA/////wABB8kFAAAAAQAAAAQAAAAEHUFwbG9yaXMuQmFzZS5PYmplY3RzLlZhcmlhYmxlAwAAAAH5BgAA3gYAAAEAAAAAAAAAAfoGAADeBgAAAAAAAAAAAAAB+wYAAN4GAAAAAAAAAAAAAAH8BgAA3gYAAAAAAAAAAAAAD8oFAAABAAAACAAAAAAHywUAAAABAAAACAAAAAQeQXBsb3Jpcy5DaGFydC5DaGFydERhdGFFbGVtZW50AgAAAAn9BgAACf4GAAAJ/wYAAAkABwAACQEHAAANAwfMBQAAAAEAAAAIAAAABB9BcGxvcmlzLkJhc2UuT2JqZWN0cy5EYXRhT2JqZWN0AwAAAAn9BgAACf4GAAAJAQcAAAkABwAACf8GAAANAwHNBQAAcgAAAAoKAAAAAAAAAAANAAAAAAEBzgUAAHIAAAAKCgEAAAAAAAAA/////wABB88FAAAAAQAAAAQAAAAEHUFwbG9yaXMuQmFzZS5PYmplY3RzLlZhcmlhYmxlAwAAAAECBwAA3gYAAAEAAAAAAAAAAQMHAADeBgAAAAAAAAAAAAABBAcAAN4GAAAAAAAAAAAAAAEFBwAA3gYAAAAAAAAAAAAAD9AFAAABAAAACAAAAAAH0QUAAAABAAAACAAAAAQeQXBsb3Jpcy5DaGFydC5DaGFydERhdGFFbGVtZW50AgAAAAkGBwAACQcHAAAJCAcAAAkJBwAACQoHAAANAwfSBQAAAAEAAAAIAAAABB9BcGxvcmlzLkJhc2UuT2JqZWN0cy5EYXRhT2JqZWN0AwAAAAkGBwAACQcHAAAJCgcAAAkJBwAACQgHAAANAwHTBQAAcgAAAAoKAAAAAAAAAAANAAAAAAEB1AUAAHIAAAAKCgEAAAAAAAAA/////wABB9UFAAAAAQAAAAQAAAAEHUFwbG9yaXMuQmFzZS5PYmplY3RzLlZhcmlhYmxlAwAAAAELBwAA3gYAAAEAAAAAAAAAAQwHAADeBgAAAAAAAAAAAAABDQcAAN4GAAAAAAAAAAAAAAEOBwAA3gYAAAAAAAAAAAAAD9YFAAABAAAACAAAAAAH1wUAAAABAAAACAAAAAQeQXBsb3Jpcy5DaGFydC5DaGFydERhdGFFbGVtZW50AgAAAAkPBwAACRAHAAAJEQcAAAkSBwAACRMHAAANAwfYBQAAAAEAAAAIAAAABB9BcGxvcmlzLkJhc2UuT2JqZWN0cy5EYXRhT2JqZWN0AwAAAAkPBwAACRAHAAAJEwcAAAkSBwAACREHAAANAwHZBQAAcgAAAAoKAAAAAAAAAAANAAAAAAEB2gUAAHIAAAAKCgEAAAAAAAAA/////wABB9sFAAAAAQAAAAQAAAAEHUFwbG9yaXMuQmFzZS5PYmplY3RzLlZhcmlhYmxlAwAAAAEUBwAA3gYAAAEAAAAAAAAAARUHAADeBgAAAAAAAAAAAAABFgcAAN4GAAAAAAAAAAAAAAEXBwAA3gYAAAAAAAAAAAAAD9wFAAABAAAACAAAAAAH3QUAAAABAAAACAAAAAQeQXBsb3Jpcy5DaGFydC5DaGFydERhdGFFbGVtZW50AgAAAAkYBwAACRkHAAAJGgcAAAkbBwAACRwHAAANAwfeBQAAAAEAAAAIAAAABB9BcGxvcmlzLkJhc2UuT2JqZWN0cy5EYXRhT2JqZWN0AwAAAAkYBwAACRkHAAAJHAcAAAkbBwAACRoHAAANAwHfBQAAcgAAAAoKAAAAAAAAAAANAAAAAAEB4AUAAHIAAAAKCgEAAAAAAAAA/////wABB+EFAAAAAQAAAAQAAAAEHUFwbG9yaXMuQmFzZS5PYmplY3RzLlZhcmlhYmxlAwAAAAEdBwAA3gYAAAEAAAAAAAAAAR4HAADeBgAAAAAAAAAAAAABHwcAAN4GAAAAAAAAAAAAAAEgBwAA3gYAAAAAAAAAAAAAD+IFAAABAAAACAAAAAAH4wUAAAABAAAACAAAAAQeQXBsb3Jpcy5DaGFydC5DaGFydERhdGFFbGVtZW50AgAAAAkhBwAACSIHAAAJIwcAAAkkBwAACSUHAAANAwfkBQAAAAEAAAAIAAAABB9BcGxvcmlzLkJhc2UuT2JqZWN0cy5EYXRhT2JqZWN0AwAAAAkhBwAACSIHAAAJJQcAAAkkBwAACSMHAAANAwHlBQAAcgAAAAoKAAAAAAAAAAANAAAAAAEB5gUAAHIAAAAKCgEAAAAAAAAA/////wABB+cFAAAAAQAAAAQAAAAEHUFwbG9yaXMuQmFzZS5PYmplY3RzLlZhcmlhYmxlAwAAAAEmBwAA3gYAAAEAAAAAAAAAAScHAADeBgAAAAAAAAAAAAABKAcAAN4GAAAAAAAAAAAAAAEpBwAA3gYAAAAAAAAAAAAAD+gFAAABAAAACAAAAAAH6QUAAAABAAAACAAAAAQeQXBsb3Jpcy5DaGFydC5DaGFydERhdGFFbGVtZW50AgAAAAkqBwAACSsHAAAJLAcAAAktBwAACS4HAAANAwfqBQAAAAEAAAAIAAAABB9BcGxvcmlzLkJhc2UuT2JqZWN0cy5EYXRhT2JqZWN0AwAAAAkqBwAACSsHAAAJLgcAAAktBwAACSwHAAANAwHrBQAAcgAAAAoKAAAAAAAAAAANAAAAAAEB7AUAAHIAAAAKCgEAAAAAAAAA/////wABB+0FAAAAAQAAAAQAAAAEHUFwbG9yaXMuQmFzZS5PYmplY3RzLlZhcmlhYmxlAwAAAAEvBwAA3gYAAAEAAAAAAAAAATAHAADeBgAAAAAAAAAAAAABMQcAAN4GAAAAAAAAAAAAAAEyBwAA3gYAAAAAAAAAAAAAD+4FAAABAAAACAAAAAAH7wUAAAABAAAACAAAAAQeQXBsb3Jpcy5DaGFydC5DaGFydERhdGFFbGVtZW50AgAAAAkzBwAACTQHAAAJNQcAAAk2BwAACTcHAAANAwfwBQAAAAEAAAAIAAAABB9BcGxvcmlzLkJhc2UuT2JqZWN0cy5EYXRhT2JqZWN0AwAAAAkzBwAACTQHAAAJNwcAAAk2BwAACTUHAAANAwHxBQAAcgAAAAoKAAAAAAAAAAANAAAAAAEB8gUAAHIAAAAKCgEAAAAAAAAA/////wABB/MFAAAAAQAAAAQAAAAEHUFwbG9yaXMuQmFzZS5PYmplY3RzLlZhcmlhYmxlAwAAAAE4BwAA3gYAAAEAAAAAAAAAATkHAADeBgAAAAAAAAAAAAABOgcAAN4GAAAAAAAAAAAAAAE7BwAA3gYAAAAAAAAAAAAAD/QFAAABAAAACAAAAAAH9QUAAAABAAAACAAAAAQeQXBsb3Jpcy5DaGFydC5DaGFydERhdGFFbGVtZW50AgAAAAk8BwAACT0HAAAJPgcAAAk/BwAACUAHAAANAwf2BQAAAAEAAAAIAAAABB9BcGxvcmlzLkJhc2UuT2JqZWN0cy5EYXRhT2JqZWN0AwAAAAk8BwAACT0HAAAJQAcAAAk/BwAACT4HAAANAwH3BQAAcgAAAAoKAAAAAAAAAAANAAAAAAEB+AUAAHIAAAAKCgEAAAAAAAAA/////wABB/kFAAAAAQAAAAQAAAAEHUFwbG9yaXMuQmFzZS5PYmplY3RzLlZhcmlhYmxlAwAAAAFBBwAA3gYAAAEAAAAAAAAAAUIHAADeBgAAAAAAAAAAAAABQwcAAN4GAAAAAAAAAAAAAAFEBwAA3gYAAAAAAAAAAAAAD/oFAAABAAAACAAAAAAH+wUAAAABAAAACAAAAAQeQXBsb3Jpcy5DaGFydC5DaGFydERhdGFFbGVtZW50AgAAAAlFBwAACUYHAAAJRwcAAAlIBwAACUkHAAANAwf8BQAAAAEAAAAIAAAABB9BcGxvcmlzLkJhc2UuT2JqZWN0cy5EYXRhT2JqZWN0AwAAAAlFBwAACUYHAAAJSQcAAAlIBwAACUcHAAANAwH9BQAAcgAAAAoKAAAAAAAAAAANAAAAAAEB/gUAAHIAAAAKCgEAAAAAAAAA/////wABB/8FAAAAAQAAAAQAAAAEHUFwbG9yaXMuQmFzZS5PYmplY3RzLlZhcmlhYmxlAwAAAAFKBwAA3gYAAAEAAAAAAAAAAUsHAADeBgAAAAAAAAAAAAABTAcAAN4GAAAAAAAAAAAAAAFNBwAA3gYAAAAAAAAAAAAADwAGAAABAAAACAAAAAAHAQYAAAABAAAACAAAAAQeQXBsb3Jpcy5DaGFydC5DaGFydERhdGFFbGVtZW50AgAAAAlOBwAACU8HAAAJUAcAAAlRBwAACVIHAAANAwcCBgAAAAEAAAAIAAAABB9BcGxvcmlzLkJhc2UuT2JqZWN0cy5EYXRhT2JqZWN0AwAAAAlOBwAACU8HAAAJUgcAAAlRBwAACVAHAAANAwEDBgAAcgAAAAoKAAAAAAAAAAANAAAAAAEBBAYAAHIAAAAKCgEAAAAAAAAA/////wABBwUGAAAAAQAAAAQAAAAEHUFwbG9yaXMuQmFzZS5PYmplY3RzLlZhcmlhYmxlAwAAAAFTBwAA3gYAAAEAAAAAAAAAAVQHAADeBgAAAAAAAAAAAAABVQcAAN4GAAAAAAAAAAAAAAFWBwAA3gYAAAAAAAAAAAAADwYGAAABAAAACAAAAAAHBwYAAAABAAAACAAAAAQeQXBsb3Jpcy5DaGFydC5DaGFydERhdGFFbGVtZW50AgAAAAlXBwAACVgHAAAJWQcAAAlaBwAACVsHAAANAwcIBgAAAAEAAAAIAAAABB9BcGxvcmlzLkJhc2UuT2JqZWN0cy5EYXRhT2JqZWN0AwAAAAlXBwAACVgHAAAJWwcAAAlaBwAACVkHAAANAwEJBgAAcgAAAAoKAAAAAAAAAAANAAAAAAEBCgYAAHIAAAAKCgEAAAAAAAAA/////wABBwsGAAAAAQAAAAQAAAAEHUFwbG9yaXMuQmFzZS5PYmplY3RzLlZhcmlhYmxlAwAAAAFcBwAA3gYAAAEAAAAAAAAAAV0HAADeBgAAAAAAAAAAAAABXgcAAN4GAAAAAAAAAAAAAAFfBwAA3gYAAAAAAAAAAAAADwwGAAABAAAACAAAAAAHDQYAAAABAAAACAAAAAQeQXBsb3Jpcy5DaGFydC5DaGFydERhdGFFbGVtZW50AgAAAAlgBwAACWEHAAAJYgcAAAljBwAACWQHAAANAwcOBgAAAAEAAAAIAAAABB9BcGxvcmlzLkJhc2UuT2JqZWN0cy5EYXRhT2JqZWN0AwAAAAlgBwAACWEHAAAJZAcAAAljBwAACWIHAAANAwEPBgAAcgAAAAoKAAAAAAAAAAANAAAAAAEBEAYAAHIAAAAKCgEAAAAAAAAA/////wABBxEGAAAAAQAAAAQAAAAEHUFwbG9yaXMuQmFzZS5PYmplY3RzLlZhcmlhYmxlAwAAAAFlBwAA3gYAAAEAAAAAAAAAAWYHAADeBgAAAAAAAAAAAAABZwcAAN4GAAAAAAAAAAAAAAFoBwAA3gYAAAAAAAAAAAAADxIGAAABAAAACAAAAAAHEwYAAAABAAAACAAAAAQeQXBsb3Jpcy5DaGFydC5DaGFydERhdGFFbGVtZW50AgAAAAlpBwAACWoHAAAJawcAAAlsBwAACW0HAAANAwcUBgAAAAEAAAAIAAAABB9BcGxvcmlzLkJhc2UuT2JqZWN0cy5EYXRhT2JqZWN0AwAAAAlpBwAACWoHAAAJbQcAAAlsBwAACWsHAAANAwEVBgAAcgAAAAoKAAAAAAAAAAANAAAAAAEBFgYAAHIAAAAKCgEAAAAAAAAA/////wABBxcGAAAAAQAAAAQAAAAEHUFwbG9yaXMuQmFzZS5PYmplY3RzLlZhcmlhYmxlAwAAAAFuBwAA3gYAAAEAAAAAAAAAAW8HAADeBgAAAAAAAAAAAAABcAcAAN4GAAAAAAAAAAAAAAFxBwAA3gYAAAAAAAAAAAAADxgGAAABAAAACAAAAAAHGQYAAAABAAAACAAAAAQeQXBsb3Jpcy5DaGFydC5DaGFydERhdGFFbGVtZW50AgAAAAlyBwAACXMHAAAJdAcAAAl1BwAACXYHAAANAwcaBgAAAAEAAAAIAAAABB9BcGxvcmlzLkJhc2UuT2JqZWN0cy5EYXRhT2JqZWN0AwAAAAlyBwAACXMHAAAJdgcAAAl1BwAACXQHAAANAwEbBgAAcgAAAAoKAAAAAAAAAAANAAAAAAEBHAYAAHIAAAAKCgEAAAAAAAAA/////wABBx0GAAAAAQAAAAQAAAAEHUFwbG9yaXMuQmFzZS5PYmplY3RzLlZhcmlhYmxlAwAAAAF3BwAA3gYAAAEAAAAAAAAAAXgHAADeBgAAAAAAAAAAAAABeQcAAN4GAAAAAAAAAAAAAAF6BwAA3gYAAAAAAAAAAAAADx4GAAABAAAACAAAAAAHHwYAAAABAAAACAAAAAQeQXBsb3Jpcy5DaGFydC5DaGFydERhdGFFbGVtZW50AgAAAAl7BwAACXwHAAAJfQcAAAl+BwAACX8HAAANAwcgBgAAAAEAAAAIAAAABB9BcGxvcmlzLkJhc2UuT2JqZWN0cy5EYXRhT2JqZWN0AwAAAAl7BwAACXwHAAAJfwcAAAl+BwAACX0HAAANAwEhBgAAcgAAAAoKAAAAAAAAAAANAAAAAAEBIgYAAHIAAAAKCgEAAAAAAAAA/////wABByMGAAAAAQAAAAQAAAAEHUFwbG9yaXMuQmFzZS5PYmplY3RzLlZhcmlhYmxlAwAAAAGABwAA3gYAAAEAAAAAAAAAAYEHAADeBgAAAAAAAAAAAAABggcAAN4GAAAAAAAAAAAAAAGDBwAA3gYAAAAAAAAAAAAADyQGAAABAAAACAAAAAAHJQYAAAABAAAACAAAAAQeQXBsb3Jpcy5DaGFydC5DaGFydERhdGFFbGVtZW50AgAAAAmEBwAACYUHAAAJhgcAAAmHBwAACYgHAAANAwcmBgAAAAEAAAAIAAAABB9BcGxvcmlzLkJhc2UuT2JqZWN0cy5EYXRhT2JqZWN0AwAAAAmEBwAACYUHAAAJiAcAAAmHBwAACYYHAAANAwEnBgAAcgAAAAoKAAAAAAAAAAANAAAAAAEBKAYAAHIAAAAKCgEAAAAAAAAA/////wABBykGAAAAAQAAAAQAAAAEHUFwbG9yaXMuQmFzZS5PYmplY3RzLlZhcmlhYmxlAwAAAAGJBwAA3gYAAAEAAAAAAAAAAYoHAADeBgAAAAAAAAAAAAABiwcAAN4GAAAAAAAAAAAAAAGMBwAA3gYAAAAAAAAAAAAADyoGAAABAAAACAAAAAAHKwYAAAABAAAACAAAAAQeQXBsb3Jpcy5DaGFydC5DaGFydERhdGFFbGVtZW50AgAAAAmNBwAACY4HAAAJjwcAAAmQBwAACZEHAAANAwcsBgAAAAEAAAAIAAAABB9BcGxvcmlzLkJhc2UuT2JqZWN0cy5EYXRhT2JqZWN0AwAAAAmNBwAACY4HAAAJkQcAAAmQBwAACY8HAAANAwctBgAAAAEAAAAAAAAABBxBcGxvcmlzLkJhc2UuVUkuVmlzdWFsT2JqZWN0AwAAAAEuBgAAcgAAAAoKAAAAAAAAAAANAAAAAAEBLwYAAHIAAAAKCgEAAAAAAAAA/////wABBzAGAAAAAQAAAAQAAAAEHUFwbG9yaXMuQmFzZS5PYmplY3RzLlZhcmlhYmxlAwAAAAGSBwAA3gYAAAEAAAAAAAAAAZMHAADeBgAAAAAAAAAAAAABlAcAAN4GAAAAAAAAAAAAAAGVBwAA3gYAAAAAAAAAAAAADzEGAAABAAAACAAAAAAHMgYAAAABAAAACAAAAAQeQXBsb3Jpcy5DaGFydC5DaGFydERhdGFFbGVtZW50AgAAAAmWBwAACZcHAAAJmAcAAAmZBwAACZoHAAANAwczBgAAAAEAAAAIAAAABB9BcGxvcmlzLkJhc2UuT2JqZWN0cy5EYXRhT2JqZWN0AwAAAAmWBwAACZcHAAAJmgcAAAmZBwAACZgHAAANAwE0BgAAcgAAAAoKAAAAAAAAAAANAAAAAAEBNQYAAHIAAAAKCgEAAAAAAAAA/////wABBzYGAAAAAQAAAAQAAAAEHUFwbG9yaXMuQmFzZS5PYmplY3RzLlZhcmlhYmxlAwAAAAGbBwAA3gYAAAEAAAAAAAAAAZwHAADeBgAAAAAAAAAAAAABnQcAAN4GAAAAAAAAAAAAAAGeBwAA3gYAAAAAAAAAAAAADzcGAAABAAAACAAAAAAHOAYAAAABAAAACAAAAAQeQXBsb3Jpcy5DaGFydC5DaGFydERhdGFFbGVtZW50AgAAAAmfBwAACaAHAAAJoQcAAAmiBwAACaMHAAANAwc5BgAAAAEAAAAIAAAABB9BcGxvcmlzLkJhc2UuT2JqZWN0cy5EYXRhT2JqZWN0AwAAAAmfBwAACaAHAAAJowcAAAmiBwAACaEHAAANAwE6BgAAcgAAAAoKAAAAAAAAAAANAAAAAAEBOwYAAHIAAAAKCgEAAAAAAAAA/////wABBzwGAAAAAQAAAAQAAAAEHUFwbG9yaXMuQmFzZS5PYmplY3RzLlZhcmlhYmxlAwAAAAGkBwAA3gYAAAEAAAAAAAAAAaUHAADeBgAAAAAAAAAAAAABpgcAAN4GAAAAAAAAAAAAAAGnBwAA3gYAAAAAAAAAAAAADz0GAAABAAAACAAAAAAHPgYAAAABAAAACAAAAAQeQXBsb3Jpcy5DaGFydC5DaGFydERhdGFFbGVtZW50AgAAAAmoBwAACakHAAAJqgcAAAmrBwAACawHAAANAwc/BgAAAAEAAAAIAAAABB9BcGxvcmlzLkJhc2UuT2JqZWN0cy5EYXRhT2JqZWN0AwAAAAmoBwAACakHAAAJrAcAAAmrBwAACaoHAAANAwFABgAAcgAAAAoKAAAAAAAAAAANAAAAAAEBQQYAAHIAAAAKCgEAAAAAAAAA/////wABB0IGAAAAAQAAAAQAAAAEHUFwbG9yaXMuQmFzZS5PYmplY3RzLlZhcmlhYmxlAwAAAAGtBwAA3gYAAAEAAAAAAAAAAa4HAADeBgAAAAAAAAAAAAABrwcAAN4GAAAAAAAAAAAAAAGwBwAA3gYAAAAAAAAAAAAAD0MGAAABAAAACAAAAAAHRAYAAAABAAAACAAAAAQeQXBsb3Jpcy5DaGFydC5DaGFydERhdGFFbGVtZW50AgAAAAmxBwAACbIHAAAJswcAAAm0BwAACbUHAAANAwdFBgAAAAEAAAAIAAAABB9BcGxvcmlzLkJhc2UuT2JqZWN0cy5EYXRhT2JqZWN0AwAAAAmxBwAACbIHAAAJtQcAAAm0BwAACbMHAAANAwFGBgAAcgAAAAoKAAAAAAAAAAANAAAAAAEBRwYAAHIAAAAKCgEAAAAAAAAA/////wABB0gGAAAAAQAAAAQAAAAEHUFwbG9yaXMuQmFzZS5PYmplY3RzLlZhcmlhYmxlAwAAAAG2BwAA3gYAAAEAAAAAAAAAAbcHAADeBgAAAAAAAAAAAAABuAcAAN4GAAAAAAAAAAAAAAG5BwAA3gYAAAAAAAAAAAAAD0kGAAABAAAACAAAAAAHSgYAAAABAAAACAAAAAQeQXBsb3Jpcy5DaGFydC5DaGFydERhdGFFbGVtZW50AgAAAAm6BwAACbsHAAAJvAcAAAm9BwAACb4HAAANAwdLBgAAAAEAAAAIAAAABB9BcGxvcmlzLkJhc2UuT2JqZWN0cy5EYXRhT2JqZWN0AwAAAAm6BwAACbsHAAAJvgcAAAm9BwAACbwHAAANAwFMBgAAcgAAAAoKAAAAAAAAAAANAAAAAAEBTQYAAHIAAAAKCgEAAAAAAAAA/////wABB04GAAAAAQAAAAQAAAAEHUFwbG9yaXMuQmFzZS5PYmplY3RzLlZhcmlhYmxlAwAAAAG/BwAA3gYAAAEAAAAAAAAAAcAHAADeBgAAAAAAAAAAAAABwQcAAN4GAAAAAAAAAAAAAAHCBwAA3gYAAAAAAAAAAAAAD08GAAABAAAACAAAAAAHUAYAAAABAAAACAAAAAQeQXBsb3Jpcy5DaGFydC5DaGFydERhdGFFbGVtZW50AgAAAAnDBwAACcQHAAAJxQcAAAnGBwAACccHAAANAwdRBgAAAAEAAAAIAAAABB9BcGxvcmlzLkJhc2UuT2JqZWN0cy5EYXRhT2JqZWN0AwAAAAnDBwAACcQHAAAJxwcAAAnGBwAACcUHAAANAwFSBgAAcgAAAAoKAAAAAAAAAAANAAAAAAEBUwYAAHIAAAAKCgEAAAAAAAAA/////wABB1QGAAAAAQAAAAQAAAAEHUFwbG9yaXMuQmFzZS5PYmplY3RzLlZhcmlhYmxlAwAAAAHIBwAA3gYAAAEAAAAAAAAAAckHAADeBgAAAAAAAAAAAAABygcAAN4GAAAAAAAAAAAAAAHLBwAA3gYAAAAAAAAAAAAAD1UGAAABAAAACAAAAAAHVgYAAAABAAAACAAAAAQeQXBsb3Jpcy5DaGFydC5DaGFydERhdGFFbGVtZW50AgAAAAnMBwAACc0HAAAJzgcAAAnPBwAACdAHAAANAwdXBgAAAAEAAAAIAAAABB9BcGxvcmlzLkJhc2UuT2JqZWN0cy5EYXRhT2JqZWN0AwAAAAnMBwAACc0HAAAJ0AcAAAnPBwAACc4HAAANAwFYBgAAcgAAAAoKAAAAAAAAAAANAAAAAAEBWQYAAHIAAAAKCgEAAAAAAAAA/////wABB1oGAAAAAQAAAAQAAAAEHUFwbG9yaXMuQmFzZS5PYmplY3RzLlZhcmlhYmxlAwAAAAHRBwAA3gYAAAEAAAAAAAAAAdIHAADeBgAAAAAAAAAAAAAB0wcAAN4GAAAAAAAAAAAAAAHUBwAA3gYAAAAAAAAAAAAAD1sGAAABAAAACAAAAAAHXAYAAAABAAAACAAAAAQeQXBsb3Jpcy5DaGFydC5DaGFydERhdGFFbGVtZW50AgAAAAnVBwAACdYHAAAJ1wcAAAnYBwAACdkHAAANAwddBgAAAAEAAAAIAAAABB9BcGxvcmlzLkJhc2UuT2JqZWN0cy5EYXRhT2JqZWN0AwAAAAnVBwAACdYHAAAJ2QcAAAnYBwAACdcHAAANAwFeBgAAcgAAAAoKAAAAAAAAAAANAAAAAAEBXwYAAHIAAAAKCgEAAAAAAAAA/////wABB2AGAAAAAQAAAAQAAAAEHUFwbG9yaXMuQmFzZS5PYmplY3RzLlZhcmlhYmxlAwAAAAHaBwAA3gYAAAEAAAAAAAAAAdsHAADeBgAAAAAAAAAAAAAB3AcAAN4GAAAAAAAAAAAAAAHdBwAA3gYAAAAAAAAAAAAAD2EGAAABAAAACAAAAAAFZAY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EgEAAAoAAAAAAEBBCXAAAAAJcQAAAAneBwAAAQAJ3wcAAAFlBgAAcgAAAAoKAQAAAAAAAAD/////AAEBagYAAKcAAAAJ4AcAAAEAAAADAAAAAWsGAABvAAAACeEHAAAKAWwGAAByAAAACgoAAAAAAAAAAA0AAAAAAAFtBgAAcgAAAAoKAAAAAAAAAAANAAAAAAEHbgYAAAABAAAABAAAAAQdQXBsb3Jpcy5CYXNlLk9iamVjdHMuVmFyaWFibGUDAAAAAeIHAADeBgAAAQAAAAAAAAAB4wcAAN4GAAAAAAAAAAAAAAHkBwAA3gYAAAAAAAAAAAAAAeUHAADeBgAAAAAAAAAAAAAPbwYAAAEAAAAIcAAAAAVyB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TAQAACgAAAAAAQEEJcAAAAAlxAAAACeYHAAABAAnnBwAAAXMGAAByAAAACgoBAAAAAAAAAP////8AAQF4BgAApwAAAAnoBwAAAQAAAAMAAAABeQYAAG8AAAAJ6QcAAAoBegYAAHIAAAAKCgAAAAAAAAAADQAAAAAAAXsGAAByAAAACgoAAAAAAAAAAA0AAAAAAQd8BgAAAAEAAAAEAAAABB1BcGxvcmlzLkJhc2UuT2JqZWN0cy5WYXJpYWJsZQMAAAAB6gcAAN4GAAABAAAAAAAAAAHrBwAA3gYAAAAAAAAAAAAAAewHAADeBgAAAAAAAAAAAAAB7QcAAN4GAAAAAAAAAAAAAA99BgAAAQAAAAhxAAAABYAG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RQBAAAKAAAAAABAQQlwAAAACXEAAAAJ7gcAAAEACe8HAAABgQYAAHIAAAAKCgAAAAD///8ADgAAAAABAYYGAACnAAAACfAHAAABAAAAAwAAAAGHBgAAbwAAAAnxBwAACgGIBgAAcgAAAAoKAAAAAAAAAAANAAAAAAABiQYAAHIAAAAKCgAAAAAAAAAADQAAAAABB4oGAAAAAQAAAAQAAAAEHUFwbG9yaXMuQmFzZS5PYmplY3RzLlZhcmlhYmxlAwAAAAHyBwAA3gYAAAEAAAAAAAAAAfMHAADeBgAAAAAAAAAAAAAB9AcAAN4GAAAAAAAAAAAAAAH1BwAA3gYAAAAAAAAAAAAAD4sGAAABAAAACC4AAAABjAYAAHIAAAAKCgAAAAAAAAAADQAAAAAABY0GAAAaQXBsb3Jpcy5CYXNlLk9iamVjdHMuQ29sb3IHAAAAEkRhdGFPYmplY3QrbVBhcmVudBVEYXRhT2JqZWN0K21Db250YWluZXIFbVR5cGUEbVJHQhBtVGhlbWVDb2xvckluZGV4DG1BdXRvVXBkYXRlZAltTW9kaWZpZWQEAgAAAAAAH0FwbG9yaXMuQmFzZS5PYmplY3RzLkxpbmVGb3JtYXQDAAAACAgIAQEDAAAACRAFAAAKAQAAAAAAAAD/////AAEPjgYAAAEAAAAI1wAAAAGPBgAAcgAAAAoKAAAAAAAAAAANAAAAAAABkAYAAHIAAAAKCgAAAAAAAAAADQAAAAABB5EGAAAAAQAAAAQAAAAEHUFwbG9yaXMuQmFzZS5PYmplY3RzLlZhcmlhYmxlAwAAAAH2BwAA3gYAAAEAAAAAAAAAAfcHAADeBgAAAAAAAAAAAAAB+AcAAN4GAAAAAAAAAAAAAAH5BwAA3gYAAAAAAAAAAAAAD5IGAAABAAAACCYAAAABkwYAAHIAAAAKCgAAAAAAAAAADQAAAAAABZQGAAAaQXBsb3Jpcy5CYXNlLk9iamVjdHMuQ29sb3IHAAAAEkRhdGFPYmplY3QrbVBhcmVudBVEYXRhT2JqZWN0K21Db250YWluZXIFbVR5cGUEbVJHQhBtVGhlbWVDb2xvckluZGV4DG1BdXRvVXBkYXRlZAltTW9kaWZpZWQEAgAAAAAAH0FwbG9yaXMuQmFzZS5PYmplY3RzLkxpbmVGb3JtYXQDAAAACAgIAQEDAAAACR8FAAAKAQAAAAAAAAD/////AAEPlQYAAAEAAAAI1gAAAAGWBgAAcgAAAAoKAAAAAAAAAAANAAAAAAABlwYAAHIAAAAKCgAAAAAAAAAADQAAAAABB5gGAAAAAQAAAAQAAAAEHUFwbG9yaXMuQmFzZS5PYmplY3RzLlZhcmlhYmxlAwAAAAH6BwAA3gYAAAEAAAAAAAAAAfsHAADeBgAAAAAAAAAAAAAB/AcAAN4GAAAAAAAAAAAAAAH9BwAA3gYAAAAAAAAAAAAAD5kGAAABAAAACCMAAAABmgYAAHIAAAAKCgAAAAAAAAAADQAAAAAABZsGAAAaQXBsb3Jpcy5CYXNlLk9iamVjdHMuQ29sb3IHAAAAEkRhdGFPYmplY3QrbVBhcmVudBVEYXRhT2JqZWN0K21Db250YWluZXIFbVR5cGUEbVJHQhBtVGhlbWVDb2xvckluZGV4DG1BdXRvVXBkYXRlZAltTW9kaWZpZWQEAgAAAAAAH0FwbG9yaXMuQmFzZS5PYmplY3RzLkxpbmVGb3JtYXQDAAAACAgIAQEDAAAACS4FAAAKAQAAAAAAAAD/////AAEPnAYAAAEAAAAI2AAAAAGdBgAAcgAAAAoKAAAAAAAAAAANAAAAAAABngYAAHIAAAAKCgAAAAAAAAAADQAAAAABB58GAAAAAQAAAAQAAAAEHUFwbG9yaXMuQmFzZS5PYmplY3RzLlZhcmlhYmxlAwAAAAH+BwAA3gYAAAEAAAAAAAAAAf8HAADeBgAAAAAAAAAAAAABAAgAAN4GAAAAAAAAAAAAAAEBCAAA3gYAAAAAAAAAAAAAD6AGAAABAAAACCsAAAABoQYAAHIAAAAKCgAAAAAAAAAADQAAAAAABaIGAAAaQXBsb3Jpcy5CYXNlLk9iamVjdHMuQ29sb3IHAAAAEkRhdGFPYmplY3QrbVBhcmVudBVEYXRhT2JqZWN0K21Db250YWluZXIFbVR5cGUEbVJHQhBtVGhlbWVDb2xvckluZGV4DG1BdXRvVXBkYXRlZAltTW9kaWZpZWQEAgAAAAAAH0FwbG9yaXMuQmFzZS5PYmplY3RzLkxpbmVGb3JtYXQDAAAACAgIAQEDAAAACT0FAAAKAQAAAAAAAAD/////AAEPowYAAAEAAAAI2gAAAAGkBgAAcgAAAAoKAAAAAAAAAAANAAAAAAABpQYAAHIAAAAKCgAAAAAAAAAADQAAAAABB6YGAAAAAQAAAAQAAAAEHUFwbG9yaXMuQmFzZS5PYmplY3RzLlZhcmlhYmxlAwAAAAECCAAA3gYAAAEAAAAAAAAAAQMIAADeBgAAAAAAAAAAAAABBAgAAN4GAAAAAAAAAAAAAAEFCAAA3gYAAAAAAAAAAAAAD6cGAAABAAAACCoAAAABqAYAAHIAAAAKCgAAAAAAAAAADQAAAAAABakGAAAaQXBsb3Jpcy5CYXNlLk9iamVjdHMuQ29sb3IHAAAAEkRhdGFPYmplY3QrbVBhcmVudBVEYXRhT2JqZWN0K21Db250YWluZXIFbVR5cGUEbVJHQhBtVGhlbWVDb2xvckluZGV4DG1BdXRvVXBkYXRlZAltTW9kaWZpZWQEAgAAAAAAH0FwbG9yaXMuQmFzZS5PYmplY3RzLkxpbmVGb3JtYXQDAAAACAgIAQEDAAAACUwFAAAKAQAAAAAAAAD/////AAEPqgYAAAEAAAAI2QAAAAGrBgAAcgAAAAoKAAAAAAAAAAANAAAAAAABrAYAAHIAAAAKCgAAAAAAAAAADQAAAAABB60GAAAAAQAAAAQAAAAEHUFwbG9yaXMuQmFzZS5PYmplY3RzLlZhcmlhYmxlAwAAAAEGCAAA3gYAAAEAAAAAAAAAAQcIAADeBgAAAAAAAAAAAAABCAgAAN4GAAAAAAAAAAAAAAEJCAAA3gYAAAAAAAAAAAAAD64GAAABAAAACCcAAAABrwYAAHIAAAAKCgAAAAAAAAAADQAAAAAABbAGAAAaQXBsb3Jpcy5CYXNlLk9iamVjdHMuQ29sb3IHAAAAEkRhdGFPYmplY3QrbVBhcmVudBVEYXRhT2JqZWN0K21Db250YWluZXIFbVR5cGUEbVJHQhBtVGhlbWVDb2xvckluZGV4DG1BdXRvVXBkYXRlZAltTW9kaWZpZWQEAgAAAAAAH0FwbG9yaXMuQmFzZS5PYmplY3RzLkxpbmVGb3JtYXQDAAAACAgIAQEDAAAACVsFAAAKAQAAAAAAAAD/////AAEPsQYAAAEAAAAI1QAAAAGyBgAAcgAAAAoKAAAAAAAAAAANAAAAAAABswYAAHIAAAAKCgAAAAAAAAAADQAAAAABB7QGAAAAAQAAAAQAAAAEHUFwbG9yaXMuQmFzZS5PYmplY3RzLlZhcmlhYmxlAwAAAAEKCAAA3gYAAAEAAAAAAAAAAQsIAADeBgAAAAAAAAAAAAABDAgAAN4GAAAAAAAAAAAAAAENCAAA3gYAAAAAAAAAAAAAD7UGAAABAAAACCkAAAABtgYAAHIAAAAKCgAAAAAAAAAADQAAAAAABbcGAAAaQXBsb3Jpcy5CYXNlLk9iamVjdHMuQ29sb3IHAAAAEkRhdGFPYmplY3QrbVBhcmVudBVEYXRhT2JqZWN0K21Db250YWluZXIFbVR5cGUEbVJHQhBtVGhlbWVDb2xvckluZGV4DG1BdXRvVXBkYXRlZAltTW9kaWZpZWQEAgAAAAAAH0FwbG9yaXMuQmFzZS5PYmplY3RzLkxpbmVGb3JtYXQDAAAACAgIAQEDAAAACWoFAAAKAQAAAAAAAAD/////AAEPuAYAAAEAAAAI0gAAAAG5BgAAcgAAAAoKAAAAAAAAAAANAAAAAAABugYAAHIAAAAKCgAAAAAAAAAADQAAAAABB7sGAAAAAQAAAAQAAAAEHUFwbG9yaXMuQmFzZS5PYmplY3RzLlZhcmlhYmxlAwAAAAEOCAAA3gYAAAEAAAAAAAAAAQ8IAADeBgAAAAAAAAAAAAABEAgAAN4GAAAAAAAAAAAAAAERCAAA3gYAAAAAAAAAAAAAD7wGAAABAAAACCgAAAABvQYAAHIAAAAKCgAAAAAAAAAADQAAAAAABb4GAAAaQXBsb3Jpcy5CYXNlLk9iamVjdHMuQ29sb3IHAAAAEkRhdGFPYmplY3QrbVBhcmVudBVEYXRhT2JqZWN0K21Db250YWluZXIFbVR5cGUEbVJHQhBtVGhlbWVDb2xvckluZGV4DG1BdXRvVXBkYXRlZAltTW9kaWZpZWQEAgAAAAAAH0FwbG9yaXMuQmFzZS5PYmplY3RzLkxpbmVGb3JtYXQDAAAACAgIAQEDAAAACXkFAAAKAQAAAAAAAAD/////AAEPvwYAAAEAAAAI1AAAAAHABgAAcgAAAAoKAAAAAAAAAAANAAAAAAABwQYAAHIAAAAKCgAAAAAAAAAADQAAAAABB8IGAAAAAQAAAAQAAAAEHUFwbG9yaXMuQmFzZS5PYmplY3RzLlZhcmlhYmxlAwAAAAESCAAA3gYAAAEAAAAAAAAAARMIAADeBgAAAAAAAAAAAAABFAgAAN4GAAAAAAAAAAAAAAEVCAAA3gYAAAAAAAAAAAAAD8MGAAABAAAACCwAAAABxAYAAHIAAAAKCgAAAAAAAAAADQAAAAAABcUGAAAaQXBsb3Jpcy5CYXNlLk9iamVjdHMuQ29sb3IHAAAAEkRhdGFPYmplY3QrbVBhcmVudBVEYXRhT2JqZWN0K21Db250YWluZXIFbVR5cGUEbVJHQhBtVGhlbWVDb2xvckluZGV4DG1BdXRvVXBkYXRlZAltTW9kaWZpZWQEAgAAAAAAH0FwbG9yaXMuQmFzZS5PYmplY3RzLkxpbmVGb3JtYXQDAAAACAgIAQEDAAAACYgFAAAKAQAAAAAAAAD/////AAEPxgYAAAEAAAAI0wAAAAHHBgAAcgAAAAoKAAAAAAAAAAANAAAAAAAByAYAAHIAAAAKCgAAAAAAAAAADQAAAAABB8kGAAAAAQAAAAQAAAAEHUFwbG9yaXMuQmFzZS5PYmplY3RzLlZhcmlhYmxlAwAAAAEWCAAA3gYAAAEAAAAAAAAAARcIAADeBgAAAAAAAAAAAAABGAgAAN4GAAAAAAAAAAAAAAEZCAAA3gYAAAAAAAAAAAAAD8oGAAABAAAACC0AAAABywYAAHIAAAAKCgAAAAAAAAAADQAAAAAABcwGAAAaQXBsb3Jpcy5CYXNlLk9iamVjdHMuQ29sb3IHAAAAEkRhdGFPYmplY3QrbVBhcmVudBVEYXRhT2JqZWN0K21Db250YWluZXIFbVR5cGUEbVJHQhBtVGhlbWVDb2xvckluZGV4DG1BdXRvVXBkYXRlZAltTW9kaWZpZWQEAgAAAAAAH0FwbG9yaXMuQmFzZS5PYmplY3RzLkxpbmVGb3JtYXQDAAAACAgIAQEDAAAACZcFAAAKAQAAAAAAAAD/////AAEPzQYAAAEAAAAI3AAAAAHOBgAAcgAAAAoKAAAAAAAAAAANAAAAAAABzwYAAHIAAAAKCgAAAAAAAAAADQAAAAABB9AGAAAAAQAAAAQAAAAEHUFwbG9yaXMuQmFzZS5PYmplY3RzLlZhcmlhYmxlAwAAAAEaCAAA3gYAAAEAAAAAAAAAARsIAADeBgAAAAAAAAAAAAABHAgAAN4GAAAAAAAAAAAAAAEdCAAA3gYAAAAAAAAAAAAAD9EGAAABAAAACCUAAAAB0gYAAHIAAAAKCgAAAAAAAAAADQAAAAAABdMGAAAaQXBsb3Jpcy5CYXNlLk9iamVjdHMuQ29sb3IHAAAAEkRhdGFPYmplY3QrbVBhcmVudBVEYXRhT2JqZWN0K21Db250YWluZXIFbVR5cGUEbVJHQhBtVGhlbWVDb2xvckluZGV4DG1BdXRvVXBkYXRlZAltTW9kaWZpZWQEAgAAAAAAH0FwbG9yaXMuQmFzZS5PYmplY3RzLkxpbmVGb3JtYXQDAAAACAgIAQEDAAAACaYFAAAKAQAAAAAAAAD/////AAEP1AYAAAEAAAAI2wAAAAHVBgAAcgAAAAoKAAAAAAAAAAANAAAAAAAB1gYAAHIAAAAKCgAAAAAAAAAADQAAAAABB9cGAAAAAQAAAAQAAAAEHUFwbG9yaXMuQmFzZS5PYmplY3RzLlZhcmlhYmxlAwAAAAEeCAAA3gYAAAEAAAAAAAAAAR8IAADeBgAAAAAAAAAAAAABIAgAAN4GAAAAAAAAAAAAAAEhCAAA3gYAAAAAAAAAAAAAD9gGAAABAAAACCQAAAAF2QY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oKCgkiCAAACgnzAAAACAarjxwN5wrSPwoAAAAACSMIAAAJJAgAAAAAAAAACSUIAAAJ8wAAAAkBAAAACSYIAAAB2gYAANkGAAAKCgoJJwgAAAoJ8wAAAAoKAQAAAAkoCAAACSkIAAAAAAAAAAkqCAAACfMAAAAJAQAAAAkrCAAAAdsGAADZBgAACgoKCSwIAAAKCfMAAAAKCgIAAAAKCgAAAAAACS0IAAAJ8wAAAAkBAAAACS4IAAAB3AYAANkGAAAKCgoJLwgAAAoJ8wAAAAoKAwAAAAoKAAAAAAAJMAgAAAnzAAAACQEAAAAJMQgAAAHdBgAA2QYAAAoKCgkyCAAACgnzAAAACgoEAAAACTMIAAAJNAgAAAAAAAAACTUIAAAJ8wAAAAkBAAAACTYIAAAB4gYAANkGAAAKCgoJNwgAAAoJ9AAAAAgGQLhxeYz65j8KAAAAAAk4CAAACTkIAAAAAAAAAAk6CAAACfQAAAAJAQAAAAk7CAAAAeMGAADZBgAACgoKCTwIAAAKCfQAAAAKCgEAAAAJPQgAAAk+CAAAAAAAAAAJPwgAAAn0AAAACQEAAAAJQAgAAAHkBgAA2QYAAAoKCglBCAAACgn0AAAACgoCAAAACgoAAAAAAAlCCAAACfQAAAAJAQAAAAlDCAAAAeUGAADZBgAACgoKCUQIAAAKCfQAAAAKCgMAAAAKCgAAAAAACUUIAAAJ9AAAAAkBAAAACUYIAAAB5gYAANkGAAAKCgoJRwgAAAoJ9AAAAAoKBAAAAAlICAAACUkIAAAAAAAAAAlKCAAACfQAAAAJAQAAAAlLCAAAAesGAADZBgAACgoKCUwIAAAKCfUAAAAKCgAAAAAKCgAAAAAACU0IAAAJ9QAAAAkBAAAACU4IAAAB7AYAANkGAAAKCgoJTwgAAAoJ9QAAAAgGBQaNCCcruz8KAQAAAAlQCAAACVEIAAAAAAAAAAlSCAAACfUAAAAJAQAAAAlTCAAAAe0GAADZBgAACgoKCVQIAAAKCfUAAAAKCgIAAAAKCgAAAAAACVUIAAAJ9QAAAAkBAAAACVYIAAAB7gYAANkGAAAKCgoJVwgAAAoJ9QAAAAoKAwAAAAoKAAAAAAAJWAgAAAn1AAAACQEAAAAJWQgAAAHvBgAA2QYAAAoKCglaCAAACgn1AAAACgoEAAAACgoAAAAAAAlbCAAACfUAAAAJAQAAAAlcCAAAAfQGAADZBgAACgoKCV0IAAAKCfYAAAAKCgAAAAAKCgAAAAAACV4IAAAJ9gAAAAkBAAAACV8IAAAB9QYAANkGAAAKCgoJYAgAAAoJ9gAAAAgG48oIDt8dyj8KAQAAAAlhCAAACWIIAAAAAAAAAAljCAAACfYAAAAJAQAAAAlkCAAAAfYGAADZBgAACgoKCWUIAAAKCfYAAAAKCgIAAAAKCgAAAAAACWYIAAAJ9gAAAAkBAAAACWcIAAAB9wYAANkGAAAKCgoJaAgAAAoJ9gAAAAoKAwAAAAoKAAAAAAAJaQgAAAn2AAAACQEAAAAJaggAAAH4BgAA2QYAAAoKCglrCAAACgn2AAAACgoEAAAACgoAAAAAAAlsCAAACfYAAAAJAQAAAAltCAAAAf0GAADZBgAACgoKCW4IAAAKCfcAAAAKCgAAAAAKCgAAAAAACW8IAAAJ9wAAAAkBAAAACXAIAAAB/gYAANkGAAAKCgoJcQgAAAoJ9wAAAAgGnRcLINN11D8KAQAAAAlyCAAACXMIAAAAAAAAAAl0CAAACfcAAAAJAQAAAAl1CAAAAf8GAADZBgAACgoKCXYIAAAKCfcAAAAKCgIAAAAKCgAAAAAACXcIAAAJ9wAAAAkBAAAACXgIAAABAAcAANkGAAAKCgoJeQgAAAoJ9wAAAAoKAwAAAAoKAAAAAAAJeggAAAn3AAAACQEAAAAJewgAAAEBBwAA2QYAAAoKCgl8CAAACgn3AAAACgoEAAAACgoAAAAAAAl9CAAACfcAAAAJAQAAAAl+CAAAAQYHAADZBgAACgoKCX8IAAAKCfgAAAAKCgAAAAAKCgAAAAAACYAIAAAJ+AAAAAkBAAAACYEIAAABBwcAANkGAAAKCgoJgggAAAoJ+AAAAAgGxkHNlnOw1z8KAQAAAAmDCAAACYQIAAAAAAAAAAmFCAAACfgAAAAJAQAAAAmGCAAAAQgHAADZBgAACgoKCYcIAAAKCfgAAAAKCgIAAAAKCgAAAAAACYgIAAAJ+AAAAAkBAAAACYkIAAABCQcAANkGAAAKCgoJiggAAAoJ+AAAAAoKAwAAAAoKAAAAAAAJiwgAAAn4AAAACQEAAAAJjAgAAAEKBwAA2QYAAAoKCgmNCAAACgn4AAAACgoEAAAACgoAAAAAAAmOCAAACfgAAAAJAQAAAAmPCAAAAQ8HAADZBgAACgoKCZAIAAAKCfkAAAAKCgAAAAAKCgAAAAAACZEIAAAJ+QAAAAkBAAAACZIIAAABEAcAANkGAAAKCgoJkwgAAAoJ+QAAAAoKAQAAAAoKAAAAAAAJlAgAAAn5AAAACQEAAAAJlQgAAAERBwAA2QYAAAoKCgmWCAAACgn5AAAACgoCAAAACgoAAAAAAAmXCAAACfkAAAAJAQAAAAmYCAAAARIHAADZBgAACgoKCZkIAAAKCfkAAAAKCgMAAAAKCgAAAAAACZoIAAAJ+QAAAAkBAAAACZsIAAABEwcAANkGAAAJnAgAAAmdCAAACgmeCAAACgn5AAAACAbU17IBa9K3PwoEAAAACZ8IAAAJoAgAAAAAAAAACaEIAAAJ+QAAAAkBAAAACaIIAAABGAcAANkGAAAKCgoJowgAAAoJ+gAAAAoKAAAAAAoKAAAAAAAJpAgAAAn6AAAACQEAAAAJpQgAAAEZBwAA2QYAAAoKCgmmCAAACgn6AAAACgoBAAAACgoAAAAAAAmnCAAACfoAAAAJAQAAAAmoCAAAARoHAADZBgAACgoKCakIAAAKCfoAAAAKCgIAAAAKCgAAAAAACaoIAAAJ+gAAAAkBAAAACasIAAABGwcAANkGAAAKCgoJrAgAAAoJ+gAAAAoKAwAAAAoKAAAAAAAJrQgAAAn6AAAACQEAAAAJrggAAAEcBwAA2QYAAAmvCAAACbAIAAAKCbEIAAAKCfoAAAAIBoVGdylMvM4/CgQAAAAJsggAAAmzCAAAAAAAAAAJtAgAAAn6AAAACQEAAAAJtQgAAAEhBwAA2QYAAAoKCgm2CAAACgn7AAAACgoAAAAACgoAAAAAAAm3CAAACfsAAAAJAQAAAAm4CAAAASIHAADZBgAACgoKCbkIAAAKCfsAAAAKCgEAAAAKCgAAAAAACboIAAAJ+wAAAAkBAAAACbsIAAABIwcAANkGAAAKCgoJvAgAAAoJ+wAAAAoKAgAAAAoKAAAAAAAJvQgAAAn7AAAACQEAAAAJvggAAAEkBwAA2QYAAAoKCgm/CAAACgn7AAAACgoDAAAACgoAAAAAAAnACAAACfsAAAAJAQAAAAnBCAAAASUHAADZBgAACcIIAAAJwwgAAAoJxAgAAAoJ+wAAAAgGV2D3N0HWwz8KBAAAAAnFCAAACcYIAAAAAAAAAAnHCAAACfsAAAAJAQAAAAnICAAAASoHAADZBgAACgoKCckIAAAKCfwAAAAKCgAAAAAKCgAAAAAACcoIAAAJ/AAAAAkBAAAACcsIAAABKwcAANkGAAAKCgoJzAgAAAoJ/AAAAAoKAQAAAAoKAAAAAAAJzQgAAAn8AAAACQEAAAAJzggAAAEsBwAA2QYAAAoKCgnPCAAACgn8AAAACgoCAAAACgoAAAAAAAnQCAAACfwAAAAJAQAAAAnRCAAAAS0HAADZBgAACgoKCdIIAAAKCfwAAAAKCgMAAAAKCgAAAAAACdMIAAAJ/AAAAAkBAAAACdQIAAABLgcAANkGAAAJ1QgAAAnWCAAACgnXCAAACgn8AAAACAa8hbDngznGPwoEAAAACdgIAAAJ2QgAAAAAAAAACdoIAAAJ/AAAAAkBAAAACdsIAAABMwcAANkGAAAKCgoJ3AgAAAoJ/QAAAAoKAAAAAAoKAAAAAAAJ3QgAAAn9AAAACQEAAAAJ3ggAAAE0BwAA2QYAAAoKCgnfCAAACgn9AAAACgoBAAAACgoAAAAAAAngCAAACf0AAAAJAQAAAAnhCAAAATUHAADZBgAACgoKCeIIAAAKCf0AAAAKCgIAAAAKCgAAAAAACeMIAAAJ/QAAAAkBAAAACeQIAAABNgcAANkGAAAKCgoJ5QgAAAoJ/QAAAAoKAwAAAAoKAAAAAAAJ5ggAAAn9AAAACQEAAAAJ5wgAAAE3BwAA2QYAAAnoCAAACekIAAAKCeoIAAAKCf0AAAAIBlelyqEdXcI/CgQAAAAJ6wgAAAnsCAAAAAAAAAAJ7QgAAAn9AAAACQEAAAAJ7ggAAAE8BwAA2QYAAAoKCgnvCAAACgn+AAAACgoAAAAACgoAAAAAAAnwCAAACf4AAAAJAQAAAAnxCAAAAT0HAADZBgAACgoKCfIIAAAKCf4AAAAKCgEAAAAKCgAAAAAACfMIAAAJ/gAAAAkBAAAACfQIAAABPgcAANkGAAAKCgoJ9QgAAAoJ/gAAAAoKAgAAAAoKAAAAAAAJ9ggAAAn+AAAACQEAAAAJ9wgAAAE/BwAA2QYAAAoKCgn4CAAACgn+AAAACgoDAAAACgoAAAAAAAn5CAAACf4AAAAJAQAAAAn6CAAAAUAHAADZBgAACfsIAAAJ/AgAAAoJ/QgAAAoJ/gAAAAgGlSNjtK4Nsz8KBAAAAAn+CAAACf8IAAAAAAAAAAkACQAACf4AAAAJAQAAAAkBCQAAAUUHAADZBgAACgoKCQIJAAAKCf8AAAAKCgAAAAAKCgAAAAAACQMJAAAJ/wAAAAkBAAAACQQJAAABRgcAANkGAAAKCgoJBQkAAAoJ/wAAAAoKAQAAAAoKAAAAAAAJBgkAAAn/AAAACQEAAAAJBwkAAAFHBwAA2QYAAAoKCgkICQAACgn/AAAACgoCAAAACgoAAAAAAAkJCQAACf8AAAAJAQAAAAkKCQAAAUgHAADZBgAACgoKCQsJAAAKCf8AAAAKCgMAAAAKCgAAAAAACQwJAAAJ/wAAAAkBAAAACQ0JAAABSQcAANkGAAAJDgkAAAkPCQAACgkQCQAACgn/AAAACAZmYhZ0iM2+PwoEAAAACREJAAAJEgkAAAAAAAAACRMJAAAJ/wAAAAkBAAAACRQJAAABTgcAANkGAAAKCgoJFQkAAAoJAAEAAAoKAAAAAAoKAAAAAAAJFgkAAAkAAQAACQEAAAAJFwkAAAFPBwAA2QYAAAoKCgkYCQAACgkAAQAACgoBAAAACgoAAAAAAAkZCQAACQABAAAJAQAAAAkaCQAAAVAHAADZBgAACgoKCRsJAAAKCQABAAAKCgIAAAAKCgAAAAAACRwJAAAJAAEAAAkBAAAACR0JAAABUQcAANkGAAAJHgkAAAkfCQAACgkgCQAACgkAAQAACAZQa/12opzAPwoDAAAACSEJAAAJIgkAAAAAAAAACSMJAAAJAAEAAAkBAAAACSQJAAABUgcAANkGAAAKCgoJJQkAAAoJAAEAAAoKBAAAAAoKAAAAAAAJJgkAAAkAAQAACQEAAAAJJwkAAAFXBwAA2QYAAAoKCgkoCQAACgkBAQAACgoAAAAACgoAAAAAAAkpCQAACQEBAAAJAQAAAAkqCQAAAVgHAADZBgAACgoKCSsJAAAKCQEBAAAKCgEAAAAKCgAAAAAACSwJAAAJAQEAAAkBAAAACS0JAAABWQcAANkGAAAKCgoJLgkAAAoJAQEAAAoKAgAAAAoKAAAAAAAJLwkAAAkBAQAACQEAAAAJMAkAAAFaBwAA2QYAAAkxCQAACTIJAAAKCTMJAAAKCQEBAAAIBtQbiqQt+qc/CgMAAAAJNAkAAAk1CQAAAAAAAAAJNgkAAAkBAQAACQEAAAAJNwkAAAFbBwAA2QYAAAoKCgk4CQAACgkBAQAACgoEAAAACgoAAAAAAAk5CQAACQEBAAAJAQAAAAk6CQAAAWAHAADZBgAACgoKCTsJAAAKCQIBAAAKCgAAAAAKCgAAAAAACTwJAAAJAgEAAAkBAAAACT0JAAABYQcAANkGAAAKCgoJPgkAAAoJAgEAAAoKAQAAAAoKAAAAAAAJPwkAAAkCAQAACQEAAAAJQAkAAAFiBwAA2QYAAAoKCglBCQAACgkCAQAACgoCAAAACgoAAAAAAAlCCQAACQIBAAAJAQAAAAlDCQAAAWMHAADZBgAACUQJAAAJRQkAAAoJRgkAAAoJAgEAAAgGQmz+VAPVuT8KAwAAAAlHCQAACUgJAAAAAAAAAAlJCQAACQIBAAAJAQAAAAlKCQAAAWQHAADZBgAACgoKCUsJAAAKCQIBAAAKCgQAAAAKCgAAAAAACUwJAAAJAgEAAAkBAAAACU0JAAABaQcAANkGAAAKCgoJTgkAAAoJAwEAAAoKAAAAAAoKAAAAAAAJTwkAAAkDAQAACQEAAAAJUAkAAAFqBwAA2QYAAAoKCglRCQAACgkDAQAACgoBAAAACgoAAAAAAAlSCQAACQMBAAAJAQAAAAlTCQAAAWsHAADZBgAACgoKCVQJAAAKCQMBAAAKCgIAAAAKCgAAAAAACVUJAAAJAwEAAAkBAAAACVYJAAABbAcAANkGAAAJVwkAAAlYCQAACglZCQAACgkDAQAACAZui/89fA7MPwoDAAAACVoJAAAJWwkAAAAAAAAACVwJAAAJAwEAAAkBAAAACV0JAAABbQcAANkGAAAKCgoJXgkAAAoJAwEAAAoKBAAAAAoKAAAAAAAJXwkAAAkDAQAACQEAAAAJYAkAAAFyBwAA2QYAAAoKCglhCQAACgkEAQAACgoAAAAACgoAAAAAAAliCQAACQQBAAAJAQAAAAljCQAAAXMHAADZBgAACgoKCWQJAAAKCQQBAAAKCgEAAAAKCgAAAAAACWUJAAAJBAEAAAkBAAAACWYJAAABdAcAANkGAAAKCgoJZwkAAAoJBAEAAAoKAgAAAAoKAAAAAAAJaAkAAAkEAQAACQEAAAAJaQkAAAF1BwAA2QYAAAlqCQAACWsJAAAKCWwJAAAKCQQBAAAIBtpWwJlLBcU/CgMAAAAJbQkAAAluCQAAAAAAAAAJbwkAAAkEAQAACQEAAAAJcAkAAAF2BwAA2QYAAAoKCglxCQAACgkEAQAACgoEAAAACgoAAAAAAAlyCQAACQQBAAAJAQAAAAlzCQAAAXsHAADZBgAACgoKCXQJAAAKCQUBAAAKCgAAAAAKCgAAAAAACXUJAAAJBQEAAAkBAAAACXYJAAABfAcAANkGAAAKCgoJdwkAAAoJBQEAAAoKAQAAAAoKAAAAAAAJeAkAAAkFAQAACQEAAAAJeQkAAAF9BwAA2QYAAAoKCgl6CQAACgkFAQAACgoCAAAACgoAAAAAAAl7CQAACQUBAAAJAQAAAAl8CQAAAX4HAADZBgAACX0JAAAJfgkAAAoJfwkAAAoJBQEAAAgGup26qUeYwz8KAwAAAAmACQAACYEJAAAAAAAAAAmCCQAACQUBAAAJAQAAAAmDCQAAAX8HAADZBgAACgoKCYQJAAAKCQUBAAAKCgQAAAAKCgAAAAAACYUJAAAJBQEAAAkBAAAACYYJAAABhAcAANkGAAAKCgoJhwkAAAoJBgEAAAoKAAAAAAoKAAAAAAAJiAkAAAkGAQAACQEAAAAJiQkAAAGFBwAA2QYAAAoKCgmKCQAACgkGAQAACgoBAAAACgoAAAAAAAmLCQAACQYBAAAJAQAAAAmMCQAAAYYHAADZBgAACgoKCY0JAAAKCQYBAAAKCgIAAAAKCgAAAAAACY4JAAAJBgEAAAkBAAAACY8JAAABhwcAANkGAAAJkAkAAAmRCQAACgmSCQAACgkGAQAACAZZWObzQM7HPwoDAAAACZMJAAAJlAkAAAAAAAAACZUJAAAJBgEAAAkBAAAACZYJAAABiAcAANkGAAAKCgoJlwkAAAoJBgEAAAoKBAAAAAoKAAAAAAAJmAkAAAkGAQAACQEAAAAJmQkAAAGNBwAA2QYAAAoKCgmaCQAACgkHAQAACgoAAAAACgoAAAAAAAmbCQAACQcBAAAJAQAAAAmcCQAAAY4HAADZBgAACgoKCZ0JAAAKCQcBAAAKCgEAAAAKCgAAAAAACZ4JAAAJBwEAAAkBAAAACZ8JAAABjwcAANkGAAAJoAkAAAmhCQAACgmiCQAACgkHAQAACAaPhs//j+TAPwoCAAAACaMJAAAJpAkAAAAAAAAACaUJAAAJBwEAAAkBAAAACaYJAAABkAcAANkGAAAKCgoJpwkAAAoJBwEAAAoKAwAAAAmoCQAACakJAAAAAAAAAAmqCQAACQcBAAAJAQAAAAmrCQAAAZEHAADZBgAACgoKCawJAAAKCQcBAAAKCgQAAAAKCgAAAAAACa0JAAAJBwEAAAkBAAAACa4JAAABlgcAANkGAAAKCgoJrwkAAAoJCAEAAAoKAAAAAAoKAAAAAAAJsAkAAAkIAQAACQEAAAAJsQkAAAGXBwAA2QYAAAoKCgmyCQAACgkIAQAACgoBAAAACgoAAAAAAAmzCQAACQgBAAAJAQAAAAm0CQAAAZgHAADZBgAACbUJAAAJtgkAAAoJtwkAAAoJCAEAAAgGuiAkCSNnoT8KAgAAAAm4CQAACbkJAAAAAAAAAAm6CQAACQgBAAAJAQAAAAm7CQAAAZkHAADZBgAACgoKCbwJAAAKCQgBAAAKCgMAAAAJvQkAAAm+CQAAAAAAAAAJvwkAAAkIAQAACQEAAAAJwAkAAAGaBwAA2QYAAAoKCgnBCQAACgkIAQAACgoEAAAACgoAAAAAAAnCCQAACQgBAAAJAQAAAAnDCQAAAZ8HAADZBgAACgoKCcQJAAAKCQkBAAAKCgAAAAAKCgAAAAAACcUJAAAJCQEAAAkBAAAACcYJAAABoAcAANkGAAAKCgoJxwkAAAoJCQEAAAoKAQAAAAoKAAAAAAAJyAkAAAkJAQAACQEAAAAJyQkAAAGhBwAA2QYAAAnKCQAACcsJAAAKCcwJAAAKCQkBAAAIBkB6AHSpUqc/CgIAAAAJzQkAAAnOCQAAAAAAAAAJzwkAAAkJAQAACQEAAAAJ0AkAAAGiBwAA2QYAAAoKCgnRCQAACgkJAQAACgoDAAAACdIJAAAJ0wkAAAAAAAAACdQJAAAJCQEAAAkBAAAACdUJAAABowcAANkGAAAKCgoJ1gkAAAoJCQEAAAoKBAAAAAoKAAAAAAAJ1wkAAAkJAQAACQEAAAAJ2AkAAAGoBwAA2QYAAAoKCgnZCQAACgkKAQAACgoAAAAACgoAAAAAAAnaCQAACQoBAAAJAQAAAAnbCQAAAakHAADZBgAACgoKCdwJAAAKCQoBAAAKCgEAAAAKCgAAAAAACd0JAAAJCgEAAAkBAAAACd4JAAABqgcAANkGAAAJ3wkAAAngCQAACgnhCQAACgkKAQAACAYjE1/AgzyhPwoCAAAACeIJAAAJ4wkAAAAAAAAACeQJAAAJCgEAAAkBAAAACeUJAAABqwcAANkGAAAKCgoJ5gkAAAoJCgEAAAoKAwAAAAnnCQAACegJAAAAAAAAAAnpCQAACQoBAAAJAQAAAAnqCQAAAawHAADZBgAACgoKCesJAAAKCQoBAAAKCgQAAAAKCgAAAAAACewJAAAJCgEAAAkBAAAACe0JAAABsQcAANkGAAAKCgoJ7gkAAAoJCwEAAAoKAAAAAAoKAAAAAAAJ7wkAAAkLAQAACQEAAAAJ8AkAAAGyBwAA2QYAAAoKCgnxCQAACgkLAQAACgoBAAAACgoAAAAAAAnyCQAACQsBAAAJAQAAAAnzCQAAAbMHAADZBgAACfQJAAAJ9QkAAAoJ9gkAAAoJCwEAAAgGCHHwyEuftj8KAgAAAAn3CQAACfgJAAAAAAAAAAn5CQAACQsBAAAJAQAAAAn6CQAAAbQHAADZBgAACgoKCfsJAAAKCQsBAAAKCgMAAAAJ/AkAAAn9CQAAAAAAAAAJ/gkAAAkLAQAACQEAAAAJ/wkAAAG1BwAA2QYAAAoKCgkACgAACgkLAQAACgoEAAAACgoAAAAAAAkBCgAACQsBAAAJAQAAAAkCCgAAAboHAADZBgAACgoKCQMKAAAKCQwBAAAKCgAAAAAKCgAAAAAACQQKAAAJDAEAAAkBAAAACQUKAAABuwcAANkGAAAKCgoJBgoAAAoJDAEAAAoKAQAAAAoKAAAAAAAJBwoAAAkMAQAACQEAAAAJCAoAAAG8BwAA2QYAAAkJCgAACQoKAAAKCQsKAAAKCQwBAAAIBllGmStLULY/CgIAAAAJDAoAAAkNCgAAAAAAAAAJDgoAAAkMAQAACQEAAAAJDwoAAAG9BwAA2QYAAAoKCgkQCgAACgkMAQAACgoDAAAACREKAAAJEgoAAAAAAAAACRMKAAAJDAEAAAkBAAAACRQKAAABvgcAANkGAAAKCgoJFQoAAAoJDAEAAAoKBAAAAAoKAAAAAAAJFgoAAAkMAQAACQEAAAAJFwoAAAHDBwAA2QYAAAoKCgkYCgAACgkNAQAACgoAAAAACgoAAAAAAAkZCgAACQ0BAAAJAQAAAAkaCgAAAcQHAADZBgAACgoKCRsKAAAKCQ0BAAAKCgEAAAAKCgAAAAAACRwKAAAJDQEAAAkBAAAACR0KAAABxQcAANkGAAAJHgoAAAkfCgAACgkgCgAACgkNAQAACAamINuFKRe/PwoCAAAACSEKAAAJIgoAAAAAAAAACSMKAAAJDQEAAAkBAAAACSQKAAABxgcAANkGAAAKCgoJJQoAAAoJDQEAAAoKAwAAAAkmCgAACScKAAAAAAAAAAkoCgAACQ0BAAAJAQAAAAkpCgAAAccHAADZBgAACgoKCSoKAAAKCQ0BAAAKCgQAAAAKCgAAAAAACSsKAAAJDQEAAAkBAAAACSwKAAABzAcAANkGAAAKCgoJLQoAAAoJDgEAAAoKAAAAAAoKAAAAAAAJLgoAAAkOAQAACQEAAAAJLwoAAAHNBwAA2QYAAAoKCgkwCgAACgkOAQAACgoBAAAACgoAAAAAAAkxCgAACQ4BAAAJAQAAAAkyCgAAAc4HAADZBgAACTMKAAAJNAoAAAoJNQoAAAoJDgEAAAgGKNWWx82qyz8KAgAAAAk2CgAACTcKAAAAAAAAAAk4CgAACQ4BAAAJAQAAAAk5CgAAAc8HAADZBgAACgoKCToKAAAKCQ4BAAAKCgMAAAAJOwoAAAk8CgAAAAAAAAAJPQoAAAkOAQAACQEAAAAJPgoAAAHQBwAA2QYAAAoKCgk/CgAACgkOAQAACgoEAAAACgoAAAAAAAlACgAACQ4BAAAJAQAAAAlBCgAAAdUHAADZBgAACgoKCUIKAAAKCQ8BAAAKCgAAAAAKCgAAAAAACUMKAAAJDwEAAAkBAAAACUQKAAAB1gcAANkGAAAKCgoJRQoAAAoJDwEAAAoKAQAAAAoKAAAAAAAJRgoAAAkPAQAACQEAAAAJRwoAAAHXBwAA2QYAAAlICgAACUkKAAAKCUoKAAAKCQ8BAAAIBnhNBuyt784/CgIAAAAJSwoAAAlMCgAAAAAAAAAJTQoAAAkPAQAACQEAAAAJTgoAAAHYBwAA2QYAAAoKCglPCgAACgkPAQAACgoDAAAACVAKAAAJUQoAAAAAAAAACVIKAAAJDwEAAAkBAAAACVMKAAAB2QcAANkGAAAKCgoJVAoAAAoJDwEAAAoKBAAAAAoKAAAAAAAJVQoAAAkPAQAACQEAAAAJVgoAAAHeBwAAcgAAAAoKAAAAAAAAAAANAAAAAAEB3wcAAHIAAAAKCgEAAAAAAAAA/////wABB+AHAAAAAQAAAAQAAAAEHUFwbG9yaXMuQmFzZS5PYmplY3RzLlZhcmlhYmxlAwAAAAFXCgAA3gYAAAEAAAAAAAAAAVgKAADeBgAAAAAAAAAAAAABWQoAAN4GAAAAAAAAAAAAAAFaCgAA3gYAAAAAAAAAAAAAD+EHAAABAAAACAAAAAAB5gcAAHIAAAAKCgAAAAAAAAAADQAAAAABAecHAAByAAAACgoBAAAAAAAAAP////8AAQfoBwAAAAEAAAAEAAAABB1BcGxvcmlzLkJhc2UuT2JqZWN0cy5WYXJpYWJsZQMAAAABWwoAAN4GAAABAAAAAAAAAAFcCgAA3gYAAAAAAAAAAAAAAV0KAADeBgAAAAAAAAAAAAABXgoAAN4GAAAAAAAAAAAAAA/pBwAAAQAAAAgAAAAAAe4HAAByAAAACgoAAAAAAAAAAA0AAAAAAQHvBwAAcgAAAAoKAQAAAAAAAAD/////AAEH8AcAAAABAAAABAAAAAQdQXBsb3Jpcy5CYXNlLk9iamVjdHMuVmFyaWFibGUDAAAAAV8KAADeBgAAAQAAAAAAAAABYAoAAN4GAAAAAAAAAAAAAAFhCgAA3gYAAAAAAAAAAAAAAWIKAADeBgAAAAAAAAAAAAAP8QcAAAEAAAAIAAAAAAciCAAAAAEAAAACAAAABBpBcGxvcmlzLkJhc2UuVUkuVmlzdWFsTGluZQMAAAAKCgcjCAAAAAEAAAADAAAABBVTeXN0ZW0uRHJhd2luZy5Qb2ludEYEAAAAAWMKAAAgAAAA6aIVQywLpkIBZAoAACAAAACMbqVCLAumQgFlCgAAIAAAAIyOWEMsC6ZCByQIAAAAAQAAAAMAAAAEF0FwbG9yaXMuQmFzZS5BbmNob3JNb2RlAwAAAAFmCgAAmgAAAAAAAAABZwoAAJoAAAACAAAAAWgKAACaAAAABAAAAAElCAAAJAAAAAnSAAAAAAAAAAAAAAABJggAACUAAAAJaQoAAAAAAAAEAAAABycIAAAAAQAAAAIAAAAEGkFwbG9yaXMuQmFzZS5VSS5WaXN1YWxMaW5lAwAAAAoKBygIAAAAAQAAAAMAAAAEFVN5c3RlbS5EcmF3aW5nLlBvaW50RgQAAAABagoAACAAAABd9KdDfkJkQwFrCgAAIAAAAB+MhUN+QmRDAWwKAAAgAAAAm1zKQ35CZEMHKQgAAAABAAAAAwAAAAQXQXBsb3Jpcy5CYXNlLkFuY2hvck1vZGUDAAAAAW0KAACaAAAAAAAAAAFuCgAAmgAAAAIAAAABbwoAAJoAAAAEAAAAASoIAAAkAAAACdIAAAAAAAAAAAAAAAErCAAAJQAAAAlwCgAAAAAAAAQAAAAHLAgAAAABAAAAAgAAAAQaQXBsb3Jpcy5CYXNlLlVJLlZpc3VhbExpbmUDAAAACgoBLQgAACQAAAAJ9gQAAAAAAAAAAAAAAS4IAAAlAAAACS0GAAAAAAAAAAAAAAcvCAAAAAEAAAACAAAABBpBcGxvcmlzLkJhc2UuVUkuVmlzdWFsTGluZQMAAAAKCgEwCAAAJAAAAAnSAAAAAAAAAAAAAAABMQgAACUAAAAJ0AAAAAAAAAAAAAAABzIIAAAAAQAAAAIAAAAEGkFwbG9yaXMuQmFzZS5VSS5WaXN1YWxMaW5lAwAAAAoKBzMIAAAAAQAAAAMAAAAEFVN5c3RlbS5EcmF3aW5nLlBvaW50RgQAAAABcQoAACAAAAD4oAhExFkEQwFyCgAAIAAAALLZ7kPEWQRDAXMKAAAgAAAAF9UZRMRZBEMHNAgAAAABAAAAAwAAAAQXQXBsb3Jpcy5CYXNlLkFuY2hvck1vZGUDAAAAAXQKAACaAAAAAAAAAAF1CgAAmgAAAAIAAAABdgoAAJoAAAAEAAAAATUIAAAkAAAACdIAAAAAAAAAAAAAAAE2CAAAJQAAAAl3CgAAAAAAAAQAAAAHNwgAAAABAAAAAgAAAAQaQXBsb3Jpcy5CYXNlLlVJLlZpc3VhbExpbmUDAAAACgoHOAgAAAABAAAAAwAAAAQVU3lzdGVtLkRyYXdpbmcuUG9pbnRGBAAAAAF4CgAAIAAAAOmiFUOlHIlDAXkKAAAgAAAAjG6lQqUciUMBegoAACAAAACMjlhDpRyJQwc5CAAAAAEAAAADAAAABBdBcGxvcmlzLkJhc2UuQW5jaG9yTW9kZQMAAAABewoAAJoAAAAAAAAAAXwKAACaAAAAAgAAAAF9CgAAmgAAAAQAAAABOggAACQAAAAJ0gAAAAAAAAAAAAAAATsIAAAlAAAACX4KAAAAAAAABAAAAAc8CAAAAAEAAAACAAAABBpBcGxvcmlzLkJhc2UuVUkuVmlzdWFsTGluZQMAAAAKCgc9CAAAAAEAAAADAAAABBVTeXN0ZW0uRHJhd2luZy5Qb2ludEYEAAAAAX8KAAAgAAAAXfSnQwO7rUMBgAoAACAAAAAfjIVDA7utQwGBCgAAIAAAAJtcykMDu61DBz4IAAAAAQAAAAMAAAAEF0FwbG9yaXMuQmFzZS5BbmNob3JNb2RlAwAAAAGCCgAAmgAAAAAAAAABgwoAAJoAAAACAAAAAYQKAACaAAAABAAAAAE/CAAAJAAAAAnSAAAAAAAAAAAAAAABQAgAACUAAAAJhQoAAAAAAAAEAAAAB0EIAAAAAQAAAAIAAAAEGkFwbG9yaXMuQmFzZS5VSS5WaXN1YWxMaW5lAwAAAAoKAUIIAAAkAAAACfYEAAAAAAAAAAAAAAFDCAAAJQAAAAktBgAAAAAAAAAAAAAHRAgAAAABAAAAAgAAAAQaQXBsb3Jpcy5CYXNlLlVJLlZpc3VhbExpbmUDAAAACgoBRQgAACQAAAAJ0gAAAAAAAAAAAAAAAUYIAAAlAAAACdAAAAAAAAAAAAAAAAdHCAAAAAEAAAACAAAABBpBcGxvcmlzLkJhc2UuVUkuVmlzdWFsTGluZQMAAAAKCgdICAAAAAEAAAADAAAABBVTeXN0ZW0uRHJhd2luZy5Qb2ludEYEAAAAAYYKAAAgAAAA+KAIRNg7m0MBhwoAACAAAACy2e5D2DubQwGICgAAIAAAABfVGUTYO5tDB0kIAAAAAQAAAAMAAAAEF0FwbG9yaXMuQmFzZS5BbmNob3JNb2RlAwAAAAGJCgAAmgAAAAAAAAABigoAAJoAAAACAAAAAYsKAACaAAAABAAAAAFKCAAAJAAAAAnSAAAAAAAAAAAAAAABSwgAACUAAAAJjAoAAAAAAAAEAAAAB0wIAAAAAQAAAAIAAAAEGkFwbG9yaXMuQmFzZS5VSS5WaXN1YWxMaW5lAwAAAAoKAU0IAAAkAAAACdIAAAAAAAAAAAAAAAFOCAAAJQAAAAnQAAAAAAAAAAAAAAAHTwgAAAABAAAAAgAAAAQaQXBsb3Jpcy5CYXNlLlVJLlZpc3VhbExpbmUDAAAACgoHUAgAAAABAAAAAwAAAAQVU3lzdGVtLkRyYXdpbmcuUG9pbnRGBAAAAAGNCgAAIAAAAEYXsUPoOQhCAY4KAAAgAAAAdKGPQ+g5CEIBjwoAACAAAAAYjdJD6DkIQgdRCAAAAAEAAAADAAAABBdBcGxvcmlzLkJhc2UuQW5jaG9yTW9kZQMAAAABkAoAAJoAAAAAAAAAAZEKAACaAAAAAgAAAAGSCgAAmgAAAAQAAAABUggAACQAAAAJ0gAAAAAAAAAAAAAAAVMIAAAlAAAACZMKAAAAAAAABAAAAAdUCAAAAAEAAAACAAAABBpBcGxvcmlzLkJhc2UuVUkuVmlzdWFsTGluZQMAAAAKCgFVCAAAJAAAAAn2BAAAAAAAAAAAAAABVggAACUAAAAJLQYAAAAAAAAAAAAAB1cIAAAAAQAAAAIAAAAEGkFwbG9yaXMuQmFzZS5VSS5WaXN1YWxMaW5lAwAAAAoKAVgIAAAkAAAACdIAAAAAAAAAAAAAAAFZCAAAJQAAAAnQAAAAAAAAAAAAAAAHWggAAAABAAAAAgAAAAQaQXBsb3Jpcy5CYXNlLlVJLlZpc3VhbExpbmUDAAAACgoBWwgAACQAAAAJ0gAAAAAAAAAAAAAAAVwIAAAlAAAACdAAAAAAAAAAAAAAAAddCAAAAAEAAAACAAAABBpBcGxvcmlzLkJhc2UuVUkuVmlzdWFsTGluZQMAAAAKCgFeCAAAJAAAAAnSAAAAAAAAAAAAAAABXwgAACUAAAAJ0AAAAAAAAAAAAAAAB2AIAAAAAQAAAAIAAAAEGkFwbG9yaXMuQmFzZS5VSS5WaXN1YWxMaW5lAwAAAAoKB2EIAAAAAQAAAAMAAAAEFVN5c3RlbS5EcmF3aW5nLlBvaW50RgQAAAABlAoAACAAAABGF7FD5gWsQgGVCgAAIAAAAHShj0PmBaxCAZYKAAAgAAAAGI3SQ+YFrEIHYggAAAABAAAAAwAAAAQXQXBsb3Jpcy5CYXNlLkFuY2hvck1vZGUDAAAAAZcKAACaAAAAAAAAAAGYCgAAmgAAAAIAAAABmQoAAJoAAAAEAAAAAWMIAAAkAAAACdIAAAAAAAAAAAAAAAFkCAAAJQAAAAmaCgAAAAAAAAQAAAAHZQgAAAABAAAAAgAAAAQaQXBsb3Jpcy5CYXNlLlVJLlZpc3VhbExpbmUDAAAACgoBZggAACQAAAAJ9gQAAAAAAAAAAAAAAWcIAAAlAAAACS0GAAAAAAAAAAAAAAdoCAAAAAEAAAACAAAABBpBcGxvcmlzLkJhc2UuVUkuVmlzdWFsTGluZQMAAAAKCgFpCAAAJAAAAAnSAAAAAAAAAAAAAAABaggAACUAAAAJ0AAAAAAAAAAAAAAAB2sIAAAAAQAAAAIAAAAEGkFwbG9yaXMuQmFzZS5VSS5WaXN1YWxMaW5lAwAAAAoKAWwIAAAkAAAACdIAAAAAAAAAAAAAAAFtCAAAJQAAAAnQAAAAAAAAAAAAAAAHbggAAAABAAAAAgAAAAQaQXBsb3Jpcy5CYXNlLlVJLlZpc3VhbExpbmUDAAAACgoBbwgAACQAAAAJ0gAAAAAAAAAAAAAAAXAIAAAlAAAACdAAAAAAAAAAAAAAAAdxCAAAAAEAAAACAAAABBpBcGxvcmlzLkJhc2UuVUkuVmlzdWFsTGluZQMAAAAKCgdyCAAAAAEAAAADAAAABBVTeXN0ZW0uRHJhd2luZy5Qb2ludEYEAAAAAZsKAAAgAAAARhexQ84cLUMBnAoAACAAAAB0oY9DzhwtQwGdCgAAIAAAABiN0kPOHC1DB3MIAAAAAQAAAAMAAAAEF0FwbG9yaXMuQmFzZS5BbmNob3JNb2RlAwAAAAGeCgAAmgAAAAAAAAABnwoAAJoAAAACAAAAAaAKAACaAAAABAAAAAF0CAAAJAAAAAnSAAAAAAAAAAAAAAABdQgAACUAAAAJoQoAAAAAAAAEAAAAB3YIAAAAAQAAAAIAAAAEGkFwbG9yaXMuQmFzZS5VSS5WaXN1YWxMaW5lAwAAAAoKAXcIAAAkAAAACfYEAAAAAAAAAAAAAAF4CAAAJQAAAAktBgAAAAAAAAAAAAAHeQgAAAABAAAAAgAAAAQaQXBsb3Jpcy5CYXNlLlVJLlZpc3VhbExpbmUDAAAACgoBeggAACQAAAAJ0gAAAAAAAAAAAAAAAXsIAAAlAAAACdAAAAAAAAAAAAAAAAd8CAAAAAEAAAACAAAABBpBcGxvcmlzLkJhc2UuVUkuVmlzdWFsTGluZQMAAAAKCgF9CAAAJAAAAAnSAAAAAAAAAAAAAAABfggAACUAAAAJ0AAAAAAAAAAAAAAAB38IAAAAAQAAAAIAAAAEGkFwbG9yaXMuQmFzZS5VSS5WaXN1YWxMaW5lAwAAAAoKAYAIAAAkAAAACdIAAAAAAAAAAAAAAAGBCAAAJQAAAAnQAAAAAAAAAAAAAAAHgggAAAABAAAAAgAAAAQaQXBsb3Jpcy5CYXNlLlVJLlZpc3VhbExpbmUDAAAACgoHgwgAAAABAAAAAwAAAAQVU3lzdGVtLkRyYXdpbmcuUG9pbnRGBAAAAAGiCgAAIAAAAEYXsUMELpxDAaMKAAAgAAAAdKGPQwQunEMBpAoAACAAAAAYjdJDBC6cQweECAAAAAEAAAADAAAABBdBcGxvcmlzLkJhc2UuQW5jaG9yTW9kZQMAAAABpQoAAJoAAAAAAAAAAaYKAACaAAAAAgAAAAGnCgAAmgAAAAQAAAABhQgAACQAAAAJ0gAAAAAAAAAAAAAAAYYIAAAlAAAACagKAAAAAAAABAAAAAeHCAAAAAEAAAACAAAABBpBcGxvcmlzLkJhc2UuVUkuVmlzdWFsTGluZQMAAAAKCgGICAAAJAAAAAn2BAAAAAAAAAAAAAABiQgAACUAAAAJLQYAAAAAAAAAAAAAB4oIAAAAAQAAAAIAAAAEGkFwbG9yaXMuQmFzZS5VSS5WaXN1YWxMaW5lAwAAAAoKAYsIAAAkAAAACdIAAAAAAAAAAAAAAAGMCAAAJQAAAAnQAAAAAAAAAAAAAAAHjQgAAAABAAAAAgAAAAQaQXBsb3Jpcy5CYXNlLlVJLlZpc3VhbExpbmUDAAAACgoBjggAACQAAAAJ0gAAAAAAAAAAAAAAAY8IAAAlAAAACdAAAAAAAAAAAAAAAAeQCAAAAAEAAAACAAAABBpBcGxvcmlzLkJhc2UuVUkuVmlzdWFsTGluZQMAAAAKCgGRCAAAJAAAAAnSAAAAAAAAAAAAAAABkggAACUAAAAJ0AAAAAAAAAAAAAAAB5MIAAAAAQAAAAIAAAAEGkFwbG9yaXMuQmFzZS5VSS5WaXN1YWxMaW5lAwAAAAoKAZQIAAAkAAAACdIAAAAAAAAAAAAAAAGVCAAAJQAAAAnQAAAAAAAAAAAAAAAHlggAAAABAAAAAgAAAAQaQXBsb3Jpcy5CYXNlLlVJLlZpc3VhbExpbmUDAAAACgoBlwgAACQAAAAJ9gQAAAAAAAAAAAAAAZgIAAAlAAAACS0GAAAAAAAAAAAAAAeZCAAAAAEAAAACAAAABBpBcGxvcmlzLkJhc2UuVUkuVmlzdWFsTGluZQMAAAAKCgGaCAAAJAAAAAnSAAAAAAAAAAAAAAABmwgAACUAAAAJ0AAAAAAAAAAAAAAAAZwIAAAjAQAAClgCAAABqQoAAG4CAAACAAAAAaoKAABvAgAAAQAAAAGrCgAAFAAAANIV90MGf5VBkK7zQnbWy0EBrAoAAHECAAAAAAAAAACgQAABrQoAACAAAADSxQpEQWr7QQGuCgAAmgAAAAAAAAAAAAAAAAAAAAAJrwoAAAAAAAAJsAoAAAAAAbEKAACjAAAAAAAAAAGyCgAAbAAAAAAAbEIAAMhBAbMKAAAUAAAARpcDRAAAoEHUc2JCdNG1QRKDvj8GtAoAAA9MZXNzIHRoYW4gMQ0KOSUKCbUKAAAGtgoAAAINCjQDAAD/////AQEKCbcKAAABAAoAAZ0IAAAbAAAAAbgKAAAgAAAA0pX1Q76qPEIBuQoAACAAAAC7wBpEDP56QQm6CgAACbsKAAAAAAAACgG8CgAAbAAAAAAAAAAAAAAAAb0KAABsAAAAAAAAAAAAAAAAAAAAAb4KAAAUAAAAAAAAAAAAAAAAAAAAAAAAAKQBAAD/////AQEKCb8KAAABAAoAB54IAAAAAQAAAAIAAAAEGkFwbG9yaXMuQmFzZS5VSS5WaXN1YWxMaW5lAwAAAAoKB58IAAAAAQAAAAMAAAAEFVN5c3RlbS5EcmF3aW5nLlBvaW50RgQAAAABwAoAACAAAADSxQpEQWr7QQHBCgAAIAAAANIV9ENBavtBAcIKAAAgAAAAu4AbREFq+0EHoAgAAAABAAAAAwAAAAQXQXBsb3Jpcy5CYXNlLkFuY2hvck1vZGUDAAAAAcMKAACaAAAAAAAAAAHECgAAmgAAAAIAAAABxQoAAJoAAAAEAAAAAaEIAAAkAAAACdIAAAAAAAAAAAAAAAGiCAAAJQAAAAnGCgAAAgAAAAIAAAAHowgAAAABAAAAAgAAAAQaQXBsb3Jpcy5CYXNlLlVJLlZpc3VhbExpbmUDAAAACgoBpAgAACQAAAAJ0gAAAAAAAAAAAAAAAaUIAAAlAAAACdAAAAAAAAAAAAAAAAemCAAAAAEAAAACAAAABBpBcGxvcmlzLkJhc2UuVUkuVmlzdWFsTGluZQMAAAAKCgGnCAAAJAAAAAnSAAAAAAAAAAAAAAABqAgAACUAAAAJ0AAAAAAAAAAAAAAAB6kIAAAAAQAAAAIAAAAEGkFwbG9yaXMuQmFzZS5VSS5WaXN1YWxMaW5lAwAAAAoKAaoIAAAkAAAACfYEAAAAAAAAAAAAAAGrCAAAJQAAAAktBgAAAAAAAAAAAAAHrAgAAAABAAAAAgAAAAQaQXBsb3Jpcy5CYXNlLlVJLlZpc3VhbExpbmUDAAAACgoBrQgAACQAAAAJ0gAAAAAAAAAAAAAAAa4IAAAlAAAACdAAAAAAAAAAAAAAAAGvCAAAIwEAAApYAgAAAccKAABuAgAAAgAAAAHICgAAbwIAAAEAAAAByQoAABQAAADSFfdDvqpIQpCu80KHdpZCAcoKAABxAgAAAAAAAAAAoEAAAcsKAAAgAAAA0sUKRKKQr0IBzAoAAJoAAAAAAAAAAAAAAAAAAAAACc0KAAAAAAAACc4KAAAAAAHPCgAAowAAAAAAAAAB0AoAAGwAAAAAAOBBAADIQQHRCgAAFAAAAC46B0QuuphCS3PjQXTRtUESg74/BtIKAAALMSB0byAzDQoyNCUKCdMKAAAG1AoAAAINCjQDAAD/////AQEKCdUKAAABAAoAAbAIAAAbAAAAAdYKAAAgAAAA0pX1Q/NlAEMB1woAACAAAAC7wBpEvqo8QgnYCgAACdkKAAAAAAAACgHaCgAAbAAAAAAAAAAAAAAAAdsKAABsAAAAAAAAAAAAAAAAAAAAAdwKAAAUAAAAAAAAAAAAAAAAAAAAAAAAAKQBAAD/////AQEKCd0KAAABAAoAB7EIAAAAAQAAAAIAAAAEGkFwbG9yaXMuQmFzZS5VSS5WaXN1YWxMaW5lAwAAAAoKB7IIAAAAAQAAAAMAAAAEFVN5c3RlbS5EcmF3aW5nLlBvaW50RgQAAAAB3goAACAAAADSxQpEopCvQgHfCgAAIAAAANIV9EOikK9CAeAKAAAgAAAAu4AbRKKQr0IHswgAAAABAAAAAwAAAAQXQXBsb3Jpcy5CYXNlLkFuY2hvck1vZGUDAAAAAeEKAACaAAAAAAAAAAHiCgAAmgAAAAIAAAAB4woAAJoAAAAEAAAAAbQIAAAkAAAACdIAAAAAAAAAAAAAAAG1CAAAJQAAAAnkCgAAAgAAAAIAAAAHtggAAAABAAAAAgAAAAQaQXBsb3Jpcy5CYXNlLlVJLlZpc3VhbExpbmUDAAAACgoBtwgAACQAAAAJ0gAAAAAAAAAAAAAAAbgIAAAlAAAACdAAAAAAAAAAAAAAAAe5CAAAAAEAAAACAAAABBpBcGxvcmlzLkJhc2UuVUkuVmlzdWFsTGluZQMAAAAKCgG6CAAAJAAAAAnSAAAAAAAAAAAAAAABuwgAACUAAAAJ0AAAAAAAAAAAAAAAB7wIAAAAAQAAAAIAAAAEGkFwbG9yaXMuQmFzZS5VSS5WaXN1YWxMaW5lAwAAAAoKAb0IAAAkAAAACfYEAAAAAAAAAAAAAAG+CAAAJQAAAAktBgAAAAAAAAAAAAAHvwgAAAABAAAAAgAAAAQaQXBsb3Jpcy5CYXNlLlVJLlZpc3VhbExpbmUDAAAACgoBwAgAACQAAAAJ0gAAAAAAAAAAAAAAAcEIAAAlAAAACdAAAAAAAAAAAAAAAAHCCAAAIwEAAApYAgAAAeUKAABuAgAAAgAAAAHmCgAAbwIAAAEAAAAB5woAABQAAADSFfdD82UDQ5Cu80KgtTlCAegKAABxAgAAAAAAAAAAoEAAAekKAAAgAAAA0sUKRKecGkMB6goAAJoAAAAAAAAAAAAAAAAAAAAACesKAAAAAAAACewKAAAAAAHtCgAAowAAAAAAAAAB7goAAGwAAAAAAOBBAADIQQHvCgAAFAAAAC46B0Tpog9DS3PjQXTRtUESg74/BvAKAAALNCB0byA1DQoxNSUKCfEKAAAG8goAAAINCjQDAAD/////AQEKCfMKAAABAAoAAcMIAAAbAAAAAfQKAAAgAAAA0pX1Q1vTNEMB9QoAACAAAAC7wBpE82UAQwn2CgAACfcKAAAAAAAACgH4CgAAbAAAAAAAAAAAAAAAAfkKAABsAAAAAAAAAAAAAAAAAAAAAfoKAAAUAAAAAAAAAAAAAAAAAAAAAAAAAKQBAAD/////AQEKCfsKAAABAAoAB8QIAAAAAQAAAAIAAAAEGkFwbG9yaXMuQmFzZS5VSS5WaXN1YWxMaW5lAwAAAAoKB8UIAAAAAQAAAAMAAAAEFVN5c3RlbS5EcmF3aW5nLlBvaW50RgQAAAAB/AoAACAAAADSxQpEp5waQwH9CgAAIAAAANIV9EOnnBpDAf4KAAAgAAAAu4AbRKecGkMHxggAAAABAAAAAwAAAAQXQXBsb3Jpcy5CYXNlLkFuY2hvck1vZGUDAAAAAf8KAACaAAAAAAAAAAEACwAAmgAAAAIAAAABAQsAAJoAAAAEAAAAAccIAAAkAAAACdIAAAAAAAAAAAAAAAHICAAAJQAAAAkCCwAAAgAAAAIAAAAHyQgAAAABAAAAAgAAAAQaQXBsb3Jpcy5CYXNlLlVJLlZpc3VhbExpbmUDAAAACgoByggAACQAAAAJ0gAAAAAAAAAAAAAAAcsIAAAlAAAACdAAAAAAAAAAAAAAAAfMCAAAAAEAAAACAAAABBpBcGxvcmlzLkJhc2UuVUkuVmlzdWFsTGluZQMAAAAKCgHNCAAAJAAAAAnSAAAAAAAAAAAAAAABzggAACUAAAAJ0AAAAAAAAAAAAAAAB88IAAAAAQAAAAIAAAAEGkFwbG9yaXMuQmFzZS5VSS5WaXN1YWxMaW5lAwAAAAoKAdAIAAAkAAAACfYEAAAAAAAAAAAAAAHRCAAAJQAAAAktBgAAAAAAAAAAAAAH0ggAAAABAAAAAgAAAAQaQXBsb3Jpcy5CYXNlLlVJLlZpc3VhbExpbmUDAAAACgoB0wgAACQAAAAJ0gAAAAAAAAAAAAAAAdQIAAAlAAAACdAAAAAAAAAAAAAAAAHVCAAAIwEAAApYAgAAAQMLAABuAgAAAgAAAAEECwAAbwIAAAEAAAABBQsAABQAAADSFfdDW9M3Q5Cu80Kw81JCAQYLAABxAgAAAAAAAAAAoEAAAQcLAAAgAAAA0sUKRNExUkMBCAsAAJoAAAAAAAAAAAAAAAAAAAAACQkLAAAAAAAACQoLAAAAAAELCwAAowAAAAAAAAABDAsAAGwAAAAAAOBBAADIQQENCwAAFAAAAC46B0RGF0dDS3PjQXTRtUESg74/Bg4LAAALNiB0byA5DQoxNyUKCQ8LAAAGEAsAAAINCjQDAAD/////AQEKCRELAAABAAoAAdYIAAAbAAAAARILAAAgAAAA0pX1Q0eQb0MBEwsAACAAAAC7wBpEW9M0QwkUCwAACRULAAAAAAAACgEWCwAAbAAAAAAAAAAAAAAAARcLAABsAAAAAAAAAAAAAAAAAAAAARgLAAAUAAAAAAAAAAAAAAAAAAAAAAAAAKQBAAD/////AQEKCRkLAAABAAoAB9cIAAAAAQAAAAIAAAAEGkFwbG9yaXMuQmFzZS5VSS5WaXN1YWxMaW5lAwAAAAoKB9gIAAAAAQAAAAMAAAAEFVN5c3RlbS5EcmF3aW5nLlBvaW50RgQAAAABGgsAACAAAADSxQpE0TFSQwEbCwAAIAAAANIV9EPRMVJDARwLAAAgAAAAu4AbRNExUkMH2QgAAAABAAAAAwAAAAQXQXBsb3Jpcy5CYXNlLkFuY2hvck1vZGUDAAAAAR0LAACaAAAAAAAAAAEeCwAAmgAAAAIAAAABHwsAAJoAAAAEAAAAAdoIAAAkAAAACdIAAAAAAAAAAAAAAAHbCAAAJQAAAAkgCwAAAgAAAAIAAAAH3AgAAAABAAAAAgAAAAQaQXBsb3Jpcy5CYXNlLlVJLlZpc3VhbExpbmUDAAAACgoB3QgAACQAAAAJ0gAAAAAAAAAAAAAAAd4IAAAlAAAACdAAAAAAAAAAAAAAAAffCAAAAAEAAAACAAAABBpBcGxvcmlzLkJhc2UuVUkuVmlzdWFsTGluZQMAAAAKCgHgCAAAJAAAAAnSAAAAAAAAAAAAAAAB4QgAACUAAAAJ0AAAAAAAAAAAAAAAB+IIAAAAAQAAAAIAAAAEGkFwbG9yaXMuQmFzZS5VSS5WaXN1YWxMaW5lAwAAAAoKAeMIAAAkAAAACfYEAAAAAAAAAAAAAAHkCAAAJQAAAAktBgAAAAAAAAAAAAAH5QgAAAABAAAAAgAAAAQaQXBsb3Jpcy5CYXNlLlVJLlZpc3VhbExpbmUDAAAACgoB5ggAACQAAAAJ0gAAAAAAAAAAAAAAAecIAAAlAAAACdAAAAAAAAAAAAAAAAHoCAAAIwEAAApYAgAAASELAABuAgAAAgAAAAEiCwAAbwIAAAEAAAABIwsAABQAAADSFfdDR5ByQ5Cu80KkIipCASQLAABxAgAAAAAAAAAAoEAAASULAAAgAAAA0sUKRE7qg0MBJgsAAJoAAAAAAAAAAAAAAAAAAAAACScLAAAAAAAACSgLAAAAAAEpCwAAowAAAAAAAAABKgsAAGwAAAAAACRCAADIQQErCwAAFAAAAOmiBUQuunxDd/8gQnTRtUESg74/BiwLAAANMTAgdG8gMTUNCjE0JQoJLQsAAAYuCwAAAg0KNAMAAP////8BAQoJLwsAAAEACgAB6QgAABsAAAABMAsAACAAAADSlfVDeAyQQwExCwAAIAAAALvAGkRHkG9DCTILAAAJMwsAAAAAAAAKATQLAABsAAAAAAAAAAAAAAABNQsAAGwAAAAAAAAAAAAAAAAAAAABNgsAABQAAAAAAAAAAAAAAAAAAAAAAAAApAEAAP////8BAQoJNwsAAAEACgAH6ggAAAABAAAAAgAAAAQaQXBsb3Jpcy5CYXNlLlVJLlZpc3VhbExpbmUDAAAACgoH6wgAAAABAAAAAwAAAAQVU3lzdGVtLkRyYXdpbmcuUG9pbnRGBAAAAAE4CwAAIAAAANLFCkRO6oNDATkLAAAgAAAA0hX0Q07qg0MBOgsAACAAAAC7gBtETuqDQwfsCAAAAAEAAAADAAAABBdBcGxvcmlzLkJhc2UuQW5jaG9yTW9kZQMAAAABOwsAAJoAAAAAAAAAATwLAACaAAAAAgAAAAE9CwAAmgAAAAQAAAAB7QgAACQAAAAJ0gAAAAAAAAAAAAAAAe4IAAAlAAAACT4LAAACAAAAAgAAAAfvCAAAAAEAAAACAAAABBpBcGxvcmlzLkJhc2UuVUkuVmlzdWFsTGluZQMAAAAKCgHwCAAAJAAAAAnSAAAAAAAAAAAAAAAB8QgAACUAAAAJ0AAAAAAAAAAAAAAAB/IIAAAAAQAAAAIAAAAEGkFwbG9yaXMuQmFzZS5VSS5WaXN1YWxMaW5lAwAAAAoKAfMIAAAkAAAACdIAAAAAAAAAAAAAAAH0CAAAJQAAAAnQAAAAAAAAAAAAAAAH9QgAAAABAAAAAgAAAAQaQXBsb3Jpcy5CYXNlLlVJLlZpc3VhbExpbmUDAAAACgoB9ggAACQAAAAJ9gQAAAAAAAAAAAAAAfcIAAAlAAAACS0GAAAAAAAAAAAAAAf4CAAAAAEAAAACAAAABBpBcGxvcmlzLkJhc2UuVUkuVmlzdWFsTGluZQMAAAAKCgH5CAAAJAAAAAnSAAAAAAAAAAAAAAAB+ggAACUAAAAJ0AAAAAAAAAAAAAAAAfsIAAAjAQAAClgCAAABPwsAAG4CAAACAAAAAUALAABvAgAAAQAAAAFBCwAAFAAAANIV90N4jJFDkK7zQkBtmUEBQgsAAHECAAAAAAAAAACgQAABQwsAACAAAADSxQpE4leWQwFECwAAmgAAAAAAAAAAAAAAAAAAAAAJRQsAAAAAAAAJRgsAAAAAAUcLAACjAAAAAAAAAAFICwAAbAAAAAAAJEIAAMhBAUkLAAAUAAAA6aIFRKOLkEN3/yBCdNG1QRKDvj8GSgsAAAwxNiB0byAyMA0KNyUKCUsLAAAGTAsAAAINCjQDAAD/////AQEKCU0LAAABAAoAAfwIAAAbAAAAAU4LAAAgAAAA0pX1Q0yjnEMBTwsAACAAAAC7wBpEeAyQQwlQCwAACVELAAAAAAAACgFSCwAAbAAAAAAAAAAAAAAAAVMLAABsAAAAAAAAAAAAAAAAAAAAAVQLAAAUAAAAAAAAAAAAAAAAAAAAAAAAAKQBAAD/////AQEKCVULAAABAAoAB/0IAAAAAQAAAAIAAAAEGkFwbG9yaXMuQmFzZS5VSS5WaXN1YWxMaW5lAwAAAAoKB/4IAAAAAQAAAAMAAAAEFVN5c3RlbS5EcmF3aW5nLlBvaW50RgQAAAABVgsAACAAAADSxQpE4leWQwFXCwAAIAAAANIV9EPiV5ZDAVgLAAAgAAAAu4AbROJXlkMH/wgAAAABAAAAAwAAAAQXQXBsb3Jpcy5CYXNlLkFuY2hvck1vZGUDAAAAAVkLAACaAAAAAAAAAAFaCwAAmgAAAAIAAAABWwsAAJoAAAAEAAAAAQAJAAAkAAAACdIAAAAAAAAAAAAAAAEBCQAAJQAAAAlcCwAAAgAAAAIAAAAHAgkAAAABAAAAAgAAAAQaQXBsb3Jpcy5CYXNlLlVJLlZpc3VhbExpbmUDAAAACgoBAwkAACQAAAAJ0gAAAAAAAAAAAAAAAQQJAAAlAAAACdAAAAAAAAAAAAAAAAcFCQAAAAEAAAACAAAABBpBcGxvcmlzLkJhc2UuVUkuVmlzdWFsTGluZQMAAAAKCgEGCQAAJAAAAAnSAAAAAAAAAAAAAAABBwkAACUAAAAJ0AAAAAAAAAAAAAAABwgJAAAAAQAAAAIAAAAEGkFwbG9yaXMuQmFzZS5VSS5WaXN1YWxMaW5lAwAAAAoKAQkJAAAkAAAACfYEAAAAAAAAAAAAAAEKCQAAJQAAAAktBgAAAAAAAAAAAAAHCwkAAAABAAAAAgAAAAQaQXBsb3Jpcy5CYXNlLlVJLlZpc3VhbExpbmUDAAAACgoBDAkAACQAAAAJ0gAAAAAAAAAAAAAAAQ0JAAAlAAAACdAAAAAAAAAAAAAAAAEOCQAAIwEAAApYAgAAAV0LAABuAgAAAgAAAAFeCwAAbwIAAAEAAAABXwsAABQAAADSFfdDTCOeQ5Cu80Kg0QpCAWALAABxAgAAAAAAAAAAoEAAAWELAAAgAAAA0sUKRGbQpkMBYgsAAJoAAAAAAAAAAAAAAAAAAAAACWMLAAAAAAAACWQLAAAAAAFlCwAAowAAAAAAAAABZgsAAGwAAAAAAIhCAADIQQFnCwAAFAAAAIuuAkS66KBDAZeBQnTRtUESg74/BmgLAAARTW9yZSB0aGFuIDIwDQoxMiUKCWkLAAAGagsAAAINCjQDAAD/////AQEKCWsLAAABAAoAAQ8JAAAbAAAAAWwLAAAgAAAA0pX1Q4D9sEMBbQsAACAAAAC7wBpETKOcQwluCwAACW8LAAAAAAAACgFwCwAAbAAAAAAAAAAAAAAAAXELAABsAAAAAAAAAAAAAAAAAAAAAXILAAAUAAAAAAAAAAAAAAAAAAAAAAAAAKQBAAD/////AQEKCXMLAAABAAoABxAJAAAAAQAAAAIAAAAEGkFwbG9yaXMuQmFzZS5VSS5WaXN1YWxMaW5lAwAAAAoKBxEJAAAAAQAAAAMAAAAEFVN5c3RlbS5EcmF3aW5nLlBvaW50RgQAAAABdAsAACAAAADSxQpEZtCmQwF1CwAAIAAAANIV9ENm0KZDAXYLAAAgAAAAu4AbRGbQpkMHEgkAAAABAAAAAwAAAAQXQXBsb3Jpcy5CYXNlLkFuY2hvck1vZGUDAAAAAXcLAACaAAAAAAAAAAF4CwAAmgAAAAIAAAABeQsAAJoAAAAEAAAAARMJAAAkAAAACdIAAAAAAAAAAAAAAAEUCQAAJQAAAAl6CwAAAgAAAAIAAAAHFQkAAAABAAAAAgAAAAQaQXBsb3Jpcy5CYXNlLlVJLlZpc3VhbExpbmUDAAAACgoBFgkAACQAAAAJ0gAAAAAAAAAAAAAAARcJAAAlAAAACdAAAAAAAAAAAAAAAAcYCQAAAAEAAAACAAAABBpBcGxvcmlzLkJhc2UuVUkuVmlzdWFsTGluZQMAAAAKCgEZCQAAJAAAAAnSAAAAAAAAAAAAAAABGgkAACUAAAAJ0AAAAAAAAAAAAAAABxsJAAAAAQAAAAIAAAAEGkFwbG9yaXMuQmFzZS5VSS5WaXN1YWxMaW5lAwAAAAoKARwJAAAkAAAACfYEAAAAAAAAAAAAAAEdCQAAJQAAAAktBgAAAAAAAAAAAAABHgkAACMBAAAKWAIAAAF7CwAAbgIAAAIAAAABfAsAAG8CAAABAAAAAX0LAAAUAAAAANCQQwZ/lUGQrvNCc50XQgF+CwAAcQIAAAAAAAAAAKBAAAF/CwAAIAAAANJFr0M8jhZCAYALAACaAAAAAAAAAAAAAAAAAAAAAAmBCwAAAAAAAAmCCwAAAAABgwsAAKMAAAAAAAAAAYQLAABsAAAAAADgQQAAyEEBhQsAABQAAACLLqhDuujSQUtz40F00bVBEoO+PwaGCwAACk90aGVyDQoxMyUKCYcLAAAGiAsAAAINCjQDAAD/////AQEKCYkLAAABAAoAAR8JAAAbAAAAAYoLAAAgAAAAAFCPQ/ZcbkIBiwsAACAAAACkO89DDP56QQmMCwAACY0LAAAAAAAACgGOCwAAbAAAAAAAAAAAAAAAAY8LAABsAAAAAAAAAAAAAAAAAAAAAZALAAAUAAAAAAAAAAAAAAAAAAAAAAAAAKQBAAD/////AQEKCZELAAABAAoAByAJAAAAAQAAAAIAAAAEGkFwbG9yaXMuQmFzZS5VSS5WaXN1YWxMaW5lAwAAAAoKByEJAAAAAQAAAAMAAAAEFVN5c3RlbS5EcmF3aW5nLlBvaW50RgQAAAABkgsAACAAAADSRa9DPI4WQgGTCwAAIAAAAADQjUM8jhZCAZQLAAAgAAAApLvQQzyOFkIHIgkAAAABAAAAAwAAAAQXQXBsb3Jpcy5CYXNlLkFuY2hvck1vZGUDAAAAAZULAACaAAAAAAAAAAGWCwAAmgAAAAIAAAABlwsAAJoAAAAEAAAAASMJAAAkAAAACdIAAAAAAAAAAAAAAAEkCQAAJQAAAAmYCwAAAgAAAAYAAAAHJQkAAAABAAAAAgAAAAQaQXBsb3Jpcy5CYXNlLlVJLlZpc3VhbExpbmUDAAAACgoBJgkAACQAAAAJ0gAAAAAAAAAAAAAAAScJAAAlAAAACdAAAAAAAAAAAAAAAAcoCQAAAAEAAAACAAAABBpBcGxvcmlzLkJhc2UuVUkuVmlzdWFsTGluZQMAAAAKCgEpCQAAJAAAAAnSAAAAAAAAAAAAAAABKgkAACUAAAAJ0AAAAAAAAAAAAAAABysJAAAAAQAAAAIAAAAEGkFwbG9yaXMuQmFzZS5VSS5WaXN1YWxMaW5lAwAAAAoKASwJAAAkAAAACdIAAAAAAAAAAAAAAAEtCQAAJQAAAAnQAAAAAAAAAAAAAAAHLgkAAAABAAAAAgAAAAQaQXBsb3Jpcy5CYXNlLlVJLlZpc3VhbExpbmUDAAAACgoBLwkAACQAAAAJ9gQAAAAAAAAAAAAAATAJAAAlAAAACS0GAAAAAAAAAAAAAAExCQAAIwEAAApYAgAAAZkLAABuAgAAAgAAAAGaCwAAbwIAAAEAAAABmwsAABQAAAAA0JBD9lx6QpCu80LQeh1BAZwLAABxAgAAAAAAAAAAoEAAAZ0LAAAgAAAA0kWvQygGh0IBngsAAJoAAAAAAAAAAAAAAAAAAAAACZ8LAAAAAAAACaALAAAAAAGhCwAAowAAAAAAAAABogsAAGwAAAAAAP5CAABAQQGjCwAAFAAAAF10kUPRRXdC09zsQqOLLkESg74/BqQLAAAYRmFjdWx0eSB3aXRoIEFkdmlzaW5nIDUlCgmlCwAABqYLAAABIDQDAAD/////AQEKCacLAAABAAoAATIJAAAbAAAAAagLAAAgAAAAAFCPQ9XdlkIBqQsAACAAAACkO89D9lxuQgmqCwAACasLAAAAAAAACgGsCwAAbAAAAAAAAAAAAAAAAa0LAABsAAAAAAAAAAAAAAAAAAAAAa4LAAAUAAAAAAAAAAAAAAAAAAAAAAAAAKQBAAD/////AQEKCa8LAAABAAoABzMJAAAAAQAAAAIAAAAEGkFwbG9yaXMuQmFzZS5VSS5WaXN1YWxMaW5lAwAAAAoKBzQJAAAAAQAAAAMAAAAEFVN5c3RlbS5EcmF3aW5nLlBvaW50RgQAAAABsAsAACAAAADSRa9DKAaHQgGxCwAAIAAAAADQjUMoBodCAbILAAAgAAAApLvQQygGh0IHNQkAAAABAAAAAwAAAAQXQXBsb3Jpcy5CYXNlLkFuY2hvck1vZGUDAAAAAbMLAACaAAAAAAAAAAG0CwAAmgAAAAIAAAABtQsAAJoAAAAEAAAAATYJAAAkAAAACdIAAAAAAAAAAAAAAAE3CQAAJQAAAAm2CwAAAgAAAAoAAAAHOAkAAAABAAAAAgAAAAQaQXBsb3Jpcy5CYXNlLlVJLlZpc3VhbExpbmUDAAAACgoBOQkAACQAAAAJ0gAAAAAAAAAAAAAAAToJAAAlAAAACdAAAAAAAAAAAAAAAAc7CQAAAAEAAAACAAAABBpBcGxvcmlzLkJhc2UuVUkuVmlzdWFsTGluZQMAAAAKCgE8CQAAJAAAAAnSAAAAAAAAAAAAAAABPQkAACUAAAAJ0AAAAAAAAAAAAAAABz4JAAAAAQAAAAIAAAAEGkFwbG9yaXMuQmFzZS5VSS5WaXN1YWxMaW5lAwAAAAoKAT8JAAAkAAAACdIAAAAAAAAAAAAAAAFACQAAJQAAAAnQAAAAAAAAAAAAAAAHQQkAAAABAAAAAgAAAAQaQXBsb3Jpcy5CYXNlLlVJLlZpc3VhbExpbmUDAAAACgoBQgkAACQAAAAJ9gQAAAAAAAAAAAAAAUMJAAAlAAAACS0GAAAAAAAAAAAAAAFECQAAIwEAAApYAgAAAbcLAABuAgAAAgAAAAG4CwAAbwIAAAEAAAABuQsAABQAAAAA0JBD1d2cQpCu80KYFuFBAboLAABxAgAAAAAAAAAAoEAAAbsLAAAgAAAA0kWvQ6gAuUIBvAsAAJoAAAAAAAAAAAAAAAAAAAAACb0LAAAAAAAACb4LAAAAAAG/CwAAowAAAAAAAAABwAsAAGwAAAAAAPBCAABAQQHBCwAAFAAAANFFk0Oji65CoyLgQqOLLkESg74/BsILAAAVQWR2aXNvci9Db3Vuc2Vsb3IgMTAlCgnDCwAABsQLAAABIDQDAAD/////AQEKCcULAAABAAoAAUUJAAAbAAAAAcYLAAAgAAAAAFCPQ3sj20IBxwsAACAAAACkO89D1d2WQgnICwAACckLAAAAAAAACgHKCwAAbAAAAAAAAAAAAAAAAcsLAABsAAAAAAAAAAAAAAAAAAAAAcwLAAAUAAAAAAAAAAAAAAAAAAAAAAAAAKQBAAD/////AQEKCc0LAAABAAoAB0YJAAAAAQAAAAIAAAAEGkFwbG9yaXMuQmFzZS5VSS5WaXN1YWxMaW5lAwAAAAoKB0cJAAAAAQAAAAMAAAAEFVN5c3RlbS5EcmF3aW5nLlBvaW50RgQAAAABzgsAACAAAADSRa9DqAC5QgHPCwAAIAAAAADQjUOoALlCAdALAAAgAAAApLvQQ6gAuUIHSAkAAAABAAAAAwAAAAQXQXBsb3Jpcy5CYXNlLkFuY2hvck1vZGUDAAAAAdELAACaAAAAAAAAAAHSCwAAmgAAAAIAAAAB0wsAAJoAAAAEAAAAAUkJAAAkAAAACdIAAAAAAAAAAAAAAAFKCQAAJQAAAAnUCwAAAgAAAAgAAAAHSwkAAAABAAAAAgAAAAQaQXBsb3Jpcy5CYXNlLlVJLlZpc3VhbExpbmUDAAAACgoBTAkAACQAAAAJ0gAAAAAAAAAAAAAAAU0JAAAlAAAACdAAAAAAAAAAAAAAAAdOCQAAAAEAAAACAAAABBpBcGxvcmlzLkJhc2UuVUkuVmlzdWFsTGluZQMAAAAKCgFPCQAAJAAAAAnSAAAAAAAAAAAAAAABUAkAACUAAAAJ0AAAAAAAAAAAAAAAB1EJAAAAAQAAAAIAAAAEGkFwbG9yaXMuQmFzZS5VSS5WaXN1YWxMaW5lAwAAAAoKAVIJAAAkAAAACdIAAAAAAAAAAAAAAAFTCQAAJQAAAAnQAAAAAAAAAAAAAAAHVAkAAAABAAAAAgAAAAQaQXBsb3Jpcy5CYXNlLlVJLlZpc3VhbExpbmUDAAAACgoBVQkAACQAAAAJ9gQAAAAAAAAAAAAAAVYJAAAlAAAACS0GAAAAAAAAAAAAAAFXCQAAIwEAAApYAgAAAdULAABuAgAAAgAAAAHWCwAAbwIAAAEAAAAB1wsAABQAAAAA0JBDeyPhQpCu80JvTYhCAdgLAABxAgAAAAAAAAAAoEAAAdkLAAAgAAAA0kWvQxmlEkMB2gsAAJoAAAAAAAAAAAAAAAAAAAAACdsLAAAAAAAACdwLAAAAAAHdCwAAowAAAAAAAAAB3gsAAGwAAAAAAM5CAAAYQgHfCwAAFAAAALrolkNGFwFD6TnBQosuCkISg74/BuALAAAqRGlyZWN0b3Igb2YgQWR2aXNpbmcvDQpBZHZpc2luZyBBZG1pbg0KMjIlCgnhCwAABuILAAACDQo0AwAA/////wEBCgnjCwAAAQAKAAFYCQAAGwAAAAHkCwAAIAAAAABQj0N1uDdDAeULAAAgAAAApDvPQ3sj20IJ5gsAAAnnCwAAAAAAAAoB6AsAAGwAAAAAAAAAAAAAAAHpCwAAbAAAAAAAAAAAAAAAAAAAAAHqCwAAFAAAAAAAAAAAAAAAAAAAAAAAAACkAQAA/////wEBCgnrCwAAAQAKAAdZCQAAAAEAAAACAAAABBpBcGxvcmlzLkJhc2UuVUkuVmlzdWFsTGluZQMAAAAKCgdaCQAAAAEAAAADAAAABBVTeXN0ZW0uRHJhd2luZy5Qb2ludEYEAAAAAewLAAAgAAAA0kWvQxmlEkMB7QsAACAAAAAA0I1DGaUSQwHuCwAAIAAAAKS70EMZpRJDB1sJAAAAAQAAAAMAAAAEF0FwbG9yaXMuQmFzZS5BbmNob3JNb2RlAwAAAAHvCwAAmgAAAAAAAAAB8AsAAJoAAAACAAAAAfELAACaAAAABAAAAAFcCQAAJAAAAAnSAAAAAAAAAAAAAAABXQkAACUAAAAJ8gsAAAIAAAAGAAAAB14JAAAAAQAAAAIAAAAEGkFwbG9yaXMuQmFzZS5VSS5WaXN1YWxMaW5lAwAAAAoKAV8JAAAkAAAACdIAAAAAAAAAAAAAAAFgCQAAJQAAAAnQAAAAAAAAAAAAAAAHYQkAAAABAAAAAgAAAAQaQXBsb3Jpcy5CYXNlLlVJLlZpc3VhbExpbmUDAAAACgoBYgkAACQAAAAJ0gAAAAAAAAAAAAAAAWMJAAAlAAAACdAAAAAAAAAAAAAAAAdkCQAAAAEAAAACAAAABBpBcGxvcmlzLkJhc2UuVUkuVmlzdWFsTGluZQMAAAAKCgFlCQAAJAAAAAnSAAAAAAAAAAAAAAABZgkAACUAAAAJ0AAAAAAAAAAAAAAAB2cJAAAAAQAAAAIAAAAEGkFwbG9yaXMuQmFzZS5VSS5WaXN1YWxMaW5lAwAAAAoKAWgJAAAkAAAACfYEAAAAAAAAAAAAAAFpCQAAJQAAAAktBgAAAAAAAAAAAAABagkAACMBAAAKWAIAAAHzCwAAbgIAAAIAAAAB9AsAAG8CAAABAAAAAfULAAAUAAAAANCQQ3W4OkOQrvNCSDlGQgH2CwAAcQIAAAAAAAAAAKBAAAH3CwAAIAAAANJFr0Oef1NDAfgLAACaAAAAAAAAAAAAAAAAAAAAAAn5CwAAAAAAAAn6CwAAAAAB+wsAAKMAAAAAAAAAAfwLAABsAAAAAADYQQAAyEEB/QsAABQAAACLLqhDAABIQ3ot3EF00bVBEoO+Pwb+CwAACURlYW4NCjE2JQoJ/wsAAAYADAAAAg0KNAMAAP////8BAQoJAQwAAAEACgABawkAABsAAAABAgwAACAAAAAAUI9Dx0ZvQwEDDAAAIAAAAKQ7z0N1uDdDCQQMAAAJBQwAAAAAAAAKAQYMAABsAAAAAAAAAAAAAAABBwwAAGwAAAAAAAAAAAAAAAAAAAABCAwAABQAAAAAAAAAAAAAAAAAAAAAAAAApAEAAP////8BAQoJCQwAAAEACgAHbAkAAAABAAAAAgAAAAQaQXBsb3Jpcy5CYXNlLlVJLlZpc3VhbExpbmUDAAAACgoHbQkAAAABAAAAAwAAAAQVU3lzdGVtLkRyYXdpbmcuUG9pbnRGBAAAAAEKDAAAIAAAANJFr0Oef1NDAQsMAAAgAAAAANCNQ55/U0MBDAwAACAAAACku9BDnn9TQwduCQAAAAEAAAADAAAABBdBcGxvcmlzLkJhc2UuQW5jaG9yTW9kZQMAAAABDQwAAJoAAAAAAAAAAQ4MAACaAAAAAgAAAAEPDAAAmgAAAAQAAAABbwkAACQAAAAJ0gAAAAAAAAAAAAAAAXAJAAAlAAAACRAMAAACAAAABgAAAAdxCQAAAAEAAAACAAAABBpBcGxvcmlzLkJhc2UuVUkuVmlzdWFsTGluZQMAAAAKCgFyCQAAJAAAAAnSAAAAAAAAAAAAAAABcwkAACUAAAAJ0AAAAAAAAAAAAAAAB3QJAAAAAQAAAAIAAAAEGkFwbG9yaXMuQmFzZS5VSS5WaXN1YWxMaW5lAwAAAAoKAXUJAAAkAAAACdIAAAAAAAAAAAAAAAF2CQAAJQAAAAnQAAAAAAAAAAAAAAAHdwkAAAABAAAAAgAAAAQaQXBsb3Jpcy5CYXNlLlVJLlZpc3VhbExpbmUDAAAACgoBeAkAACQAAAAJ0gAAAAAAAAAAAAAAAXkJAAAlAAAACdAAAAAAAAAAAAAAAAd6CQAAAAEAAAACAAAABBpBcGxvcmlzLkJhc2UuVUkuVmlzdWFsTGluZQMAAAAKCgF7CQAAJAAAAAn2BAAAAAAAAAAAAAABfAkAACUAAAAJLQYAAAAAAAAAAAAAAX0JAAAjAQAAClgCAAABEQwAAG4CAAACAAAAARIMAABvAgAAAQAAAAETDAAAFAAAAADQkEPHRnJDkK7zQnQmN0IBFAwAAHECAAAAAAAAAACgQAABFQwAACAAAADSRa9Dy5WEQwEWDAAAmgAAAAAAAAAAAAAAAAAAAAAJFwwAAAAAAAAJGAwAAAAAARkMAACjAAAAAAAAAAEaDAAAbAAAAAAAIEIAABhCARsMAAAUAAAAXXSlQ4sueEOOXB1Ciy4KQhKDvj8GHAwAABZEaXJlY3Rvcg0KKE90aGVyKQ0KMTUlCgkdDAAABh4MAAACDQo0AwAA/////wEBCgkfDAAAAQAKAAF+CQAAGwAAAAEgDAAAIAAAAABQj0MyiJFDASEMAAAgAAAApDvPQ8dGb0MJIgwAAAkjDAAAAAAAAAoBJAwAAGwAAAAAAAAAAAAAAAElDAAAbAAAAAAAAAAAAAAAAAAAAAEmDAAAFAAAAAAAAAAAAAAAAAAAAAAAAACkAQAA/////wEBCgknDAAAAQAKAAd/CQAAAAEAAAACAAAABBpBcGxvcmlzLkJhc2UuVUkuVmlzdWFsTGluZQMAAAAKCgeACQAAAAEAAAADAAAABBVTeXN0ZW0uRHJhd2luZy5Qb2ludEYEAAAAASgMAAAgAAAA0kWvQ8uVhEMBKQwAACAAAAAA0I1Dy5WEQwEqDAAAIAAAAKS70EPLlYRDB4EJAAAAAQAAAAMAAAAEF0FwbG9yaXMuQmFzZS5BbmNob3JNb2RlAwAAAAErDAAAmgAAAAAAAAABLAwAAJoAAAACAAAAAS0MAACaAAAABAAAAAGCCQAAJAAAAAnSAAAAAAAAAAAAAAABgwkAACUAAAAJLgwAAAIAAAAGAAAAB4QJAAAAAQAAAAIAAAAEGkFwbG9yaXMuQmFzZS5VSS5WaXN1YWxMaW5lAwAAAAoKAYUJAAAkAAAACdIAAAAAAAAAAAAAAAGGCQAAJQAAAAnQAAAAAAAAAAAAAAAHhwkAAAABAAAAAgAAAAQaQXBsb3Jpcy5CYXNlLlVJLlZpc3VhbExpbmUDAAAACgoBiAkAACQAAAAJ0gAAAAAAAAAAAAAAAYkJAAAlAAAACdAAAAAAAAAAAAAAAAeKCQAAAAEAAAACAAAABBpBcGxvcmlzLkJhc2UuVUkuVmlzdWFsTGluZQMAAAAKCgGLCQAAJAAAAAnSAAAAAAAAAAAAAAABjAkAACUAAAAJ0AAAAAAAAAAAAAAAB40JAAAAAQAAAAIAAAAEGkFwbG9yaXMuQmFzZS5VSS5WaXN1YWxMaW5lAwAAAAoKAY4JAAAkAAAACfYEAAAAAAAAAAAAAAGPCQAAJQAAAAktBgAAAAAAAAAAAAABkAkAACMBAAAKWAIAAAEvDAAAbgIAAAIAAAABMAwAAG8CAAABAAAAATEMAAAUAAAAANCQQzIIk0OQrvNCcKpjQgEyDAAAcQIAAAAAAAAAAKBAAAEzDAAAIAAAANJFr0PZQqFDATQMAACaAAAAAAAAAAAAAAAAAAAAAAk1DAAAAAAAAAk2DAAAAAABNwwAAKMAAAAAAAAAATgMAABsAAAAAADoQgAAGEIBOQwAABQAAACLLpRDLrqYQ9Lc2EKLLgpCEoO+PwY6DAAAL1Byb3Zvc3QsIFZpY2UgUHJvdm9zdCwgDQpvciBWaWNlIFByZXNpZGVudA0KMTklCgk7DAAABjwMAAACDQo0AwAA/////wEBCgk9DAAAAQAKAAGRCQAAGwAAAAE+DAAAIAAAAABQj0OA/bBDAT8MAAAgAAAApDvPQzKIkUMJQAwAAAlBDAAAAAAAAAoBQgwAAGwAAAAAAAAAAAAAAAFDDAAAbAAAAAAAAAAAAAAAAAAAAAFEDAAAFAAAAAAAAAAAAAAAAAAAAAAAAACkAQAA/////wEBCglFDAAAAQAKAAeSCQAAAAEAAAACAAAABBpBcGxvcmlzLkJhc2UuVUkuVmlzdWFsTGluZQMAAAAKCgeTCQAAAAEAAAADAAAABBVTeXN0ZW0uRHJhd2luZy5Qb2ludEYEAAAAAUYMAAAgAAAA0kWvQ9lCoUMBRwwAACAAAAAA0I1D2UKhQwFIDAAAIAAAAKS70EPZQqFDB5QJAAAAAQAAAAMAAAAEF0FwbG9yaXMuQmFzZS5BbmNob3JNb2RlAwAAAAFJDAAAmgAAAAAAAAABSgwAAJoAAAACAAAAAUsMAACaAAAABAAAAAGVCQAAJAAAAAnSAAAAAAAAAAAAAAABlgkAACUAAAAJTAwAAAIAAAAGAAAAB5cJAAAAAQAAAAIAAAAEGkFwbG9yaXMuQmFzZS5VSS5WaXN1YWxMaW5lAwAAAAoKAZgJAAAkAAAACdIAAAAAAAAAAAAAAAGZCQAAJQAAAAnQAAAAAAAAAAAAAAAHmgkAAAABAAAAAgAAAAQaQXBsb3Jpcy5CYXNlLlVJLlZpc3VhbExpbmUDAAAACgoBmwkAACQAAAAJ9gQAAAAAAAAAAAAAAZwJAAAlAAAACS0GAAAAAAAAAAAAAAedCQAAAAEAAAACAAAABBpBcGxvcmlzLkJhc2UuVUkuVmlzdWFsTGluZQMAAAAKCgGeCQAAJAAAAAn2BAAAAAAAAAAAAAABnwkAACUAAAAJLQYAAAAAAAAAAAAAAaAJAAAjAQAAClgCAAABTQwAAG4CAAACAAAAAU4MAABvAgAAAQAAAAFPDAAAFAAAALwoqkIGf5VBjK7zQtmVGkIBUAwAAHECAAAAAAAAAACgQAABUQwAACAAAAABABJDcAoYQgFSDAAAmgAAAAAAAAAAAAAAAAAAAAAJUwwAAAAAAAAJVAwAAAAAAVUMAACjAAAAAAAAAAFWDAAAbAAAAAAA4EEAAMhBAVcMAAAUAAAAdNEDQ7ro0kFLc+NBdNG1QRKDvj8GWAwAAApPdGhlcg0KMTMlCglZDAAABloMAAACDQo0AwAA/////wEBCglbDAAAAQAKAAGhCQAAGwAAAAFcDAAAIAAAALwopEJcVXFCAV0MAAAgAAAApOtRQwz+ekEJXgwAAAlfDAAAAAAAAAoBYAwAAGwAAAAAAAAAAAAAAAFhDAAAbAAAAAAAAAAAAAAAAAAAAAFiDAAAFAAAAAAAAAAAAAAAAAAAAAAAAACkAQAA/////wEBCgljDAAAAQAKAAeiCQAAAAEAAAACAAAABBpBcGxvcmlzLkJhc2UuVUkuVmlzdWFsTGluZQMAAAAKCgejCQAAAAEAAAADAAAABBVTeXN0ZW0uRHJhd2luZy5Qb2ludEYEAAAAAWQMAAAgAAAAAQASQ3AKGEIBZQwAACAAAAC8KJ5CcAoYQgFmDAAAIAAAAKTrVENwChhCB6QJAAAAAQAAAAMAAAAEF0FwbG9yaXMuQmFzZS5BbmNob3JNb2RlAwAAAAFnDAAAmgAAAAAAAAABaAwAAJoAAAACAAAAAWkMAACaAAAABAAAAAGlCQAAJAAAAAn2BAAAAAAAAAAAAAABpgkAACUAAAAJagwAAAIAAAAGAAAAB6cJAAAAAQAAAAIAAAAEGkFwbG9yaXMuQmFzZS5VSS5WaXN1YWxMaW5lAwAAAAoKB6gJAAAAAQAAAAMAAAAEFVN5c3RlbS5EcmF3aW5nLlBvaW50RgQAAAABawwAACAAAACji9BDbMheQwFsDAAAIAAAAC+KvkNsyF5DAW0MAAAgAAAAF43iQ2zIXkMHqQkAAAABAAAAAwAAAAQXQXBsb3Jpcy5CYXNlLkFuY2hvck1vZGUDAAAAAW4MAACaAAAAAAAAAAFvDAAAmgAAAAIAAAABcAwAAJoAAAAEAAAAAaoJAAAkAAAACfYEAAAAAAAAAAAAAAGrCQAAJQAAAAlxDAAAAAAAAAQAAAAHrAkAAAABAAAAAgAAAAQaQXBsb3Jpcy5CYXNlLlVJLlZpc3VhbExpbmUDAAAACgoBrQkAACQAAAAJ9gQAAAAAAAAAAAAAAa4JAAAlAAAACS0GAAAAAAAAAAAAAAevCQAAAAEAAAACAAAABBpBcGxvcmlzLkJhc2UuVUkuVmlzdWFsTGluZQMAAAAKCgGwCQAAJAAAAAn2BAAAAAAAAAAAAAABsQkAACUAAAAJLQYAAAAAAAAAAAAAB7IJAAAAAQAAAAIAAAAEGkFwbG9yaXMuQmFzZS5VSS5WaXN1YWxMaW5lAwAAAAoKAbMJAAAkAAAACfYEAAAAAAAAAAAAAAG0CQAAJQAAAAktBgAAAAAAAAAAAAABtQkAACMBAAAKWAIAAAFyDAAAbgIAAAIAAAABcwwAAG8CAAABAAAAAXQMAAAUAAAAvCiqQlxVfUKMrvNCgPSvQAF1DAAAcQIAAAAAAAAAAKBAAAF2DAAAIAAAAAEAEkNSKoRCAXcMAACaAAAAAAAAAAAAAAAAAAAAAAl4DAAAAAAAAAl5DAAAAQABegwAAKMAAAAAAAAAAXsMAABsAAAAAAAKQwAAQEEBfAwAABQAAADooqNC6KJzQmluAEOjiy5BEoO+PwZ9DAAAGFVuZGVyZ3JhZHVhdGUgU3R1ZGllcyAzJQoJfgwAAAZ/DAAAASA0AwAA/////wEBCgmADAAAAQAKAAG2CQAAGwAAAAGBDAAAIAAAALwopEL2qY9CAYIMAAAgAAAApOtRQ1xVcUIJgwwAAAmEDAAAAAAAAAoBhQwAAGwAAAAAAAAAAAAAAAGGDAAAbAAAAAAAAAAAAAAAAAAAAAGHDAAAFAAAAAAAAAAAAAAAAAAAAAAAAACkAQAA/////wEBCgmIDAAAAQAKAAe3CQAAAAEAAAACAAAABBpBcGxvcmlzLkJhc2UuVUkuVmlzdWFsTGluZQMAAAAKCge4CQAAAAEAAAADAAAABBVTeXN0ZW0uRHJhd2luZy5Qb2ludEYEAAAAAYkMAAAgAAAAAQASQ1IqhEIBigwAACAAAAC8KJ5CUiqEQgGLDAAAIAAAAKTrVENSKoRCB7kJAAAAAQAAAAMAAAAEF0FwbG9yaXMuQmFzZS5BbmNob3JNb2RlAwAAAAGMDAAAmgAAAAAAAAABjQwAAJoAAAACAAAAAY4MAACaAAAABAAAAAG6CQAAJAAAAAn2BAAAAAAAAAAAAAABuwkAACUAAAAJjwwAAAIAAAAGAAAAB7wJAAAAAQAAAAIAAAAEGkFwbG9yaXMuQmFzZS5VSS5WaXN1YWxMaW5lAwAAAAoKB70JAAAAAQAAAAMAAAAEFVN5c3RlbS5EcmF3aW5nLlBvaW50RgQAAAABkAwAACAAAACji9BDHla1QwGRDAAAIAAAAC+KvkMeVrVDAZIMAAAgAAAAF43iQx5WtUMHvgkAAAABAAAAAwAAAAQXQXBsb3Jpcy5CYXNlLkFuY2hvck1vZGUDAAAAAZMMAACaAAAAAAAAAAGUDAAAmgAAAAIAAAABlQwAAJoAAAAEAAAAAb8JAAAkAAAACfYEAAAAAAAAAAAAAAHACQAAJQAAAAmWDAAAAAAAAAQAAAAHwQkAAAABAAAAAgAAAAQaQXBsb3Jpcy5CYXNlLlVJLlZpc3VhbExpbmUDAAAACgoBwgkAACQAAAAJ9gQAAAAAAAAAAAAAAcMJAAAlAAAACS0GAAAAAAAAAAAAAAfECQAAAAEAAAACAAAABBpBcGxvcmlzLkJhc2UuVUkuVmlzdWFsTGluZQMAAAAKCgHFCQAAJAAAAAn2BAAAAAAAAAAAAAABxgkAACUAAAAJLQYAAAAAAAAAAAAAB8cJAAAAAQAAAAIAAAAEGkFwbG9yaXMuQmFzZS5VSS5WaXN1YWxMaW5lAwAAAAoKAcgJAAAkAAAACfYEAAAAAAAAAAAAAAHJCQAAJQAAAAktBgAAAAAAAAAAAAABygkAACMBAAAKWAIAAAGXDAAAbgIAAAIAAAABmAwAAG8CAAABAAAAAZkMAAAUAAAAvCiqQvaplUKMrvNC2I8WQQGaDAAAcQIAAAAAAAAAAKBAAAGbDAAAIAAAAAEAEkP0Ep9CAZwMAACaAAAAAAAAAAAAAAAAAAAAAAmdDAAAAAAAAAmeDAAAAAABnwwAAKMAAAAAAAAAAaAMAABsAAAAAACKQgAAQEEBoQwAABQAAABddOFC0UWTQnVog0Kjiy5BEoO+PwaiDAAAC1Jlc2VhcmNoIDUlCgmjDAAABqQMAAABIDQDAAD/////AQEKCaUMAAABAAoAAcsJAAAbAAAAAaYMAAAgAAAAvCikQvF7rkIBpwwAACAAAACk61FD9qmPQgmoDAAACakMAAAAAAAACgGqDAAAbAAAAAAAAAAAAAAAAasMAABsAAAAAAAAAAAAAAAAAAAAAawMAAAUAAAAAAAAAAAAAAAAAAAAAAAAAKQBAAD/////AQEKCa0MAAABAAoAB8wJAAAAAQAAAAIAAAAEGkFwbG9yaXMuQmFzZS5VSS5WaXN1YWxMaW5lAwAAAAoKB80JAAAAAQAAAAMAAAAEFVN5c3RlbS5EcmF3aW5nLlBvaW50RgQAAAABrgwAACAAAAABABJD9BKfQgGvDAAAIAAAALwonkL0Ep9CAbAMAAAgAAAApOtUQ/QSn0IHzgkAAAABAAAAAwAAAAQXQXBsb3Jpcy5CYXNlLkFuY2hvck1vZGUDAAAAAbEMAACaAAAAAAAAAAGyDAAAmgAAAAIAAAABswwAAJoAAAAEAAAAAc8JAAAkAAAACfYEAAAAAAAAAAAAAAHQCQAAJQAAAAm0DAAAAgAAAAYAAAAH0QkAAAABAAAAAgAAAAQaQXBsb3Jpcy5CYXNlLlVJLlZpc3VhbExpbmUDAAAACgoH0gkAAAABAAAAAwAAAAQVU3lzdGVtLkRyYXdpbmcuUG9pbnRGBAAAAAG1DAAAIAAAAKOL0ENuyLpDAbYMAAAgAAAAL4q+Q27IukMBtwwAACAAAAAXjeJDbsi6QwfTCQAAAAEAAAADAAAABBdBcGxvcmlzLkJhc2UuQW5jaG9yTW9kZQMAAAABuAwAAJoAAAAAAAAAAbkMAACaAAAAAgAAAAG6DAAAmgAAAAQAAAAB1AkAACQAAAAJ9gQAAAAAAAAAAAAAAdUJAAAlAAAACbsMAAAAAAAABAAAAAfWCQAAAAEAAAACAAAABBpBcGxvcmlzLkJhc2UuVUkuVmlzdWFsTGluZQMAAAAKCgHXCQAAJAAAAAn2BAAAAAAAAAAAAAAB2AkAACUAAAAJLQYAAAAAAAAAAAAAB9kJAAAAAQAAAAIAAAAEGkFwbG9yaXMuQmFzZS5VSS5WaXN1YWxMaW5lAwAAAAoKAdoJAAAkAAAACfYEAAAAAAAAAAAAAAHbCQAAJQAAAAktBgAAAAAAAAAAAAAH3AkAAAABAAAAAgAAAAQaQXBsb3Jpcy5CYXNlLlVJLlZpc3VhbExpbmUDAAAACgoB3QkAACQAAAAJ9gQAAAAAAAAAAAAAAd4JAAAlAAAACS0GAAAAAAAAAAAAAAHfCQAAIwEAAApYAgAAAbwMAABuAgAAAgAAAAG9DAAAbwIAAAEAAAABvgwAABQAAAC8KKpC8Xu0Qoyu80JQb6xAAb8MAABxAgAAAAAAAAAAoEAAAcAMAAAgAAAAAQASQ2zfuUIBwQwAAJoAAAAAAAAAAAAAAAAAAAAACcIMAAAAAAAACcMMAAAAAAHEDAAAowAAAAAAAAABxQwAAGwAAAAAAJxCAABAQQHGDAAAFAAAAIsu2kKji65CjMWTQqOLLkESg74/BscMAAANQWRtaXNzaW9ucyAzJQoJyAwAAAbJDAAAASA0AwAA/////wEBCgnKDAAAAQAKAAHgCQAAGwAAAAHLDAAAIAAAALwopELmQsVCAcwMAAAgAAAApOtRQ/F7rkIJzQwAAAnODAAAAAAAAAoBzwwAAGwAAAAAAAAAAAAAAAHQDAAAbAAAAAAAAAAAAAAAAAAAAAHRDAAAFAAAAAAAAAAAAAAAAAAAAAAAAACkAQAA/////wEBCgnSDAAAAQAKAAfhCQAAAAEAAAACAAAABBpBcGxvcmlzLkJhc2UuVUkuVmlzdWFsTGluZQMAAAAKCgfiCQAAAAEAAAADAAAABBVTeXN0ZW0uRHJhd2luZy5Qb2ludEYEAAAAAdMMAAAgAAAAAQASQ2zfuUIB1AwAACAAAAC8KJ5CbN+5QgHVDAAAIAAAAKTrVENs37lCB+MJAAAAAQAAAAMAAAAEF0FwbG9yaXMuQmFzZS5BbmNob3JNb2RlAwAAAAHWDAAAmgAAAAAAAAAB1wwAAJoAAAACAAAAAdgMAACaAAAABAAAAAHkCQAAJAAAAAn2BAAAAAAAAAAAAAAB5QkAACUAAAAJ2QwAAAIAAAAGAAAAB+YJAAAAAQAAAAIAAAAEGkFwbG9yaXMuQmFzZS5VSS5WaXN1YWxMaW5lAwAAAAoKB+cJAAAAAQAAAAMAAAAEFVN5c3RlbS5EcmF3aW5nLlBvaW50RgQAAAAB2gwAACAAAACji9BD3hCdQwHbDAAAIAAAAC+KvkPeEJ1DAdwMAAAgAAAAF43iQ94QnUMH6AkAAAABAAAAAwAAAAQXQXBsb3Jpcy5CYXNlLkFuY2hvck1vZGUDAAAAAd0MAACaAAAAAAAAAAHeDAAAmgAAAAIAAAAB3wwAAJoAAAAEAAAAAekJAAAkAAAACfYEAAAAAAAAAAAAAAHqCQAAJQAAAAngDAAAAAAAAAQAAAAH6wkAAAABAAAAAgAAAAQaQXBsb3Jpcy5CYXNlLlVJLlZpc3VhbExpbmUDAAAACgoB7AkAACQAAAAJ9gQAAAAAAAAAAAAAAe0JAAAlAAAACS0GAAAAAAAAAAAAAAfuCQAAAAEAAAACAAAABBpBcGxvcmlzLkJhc2UuVUkuVmlzdWFsTGluZQMAAAAKCgHvCQAAJAAAAAn2BAAAAAAAAAAAAAAB8AkAACUAAAAJLQYAAAAAAAAAAAAAB/EJAAAAAQAAAAIAAAAEGkFwbG9yaXMuQmFzZS5VSS5WaXN1YWxMaW5lAwAAAAoKAfIJAAAkAAAACfYEAAAAAAAAAAAAAAHzCQAAJQAAAAktBgAAAAAAAAAAAAAB9AkAACMBAAAKWAIAAAHhDAAAbgIAAAIAAAAB4gwAAG8CAAABAAAAAeMMAAAUAAAAvCiqQuZCy0KMrvNCsCe/QQHkDAAAcQIAAAAAAAAAAKBAAAHlDAAAIAAAAAEAEkPcJ+NCAeYMAACaAAAAAAAAAAAAAAAAAAAAAAnnDAAAAAAAAAnoDAAAAAAB6QwAAKMAAAAAAAAAAeoMAABsAAAAAAABQwAAyEEB6wwAABQAAAC66KpC6KLLQrx/8EJ00bVBEoO+PwbsDAAAGkFjYWRlbWljIFByb2dyYW0vRGVwdC4NCjklCgntDAAABu4MAAACDQo0AwAA/////wEBCgnvDAAAAQAKAAH1CQAAGwAAAAHwDAAAIAAAALwopEJphgBDAfEMAAAgAAAApOtRQ+ZCxUIJ8gwAAAnzDAAAAAAAAAoB9AwAAGwAAAAAAAAAAAAAAAH1DAAAbAAAAAAAAAAAAAAAAAAAAAH2DAAAFAAAAAAAAAAAAAAAAAAAAAAAAACkAQAA/////wEBCgn3DAAAAQAKAAf2CQAAAAEAAAACAAAABBpBcGxvcmlzLkJhc2UuVUkuVmlzdWFsTGluZQMAAAAKCgf3CQAAAAEAAAADAAAABBVTeXN0ZW0uRHJhd2luZy5Qb2ludEYEAAAAAfgMAAAgAAAAAQASQ9wn40IB+QwAACAAAAC8KJ5C3CfjQgH6DAAAIAAAAKTrVEPcJ+NCB/gJAAAAAQAAAAMAAAAEF0FwbG9yaXMuQmFzZS5BbmNob3JNb2RlAwAAAAH7DAAAmgAAAAAAAAAB/AwAAJoAAAACAAAAAf0MAACaAAAABAAAAAH5CQAAJAAAAAn2BAAAAAAAAAAAAAAB+gkAACUAAAAJ/gwAAAIAAAAGAAAAB/sJAAAAAQAAAAIAAAAEGkFwbG9yaXMuQmFzZS5VSS5WaXN1YWxMaW5lAwAAAAoKB/wJAAAAAQAAAAMAAAAEFVN5c3RlbS5EcmF3aW5nLlBvaW50RgQAAAAB/wwAACAAAACji9BDl3nCQwEADQAAIAAAAC+KvkOXecJDAQENAAAgAAAAF43iQ5d5wkMH/QkAAAABAAAAAwAAAAQXQXBsb3Jpcy5CYXNlLkFuY2hvck1vZGUDAAAAAQINAACaAAAAAAAAAAEDDQAAmgAAAAIAAAABBA0AAJoAAAAEAAAAAf4JAAAkAAAACfYEAAAAAAAAAAAAAAH/CQAAJQAAAAkFDQAAAAAAAAQAAAAHAAoAAAABAAAAAgAAAAQaQXBsb3Jpcy5CYXNlLlVJLlZpc3VhbExpbmUDAAAACgoBAQoAACQAAAAJ9gQAAAAAAAAAAAAAAQIKAAAlAAAACS0GAAAAAAAAAAAAAAcDCgAAAAEAAAACAAAABBpBcGxvcmlzLkJhc2UuVUkuVmlzdWFsTGluZQMAAAAKCgEECgAAJAAAAAn2BAAAAAAAAAAAAAABBQoAACUAAAAJLQYAAAAAAAAAAAAABwYKAAAAAQAAAAIAAAAEGkFwbG9yaXMuQmFzZS5VSS5WaXN1YWxMaW5lAwAAAAoKAQcKAAAkAAAACfYEAAAAAAAAAAAAAAEICgAAJQAAAAktBgAAAAAAAAAAAAABCQoAACMBAAAKWAIAAAEGDQAAbgIAAAIAAAABBw0AAG8CAAABAAAAAQgNAAAUAAAAvCiqQmmGA0OMrvNCeOS7QQEJDQAAcQIAAAAAAAAAAKBAAAEKDQAAIAAAAAEAEkOwRA9DAQsNAACaAAAAAAAAAAAAAAAAAAAAAAkMDQAAAAAAAAkNDQAAAAABDg0AAKMAAAAAAAAAAQ8NAABsAAAAAAD6QgAAyEEBEA0AABQAAACji65CdNEDQ+o56UJ00bVBEoO+PwYRDQAAGUVucm9sbG1lbnQgTWFuYWdlbWVudA0KOSUKCRINAAAGEw0AAAINCjQDAAD/////AQEKCRQNAAABAAoAAQoKAAAbAAAAARUNAAAgAAAAvCikQvgCHkMBFg0AACAAAACk61FDaYYAQwkXDQAACRgNAAAAAAAACgEZDQAAbAAAAAAAAAAAAAAAARoNAABsAAAAAAAAAAAAAAAAAAAAARsNAAAUAAAAAAAAAAAAAAAAAAAAAAAAAKQBAAD/////AQEKCRwNAAABAAoABwsKAAAAAQAAAAIAAAAEGkFwbG9yaXMuQmFzZS5VSS5WaXN1YWxMaW5lAwAAAAoKBwwKAAAAAQAAAAMAAAAEFVN5c3RlbS5EcmF3aW5nLlBvaW50RgQAAAABHQ0AACAAAAABABJDsEQPQwEeDQAAIAAAALwonkKwRA9DAR8NAAAgAAAApOtUQ7BED0MHDQoAAAABAAAAAwAAAAQXQXBsb3Jpcy5CYXNlLkFuY2hvck1vZGUDAAAAASANAACaAAAAAAAAAAEhDQAAmgAAAAIAAAABIg0AAJoAAAAEAAAAAQ4KAAAkAAAACfYEAAAAAAAAAAAAAAEPCgAAJQAAAAkjDQAAAgAAAAYAAAAHEAoAAAABAAAAAgAAAAQaQXBsb3Jpcy5CYXNlLlVJLlZpc3VhbExpbmUDAAAACgoHEQoAAAABAAAAAwAAAAQVU3lzdGVtLkRyYXdpbmcuUG9pbnRGBAAAAAEkDQAAIAAAAKOL0EOgUpRDASUNAAAgAAAAL4q+Q6BSlEMBJg0AACAAAAAXjeJDoFKUQwcSCgAAAAEAAAADAAAABBdBcGxvcmlzLkJhc2UuQW5jaG9yTW9kZQMAAAABJw0AAJoAAAAAAAAAASgNAACaAAAAAgAAAAEpDQAAmgAAAAQAAAABEwoAACQAAAAJ9gQAAAAAAAAAAAAAARQKAAAlAAAACSoNAAAAAAAABAAAAAcVCgAAAAEAAAACAAAABBpBcGxvcmlzLkJhc2UuVUkuVmlzdWFsTGluZQMAAAAKCgEWCgAAJAAAAAn2BAAAAAAAAAAAAAABFwoAACUAAAAJLQYAAAAAAAAAAAAABxgKAAAAAQAAAAIAAAAEGkFwbG9yaXMuQmFzZS5VSS5WaXN1YWxMaW5lAwAAAAoKARkKAAAkAAAACfYEAAAAAAAAAAAAAAEaCgAAJQAAAAktBgAAAAAAAAAAAAAHGwoAAAABAAAAAgAAAAQaQXBsb3Jpcy5CYXNlLlVJLlZpc3VhbExpbmUDAAAACgoBHAoAACQAAAAJ9gQAAAAAAAAAAAAAAR0KAAAlAAAACS0GAAAAAAAAAAAAAAEeCgAAIwEAAApYAgAAASsNAABuAgAAAgAAAAEsDQAAbwIAAAEAAAABLQ0AABQAAAC8KKpC+AIhQ4yu80LUVgxCAS4NAABxAgAAAAAAAAAAoEAAAS8NAAAgAAAAAQASQ9KNMkMBMA0AAJoAAAAAAAAAAAAAAAAAAAAACTENAAAAAAAACTINAAAAAAEzDQAAowAAAAAAAAABNA0AAGwAAAAAAJZCAADIQQE1DQAAFAAAAAAA3ELRRSdDL1GOQnTRtUESg74/BjYNAAAUU3R1ZGVudCBBZmZhaXJzDQoxMiUKCTcNAAAGOA0AAAINCjQDAAD/////AQEKCTkNAAABAAoAAR8KAAAbAAAAAToNAAAgAAAAvCikQq0YR0MBOw0AACAAAACk61FD+AIeQwk8DQAACT0NAAAAAAAACgE+DQAAbAAAAAAAAAAAAAAAAT8NAABsAAAAAAAAAAAAAAAAAAAAAUANAAAUAAAAAAAAAAAAAAAAAAAAAAAAAKQBAAD/////AQEKCUENAAABAAoAByAKAAAAAQAAAAIAAAAEGkFwbG9yaXMuQmFzZS5VSS5WaXN1YWxMaW5lAwAAAAoKByEKAAAAAQAAAAMAAAAEFVN5c3RlbS5EcmF3aW5nLlBvaW50RgQAAAABQg0AACAAAAABABJD0o0yQwFDDQAAIAAAALwonkLSjTJDAUQNAAAgAAAApOtUQ9KNMkMHIgoAAAABAAAAAwAAAAQXQXBsb3Jpcy5CYXNlLkFuY2hvck1vZGUDAAAAAUUNAACaAAAAAAAAAAFGDQAAmgAAAAIAAAABRw0AAJoAAAAEAAAAASMKAAAkAAAACfYEAAAAAAAAAAAAAAEkCgAAJQAAAAlIDQAAAgAAAAYAAAAHJQoAAAABAAAAAgAAAAQaQXBsb3Jpcy5CYXNlLlVJLlZpc3VhbExpbmUDAAAACgoHJgoAAAABAAAAAwAAAAQVU3lzdGVtLkRyYXdpbmcuUG9pbnRGBAAAAAFJDQAAIAAAAKOL0EPGAIpDAUoNAAAgAAAAL4q+Q8YAikMBSw0AACAAAAAXjeJDxgCKQwcnCgAAAAEAAAADAAAABBdBcGxvcmlzLkJhc2UuQW5jaG9yTW9kZQMAAAABTA0AAJoAAAAAAAAAAU0NAACaAAAAAgAAAAFODQAAmgAAAAQAAAABKAoAACQAAAAJ9gQAAAAAAAAAAAAAASkKAAAlAAAACU8NAAAAAAAABAAAAAcqCgAAAAEAAAACAAAABBpBcGxvcmlzLkJhc2UuVUkuVmlzdWFsTGluZQMAAAAKCgErCgAAJAAAAAn2BAAAAAAAAAAAAAABLAoAACUAAAAJLQYAAAAAAAAAAAAABy0KAAAAAQAAAAIAAAAEGkFwbG9yaXMuQmFzZS5VSS5WaXN1YWxMaW5lAwAAAAoKAS4KAAAkAAAACfYEAAAAAAAAAAAAAAEvCgAAJQAAAAktBgAAAAAAAAAAAAAHMAoAAAABAAAAAgAAAAQaQXBsb3Jpcy5CYXNlLlVJLlZpc3VhbExpbmUDAAAACgoBMQoAACQAAAAJ9gQAAAAAAAAAAAAAATIKAAAlAAAACS0GAAAAAAAAAAAAAAEzCgAAIwEAAApYAgAAAVANAABuAgAAAgAAAAFRDQAAbwIAAAEAAAABUg0AABQAAAC8KKpCrRhKQ4yu80KGPoZCAVMNAABxAgAAAAAAAAAAoEAAAVQNAAAgAAAAAQASQ06oa0MBVQ0AAJoAAAAAAAAAAAAAAAAAAAAACVYNAAAAAAAACVcNAAAAAAFYDQAAowAAAAAAAAABWQ0AAGwAAAAAAK5CAADIQQFaDQAAFAAAAEYX0UKji2BDpCKkQnTRtUESg74/BlsNAAAVU3R1ZGVudCBTZXJ2aWNlcw0KMjIlCglcDQAABl0NAAACDQo0AwAA/////wEBCgleDQAAAQAKAAE0CgAAGwAAAAFfDQAAIAAAALwopEL4G4hDAWANAAAgAAAApOtRQ60YR0MJYQ0AAAliDQAAAAAAAAoBYw0AAGwAAAAAAAAAAAAAAAFkDQAAbAAAAAAAAAAAAAAAAAAAAAFlDQAAFAAAAAAAAAAAAAAAAAAAAAAAAACkAQAA/////wEBCglmDQAAAQAKAAc1CgAAAAEAAAACAAAABBpBcGxvcmlzLkJhc2UuVUkuVmlzdWFsTGluZQMAAAAKCgc2CgAAAAEAAAADAAAABBVTeXN0ZW0uRHJhd2luZy5Qb2ludEYEAAAAAWcNAAAgAAAAAQASQ06oa0MBaA0AACAAAAC8KJ5CTqhrQwFpDQAAIAAAAKTrVENOqGtDBzcKAAAAAQAAAAMAAAAEF0FwbG9yaXMuQmFzZS5BbmNob3JNb2RlAwAAAAFqDQAAmgAAAAAAAAABaw0AAJoAAAACAAAAAWwNAACaAAAABAAAAAE4CgAAJAAAAAn2BAAAAAAAAAAAAAABOQoAACUAAAAJbQ0AAAIAAAAGAAAABzoKAAAAAQAAAAIAAAAEGkFwbG9yaXMuQmFzZS5VSS5WaXN1YWxMaW5lAwAAAAoKBzsKAAAAAQAAAAMAAAAEFVN5c3RlbS5EcmF3aW5nLlBvaW50RgQAAAABbg0AACAAAACji9BDS7x7QwFvDQAAIAAAAC+KvkNLvHtDAXANAAAgAAAAF43iQ0u8e0MHPAoAAAABAAAAAwAAAAQXQXBsb3Jpcy5CYXNlLkFuY2hvck1vZGUDAAAAAXENAACaAAAAAAAAAAFyDQAAmgAAAAIAAAABcw0AAJoAAAAEAAAAAT0KAAAkAAAACfYEAAAAAAAAAAAAAAE+CgAAJQAAAAl0DQAAAAAAAAQAAAAHPwoAAAABAAAAAgAAAAQaQXBsb3Jpcy5CYXNlLlVJLlZpc3VhbExpbmUDAAAACgoBQAoAACQAAAAJ9gQAAAAAAAAAAAAAAUEKAAAlAAAACS0GAAAAAAAAAAAAAAdCCgAAAAEAAAACAAAABBpBcGxvcmlzLkJhc2UuVUkuVmlzdWFsTGluZQMAAAAKCgFDCgAAJAAAAAn2BAAAAAAAAAAAAAABRAoAACUAAAAJLQYAAAAAAAAAAAAAB0UKAAAAAQAAAAIAAAAEGkFwbG9yaXMuQmFzZS5VSS5WaXN1YWxMaW5lAwAAAAoKAUYKAAAkAAAACfYEAAAAAAAAAAAAAAFHCgAAJQAAAAktBgAAAAAAAAAAAAABSAoAACMBAAAKWAIAAAF1DQAAbgIAAAIAAAABdg0AAG8CAAABAAAAAXcNAAAUAAAAvCiqQvibiUOMrvNCIIaXQgF4DQAAcQIAAAAAAAAAAKBAAAF5DQAAIAAAAAEAEkO8jJxDAXoNAACaAAAAAAAAAAAAAAAAAAAAAAl7DQAAAAAAAAl8DQAAAAABfQ0AAKMAAAAAAAAAAX4NAABsAAAAAACyQgAAGEIBfw0AABQAAADRRc9CLrqTQ4zFp0KLLgpCEoO+PwaADQAAIUFjYWRlbWljIA0KQWR2aXNpbmcvVHV0b3JpbmcNCjI0JQoJgQ0AAAaCDQAAAg0KNAMAAP////8BAQoJgw0AAAEACgABSQoAABsAAAABhA0AACAAAAC8KKRCgP2wQwGFDQAAIAAAAKTrUUP4G4hDCYYNAAAJhw0AAAAAAAAKAYgNAABsAAAAAAAAAAAAAAABiQ0AAGwAAAAAAAAAAAAAAAAAAAABig0AABQAAAAAAAAAAAAAAAAAAAAAAAAApAEAAP////8BAQoJiw0AAAEACgAHSgoAAAABAAAAAgAAAAQaQXBsb3Jpcy5CYXNlLlVJLlZpc3VhbExpbmUDAAAACgoHSwoAAAABAAAAAwAAAAQVU3lzdGVtLkRyYXdpbmcuUG9pbnRGBAAAAAGMDQAAIAAAAAEAEkO8jJxDAY0NAAAgAAAAvCieQryMnEMBjg0AACAAAACk61RDvIycQwdMCgAAAAEAAAADAAAABBdBcGxvcmlzLkJhc2UuQW5jaG9yTW9kZQMAAAABjw0AAJoAAAAAAAAAAZANAACaAAAAAgAAAAGRDQAAmgAAAAQAAAABTQoAACQAAAAJ9gQAAAAAAAAAAAAAAU4KAAAlAAAACZINAAACAAAABgAAAAdPCgAAAAEAAAACAAAABBpBcGxvcmlzLkJhc2UuVUkuVmlzdWFsTGluZQMAAAAKCgdQCgAAAAEAAAADAAAABBVTeXN0ZW0uRHJhd2luZy5Qb2ludEYEAAAAAZMNAAAgAAAAo4vQQ8ytqUMBlA0AACAAAAAvir5DzK2pQwGVDQAAIAAAABeN4kPMralDB1EKAAAAAQAAAAMAAAAEF0FwbG9yaXMuQmFzZS5BbmNob3JNb2RlAwAAAAGWDQAAmgAAAAAAAAABlw0AAJoAAAACAAAAAZgNAACaAAAABAAAAAFSCgAAJAAAAAn2BAAAAAAAAAAAAAABUwoAACUAAAAJmQ0AAAAAAAAEAAAAB1QKAAAAAQAAAAIAAAAEGkFwbG9yaXMuQmFzZS5VSS5WaXN1YWxMaW5lAwAAAAoKAVUKAAAkAAAACfYEAAAAAAAAAAAAAAFWCgAAJQAAAAktBgAAAAAAAAAAAAAHaQoAAAABAAAABAAAAAQcQXBsb3Jpcy5CYXNlLlVJLlZpc3VhbE9iamVjdAMAAAANBAdwCgAAAAEAAAAEAAAABBxBcGxvcmlzLkJhc2UuVUkuVmlzdWFsT2JqZWN0AwAAAA0EB3cKAAAAAQAAAAQAAAAEHEFwbG9yaXMuQmFzZS5VSS5WaXN1YWxPYmplY3QDAAAADQQHfgoAAAABAAAABAAAAAQcQXBsb3Jpcy5CYXNlLlVJLlZpc3VhbE9iamVjdAMAAAANBAeFCgAAAAEAAAAEAAAABBxBcGxvcmlzLkJhc2UuVUkuVmlzdWFsT2JqZWN0AwAAAA0EB4wKAAAAAQAAAAQAAAAEHEFwbG9yaXMuQmFzZS5VSS5WaXN1YWxPYmplY3QDAAAADQQHkwoAAAABAAAABAAAAAQcQXBsb3Jpcy5CYXNlLlVJLlZpc3VhbE9iamVjdAMAAAANBAeaCgAAAAEAAAAEAAAABBxBcGxvcmlzLkJhc2UuVUkuVmlzdWFsT2JqZWN0AwAAAA0EB6EKAAAAAQAAAAQAAAAEHEFwbG9yaXMuQmFzZS5VSS5WaXN1YWxPYmplY3QDAAAADQQHqAoAAAABAAAABAAAAAQcQXBsb3Jpcy5CYXNlLlVJLlZpc3VhbE9iamVjdAMAAAANBAGvCgAAIgAAAAoKAAAAAAAoQQlwAAAACXEAAAAJmg0AAAAACZsNAAABsAoAAHIAAAAKCgAAAAA/aX4ABQAAAAABAbUKAACnAAAACZwNAAACAAAACAAAAAG3CgAAbwAAAAmdDQAACgG6CgAAagAAAAoKAAAAQD8Jng0AAAmfDQAAAQAAAP7///8AAAAAAQAAAAAAAAAAAAAAAQAAAAAAAAAAAAABuwoAAGsAAAAKCgmgDQAACaENAAABAAAA/v///wAAAAD/////AQABvwoAAG8AAAAJog0AAAoHxgoAAAABAAAABAAAAAQcQXBsb3Jpcy5CYXNlLlVJLlZpc3VhbE9iamVjdAMAAAAJnQgAAAmcCAAACgoBzQoAACIAAAAKCgAAAAAAKEEJcAAAAAlxAAAACaMNAAAAAAmkDQAAAc4KAAByAAAACgoAAAAAcoSMAAYAAAAAAQHTCgAApwAAAAmlDQAAAgAAAAgAAAAB1QoAAG8AAAAJpg0AAAoB2AoAAGoAAAAKCgAAAEA/CacNAAAJqA0AAAEAAAD+////AAAAAAEAAAAAAAAAAAAAAAEAAAAAAAAAAAAAAdkKAABrAAAACgoJqQ0AAAmqDQAAAQAAAP7///8AAAAA/////wEAAd0KAABvAAAACasNAAAKB+QKAAAAAQAAAAQAAAAEHEFwbG9yaXMuQmFzZS5VSS5WaXN1YWxPYmplY3QDAAAACbAIAAAJrwgAAAoKAesKAAAiAAAACgoAAAAAAChBCXAAAAAJcQAAAAmsDQAAAAAJrQ0AAAHsCgAAcgAAAAoKAAAAAO0hJQAHAAAAAAEB8QoAAKcAAAAJrg0AAAIAAAAIAAAAAfMKAABvAAAACa8NAAAKAfYKAABqAAAACgoAAABAPwmwDQAACbENAAABAAAA/v///wAAAAABAAAAAAAAAAAAAAABAAAAAAAAAAAAAAH3CgAAawAAAAoKCbINAAAJsw0AAAEAAAD+////AAAAAP////8BAAH7CgAAbwAAAAm0DQAACgcCCwAAAAEAAAAEAAAABBxBcGxvcmlzLkJhc2UuVUkuVmlzdWFsT2JqZWN0AwAAAAnDCAAACcIIAAAKCgEJCwAAIgAAAAoKAAAAAAAoQQlwAAAACXEAAAAJtQ0AAAAACbYNAAABCgsAAHIAAAAKCgAAAABGOzQACAAAAAABAQ8LAACnAAAACbcNAAACAAAACAAAAAERCwAAbwAAAAm4DQAACgEUCwAAagAAAAoKAAAAQD8JuQ0AAAm6DQAAAQAAAP7///8AAAAAAQAAAAAAAAAAAAAAAQAAAAAAAAAAAAABFQsAAGsAAAAKCgm7DQAACbwNAAABAAAA/v///wAAAAD/////AQABGQsAAG8AAAAJvQ0AAAoHIAsAAAABAAAABAAAAAQcQXBsb3Jpcy5CYXNlLlVJLlZpc3VhbE9iamVjdAMAAAAJ1ggAAAnVCAAACgoBJwsAACIAAAAKCgAAAAAAKEEJcAAAAAlxAAAACb4NAAAAAAm/DQAAASgLAAByAAAACgoAAAAAw5h0AAkAAAAAAQEtCwAApwAAAAnADQAAAgAAAAgAAAABLwsAAG8AAAAJwQ0AAAoBMgsAAGoAAAAKCgAAAEA/CcINAAAJww0AAAEAAAD+////AAAAAAEAAAAAAAAAAAAAAAEAAAAAAAAAAAAAATMLAABrAAAACgoJxA0AAAnFDQAAAQAAAP7///8AAAAA/////wEAATcLAABvAAAACcYNAAAKBz4LAAAAAQAAAAQAAAAEHEFwbG9yaXMuQmFzZS5VSS5WaXN1YWxPYmplY3QDAAAACekIAAAJ6AgAAAoKAUULAAAiAAAACgoAAAAAAChBCXAAAAAJcQAAAAnHDQAAAAAJyA0AAAFGCwAAcgAAAAoKAAAAAPeUHgAKAAAAAAEBSwsAAKcAAAAJyQ0AAAIAAAAIAAAAAU0LAABvAAAACcoNAAAKAVALAABqAAAACgoAAABAPwnLDQAACcwNAAABAAAA/v///wAAAAABAAAAAAAAAAAAAAABAAAAAAAAAAAAAAFRCwAAawAAAAoKCc0NAAAJzg0AAAEAAAD+////AAAAAP////8BAAFVCwAAbwAAAAnPDQAACgdcCwAAAAEAAAAEAAAABBxBcGxvcmlzLkJhc2UuVUkuVmlzdWFsT2JqZWN0AwAAAAn8CAAACfsIAAAKCgFjCwAAIgAAAAoKAAAAAAAoQQlwAAAACXEAAAAJ0A0AAAAACdENAAABZAsAAHIAAAAKCgAAAAA/aX4ABQAAAAABAWkLAACnAAAACdINAAACAAAABgAAAAFrCwAAbwAAAAnTDQAACgFuCwAAagAAAAoKAAAAQD8J1A0AAAnVDQAAAQAAAP7///8AAAAAAQAAAAAAAAAAAAAAAQAAAAAAAAAAAAABbwsAAGsAAAAKCgnWDQAACdcNAAABAAAA/v///wAAAAD/////AQABcwsAAG8AAAAJ2A0AAAoHegsAAAABAAAABAAAAAQcQXBsb3Jpcy5CYXNlLlVJLlZpc3VhbE9iamVjdAMAAAAJDwkAAAkOCQAACgoBgQsAACIAAAAKCgAAAAAAKEEJcAAAAAlxAAAACdkNAAAAAAnaDQAAAYILAAByAAAACgoAAAAAcoSMAAYAAAAAAQGHCwAApwAAAAnbDQAAAgAAAAYAAAABiQsAAG8AAAAJ3A0AAAoBjAsAAGoAAAAKCgAAAEA/Cd0NAAAJ3g0AAAEAAAD+////AAAAAAEAAAAAAAAAAAAAAAEAAAAAAAAAAAAAAY0LAABrAAAACgoJ3w0AAAngDQAAAQAAAP7///8AAAAA/////wEAAZELAABvAAAACeENAAAKB5gLAAAAAQAAAAQAAAAEHEFwbG9yaXMuQmFzZS5VSS5WaXN1YWxPYmplY3QDAAAACR8JAAAJHgkAAAoKAZ8LAAAiAAAACgoAAAAAAChBCXAAAAAJcQAAAAniDQAAAAAJ4w0AAAGgCwAAcgAAAAoKAAAAAO0hJQAHAAAAAAEBpQsAAKcAAAAJ5A0AAAIAAAAJAAAAAacLAABvAAAACeUNAAAKAaoLAABqAAAACgoAAABAPwnmDQAACecNAAABAAAA/v///wAAAAABAAAAAAAAAAAAAAABAAAAAAAAAAAAAAGrCwAAawAAAAoKCegNAAAJ6Q0AAAEAAAD+////AAAAAP////8BAAGvCwAAbwAAAAnqDQAACge2CwAAAAEAAAAEAAAABBxBcGxvcmlzLkJhc2UuVUkuVmlzdWFsT2JqZWN0AwAAAAkyCQAACTEJAAAKCgG9CwAAIgAAAAoKAAAAAAAoQQlwAAAACXEAAAAJ6w0AAAAACewNAAABvgsAAHIAAAAKCgAAAABGOzQACAAAAAABAcMLAACnAAAACe0NAAACAAAACQAAAAHFCwAAbwAAAAnuDQAACgHICwAAagAAAAoKAAAAQD8J7w0AAAnwDQAAAQAAAP7///8AAAAAAQAAAAAAAAAAAAAAAQAAAAAAAAAAAAAByQsAAGsAAAAKCgnxDQAACfINAAABAAAA/v///wAAAAD/////AQABzQsAAG8AAAAJ8w0AAAoH1AsAAAABAAAABAAAAAQcQXBsb3Jpcy5CYXNlLlVJLlZpc3VhbE9iamVjdAMAAAAJRQkAAAlECQAACgoB2wsAACIAAAAKCgAAAAAAKEEJcAAAAAlxAAAACfQNAAAAAAn1DQAAAdwLAAByAAAACgoAAAAAw5h0AAkAAAAAAQHhCwAApwAAAAn2DQAAAgAAAAYAAAAB4wsAAG8AAAAJ9w0AAAoB5gsAAGoAAAAKCgAAAEA/CfgNAAAJ+Q0AAAEAAAD+////AAAAAAEAAAAAAAAAAAAAAAEAAAAAAAAAAAAAAecLAABrAAAACgoJ+g0AAAn7DQAAAQAAAP7///8AAAAA/////wEAAesLAABvAAAACfwNAAAKB/ILAAAAAQAAAAQAAAAEHEFwbG9yaXMuQmFzZS5VSS5WaXN1YWxPYmplY3QDAAAACVgJAAAJVwkAAAoKAfkLAAAiAAAACgoAAAAAAChBCXAAAAAJcQAAAAn9DQAAAAAJ/g0AAAH6CwAAcgAAAAoKAAAAAPeUHgAKAAAAAAEB/wsAAKcAAAAJ/w0AAAIAAAAGAAAAAQEMAABvAAAACQAOAAAKAQQMAABqAAAACgoAAABAPwkBDgAACQIOAAABAAAA/v///wAAAAABAAAAAAAAAAAAAAABAAAAAAAAAAAAAAEFDAAAawAAAAoKCQMOAAAJBA4AAAEAAAD+////AAAAAP////8BAAEJDAAAbwAAAAkFDgAACgcQDAAAAAEAAAAEAAAABBxBcGxvcmlzLkJhc2UuVUkuVmlzdWFsT2JqZWN0AwAAAAlrCQAACWoJAAAKCgEXDAAAIgAAAAoKAAAAAAAoQQlwAAAACXEAAAAJBg4AAAAACQcOAAABGAwAAHIAAAAKCgAAAAA/aX4ABQAAAAABAR0MAACnAAAACQgOAAACAAAABgAAAAEfDAAAbwAAAAkJDgAACgEiDAAAagAAAAoKAAAAQD8JCg4AAAkLDgAAAQAAAP7///8AAAAAAQAAAAAAAAAAAAAAAQAAAAAAAAAAAAABIwwAAGsAAAAKCgkMDgAACQ0OAAABAAAA/v///wAAAAD/////AQABJwwAAG8AAAAJDg4AAAoHLgwAAAABAAAABAAAAAQcQXBsb3Jpcy5CYXNlLlVJLlZpc3VhbE9iamVjdAMAAAAJfgkAAAl9CQAACgoBNQwAACIAAAAKCgAAAAAAKEEJcAAAAAlxAAAACQ8OAAAAAAkQDgAAATYMAAByAAAACgoAAAAAcoSMAAYAAAAAAQE7DAAApwAAAAkRDgAAAgAAAAQAAAABPQwAAG8AAAAJEg4AAAoBQAwAAGoAAAAKCgAAAEA/CRMOAAAJFA4AAAEAAAD+////AAAAAAEAAAAAAAAAAAAAAAEAAAAAAAAAAAAAAUEMAABrAAAACgoJFQ4AAAkWDgAAAQAAAP7///8AAAAA/////wEAAUUMAABvAAAACRcOAAAKB0wMAAAAAQAAAAQAAAAEHEFwbG9yaXMuQmFzZS5VSS5WaXN1YWxPYmplY3QDAAAACZEJAAAJkAkAAAoKAVMMAAAiAAAACgoAAAAAAChBCXAAAAAJcQAAAAkYDgAAAAAJGQ4AAAFUDAAAcgAAAAoKAAAAAO0hJQAHAAAAAAEBWQwAAKcAAAAJGg4AAAIAAAAGAAAAAVsMAABvAAAACRsOAAAKAV4MAABqAAAACgoAAABAPwkcDgAACR0OAAABAAAA/v///wAAAAABAAAAAAAAAAAAAAABAAAAAAAAAAAAAAFfDAAAawAAAAoKCR4OAAAJHw4AAAEAAAD+////AAAAAP////8BAAFjDAAAbwAAAAkgDgAACgdqDAAAAAEAAAAEAAAABBxBcGxvcmlzLkJhc2UuVUkuVmlzdWFsT2JqZWN0AwAAAAmhCQAACaAJAAAKCgdxDAAAAAEAAAAEAAAABBxBcGxvcmlzLkJhc2UuVUkuVmlzdWFsT2JqZWN0AwAAAA0EAXgMAAAiAAAACgoAAAAAAChBCXAAAAAJcQAAAAkhDgAAAAAJIg4AAAF5DAAAcgAAAAoKAAAAAEY7NAAIAAAAAAABfgwAAKcAAAAJIw4AAAIAAAAMAAAAAYAMAABvAAAACSQOAAAKAYMMAABqAAAACgoAAABAPwklDgAACSYOAAABAAAA/v///wAAAAABAAAAAAAAAAAAAAABAAAAAAAAAAAAAAGEDAAAawAAAAoKCScOAAAJKA4AAAEAAAD+////AAAAAP////8BAAGIDAAAbwAAAAkpDgAACgePDAAAAAEAAAAEAAAABBxBcGxvcmlzLkJhc2UuVUkuVmlzdWFsT2JqZWN0AwAAAAm2CQAACbUJAAAKCgeWDAAAAAEAAAAEAAAABBxBcGxvcmlzLkJhc2UuVUkuVmlzdWFsT2JqZWN0AwAAAA0EAZ0MAAAiAAAACgoAAAAAAChBCXAAAAAJcQAAAAkqDgAAAAAJKw4AAAGeDAAAcgAAAAoKAAAAAMOYdAAJAAAAAAEBowwAAKcAAAAJLA4AAAIAAAAJAAAAAaUMAABvAAAACS0OAAAKAagMAABqAAAACgoAAABAPwkuDgAACS8OAAABAAAA/v///wAAAAABAAAAAAAAAAAAAAABAAAAAAAAAAAAAAGpDAAAawAAAAoKCTAOAAAJMQ4AAAEAAAD+////AAAAAP////8BAAGtDAAAbwAAAAkyDgAACge0DAAAAAEAAAAEAAAABBxBcGxvcmlzLkJhc2UuVUkuVmlzdWFsT2JqZWN0AwAAAAnLCQAACcoJAAAKCge7DAAAAAEAAAAEAAAABBxBcGxvcmlzLkJhc2UuVUkuVmlzdWFsT2JqZWN0AwAAAA0EAcIMAAAiAAAACgoAAAAAAChBCXAAAAAJcQAAAAkzDgAAAAAJNA4AAAHDDAAAcgAAAAoKAAAAAPeUHgAKAAAAAAEByAwAAKcAAAAJNQ4AAAIAAAAJAAAAAcoMAABvAAAACTYOAAAKAc0MAABqAAAACgoAAABAPwk3DgAACTgOAAABAAAA/v///wAAAAABAAAAAAAAAAAAAAABAAAAAAAAAAAAAAHODAAAawAAAAoKCTkOAAAJOg4AAAEAAAD+////AAAAAP////8BAAHSDAAAbwAAAAk7DgAACgfZDAAAAAEAAAAEAAAABBxBcGxvcmlzLkJhc2UuVUkuVmlzdWFsT2JqZWN0AwAAAAngCQAACd8JAAAKCgfgDAAAAAEAAAAEAAAABBxBcGxvcmlzLkJhc2UuVUkuVmlzdWFsT2JqZWN0AwAAAA0EAecMAAAiAAAACgoAAAAAAChBCXAAAAAJcQAAAAk8DgAAAAAJPQ4AAAHoDAAAcgAAAAoKAAAAAD9pfgAFAAAAAAEB7QwAAKcAAAAJPg4AAAIAAAAGAAAAAe8MAABvAAAACT8OAAAKAfIMAABqAAAACgoAAABAPwlADgAACUEOAAABAAAA/v///wAAAAABAAAAAAAAAAAAAAABAAAAAAAAAAAAAAHzDAAAawAAAAoKCUIOAAAJQw4AAAEAAAD+////AAAAAP////8BAAH3DAAAbwAAAAlEDgAACgf+DAAAAAEAAAAEAAAABBxBcGxvcmlzLkJhc2UuVUkuVmlzdWFsT2JqZWN0AwAAAAn1CQAACfQJAAAKCgcFDQAAAAEAAAAEAAAABBxBcGxvcmlzLkJhc2UuVUkuVmlzdWFsT2JqZWN0AwAAAA0EAQwNAAAiAAAACgoAAAAAAChBCXAAAAAJcQAAAAlFDgAAAAAJRg4AAAENDQAAcgAAAAoKAAAAAHKEjAAGAAAAAAEBEg0AAKcAAAAJRw4AAAIAAAAGAAAAARQNAABvAAAACUgOAAAKARcNAABqAAAACgoAAABAPwlJDgAACUoOAAABAAAA/v///wAAAAABAAAAAAAAAAAAAAABAAAAAAAAAAAAAAEYDQAAawAAAAoKCUsOAAAJTA4AAAEAAAD+////AAAAAP////8BAAEcDQAAbwAAAAlNDgAACgcjDQAAAAEAAAAEAAAABBxBcGxvcmlzLkJhc2UuVUkuVmlzdWFsT2JqZWN0AwAAAAkKCgAACQkKAAAKCgcqDQAAAAEAAAAEAAAABBxBcGxvcmlzLkJhc2UuVUkuVmlzdWFsT2JqZWN0AwAAAA0EATENAAAiAAAACgoAAAAAAChBCXAAAAAJcQAAAAlODgAAAAAJTw4AAAEyDQAAcgAAAAoKAAAAAO0hJQAHAAAAAAEBNw0AAKcAAAAJUA4AAAIAAAAGAAAAATkNAABvAAAACVEOAAAKATwNAABqAAAACgoAAABAPwlSDgAACVMOAAABAAAA/v///wAAAAABAAAAAAAAAAAAAAABAAAAAAAAAAAAAAE9DQAAawAAAAoKCVQOAAAJVQ4AAAEAAAD+////AAAAAP////8BAAFBDQAAbwAAAAlWDgAACgdIDQAAAAEAAAAEAAAABBxBcGxvcmlzLkJhc2UuVUkuVmlzdWFsT2JqZWN0AwAAAAkfCgAACR4KAAAKCgdPDQAAAAEAAAAEAAAABBxBcGxvcmlzLkJhc2UuVUkuVmlzdWFsT2JqZWN0AwAAAA0EAVYNAAAiAAAACgoAAAAAAChBCXAAAAAJcQAAAAlXDgAAAAAJWA4AAAFXDQAAcgAAAAoKAAAAAEY7NAAIAAAAAAEBXA0AAKcAAAAJWQ4AAAIAAAAGAAAAAV4NAABvAAAACVoOAAAKAWENAABqAAAACgoAAABAPwlbDgAACVwOAAABAAAA/v///wAAAAABAAAAAAAAAAAAAAABAAAAAAAAAAAAAAFiDQAAawAAAAoKCV0OAAAJXg4AAAEAAAD+////AAAAAP////8BAAFmDQAAbwAAAAlfDgAACgdtDQAAAAEAAAAEAAAABBxBcGxvcmlzLkJhc2UuVUkuVmlzdWFsT2JqZWN0AwAAAAk0CgAACTMKAAAKCgd0DQAAAAEAAAAEAAAABBxBcGxvcmlzLkJhc2UuVUkuVmlzdWFsT2JqZWN0AwAAAA0EAXsNAAAiAAAACgoAAAAAAChBCXAAAAAJcQAAAAlgDgAAAAAJYQ4AAAF8DQAAcgAAAAoKAAAAAMOYdAAJAAAAAAEBgQ0AAKcAAAAJYg4AAAIAAAAEAAAAAYMNAABvAAAACWMOAAAKAYYNAABqAAAACgoAAABAPwlkDgAACWUOAAABAAAA/v///wAAAAABAAAAAAAAAAAAAAABAAAAAAAAAAAAAAGHDQAAawAAAAoKCWYOAAAJZw4AAAEAAAD+////AAAAAP////8BAAGLDQAAbwAAAAloDgAACgeSDQAAAAEAAAAEAAAABBxBcGxvcmlzLkJhc2UuVUkuVmlzdWFsT2JqZWN0AwAAAAlJCgAACUgKAAAKCgeZDQAAAAEAAAAEAAAABBxBcGxvcmlzLkJhc2UuVUkuVmlzdWFsT2JqZWN0AwAAAA0EAZoNAAByAAAACgoAAAAA////AA4AAAAAAAGbDQAAcgAAAAoKAAAAAP///wAOAAAAAAEHnA0AAAABAAAABAAAAAQdQXBsb3Jpcy5CYXNlLk9iamVjdHMuVmFyaWFibGUDAAAAAWkOAADeBgAAAwAAAAAAAAABag4AAN4GAAACAAAAAgAAAAFrDgAA3gYAAAAAAAAAAAAAAWwOAADeBgAAAAAAAAAAAAAPnQ0AAAEAAAAIOAAAAAWeDQAAGkFwbG9yaXMuQmFzZS5PYmplY3RzLkNvbG9yBwAAABJEYXRhT2JqZWN0K21QYXJlbnQVRGF0YU9iamVjdCttQ29udGFpbmVyBW1UeXBlBG1SR0IQbVRoZW1lQ29sb3JJbmRleAxtQXV0b1VwZGF0ZWQJbU1vZGlmaWVkBAIAAAAAAB9BcGxvcmlzLkJhc2UuT2JqZWN0cy5MaW5lRm9ybWF0AwAAAAgICAEBAwAAAAm6CgAACgAAAAD///8ADgAAAAAABZ8NAAAaQXBsb3Jpcy5CYXNlLk9iamVjdHMuQ29sb3IHAAAAEkRhdGFPYmplY3QrbVBhcmVudBVEYXRhT2JqZWN0K21Db250YWluZXIFbVR5cGUEbVJHQhBtVGhlbWVDb2xvckluZGV4DG1BdXRvVXBkYXRlZAltTW9kaWZpZWQEAgAAAAAAH0FwbG9yaXMuQmFzZS5PYmplY3RzLkxpbmVGb3JtYXQDAAAACAgIAQEDAAAACboKAAAKAQAAAAAAAAD/////AAEBoA0AAHIAAAAKCgAAAAA/aX4ABQAAAAAAAaENAAByAAAACgoBAAAA////AP////8AAA+iDQAAAQAAAAgGAAAAAaMNAAByAAAACgoAAAAA////AA4AAAAAAAGkDQAAcgAAAAoKAAAAAP///wAOAAAAAAEHpQ0AAAABAAAABAAAAAQdQXBsb3Jpcy5CYXNlLk9iamVjdHMuVmFyaWFibGUDAAAAAW0OAADeBgAAAwAAAAAAAAABbg4AAN4GAAACAAAAAgAAAAFvDgAA3gYAAAAAAAAAAAAAAXAOAADeBgAAAAAAAAAAAAAPpg0AAAEAAAAINgAAAAWnDQAAGkFwbG9yaXMuQmFzZS5PYmplY3RzLkNvbG9yBwAAABJEYXRhT2JqZWN0K21QYXJlbnQVRGF0YU9iamVjdCttQ29udGFpbmVyBW1UeXBlBG1SR0IQbVRoZW1lQ29sb3JJbmRleAxtQXV0b1VwZGF0ZWQJbU1vZGlmaWVkBAIAAAAAAB9BcGxvcmlzLkJhc2UuT2JqZWN0cy5MaW5lRm9ybWF0AwAAAAgICAEBAwAAAAnYCgAACgAAAAD///8ADgAAAAAABagNAAAaQXBsb3Jpcy5CYXNlLk9iamVjdHMuQ29sb3IHAAAAEkRhdGFPYmplY3QrbVBhcmVudBVEYXRhT2JqZWN0K21Db250YWluZXIFbVR5cGUEbVJHQhBtVGhlbWVDb2xvckluZGV4DG1BdXRvVXBkYXRlZAltTW9kaWZpZWQEAgAAAAAAH0FwbG9yaXMuQmFzZS5PYmplY3RzLkxpbmVGb3JtYXQDAAAACAgIAQEDAAAACdgKAAAKAQAAAAAAAAD/////AAEBqQ0AAHIAAAAKCgAAAAByhIwABgAAAAAAAaoNAAByAAAACgoBAAAA////AP////8AAA+rDQAAAQAAAAgHAAAAAawNAAByAAAACgoAAAAA////AA4AAAAAAAGtDQAAcgAAAAoKAAAAAP///wAOAAAAAAEHrg0AAAABAAAABAAAAAQdQXBsb3Jpcy5CYXNlLk9iamVjdHMuVmFyaWFibGUDAAAAAXEOAADeBgAAAwAAAAAAAAABcg4AAN4GAAACAAAAAgAAAAFzDgAA3gYAAAAAAAAAAAAAAXQOAADeBgAAAAAAAAAAAAAPrw0AAAEAAAAINwAAAAWwDQAAGkFwbG9yaXMuQmFzZS5PYmplY3RzLkNvbG9yBwAAABJEYXRhT2JqZWN0K21QYXJlbnQVRGF0YU9iamVjdCttQ29udGFpbmVyBW1UeXBlBG1SR0IQbVRoZW1lQ29sb3JJbmRleAxtQXV0b1VwZGF0ZWQJbU1vZGlmaWVkBAIAAAAAAB9BcGxvcmlzLkJhc2UuT2JqZWN0cy5MaW5lRm9ybWF0AwAAAAgICAEBAwAAAAn2CgAACgAAAAD///8ADgAAAAAABbENAAAaQXBsb3Jpcy5CYXNlLk9iamVjdHMuQ29sb3IHAAAAEkRhdGFPYmplY3QrbVBhcmVudBVEYXRhT2JqZWN0K21Db250YWluZXIFbVR5cGUEbVJHQhBtVGhlbWVDb2xvckluZGV4DG1BdXRvVXBkYXRlZAltTW9kaWZpZWQEAgAAAAAAH0FwbG9yaXMuQmFzZS5PYmplY3RzLkxpbmVGb3JtYXQDAAAACAgIAQEDAAAACfYKAAAKAQAAAAAAAAD/////AAEBsg0AAHIAAAAKCgAAAADtISUABwAAAAAAAbMNAAByAAAACgoBAAAA////AP////8AAA+0DQAAAQAAAAgEAAAAAbUNAAByAAAACgoAAAAA////AA4AAAAAAAG2DQAAcgAAAAoKAAAAAP///wAOAAAAAAEHtw0AAAABAAAABAAAAAQdQXBsb3Jpcy5CYXNlLk9iamVjdHMuVmFyaWFibGUDAAAAAXUOAADeBgAAAwAAAAAAAAABdg4AAN4GAAACAAAAAgAAAAF3DgAA3gYAAAAAAAAAAAAAAXgOAADeBgAAAAAAAAAAAAAPuA0AAAEAAAAIOQAAAAW5DQAAGkFwbG9yaXMuQmFzZS5PYmplY3RzLkNvbG9yBwAAABJEYXRhT2JqZWN0K21QYXJlbnQVRGF0YU9iamVjdCttQ29udGFpbmVyBW1UeXBlBG1SR0IQbVRoZW1lQ29sb3JJbmRleAxtQXV0b1VwZGF0ZWQJbU1vZGlmaWVkBAIAAAAAAB9BcGxvcmlzLkJhc2UuT2JqZWN0cy5MaW5lRm9ybWF0AwAAAAgICAEBAwAAAAkUCwAACgAAAAD///8ADgAAAAAABboNAAAaQXBsb3Jpcy5CYXNlLk9iamVjdHMuQ29sb3IHAAAAEkRhdGFPYmplY3QrbVBhcmVudBVEYXRhT2JqZWN0K21Db250YWluZXIFbVR5cGUEbVJHQhBtVGhlbWVDb2xvckluZGV4DG1BdXRvVXBkYXRlZAltTW9kaWZpZWQEAgAAAAAAH0FwbG9yaXMuQmFzZS5PYmplY3RzLkxpbmVGb3JtYXQDAAAACAgIAQEDAAAACRQLAAAKAQAAAAAAAAD/////AAEBuw0AAHIAAAAKCgAAAABGOzQACAAAAAAAAbwNAAByAAAACgoBAAAA////AP////8AAA+9DQAAAQAAAAgBAAAAAb4NAAByAAAACgoAAAAAAAAAAA0AAAAAAAG/DQAAcgAAAAoKAAAAAAAAAAANAAAAAAEHwA0AAAABAAAABAAAAAQdQXBsb3Jpcy5CYXNlLk9iamVjdHMuVmFyaWFibGUDAAAAAXkOAADeBgAAAwAAAAAAAAABeg4AAN4GAAACAAAAAgAAAAF7DgAA3gYAAAAAAAAAAAAAAXwOAADeBgAAAAAAAAAAAAAPwQ0AAAEAAAAIMwAAAAXCDQAAGkFwbG9yaXMuQmFzZS5PYmplY3RzLkNvbG9yBwAAABJEYXRhT2JqZWN0K21QYXJlbnQVRGF0YU9iamVjdCttQ29udGFpbmVyBW1UeXBlBG1SR0IQbVRoZW1lQ29sb3JJbmRleAxtQXV0b1VwZGF0ZWQJbU1vZGlmaWVkBAIAAAAAAB9BcGxvcmlzLkJhc2UuT2JqZWN0cy5MaW5lRm9ybWF0AwAAAAgICAEBAwAAAAkyCwAACgAAAAD///8ADgAAAAAABcMNAAAaQXBsb3Jpcy5CYXNlLk9iamVjdHMuQ29sb3IHAAAAEkRhdGFPYmplY3QrbVBhcmVudBVEYXRhT2JqZWN0K21Db250YWluZXIFbVR5cGUEbVJHQhBtVGhlbWVDb2xvckluZGV4DG1BdXRvVXBkYXRlZAltTW9kaWZpZWQEAgAAAAAAH0FwbG9yaXMuQmFzZS5PYmplY3RzLkxpbmVGb3JtYXQDAAAACAgIAQEDAAAACTILAAAKAQAAAAAAAAD/////AAEBxA0AAHIAAAAKCgAAAADDmHQACQAAAAAAAcUNAAByAAAACgoBAAAA////AP////8AAA/GDQAAAQAAAAgCAAAAAccNAAByAAAACgoAAAAAAAAAAA0AAAAAAAHIDQAAcgAAAAoKAAAAAAAAAAANAAAAAAEHyQ0AAAABAAAABAAAAAQdQXBsb3Jpcy5CYXNlLk9iamVjdHMuVmFyaWFibGUDAAAAAX0OAADeBgAAAwAAAAAAAAABfg4AAN4GAAACAAAAAgAAAAF/DgAA3gYAAAAAAAAAAAAAAYAOAADeBgAAAAAAAAAAAAAPyg0AAAEAAAAIQwAAAAXLDQAAGkFwbG9yaXMuQmFzZS5PYmplY3RzLkNvbG9yBwAAABJEYXRhT2JqZWN0K21QYXJlbnQVRGF0YU9iamVjdCttQ29udGFpbmVyBW1UeXBlBG1SR0IQbVRoZW1lQ29sb3JJbmRleAxtQXV0b1VwZGF0ZWQJbU1vZGlmaWVkBAIAAAAAAB9BcGxvcmlzLkJhc2UuT2JqZWN0cy5MaW5lRm9ybWF0AwAAAAgICAEBAwAAAAlQCwAACgAAAAD///8ADgAAAAAABcwNAAAaQXBsb3Jpcy5CYXNlLk9iamVjdHMuQ29sb3IHAAAAEkRhdGFPYmplY3QrbVBhcmVudBVEYXRhT2JqZWN0K21Db250YWluZXIFbVR5cGUEbVJHQhBtVGhlbWVDb2xvckluZGV4DG1BdXRvVXBkYXRlZAltTW9kaWZpZWQEAgAAAAAAH0FwbG9yaXMuQmFzZS5PYmplY3RzLkxpbmVGb3JtYXQDAAAACAgIAQEDAAAACVALAAAKAQAAAAAAAAD/////AAEBzQ0AAHIAAAAKCgAAAAD3lB4ACgAAAAAAAc4NAAByAAAACgoBAAAA////AP////8AAA/PDQAAAQAAAAgDAAAAAdANAAByAAAACgoAAAAA////AA4AAAAAAAHRDQAAcgAAAAoKAAAAAP///wAOAAAAAAEH0g0AAAABAAAABAAAAAQdQXBsb3Jpcy5CYXNlLk9iamVjdHMuVmFyaWFibGUDAAAAAYEOAADeBgAAAwAAAAAAAAABgg4AAN4GAAACAAAAAgAAAAGDDgAA3gYAAAAAAAAAAAAAAYQOAADeBgAAAAAAAAAAAAAP0w0AAAEAAAAIQAAAAAXUDQAAGkFwbG9yaXMuQmFzZS5PYmplY3RzLkNvbG9yBwAAABJEYXRhT2JqZWN0K21QYXJlbnQVRGF0YU9iamVjdCttQ29udGFpbmVyBW1UeXBlBG1SR0IQbVRoZW1lQ29sb3JJbmRleAxtQXV0b1VwZGF0ZWQJbU1vZGlmaWVkBAIAAAAAAB9BcGxvcmlzLkJhc2UuT2JqZWN0cy5MaW5lRm9ybWF0AwAAAAgICAEBAwAAAAluCwAACgAAAAD///8ADgAAAAAABdUNAAAaQXBsb3Jpcy5CYXNlLk9iamVjdHMuQ29sb3IHAAAAEkRhdGFPYmplY3QrbVBhcmVudBVEYXRhT2JqZWN0K21Db250YWluZXIFbVR5cGUEbVJHQhBtVGhlbWVDb2xvckluZGV4DG1BdXRvVXBkYXRlZAltTW9kaWZpZWQEAgAAAAAAH0FwbG9yaXMuQmFzZS5PYmplY3RzLkxpbmVGb3JtYXQDAAAACAgIAQEDAAAACW4LAAAKAQAAAAAAAAD/////AAEB1g0AAHIAAAAKCgAAAAA/aX4ABQAAAAAAAdcNAAByAAAACgoBAAAA////AP////8AAA/YDQAAAQAAAAgIAAAAAdkNAAByAAAACgoAAAAA////AA4AAAAAAAHaDQAAcgAAAAoKAAAAAP///wAOAAAAAAEH2w0AAAABAAAABAAAAAQdQXBsb3Jpcy5CYXNlLk9iamVjdHMuVmFyaWFibGUDAAAAAYUOAADeBgAAAwAAAAAAAAABhg4AAN4GAAACAAAAAgAAAAGHDgAA3gYAAAAAAAAAAAAAAYgOAADeBgAAAAAAAAAAAAAP3A0AAAEAAAAIeAAAAAXdDQAAGkFwbG9yaXMuQmFzZS5PYmplY3RzLkNvbG9yBwAAABJEYXRhT2JqZWN0K21QYXJlbnQVRGF0YU9iamVjdCttQ29udGFpbmVyBW1UeXBlBG1SR0IQbVRoZW1lQ29sb3JJbmRleAxtQXV0b1VwZGF0ZWQJbU1vZGlmaWVkBAIAAAAAAB9BcGxvcmlzLkJhc2UuT2JqZWN0cy5MaW5lRm9ybWF0AwAAAAgICAEBAwAAAAmMCwAACgAAAAD///8ADgAAAAAABd4NAAAaQXBsb3Jpcy5CYXNlLk9iamVjdHMuQ29sb3IHAAAAEkRhdGFPYmplY3QrbVBhcmVudBVEYXRhT2JqZWN0K21Db250YWluZXIFbVR5cGUEbVJHQhBtVGhlbWVDb2xvckluZGV4DG1BdXRvVXBkYXRlZAltTW9kaWZpZWQEAgAAAAAAH0FwbG9yaXMuQmFzZS5PYmplY3RzLkxpbmVGb3JtYXQDAAAACAgIAQEDAAAACYwLAAAKAQAAAAAAAAD/////AAEB3w0AAHIAAAAKCgAAAAByhIwABgAAAAAAAeANAAByAAAACgoBAAAA////AP////8AAA/hDQAAAQAAAAhYAAAAAeINAAByAAAACgoAAAAA////AA4AAAAAAAHjDQAAcgAAAAoKAAAAAP///wAOAAAAAAEH5A0AAAABAAAABAAAAAQdQXBsb3Jpcy5CYXNlLk9iamVjdHMuVmFyaWFibGUDAAAAAYkOAADeBgAAAwAAAAAAAAABig4AAN4GAAACAAAAAQAAAAGLDgAA3gYAAAAAAAAAAAAAAYwOAADeBgAAAAAAAAAAAAAP5Q0AAAEAAAAIdAAAAAXmDQAAGkFwbG9yaXMuQmFzZS5PYmplY3RzLkNvbG9yBwAAABJEYXRhT2JqZWN0K21QYXJlbnQVRGF0YU9iamVjdCttQ29udGFpbmVyBW1UeXBlBG1SR0IQbVRoZW1lQ29sb3JJbmRleAxtQXV0b1VwZGF0ZWQJbU1vZGlmaWVkBAIAAAAAAB9BcGxvcmlzLkJhc2UuT2JqZWN0cy5MaW5lRm9ybWF0AwAAAAgICAEBAwAAAAmqCwAACgAAAAD///8ADgAAAAAABecNAAAaQXBsb3Jpcy5CYXNlLk9iamVjdHMuQ29sb3IHAAAAEkRhdGFPYmplY3QrbVBhcmVudBVEYXRhT2JqZWN0K21Db250YWluZXIFbVR5cGUEbVJHQhBtVGhlbWVDb2xvckluZGV4DG1BdXRvVXBkYXRlZAltTW9kaWZpZWQEAgAAAAAAH0FwbG9yaXMuQmFzZS5PYmplY3RzLkxpbmVGb3JtYXQDAAAACAgIAQEDAAAACaoLAAAKAQAAAAAAAAD/////AAEB6A0AAHIAAAAKCgAAAADtISUABwAAAAAAAekNAAByAAAACgoBAAAA////AP////8AAA/qDQAAAQAAAAhZAAAAAesNAAByAAAACgoAAAAA////AA4AAAAAAAHsDQAAcgAAAAoKAAAAAP///wAOAAAAAAEH7Q0AAAABAAAABAAAAAQdQXBsb3Jpcy5CYXNlLk9iamVjdHMuVmFyaWFibGUDAAAAAY0OAADeBgAAAwAAAAAAAAABjg4AAN4GAAACAAAAAQAAAAGPDgAA3gYAAAAAAAAAAAAAAZAOAADeBgAAAAAAAAAAAAAP7g0AAAEAAAAIdQAAAAXvDQAAGkFwbG9yaXMuQmFzZS5PYmplY3RzLkNvbG9yBwAAABJEYXRhT2JqZWN0K21QYXJlbnQVRGF0YU9iamVjdCttQ29udGFpbmVyBW1UeXBlBG1SR0IQbVRoZW1lQ29sb3JJbmRleAxtQXV0b1VwZGF0ZWQJbU1vZGlmaWVkBAIAAAAAAB9BcGxvcmlzLkJhc2UuT2JqZWN0cy5MaW5lRm9ybWF0AwAAAAgICAEBAwAAAAnICwAACgAAAAD///8ADgAAAAAABfANAAAaQXBsb3Jpcy5CYXNlLk9iamVjdHMuQ29sb3IHAAAAEkRhdGFPYmplY3QrbVBhcmVudBVEYXRhT2JqZWN0K21Db250YWluZXIFbVR5cGUEbVJHQhBtVGhlbWVDb2xvckluZGV4DG1BdXRvVXBkYXRlZAltTW9kaWZpZWQEAgAAAAAAH0FwbG9yaXMuQmFzZS5PYmplY3RzLkxpbmVGb3JtYXQDAAAACAgIAQEDAAAACcgLAAAKAQAAAAAAAAD/////AAEB8Q0AAHIAAAAKCgAAAABGOzQACAAAAAAAAfINAAByAAAACgoBAAAA////AP////8AAA/zDQAAAQAAAAhVAAAAAfQNAAByAAAACgoAAAAAAAAAAA0AAAAAAAH1DQAAcgAAAAoKAAAAAAAAAAANAAAAAAEH9g0AAAABAAAABAAAAAQdQXBsb3Jpcy5CYXNlLk9iamVjdHMuVmFyaWFibGUDAAAAAZEOAADeBgAAAwAAAAAAAAABkg4AAN4GAAACAAAAAgAAAAGTDgAA3gYAAAAAAAAAAAAAAZQOAADeBgAAAAAAAAAAAAAP9w0AAAEAAAAIdgAAAAX4DQAAGkFwbG9yaXMuQmFzZS5PYmplY3RzLkNvbG9yBwAAABJEYXRhT2JqZWN0K21QYXJlbnQVRGF0YU9iamVjdCttQ29udGFpbmVyBW1UeXBlBG1SR0IQbVRoZW1lQ29sb3JJbmRleAxtQXV0b1VwZGF0ZWQJbU1vZGlmaWVkBAIAAAAAAB9BcGxvcmlzLkJhc2UuT2JqZWN0cy5MaW5lRm9ybWF0AwAAAAgICAEBAwAAAAnmCwAACgAAAAD///8ADgAAAAAABfkNAAAaQXBsb3Jpcy5CYXNlLk9iamVjdHMuQ29sb3IHAAAAEkRhdGFPYmplY3QrbVBhcmVudBVEYXRhT2JqZWN0K21Db250YWluZXIFbVR5cGUEbVJHQhBtVGhlbWVDb2xvckluZGV4DG1BdXRvVXBkYXRlZAltTW9kaWZpZWQEAgAAAAAAH0FwbG9yaXMuQmFzZS5PYmplY3RzLkxpbmVGb3JtYXQDAAAACAgIAQEDAAAACeYLAAAKAQAAAAAAAAD/////AAEB+g0AAHIAAAAKCgAAAADDmHQACQAAAAAAAfsNAAByAAAACgoBAAAA////AP////8AAA/8DQAAAQAAAAhWAAAAAf0NAAByAAAACgoAAAAAAAAAAA0AAAAAAAH+DQAAcgAAAAoKAAAAAAAAAAANAAAAAAEH/w0AAAABAAAABAAAAAQdQXBsb3Jpcy5CYXNlLk9iamVjdHMuVmFyaWFibGUDAAAAAZUOAADeBgAAAwAAAAAAAAABlg4AAN4GAAACAAAAAgAAAAGXDgAA3gYAAAAAAAAAAAAAAZgOAADeBgAAAAAAAAAAAAAPAA4AAAEAAAAIcwAAAAUBDgAAGkFwbG9yaXMuQmFzZS5PYmplY3RzLkNvbG9yBwAAABJEYXRhT2JqZWN0K21QYXJlbnQVRGF0YU9iamVjdCttQ29udGFpbmVyBW1UeXBlBG1SR0IQbVRoZW1lQ29sb3JJbmRleAxtQXV0b1VwZGF0ZWQJbU1vZGlmaWVkBAIAAAAAAB9BcGxvcmlzLkJhc2UuT2JqZWN0cy5MaW5lRm9ybWF0AwAAAAgICAEBAwAAAAkEDAAACgAAAAD///8ADgAAAAAABQIOAAAaQXBsb3Jpcy5CYXNlLk9iamVjdHMuQ29sb3IHAAAAEkRhdGFPYmplY3QrbVBhcmVudBVEYXRhT2JqZWN0K21Db250YWluZXIFbVR5cGUEbVJHQhBtVGhlbWVDb2xvckluZGV4DG1BdXRvVXBkYXRlZAltTW9kaWZpZWQEAgAAAAAAH0FwbG9yaXMuQmFzZS5PYmplY3RzLkxpbmVGb3JtYXQDAAAACAgIAQEDAAAACQQMAAAKAQAAAAAAAAD/////AAEBAw4AAHIAAAAKCgAAAAD3lB4ACgAAAAAAAQQOAAByAAAACgoBAAAA////AP////8AAA8FDgAAAQAAAAhUAAAAAQYOAAByAAAACgoAAAAA////AA4AAAAAAAEHDgAAcgAAAAoKAAAAAP///wAOAAAAAAEHCA4AAAABAAAABAAAAAQdQXBsb3Jpcy5CYXNlLk9iamVjdHMuVmFyaWFibGUDAAAAAZkOAADeBgAAAwAAAAAAAAABmg4AAN4GAAACAAAAAgAAAAGbDgAA3gYAAAAAAAAAAAAAAZwOAADeBgAAAAAAAAAAAAAPCQ4AAAEAAAAIdwAAAAUKDgAAGkFwbG9yaXMuQmFzZS5PYmplY3RzLkNvbG9yBwAAABJEYXRhT2JqZWN0K21QYXJlbnQVRGF0YU9iamVjdCttQ29udGFpbmVyBW1UeXBlBG1SR0IQbVRoZW1lQ29sb3JJbmRleAxtQXV0b1VwZGF0ZWQJbU1vZGlmaWVkBAIAAAAAAB9BcGxvcmlzLkJhc2UuT2JqZWN0cy5MaW5lRm9ybWF0AwAAAAgICAEBAwAAAAkiDAAACgAAAAD///8ADgAAAAAABQsOAAAaQXBsb3Jpcy5CYXNlLk9iamVjdHMuQ29sb3IHAAAAEkRhdGFPYmplY3QrbVBhcmVudBVEYXRhT2JqZWN0K21Db250YWluZXIFbVR5cGUEbVJHQhBtVGhlbWVDb2xvckluZGV4DG1BdXRvVXBkYXRlZAltTW9kaWZpZWQEAgAAAAAAH0FwbG9yaXMuQmFzZS5PYmplY3RzLkxpbmVGb3JtYXQDAAAACAgIAQEDAAAACSIMAAAKAQAAAAAAAAD/////AAEBDA4AAHIAAAAKCgAAAAA/aX4ABQAAAAAAAQ0OAAByAAAACgoBAAAA////AP////8AAA8ODgAAAQAAAAhXAAAAAQ8OAAByAAAACgoAAAAA////AA4AAAAAAAEQDgAAcgAAAAoKAAAAAP///wAOAAAAAAEHEQ4AAAABAAAABAAAAAQdQXBsb3Jpcy5CYXNlLk9iamVjdHMuVmFyaWFibGUDAAAAAZ0OAADeBgAAAwAAAAAAAAABng4AAN4GAAACAAAAAgAAAAGfDgAA3gYAAAAAAAAAAAAAAaAOAADeBgAAAAAAAAAAAAAPEg4AAAEAAAAIcgAAAAUTDgAAGkFwbG9yaXMuQmFzZS5PYmplY3RzLkNvbG9yBwAAABJEYXRhT2JqZWN0K21QYXJlbnQVRGF0YU9iamVjdCttQ29udGFpbmVyBW1UeXBlBG1SR0IQbVRoZW1lQ29sb3JJbmRleAxtQXV0b1VwZGF0ZWQJbU1vZGlmaWVkBAIAAAAAAB9BcGxvcmlzLkJhc2UuT2JqZWN0cy5MaW5lRm9ybWF0AwAAAAgICAEBAwAAAAlADAAACgAAAAD///8ADgAAAAAABRQOAAAaQXBsb3Jpcy5CYXNlLk9iamVjdHMuQ29sb3IHAAAAEkRhdGFPYmplY3QrbVBhcmVudBVEYXRhT2JqZWN0K21Db250YWluZXIFbVR5cGUEbVJHQhBtVGhlbWVDb2xvckluZGV4DG1BdXRvVXBkYXRlZAltTW9kaWZpZWQEAgAAAAAAH0FwbG9yaXMuQmFzZS5PYmplY3RzLkxpbmVGb3JtYXQDAAAACAgIAQEDAAAACUAMAAAKAQAAAAAAAAD/////AAEBFQ4AAHIAAAAKCgAAAAByhIwABgAAAAAAARYOAAByAAAACgoBAAAA////AP////8AAA8XDgAAAQAAAAhTAAAAARgOAAByAAAACgoAAAAA////AA4AAAAAAAEZDgAAcgAAAAoKAAAAAP///wAOAAAAAAEHGg4AAAABAAAABAAAAAQdQXBsb3Jpcy5CYXNlLk9iamVjdHMuVmFyaWFibGUDAAAAAaEOAADeBgAAAwAAAAAAAAABog4AAN4GAAACAAAAAgAAAAGjDgAA3gYAAAAAAAAAAAAAAaQOAADeBgAAAAAAAAAAAAAPGw4AAAEAAAAIfgAAAAUcDgAAGkFwbG9yaXMuQmFzZS5PYmplY3RzLkNvbG9yBwAAABJEYXRhT2JqZWN0K21QYXJlbnQVRGF0YU9iamVjdCttQ29udGFpbmVyBW1UeXBlBG1SR0IQbVRoZW1lQ29sb3JJbmRleAxtQXV0b1VwZGF0ZWQJbU1vZGlmaWVkBAIAAAAAAB9BcGxvcmlzLkJhc2UuT2JqZWN0cy5MaW5lRm9ybWF0AwAAAAgICAEBAwAAAAleDAAACgAAAAD///8ADgAAAAAABR0OAAAaQXBsb3Jpcy5CYXNlLk9iamVjdHMuQ29sb3IHAAAAEkRhdGFPYmplY3QrbVBhcmVudBVEYXRhT2JqZWN0K21Db250YWluZXIFbVR5cGUEbVJHQhBtVGhlbWVDb2xvckluZGV4DG1BdXRvVXBkYXRlZAltTW9kaWZpZWQEAgAAAAAAH0FwbG9yaXMuQmFzZS5PYmplY3RzLkxpbmVGb3JtYXQDAAAACAgIAQEDAAAACV4MAAAKAQAAAAAAAAD/////AAEBHg4AAHIAAAAKCgAAAADtISUABwAAAAAAAR8OAAByAAAACgoBAAAA////AP////8AAA8gDgAAAQAAAAhgAAAAASEOAAByAAAACgoAAAAA////AA4AAAAAAAEiDgAAcgAAAAoKAAAAAP///wAOAAAAAAEHIw4AAAABAAAABAAAAAQdQXBsb3Jpcy5CYXNlLk9iamVjdHMuVmFyaWFibGUDAAAAAaUOAADeBgAAAwAAAAAAAAABpg4AAN4GAAACAAAAAQAAAAGnDgAA3gYAAAAAAAAAAAAAAagOAADeBgAAAAAAAAAAAAAPJA4AAAEAAAAIewAAAAUlDgAAGkFwbG9yaXMuQmFzZS5PYmplY3RzLkNvbG9yBwAAABJEYXRhT2JqZWN0K21QYXJlbnQVRGF0YU9iamVjdCttQ29udGFpbmVyBW1UeXBlBG1SR0IQbVRoZW1lQ29sb3JJbmRleAxtQXV0b1VwZGF0ZWQJbU1vZGlmaWVkBAIAAAAAAB9BcGxvcmlzLkJhc2UuT2JqZWN0cy5MaW5lRm9ybWF0AwAAAAgICAEBAwAAAAmDDAAACgAAAAD///8ADgAAAAAABSYOAAAaQXBsb3Jpcy5CYXNlLk9iamVjdHMuQ29sb3IHAAAAEkRhdGFPYmplY3QrbVBhcmVudBVEYXRhT2JqZWN0K21Db250YWluZXIFbVR5cGUEbVJHQhBtVGhlbWVDb2xvckluZGV4DG1BdXRvVXBkYXRlZAltTW9kaWZpZWQEAgAAAAAAH0FwbG9yaXMuQmFzZS5PYmplY3RzLkxpbmVGb3JtYXQDAAAACAgIAQEDAAAACYMMAAAKAQAAAAAAAAD/////AAEBJw4AAHIAAAAKCgAAAABGOzQACAAAAAAAASgOAAByAAAACgoBAAAA////AP////8AAA8pDgAAAQAAAAhaAAAAASoOAAByAAAACgoAAAAAAAAAAA0AAAAAAAErDgAAcgAAAAoKAAAAAAAAAAANAAAAAAEHLA4AAAABAAAABAAAAAQdQXBsb3Jpcy5CYXNlLk9iamVjdHMuVmFyaWFibGUDAAAAAakOAADeBgAAAwAAAAAAAAABqg4AAN4GAAACAAAAAQAAAAGrDgAA3gYAAAAAAAAAAAAAAawOAADeBgAAAAAAAAAAAAAPLQ4AAAEAAAAIegAAAAUuDgAAGkFwbG9yaXMuQmFzZS5PYmplY3RzLkNvbG9yBwAAABJEYXRhT2JqZWN0K21QYXJlbnQVRGF0YU9iamVjdCttQ29udGFpbmVyBW1UeXBlBG1SR0IQbVRoZW1lQ29sb3JJbmRleAxtQXV0b1VwZGF0ZWQJbU1vZGlmaWVkBAIAAAAAAB9BcGxvcmlzLkJhc2UuT2JqZWN0cy5MaW5lRm9ybWF0AwAAAAgICAEBAwAAAAmoDAAACgAAAAD///8ADgAAAAAABS8OAAAaQXBsb3Jpcy5CYXNlLk9iamVjdHMuQ29sb3IHAAAAEkRhdGFPYmplY3QrbVBhcmVudBVEYXRhT2JqZWN0K21Db250YWluZXIFbVR5cGUEbVJHQhBtVGhlbWVDb2xvckluZGV4DG1BdXRvVXBkYXRlZAltTW9kaWZpZWQEAgAAAAAAH0FwbG9yaXMuQmFzZS5PYmplY3RzLkxpbmVGb3JtYXQDAAAACAgIAQEDAAAACagMAAAKAQAAAAAAAAD/////AAEBMA4AAHIAAAAKCgAAAADDmHQACQAAAAAAATEOAAByAAAACgoBAAAA////AP////8AAA8yDgAAAQAAAAhdAAAAATMOAAByAAAACgoAAAAAAAAAAA0AAAAAAAE0DgAAcgAAAAoKAAAAAAAAAAANAAAAAAEHNQ4AAAABAAAABAAAAAQdQXBsb3Jpcy5CYXNlLk9iamVjdHMuVmFyaWFibGUDAAAAAa0OAADeBgAAAwAAAAAAAAABrg4AAN4GAAACAAAAAQAAAAGvDgAA3gYAAAAAAAAAAAAAAbAOAADeBgAAAAAAAAAAAAAPNg4AAAEAAAAIfwAAAAU3DgAAGkFwbG9yaXMuQmFzZS5PYmplY3RzLkNvbG9yBwAAABJEYXRhT2JqZWN0K21QYXJlbnQVRGF0YU9iamVjdCttQ29udGFpbmVyBW1UeXBlBG1SR0IQbVRoZW1lQ29sb3JJbmRleAxtQXV0b1VwZGF0ZWQJbU1vZGlmaWVkBAIAAAAAAB9BcGxvcmlzLkJhc2UuT2JqZWN0cy5MaW5lRm9ybWF0AwAAAAgICAEBAwAAAAnNDAAACgAAAAD///8ADgAAAAAABTgOAAAaQXBsb3Jpcy5CYXNlLk9iamVjdHMuQ29sb3IHAAAAEkRhdGFPYmplY3QrbVBhcmVudBVEYXRhT2JqZWN0K21Db250YWluZXIFbVR5cGUEbVJHQhBtVGhlbWVDb2xvckluZGV4DG1BdXRvVXBkYXRlZAltTW9kaWZpZWQEAgAAAAAAH0FwbG9yaXMuQmFzZS5PYmplY3RzLkxpbmVGb3JtYXQDAAAACAgIAQEDAAAACc0MAAAKAQAAAAAAAAD/////AAEBOQ4AAHIAAAAKCgAAAAD3lB4ACgAAAAAAAToOAAByAAAACgoBAAAA////AP////8AAA87DgAAAQAAAAheAAAAATwOAAByAAAACgoAAAAA////AA4AAAAAAAE9DgAAcgAAAAoKAAAAAP///wAOAAAAAAEHPg4AAAABAAAABAAAAAQdQXBsb3Jpcy5CYXNlLk9iamVjdHMuVmFyaWFibGUDAAAAAbEOAADeBgAAAwAAAAAAAAABsg4AAN4GAAACAAAAAgAAAAGzDgAA3gYAAAAAAAAAAAAAAbQOAADeBgAAAAAAAAAAAAAPPw4AAAEAAAAIeQAAAAVADgAAGkFwbG9yaXMuQmFzZS5PYmplY3RzLkNvbG9yBwAAABJEYXRhT2JqZWN0K21QYXJlbnQVRGF0YU9iamVjdCttQ29udGFpbmVyBW1UeXBlBG1SR0IQbVRoZW1lQ29sb3JJbmRleAxtQXV0b1VwZGF0ZWQJbU1vZGlmaWVkBAIAAAAAAB9BcGxvcmlzLkJhc2UuT2JqZWN0cy5MaW5lRm9ybWF0AwAAAAgICAEBAwAAAAnyDAAACgAAAAD///8ADgAAAAAABUEOAAAaQXBsb3Jpcy5CYXNlLk9iamVjdHMuQ29sb3IHAAAAEkRhdGFPYmplY3QrbVBhcmVudBVEYXRhT2JqZWN0K21Db250YWluZXIFbVR5cGUEbVJHQhBtVGhlbWVDb2xvckluZGV4DG1BdXRvVXBkYXRlZAltTW9kaWZpZWQEAgAAAAAAH0FwbG9yaXMuQmFzZS5PYmplY3RzLkxpbmVGb3JtYXQDAAAACAgIAQEDAAAACfIMAAAKAQAAAAAAAAD/////AAEBQg4AAHIAAAAKCgAAAAA/aX4ABQAAAAAAAUMOAAByAAAACgoBAAAA////AP////8AAA9EDgAAAQAAAAhcAAAAAUUOAAByAAAACgoAAAAA////AA4AAAAAAAFGDgAAcgAAAAoKAAAAAP///wAOAAAAAAEHRw4AAAABAAAABAAAAAQdQXBsb3Jpcy5CYXNlLk9iamVjdHMuVmFyaWFibGUDAAAAAbUOAADeBgAAAwAAAAAAAAABtg4AAN4GAAACAAAAAgAAAAG3DgAA3gYAAAAAAAAAAAAAAbgOAADeBgAAAAAAAAAAAAAPSA4AAAEAAAAIgAAAAAVJDgAAGkFwbG9yaXMuQmFzZS5PYmplY3RzLkNvbG9yBwAAABJEYXRhT2JqZWN0K21QYXJlbnQVRGF0YU9iamVjdCttQ29udGFpbmVyBW1UeXBlBG1SR0IQbVRoZW1lQ29sb3JJbmRleAxtQXV0b1VwZGF0ZWQJbU1vZGlmaWVkBAIAAAAAAB9BcGxvcmlzLkJhc2UuT2JqZWN0cy5MaW5lRm9ybWF0AwAAAAgICAEBAwAAAAkXDQAACgAAAAD///8ADgAAAAAABUoOAAAaQXBsb3Jpcy5CYXNlLk9iamVjdHMuQ29sb3IHAAAAEkRhdGFPYmplY3QrbVBhcmVudBVEYXRhT2JqZWN0K21Db250YWluZXIFbVR5cGUEbVJHQhBtVGhlbWVDb2xvckluZGV4DG1BdXRvVXBkYXRlZAltTW9kaWZpZWQEAgAAAAAAH0FwbG9yaXMuQmFzZS5PYmplY3RzLkxpbmVGb3JtYXQDAAAACAgIAQEDAAAACRcNAAAKAQAAAAAAAAD/////AAEBSw4AAHIAAAAKCgAAAAByhIwABgAAAAAAAUwOAAByAAAACgoBAAAA////AP////8AAA9NDgAAAQAAAAhhAAAAAU4OAAByAAAACgoAAAAA////AA4AAAAAAAFPDgAAcgAAAAoKAAAAAP///wAOAAAAAAEHUA4AAAABAAAABAAAAAQdQXBsb3Jpcy5CYXNlLk9iamVjdHMuVmFyaWFibGUDAAAAAbkOAADeBgAAAwAAAAAAAAABug4AAN4GAAACAAAAAgAAAAG7DgAA3gYAAAAAAAAAAAAAAbwOAADeBgAAAAAAAAAAAAAPUQ4AAAEAAAAIgQAAAAVSDgAAGkFwbG9yaXMuQmFzZS5PYmplY3RzLkNvbG9yBwAAABJEYXRhT2JqZWN0K21QYXJlbnQVRGF0YU9iamVjdCttQ29udGFpbmVyBW1UeXBlBG1SR0IQbVRoZW1lQ29sb3JJbmRleAxtQXV0b1VwZGF0ZWQJbU1vZGlmaWVkBAIAAAAAAB9BcGxvcmlzLkJhc2UuT2JqZWN0cy5MaW5lRm9ybWF0AwAAAAgICAEBAwAAAAk8DQAACgAAAAD///8ADgAAAAAABVMOAAAaQXBsb3Jpcy5CYXNlLk9iamVjdHMuQ29sb3IHAAAAEkRhdGFPYmplY3QrbVBhcmVudBVEYXRhT2JqZWN0K21Db250YWluZXIFbVR5cGUEbVJHQhBtVGhlbWVDb2xvckluZGV4DG1BdXRvVXBkYXRlZAltTW9kaWZpZWQEAgAAAAAAH0FwbG9yaXMuQmFzZS5PYmplY3RzLkxpbmVGb3JtYXQDAAAACAgIAQEDAAAACTwNAAAKAQAAAAAAAAD/////AAEBVA4AAHIAAAAKCgAAAADtISUABwAAAAAAAVUOAAByAAAACgoBAAAA////AP////8AAA9WDgAAAQAAAAhiAAAAAVcOAAByAAAACgoAAAAA////AA4AAAAAAAFYDgAAcgAAAAoKAAAAAP///wAOAAAAAAEHWQ4AAAABAAAABAAAAAQdQXBsb3Jpcy5CYXNlLk9iamVjdHMuVmFyaWFibGUDAAAAAb0OAADeBgAAAwAAAAAAAAABvg4AAN4GAAACAAAAAgAAAAG/DgAA3gYAAAAAAAAAAAAAAcAOAADeBgAAAAAAAAAAAAAPWg4AAAEAAAAIfQAAAAVbDgAAGkFwbG9yaXMuQmFzZS5PYmplY3RzLkNvbG9yBwAAABJEYXRhT2JqZWN0K21QYXJlbnQVRGF0YU9iamVjdCttQ29udGFpbmVyBW1UeXBlBG1SR0IQbVRoZW1lQ29sb3JJbmRleAxtQXV0b1VwZGF0ZWQJbU1vZGlmaWVkBAIAAAAAAB9BcGxvcmlzLkJhc2UuT2JqZWN0cy5MaW5lRm9ybWF0AwAAAAgICAEBAwAAAAlhDQAACgAAAAD///8ADgAAAAAABVwOAAAaQXBsb3Jpcy5CYXNlLk9iamVjdHMuQ29sb3IHAAAAEkRhdGFPYmplY3QrbVBhcmVudBVEYXRhT2JqZWN0K21Db250YWluZXIFbVR5cGUEbVJHQhBtVGhlbWVDb2xvckluZGV4DG1BdXRvVXBkYXRlZAltTW9kaWZpZWQEAgAAAAAAH0FwbG9yaXMuQmFzZS5PYmplY3RzLkxpbmVGb3JtYXQDAAAACAgIAQEDAAAACWENAAAKAQAAAAAAAAD/////AAEBXQ4AAHIAAAAKCgAAAABGOzQACAAAAAAAAV4OAAByAAAACgoBAAAA////AP////8AAA9fDgAAAQAAAAhfAAAAAWAOAAByAAAACgoAAAAAAAAAAA0AAAAAAAFhDgAAcgAAAAoKAAAAAAAAAAANAAAAAAEHYg4AAAABAAAABAAAAAQdQXBsb3Jpcy5CYXNlLk9iamVjdHMuVmFyaWFibGUDAAAAAcEOAADeBgAAAwAAAAAAAAABwg4AAN4GAAACAAAAAgAAAAHDDgAA3gYAAAAAAAAAAAAAAcQOAADeBgAAAAAAAAAAAAAPYw4AAAEAAAAIfAAAAAVkDgAAGkFwbG9yaXMuQmFzZS5PYmplY3RzLkNvbG9yBwAAABJEYXRhT2JqZWN0K21QYXJlbnQVRGF0YU9iamVjdCttQ29udGFpbmVyBW1UeXBlBG1SR0IQbVRoZW1lQ29sb3JJbmRleAxtQXV0b1VwZGF0ZWQJbU1vZGlmaWVkBAIAAAAAAB9BcGxvcmlzLkJhc2UuT2JqZWN0cy5MaW5lRm9ybWF0AwAAAAgICAEBAwAAAAmGDQAACgAAAAD///8ADgAAAAAABWUOAAAaQXBsb3Jpcy5CYXNlLk9iamVjdHMuQ29sb3IHAAAAEkRhdGFPYmplY3QrbVBhcmVudBVEYXRhT2JqZWN0K21Db250YWluZXIFbVR5cGUEbVJHQhBtVGhlbWVDb2xvckluZGV4DG1BdXRvVXBkYXRlZAltTW9kaWZpZWQEAgAAAAAAH0FwbG9yaXMuQmFzZS5PYmplY3RzLkxpbmVGb3JtYXQDAAAACAgIAQEDAAAACYYNAAAKAQAAAAAAAAD/////AAEBZg4AAHIAAAAKCgAAAADDmHQACQAAAAAAAWcOAAByAAAACgoBAAAA////AP////8AAA9oDgAAAQAAAAhbAAAACw=="/>
</p:tagLst>
</file>

<file path=ppt/tags/tag540.xml><?xml version="1.0" encoding="utf-8"?>
<p:tagLst xmlns:a="http://schemas.openxmlformats.org/drawingml/2006/main" xmlns:r="http://schemas.openxmlformats.org/officeDocument/2006/relationships" xmlns:p="http://schemas.openxmlformats.org/presentationml/2006/main">
  <p:tag name="APLORISTAG" val="MHhv7vsga9jjekkac.245"/>
</p:tagLst>
</file>

<file path=ppt/tags/tag541.xml><?xml version="1.0" encoding="utf-8"?>
<p:tagLst xmlns:a="http://schemas.openxmlformats.org/drawingml/2006/main" xmlns:r="http://schemas.openxmlformats.org/officeDocument/2006/relationships" xmlns:p="http://schemas.openxmlformats.org/presentationml/2006/main">
  <p:tag name="APLORISTAG" val="MHhv7vsga9jjekkac.247"/>
</p:tagLst>
</file>

<file path=ppt/tags/tag542.xml><?xml version="1.0" encoding="utf-8"?>
<p:tagLst xmlns:a="http://schemas.openxmlformats.org/drawingml/2006/main" xmlns:r="http://schemas.openxmlformats.org/officeDocument/2006/relationships" xmlns:p="http://schemas.openxmlformats.org/presentationml/2006/main">
  <p:tag name="APLORISTAG" val="MHhv7vsga9jjekkac.248"/>
</p:tagLst>
</file>

<file path=ppt/tags/tag543.xml><?xml version="1.0" encoding="utf-8"?>
<p:tagLst xmlns:a="http://schemas.openxmlformats.org/drawingml/2006/main" xmlns:r="http://schemas.openxmlformats.org/officeDocument/2006/relationships" xmlns:p="http://schemas.openxmlformats.org/presentationml/2006/main">
  <p:tag name="APLORISTAG" val="MHhv7vsga9jjekkac.249"/>
</p:tagLst>
</file>

<file path=ppt/tags/tag544.xml><?xml version="1.0" encoding="utf-8"?>
<p:tagLst xmlns:a="http://schemas.openxmlformats.org/drawingml/2006/main" xmlns:r="http://schemas.openxmlformats.org/officeDocument/2006/relationships" xmlns:p="http://schemas.openxmlformats.org/presentationml/2006/main">
  <p:tag name="APLORISTAG" val="MHhv7vsga9jjekkac.250"/>
</p:tagLst>
</file>

<file path=ppt/tags/tag545.xml><?xml version="1.0" encoding="utf-8"?>
<p:tagLst xmlns:a="http://schemas.openxmlformats.org/drawingml/2006/main" xmlns:r="http://schemas.openxmlformats.org/officeDocument/2006/relationships" xmlns:p="http://schemas.openxmlformats.org/presentationml/2006/main">
  <p:tag name="APLORISTAG" val="MHhv7vsga9jjekkac.251"/>
</p:tagLst>
</file>

<file path=ppt/tags/tag546.xml><?xml version="1.0" encoding="utf-8"?>
<p:tagLst xmlns:a="http://schemas.openxmlformats.org/drawingml/2006/main" xmlns:r="http://schemas.openxmlformats.org/officeDocument/2006/relationships" xmlns:p="http://schemas.openxmlformats.org/presentationml/2006/main">
  <p:tag name="APLORISTAG" val="MHhv7vsga9jjekkac.29"/>
</p:tagLst>
</file>

<file path=ppt/tags/tag547.xml><?xml version="1.0" encoding="utf-8"?>
<p:tagLst xmlns:a="http://schemas.openxmlformats.org/drawingml/2006/main" xmlns:r="http://schemas.openxmlformats.org/officeDocument/2006/relationships" xmlns:p="http://schemas.openxmlformats.org/presentationml/2006/main">
  <p:tag name="APLORISTAG" val="MHhv7vsga9jjekkac.27"/>
</p:tagLst>
</file>

<file path=ppt/tags/tag548.xml><?xml version="1.0" encoding="utf-8"?>
<p:tagLst xmlns:a="http://schemas.openxmlformats.org/drawingml/2006/main" xmlns:r="http://schemas.openxmlformats.org/officeDocument/2006/relationships" xmlns:p="http://schemas.openxmlformats.org/presentationml/2006/main">
  <p:tag name="APLORISTAG" val="MHhv7vsga9jjekkac.33"/>
</p:tagLst>
</file>

<file path=ppt/tags/tag549.xml><?xml version="1.0" encoding="utf-8"?>
<p:tagLst xmlns:a="http://schemas.openxmlformats.org/drawingml/2006/main" xmlns:r="http://schemas.openxmlformats.org/officeDocument/2006/relationships" xmlns:p="http://schemas.openxmlformats.org/presentationml/2006/main">
  <p:tag name="APLORISTAG" val="MHhv7vsga9jjekkac.35"/>
</p:tagLst>
</file>

<file path=ppt/tags/tag55.xml><?xml version="1.0" encoding="utf-8"?>
<p:tagLst xmlns:a="http://schemas.openxmlformats.org/drawingml/2006/main" xmlns:r="http://schemas.openxmlformats.org/officeDocument/2006/relationships" xmlns:p="http://schemas.openxmlformats.org/presentationml/2006/main">
  <p:tag name="APLORISTAG" val="MMq8K+TY0y1GzdU7X.84"/>
</p:tagLst>
</file>

<file path=ppt/tags/tag550.xml><?xml version="1.0" encoding="utf-8"?>
<p:tagLst xmlns:a="http://schemas.openxmlformats.org/drawingml/2006/main" xmlns:r="http://schemas.openxmlformats.org/officeDocument/2006/relationships" xmlns:p="http://schemas.openxmlformats.org/presentationml/2006/main">
  <p:tag name="APLORISTAG" val="MHhv7vsga9jjekkac.32"/>
</p:tagLst>
</file>

<file path=ppt/tags/tag551.xml><?xml version="1.0" encoding="utf-8"?>
<p:tagLst xmlns:a="http://schemas.openxmlformats.org/drawingml/2006/main" xmlns:r="http://schemas.openxmlformats.org/officeDocument/2006/relationships" xmlns:p="http://schemas.openxmlformats.org/presentationml/2006/main">
  <p:tag name="APLORISTAG" val="MHhv7vsga9jjekkac.30"/>
</p:tagLst>
</file>

<file path=ppt/tags/tag552.xml><?xml version="1.0" encoding="utf-8"?>
<p:tagLst xmlns:a="http://schemas.openxmlformats.org/drawingml/2006/main" xmlns:r="http://schemas.openxmlformats.org/officeDocument/2006/relationships" xmlns:p="http://schemas.openxmlformats.org/presentationml/2006/main">
  <p:tag name="APLORISTAG" val="MHhv7vsga9jjekkac.38"/>
</p:tagLst>
</file>

<file path=ppt/tags/tag553.xml><?xml version="1.0" encoding="utf-8"?>
<p:tagLst xmlns:a="http://schemas.openxmlformats.org/drawingml/2006/main" xmlns:r="http://schemas.openxmlformats.org/officeDocument/2006/relationships" xmlns:p="http://schemas.openxmlformats.org/presentationml/2006/main">
  <p:tag name="APLORISTAG" val="MHhv7vsga9jjekkac.34"/>
</p:tagLst>
</file>

<file path=ppt/tags/tag554.xml><?xml version="1.0" encoding="utf-8"?>
<p:tagLst xmlns:a="http://schemas.openxmlformats.org/drawingml/2006/main" xmlns:r="http://schemas.openxmlformats.org/officeDocument/2006/relationships" xmlns:p="http://schemas.openxmlformats.org/presentationml/2006/main">
  <p:tag name="APLORISTAG" val="MHhv7vsga9jjekkac.37"/>
</p:tagLst>
</file>

<file path=ppt/tags/tag555.xml><?xml version="1.0" encoding="utf-8"?>
<p:tagLst xmlns:a="http://schemas.openxmlformats.org/drawingml/2006/main" xmlns:r="http://schemas.openxmlformats.org/officeDocument/2006/relationships" xmlns:p="http://schemas.openxmlformats.org/presentationml/2006/main">
  <p:tag name="APLORISTAG" val="MHhv7vsga9jjekkac.36"/>
</p:tagLst>
</file>

<file path=ppt/tags/tag556.xml><?xml version="1.0" encoding="utf-8"?>
<p:tagLst xmlns:a="http://schemas.openxmlformats.org/drawingml/2006/main" xmlns:r="http://schemas.openxmlformats.org/officeDocument/2006/relationships" xmlns:p="http://schemas.openxmlformats.org/presentationml/2006/main">
  <p:tag name="APLORISTAG" val="MHhv7vsga9jjekkac.31"/>
</p:tagLst>
</file>

<file path=ppt/tags/tag557.xml><?xml version="1.0" encoding="utf-8"?>
<p:tagLst xmlns:a="http://schemas.openxmlformats.org/drawingml/2006/main" xmlns:r="http://schemas.openxmlformats.org/officeDocument/2006/relationships" xmlns:p="http://schemas.openxmlformats.org/presentationml/2006/main">
  <p:tag name="APLORISTAG" val="MHhv7vsga9jjekkac.184"/>
</p:tagLst>
</file>

<file path=ppt/tags/tag558.xml><?xml version="1.0" encoding="utf-8"?>
<p:tagLst xmlns:a="http://schemas.openxmlformats.org/drawingml/2006/main" xmlns:r="http://schemas.openxmlformats.org/officeDocument/2006/relationships" xmlns:p="http://schemas.openxmlformats.org/presentationml/2006/main">
  <p:tag name="APLORISTAG" val="MHhv7vsga9jjekkac.185"/>
</p:tagLst>
</file>

<file path=ppt/tags/tag559.xml><?xml version="1.0" encoding="utf-8"?>
<p:tagLst xmlns:a="http://schemas.openxmlformats.org/drawingml/2006/main" xmlns:r="http://schemas.openxmlformats.org/officeDocument/2006/relationships" xmlns:p="http://schemas.openxmlformats.org/presentationml/2006/main">
  <p:tag name="APLORISTAG" val="Mve3Smr0meKyLMINN"/>
</p:tagLst>
</file>

<file path=ppt/tags/tag56.xml><?xml version="1.0" encoding="utf-8"?>
<p:tagLst xmlns:a="http://schemas.openxmlformats.org/drawingml/2006/main" xmlns:r="http://schemas.openxmlformats.org/officeDocument/2006/relationships" xmlns:p="http://schemas.openxmlformats.org/presentationml/2006/main">
  <p:tag name="APLORISTAG" val="MMq8K+TY0y1GzdU7X.85"/>
</p:tagLst>
</file>

<file path=ppt/tags/tag560.xml><?xml version="1.0" encoding="utf-8"?>
<p:tagLst xmlns:a="http://schemas.openxmlformats.org/drawingml/2006/main" xmlns:r="http://schemas.openxmlformats.org/officeDocument/2006/relationships" xmlns:p="http://schemas.openxmlformats.org/presentationml/2006/main">
  <p:tag name="APLORISTAG" val="Mve3Smr0meKyLMINN.597"/>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AFFQAAABlTeXN0ZW0uRHJhd2luZy5SZWN0YW5nbGVGBAAAAAF4AXkFd2lkdGgGaGVpZ2h0AAAAAAsLCwsEAAAA//9/////f////3////9//wEWAAAAFQAAAP//f////3////9/////f/8AAAAAAAUXAAAALEFwbG9yaXMuQ2hhcnQuQXhpc0JyZWFrK0F4aXNCcmVha0Rpc3BsYXlNb2RlAQAAAAd2YWx1ZV9fAAgCAAAAAQAAAAEBAQoKCRgAAAAKCgAAAAAACRkAAAAKCRoAAAAAAAAACgUbAAAAGUFwbG9yaXMuQ2hhcnQuT3JpZW50YXRpb24BAAAAB3ZhbHVlX18ACAIAAAABAAAACRwAAAABHQAAABUAAADA1L5CJIFfQvGqFkRuiV9DAAQeAAAAC1N5c3RlbS5HdWlkCwAAAAJfYQJfYgJfYwJfZAJfZQJfZgJfZwJfaAJfaQJfagJfawAAAAAAAAAAAAAACAcHAgICAgICAgIAAAAAAAAAAAAAAAAAAAAAAAoKCR8AAAAACgoKAQAAAAAAAAD/////AAABIAAAABUAAADRRfdDuujSQmpuCkPRRW1D8KWov8Ag90KJPTFESK/FQwUhAAAAFVN5c3RlbS5EcmF3aW5nLlBvaW50RgIAAAABeAF5AAALCwQAAAAclyBEMQTFQwYiAAAAEHZlM1NtcjBtZUt5TE1JTk4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wNS+Qty0i0MBLwAAACEAAACJhS5E3LSLQwkwAAAACTEAAAAJMgAAAAkzAAAAAAAAAAAAAAAAAAAACTQAAAAAAAAAAAAJNQAAAAkBAAAACQEAAAAJNgAAAAEHAAAABgAAAAkBAAAAATcAAAAnAAAAAAAAAM3MTD8AAAAIAQAJAQAAAAk4AAAACTkAAAABAAAAAAAAAAABAAAAAAAA8D8BmpmZmZmZuT8AAAAgQQABCToAAAAKCTsAAAAJPAAAAAk9AAAAAT4AAAAhAAAAwNS+Qty0i0MBPwAAACEAAADA1L5CJIFfQglAAAAACUEAAAAJQgAAAAlDAAAAB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BYlb1C0Eu0Q7rIP0OTN8JBCWUAAAAF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CgAAAAgBAAAAAgAAAAMAAAAEAAAABQAAAAYAAAAHAAAACAAAAAkAAAAKAAAABRwAAAAaQXBsb3Jpcy5CYXNlLlVJLlZpc3VhbFJlY3QUAAAAC21TdGFydFBvaW50CW1FbmRQb2ludAttTGluZUZvcm1hdAttRmlsbEZvcm1hdAltUm90YXRpb24SbVJlY3RhbmdsZVByb3ZpZGVyDG1QYWludE9mZnNldBJtUGFpbnRTaXplT3ZlcnJpZGUObUV4dHJhUm90YXRpb24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BAAEBAQABAAAAAAHAgAAAwAVU3lzdGVtLkRyYXdpbmcuUG9pbnRGBAAAABVTeXN0ZW0uRHJhd2luZy5Qb2ludEYEAAAAH0FwbG9yaXMuQmFzZS5PYmplY3RzLkxpbmVGb3JtYXQDAAAAH0FwbG9yaXMuQmFzZS5PYmplY3RzLkZpbGxGb3JtYXQDAAAACypBcGxvcmlzLkJhc2UuVUkuSVJlY3RhbmdsZVBvc2l0aW9uUHJvdmlkZXIDAAAAFFN5c3RlbS5EcmF3aW5nLlNpemVGBAAAABRTeXN0ZW0uRHJhd2luZy5TaXplRgQAAAALGVN5c3RlbS5EcmF3aW5nLlJlY3RhbmdsZUYEAAAACAgBAQgBAQ9TeXN0ZW0uSW50UHRyW10BAwAAAAFuAAAAIQAAAMDUvkIkgV9CAW8AAAAhAAAAiYUuRNy0i0MJcAAAAAlxAAAAAAAAAAoFcgAAABRTeXN0ZW0uRHJhd2luZy5TaXplRgIAAAAFd2lkdGgGaGVpZ2h0AAALCwQAAAAAAAAAAAAAAAFzAAAAcgAAAAAAAAAAAAAAAAAAAAF0AAAAFQAAAAAAAAAAAAAAAAAAAAAAAAAUAAAA/////wEBCgl1AAAAAQAKAA8fAAAAzS4AAAJQSwMEFAAGAAgAAAAhAJJXjTV5AQAAcAUAABMACAJbQ29udGVudF9UeXBlc10ueG1s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xUS07DMBDdI3GHyFuUuGWBEGraBYUlVKIcwNiTJqpjWx73d3smbkFQhYSq3cRK7PebeGY02dY6WYPHypqcDbMBS8BIqyqzyNn7/Dm9ZwkGYZTQ1kDOdoBsMr6+Gs13DjAhtMGclSG4B85RllALzKwDQzuF9bUI9OoX3Am5FAvgt4PBHZfWBDAhDQ0HG4+mUIiVDsnTlj7vnRCcJY/7c41UzoRzupIikFHe7PJW3LoTtzbqyFxqi6KSoKxc1WQpI/zUiw3F/0PAg8YOZy0Kh+gZIaN7LCuHN4cIr1R7XylIZsKHF1FTUL7VfGP98sPaZdZdhxa1ozzoPAiFJUCodRbXrBaV+Yd+PIw8LsMLG2nyReIeH4EuFPD4PN9CpOkRxLDTgBdOuyftUy6FB/UWPN29ixv4yd3jQ9q66QQ8v96/794Xb5c8teHMW4c0ITyc/hO+Oq1Bp46IwIcKOnvtW5HGy+mCR80GzfxSoFq0eZyX408AAAD//wMAUEsDBBQABgAIAAAAIQBQfE7B9g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JLPSgMxEIfvgu8Q5t7NtoKINNuLCL2J1AcYk9k/7G4mJNO6fXuDoLiw1h6TzHzzzY9sd9M4qBPF1LE3sC5KUOQtu843Bt4Oz6sHUEnQOxzYk4EzJdhVtzfbVxpQclNqu5BUpvhkoBUJj1on29KIqeBAPr/UHEeUfIyNDmh7bEhvyvJex98MqGZMtXcG4t6tQR3OIU/+n8113Vl6YnscycvCCD2vyGSMDYmBadAfHPt35r7IwqCXXTbXu/y9px5J0KGgthxpFWJOKUqXc/3RcWxf8nX6qrgkdHe90Hz1pXBoEvKO3GUlDOHbSM/+QPUJAAD//wMAUEsDBBQABgAIAAAAIQCMlsVu8wAAALoC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s9qwzAMxu+DvYPRfXHSjTFGnV7GoNctewBjK3FoYhtL+5O3n8mgTaF0l1wMn4S/7yeh7e5nHMQXJuqDV1AVJQj0Jtjedwo+mte7JxDE2ls9BI8KJiTY1bc32zccNOdP5PpIIrt4UuCY47OUZByOmooQ0edOG9KoOcvUyajNQXcoN2X5KNPSA+ozT7G3CtLe3oNoppiT//cObdsbfAnmc0TPFyIk8TTkAUSjU4es4E8XmRHk5fiHVeOdTmjfOeXtLimW5Wsw1Zow3yEdyCHyaR3HEsm5U12D2awJw/lg8AQySzm/RwZ5dnH1LwAAAP//AwBQSwMEFAAGAAgAAAAhADKkRevAAQAAzwIAAA8AAAB4bC93b3JrYm9vay54bWyMUkuPnDAMvlfqf4hyn0kIMLsaAavpPNSRqmoP7e45DWGINg+UhMKq6n+vgdKHeunJ+WzH9vfZxcNoNPoqfVDOljjZUoykFa5W9lbiz58um3uMQuS25tpZWeJXGfBD9fZNMTj/8sW5FwQFbChxG2O3JySIVhoetq6TFiKN84ZHgP5GQuclr0MrZTSaMEp3xHBl8VJh7/+nhmsaJeTJid5IG5ciXmoeYfzQqi7gqmiUlk8LI8S77iM3MPeoMdI8xHOtoqxLnAN0g/zL4fvuXa80RNmO0gyT6hfLR494H93RGSARwqMSsYdHiemUNenwpOQQfn+YIBqfla3dUOL0joKwrytklAEc5uCzqmMLHZNkSll876W6tRHWwdJsbkD+6DALCJ1mi+zM7tBp51U48chhXZPCV2CRYOT3Ch7+WifTnGT9K7gWQGkyc2JGKYVs4azovQdljxD5SU6O8UOIVQEW9V6V+NtdztJzfko3LL+km0N+pptkl7LNLruwPDsyluXs+7pWM/6zV6OEd8E1cSucIctK4RQEkaOQ82XcL5dRFWbcH7xoryd00fwGerOZB8wCbNbJyHqL1Q8AAAD//wMAUEsDBBQABgAIAAAAIQC6GiNMgQEAAMACAAAUAAAAeGwvc2hhcmVkU3RyaW5ncy54bWxsUsFu2zAMvQvQPwg+7NY662EYNsdFkK3AgA0Y1rQ7EzLtELUoT6SK5e8nO0MKJDnqPb7HR1LN/d8wuldMQpHX1fvbVeWQfeyIh3X1tHu4+Vg5UeAOxsi4rg4o1X1rTSOirmhZ1tVedfpU1+L3GEBu44RcmD6mAFqeaahlSgid7BE1jPXdavWhDkBcOR8za+l7V7nM9Cfj9gS0jVDbaPuII3ot8Zpa26aewSPxmzo8GrsnwXP2OwVS7K5RG4bxoOTFvYMwfbbmF04xaRn53GTjocNA3ppd1piuVDxT0gyjNdsIfn+lYBuZ5/w8WPOouUNWcRqteYZEMUtB8zSNGAoB6TCHkZiTR7kII4Iic52L/cnMmq88wLDozxXf5m7Uk4d5f86a2DvQm0TyctJftimTlsPNgv/reQBPI+kRm1vvErD0mIrjNmFHemFSzpgEC/9zBOZl+MXMfcEhIS4W/qXgtTWbXByubG5Z+cx3ryQxWfNjCPo2Yl1+YPsPAAD//wMAUEsDBBQABgAIAAAAIQDnZXW41gAAALgBAAAjAAAAeGwvd29ya3NoZWV0cy9fcmVscy9zaGVldDEueG1sLnJlbHOskMlqAzEMQO+F/oPRPdZMDqGUeHIJhVxD+gHC1ix0vGC5afL3dSiFDAR66VHb05O2u4uf1ZmzTDEYaHUDioONbgqDgffT2+oFlBQKjuYY2MCVBXbd89P2yDOVOiTjlERVShADYynpFVHsyJ5Ex8ShVvqYPZUa5gET2Q8aGNdNs8F8z4BuwVQHZyAfXAvqdE1189/s2PeT5X20n55DebACz37eZ/qqx1Uq5YGLAa3R/eTkrt7q2gv42Gn9n042+puuLIx+k62u/7tp4OLf3TcA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CrHaXaWCAAA2IYAAA0AAAB4bC9zdHlsZXMueG1s7F3dj6M2EH+v1P8BcerjLh+BBFZJqu5e057UViftVuorIU6Cjo8IyF32qv7vncGQBG82hNjbk6q5h1sgM+Pxz/NhbGsY/7hLYu0zy4soSye6dWvqGkvDbBGlq4n+59PsxtO1ogzSRRBnKZvoz6zQf5x+/924KJ9j9rhmrNRARFpM9HVZbu4MowjXLAmK22zDUvhlmeVJUMJtvjKKTc6CRYFMSWzYpjk0kiBKdS7hLgkvEZIE+aft5ibMkk1QRvMojsrnSpauJeHdh1Wa5cE8BlV3lhOEjezq5oX4JArzrMiW5S2IM7LlMgrZSy19wzdA0nScbpNZUhZamG3TcqLb+0ca/+XDAiAcOrrGO/2QLUAN89b8QTca5hal26Z89+5dQ2zUTU3Hyyw9tDiE7mCv7j6l2Zd0hj9Bi6AGUk3HxVftcxDDEwsbDLM4y7USRgO0qJ6kQcI4xUMQR/M8QrJlkETxM39s44NqAGu6JAI48aHBW+D/z5GqbsvHX3lTUbpgOwYYeEJrT8E6SwIkfNFYS24j86313x7pf6otE1VVBVZXYwJWciOzR7AaST4s+Wo+0Wczs/rX7tkvURxrj0Fa4ON6KKo/BQwV/NYydXwwHYPTlSxPZ8hZXz89b8DCUogPXExF10G9yoNny3aPGIyqwel4nuULiEeNk6F180fTccyWJSiaR6s1/i2zDfw/z8oSnHc6XkTBKkuDGC6NhqO+gO6ELI4fMWb9tTzIHrogfbc8ckqIf2jj6Ml4CV2pL7lEfgMttJj8A5P9KpMWbDbx8wyEV6L5Hcg/3N1XPT/c/xRHqzRhxwwf86xkYVkF68pKW3ocKf+6HqLyxAQxvRnveuivQm/QMfR/bJM5y2dVPjwMMjrS4U6lCWAeOm2/3BT/a30IHwgpZ7yP8CF8ZEI+2Q/ZD9nP2+VT8i/yL/Iv8i94Yape3mj+TO8X5+bz9P51Pl8QPoSPTD4l+yH7Ift5u/kY+Rf5F/kX+de3et+h+EPxh+IPxR+KP/w8Aq0/n4+HhA/hI5MvyH7Ifsh+3m6+cdWhKmKSOZJG6BF69UnWGghKcpTkZJIcRRSZiELeR94n431kP2Q/ZD9v94pC/kX+Rf5F/vWtthwo/lD8ofhD8YfiD9/ypCMg5+Mh4UP4yOQLsh+yH7Kft5tvkH+Rf5F/kX99q/k8xR+KPxR/KP5Q/OHrCVedXqBF2fNBlPAhfC5JMsZxCUZekPGoFqN/VSVGbbc8XZIRIl53Hcc9d12bsSrFV9XjfK2sIop9paZeo0lbFr87ggfrWQZNYUdtneXRVzhRhFVbQ6j0yHix1d1SqDBZV5XtKkxZd8g6WaGkecpLUO7v6k7/jxXVvuTB5ontoPBmNbjGC3hlrKUDOKVtN4PWLj3TPFU1sG+D1ys6X21+3VpaUN51HwXw8qznWi6Uuj5R2OcSdJuynQ1tH3/H6ttlFJ6IAFXAhBB5VLxWKF27j6gaViuGKr9ZHGdf2EL7FUry5nGUfoKC0VWEtMDE59soLqMUAyZUrF1HiwXDmt9Yw6aHIJhDqREEL6dqBEFVbDWCwACUCLJVgW2rAttWBbatCmxbFdgDVWAPVIE9UAX2QBXYA1VgO6rAdlSB7agC21EFtqMKbFcV2K4qsF1VYLuqwMakrSRmD1WBPVQFNn5IQk3XVIE9VAX2SBXYI1Vgj1SB7cNyiJJR82HGqkSQZapSyTLV6TRS1juYy6rBCT4FokqSMsQtZYhbyhC3lCFuK0PcVoY4fJREkRXYyhC3lSE+UIb4QBniA2WID5QhPlCGuKMMcUcZ4o4yxB1liDvKEHeVIe4qQ9xVhrirDHFlU15L2Zy3Wufukc1frHO1jQjmq2eXuV6wC1OA/vxtg+nP3zaT/vxt4+jPL4mfkNB7ty+k8f78kvgJKbt/+5L4Cem5d/tCUu7PL4mfkID7ty+Jn5Bse7cvpNj+/JL4Cem0f/uS+Amps3f7QsLszy+Jn5Ac+7cvid+wPfXo3f5QMn/gjtdR+uzfvmT+GEriN5LEbySJn99eT+qNn99eRurNb5mSClimtAbt1cIrugAsMjZoCXuV/TWwZEG0ZEG0ZEG0ZEEU9iD7gyjsPV4hQBZEYa/xCg1kQRT2FvtrIOwpXiFAFkRhD/EKDWRBFPYM+2sg7BVeIUAWRGFv8AoNZEEU9gL7ayDsAV4hQBZEYc/vCg0kJxeW7OzM6jk9+wO/9Rs3R3Dae17Vp2DFYzcfWY6nABuO9mSo+li2yFHgJ60txxl5A8u2LQcDDj/xcxE5zpc4Of9gePOR7Po8kSgdpzec3Dl1akggH2IW5OTDS8gxVHFy7xLy0Z58cAH5CHctuPTROXLP91zfc0zcBqjJzyJZ09u4clHTn+1sQ49vWjX9JfrY3kGfs+jU8h08hVDL9y/oLxhQQ++dNM1mbGv5rnmgP3mCTKTHlQGuj3fW1ED+CMD0cIuY0/tdeFb03t40/S58kN439/ItuDxxBO6oAxUD7sTVCnUNWEWPc4eavmsAKnpck+f0ltmF6Mi13Op0I2fwzjoAIor0MK51A14nokiPG9C1/M4OAL2N0/aa/mx0qPWxDx7mdQKK8nEeweX7nQOG9LjkXuvT5cGIj32wOK/TgpD+4JH+ufFywZjhbOnQHO31waOmYHGHA/FwxHOxW+4Pd1bdK4N5zB4xvB891xZsGWzj8mn/40Q/XP/OFtE2gQxQU32MPmdlJWKiH65/i1brEkIzaABnon8ryuqvts2jif73z/cj//3PM/vGM++9G2fA3BvfvX9/4zoP9+/fz3zTNh/+AVyTOC3udpYz0ddlubkzjCJcsyQobpMozLMiW5a3YZYY2XIZhcwoNjkLFsWasTKJDds0fcM3kiBK8dC/5dwVMVDldWdr5R8Pzyb60Q1Xv8IP1AcUm04Ylcc+YiPTfwEAAP//AwBQSwMEFAAGAAgAAAAhAGLoPSSfBAAAzgsAABgAAAB4bC93b3Jrc2hlZXRzL3NoZWV0MS54bWyMVl1vo0YUfa/U/4B4j5nvGSzbqyRONk531ahpd5/HMLZRwOPCOHZa9b/3DtgkQCJFsmDMnHvuuR8wd/LlWOTBsymrzG6nIR6hMDDbxKbZdj0N//rz9kKFQeX0NtW53Zpp+GKq8Mvs118mB1s+VRtjXAAM22oabpzbjaOoSjam0NXI7swWdla2LLSDv+U6qnal0WltVOQRQUhEhc62YcMwLj/DYVerLDFzm+wLs3UNSWly7UB/tcl21ZntmH6KLy31AWI963kjcd7stHyYDfQVWVLayq7cKLFF1EgbRhlHcSfOIhkQvZOsQpdP+90FEO8guGWWZ+6lDjcMimS8WG9tqZc5VOSImU7eqNRD+s/rBKbZJM0gt74hgtKspuElHt/TMJpN6sr9yMyherMOnF4+mtwkzqTQQGHgG2Np7ZMHLuARAsaqBnhGnbjs2VybPJ+Gv/ne+rv2AUtwELUe3q7P3m7rVnoog6WuzLXNf2ap24BLaNnUrPQ+d68P1UhRgigmvN38wx7uTLbeODBhkC+ftnH6MjdVAp3kdYKCxObgDq5Bkfn3AZKtj01YJ294BJSVe/Gph+2lqdxt5jnDINlXzhZnWSe6hoiciMD20BC9VXiiq5Pc+hYnE7h/bEI6XuTJBO4fm3S9QAnqCOF+MsEQyUkQqP5kfPGJBu6f9ezr1iQXFh8bdSP04hojQRVU8WM7XDdUU8+6reba6dmktIcAPgw+xp32ny089kJ8VwAflN7vXvrtGgSPK3j6PEOT6BmaMjkhrhoEKGgRuAe5HkJol2TeIKDALYnqIm6GCIy7kNsGAiVvSVgX8XVIEncRd0MO0UUshhyyi7gfcvAWEUHa29xDVw1yT1Sbe789DeFFaePpRXzVILwF1GXEJVeSKkxFLCjhqhf9dRfNcCwVUghLjmhMZC/h8y6aSEklUrFQBDP49bJy00MjpYRUMSYMfGDeQ9/20RLECOS1KxWrXnN87aKxEoRzhSRYMEIFaXNbd+xdDy0QxwLHAEWU8bjHveihuWQMKSwVsBNEXutWc9+/RbMRQphguEgmKGL05uJVSqfM9J0yY96W2W93y/zKU7u9ahDnMlPBaRxzhBXhDEPRuwm47qIBRyEBSmLOKJSvh5730IIKxRhlihNMFeq10E0XzWIikGAkRmAlFem9TLddNHiPCVaIKoWRVLTH/bWLBgUYY+J1UygK7+XkrovmnBMFpQAfCHz0wIsemHEsQXocx4zLHhYOeF+ONtkYUiYxYwKgguFX0U2Jm4O6+aLu9Np81+U621ZBblbw1qIRfI3K5qit187u6qfwUi+tgzPy/G8D86CBDy4agf+Vte78B45iz/to3H4X2DKDE7oe8abhzpau1JmDbzY8/8fCRj7fZdMQCsJiIUkM7QoDrcuS4QbQ5matk5fTcBeU4yydhuUirY8Lc3TfKjebwD3Yl8D5r2AIEUnxxaW4QhfcX4iQ6EJKgq/kNYLEo//Ow1cBk0JvCn538ip0EpljYuoZWDWz4WxSHMcP334E320KkwUcSb9vzQOkoF7/fIRg6qWfkkBec63FRu0kPvsfAAD//wMAUEsDBBQABgAIAAAAIQACLO2znwIAAA4HAAAbAAAAeGwvZHJhd2luZ3Mvdm1sRHJhd2luZzEudm1s7FVLb9swDL7vVwjqIZcEfnR9TLEDFB162wasexwLxVZitXoYNuM4/fUjZTdN1m0osMMuMyKHIimS36cPcNZbw3C5VnQ53zROtEWlrGxnVheNb/0KZoW3orOGvxkT/Z8S/WqlCyWGv/2R/hVHVF+o5yYWx6kAahFFVhbfrLkNc31tNF+8YZkXbSVrZeTOb4B1QvWQc1VqoCiFdWllfRRgpQSZ84RHVCA6qrDIuqEg7GrFdJnzuz7G5w7SOOWs8L4pW/2ocp4m53E8DW/OsEaNfSkHu9YSqpzbeBqbMWPIO3rHvRpGxIbQ+AfF7r12LewMFrcaVBPmYzgQ1WPrRpZaOQhw/UPOgdoW3jlVAE2b8watEdQBij2kQzhtEqdnnA3nTo4wDiNMat9q0N4JuWy92YCaIzIrm7V2M6NWIM4va5iPDvC1ONVuvtUlVCJJ32KoUnpdgUgTtB9n2pWqFwkV6XSrl9po2IlKl6Vyc9v62baR9Sz0FkAHJ2yljSm88U3OT1b4qIQQI0cKrC8Rr9yAf+KQkvF6MDt9TqcLJgKRs9JvmXcDa8u22DQK73Zga0/xT3Q679T+DgCFtfQ9G9mhiUtNhCNFM2lA0DAT6seyUndPeXQMw3rtBJE2WWQRRsNYUSfGomHbi2tD9/sexck+Le+x9Jdwqx89DEphWS8++E5911BdK2PaAI+8t6jIl94rV1S+CSOxeMrOL6fs3ZSdTdnplCUXuNCZpFnUi4NMrHaFSG6QzsWNNK0K8SdPgNeLz367SChAxui7RpFYt4jJPdpEPu32uDA3Q9hBwr+V5fnfyTK5IPEd6DLF7ajLhOxf6TL9r8t/o8sUBYkLlUhW+JF9GlT3rN9XqzLI76Uqg8pfp8oIP4KLHwAAAP//AwBQSwMEFAAGAAgAAAAhAIR4nnQ1AQAAEg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X0vDMBTF3wW/Q8l7m2abY4S2A5Uh4kBwovgWkrst2Pwhudrt25vVWSfz8XLO/XHOvdV8Z9rsE0LUztaEFSXJwEqntN3U5Hm1yGckiyisEq2zUJM9RDJvLi8q6bl0AR6D8xBQQ8wSyUYufU22iJ5TGuUWjIhFctgkrl0wAtMYNtQL+S42QEdlOaUGUCiBgh6AuR+I5IhUckD6j9D2ACUptGDAYqSsYPTXixBM/HehV06cRuPep07HuKdsJb/Fwb2LejB2XVd04z5Gys/o6/Lhqa+aa3u4lQTSVEpyGUCgC01FT4d0uFZEXKYbrzWo631z76zArbDZnQsJANpW9NyViH0Bbo6bWcrEvxv8SC/jm9vVgjSjkk3zkuVssmITfsX4ePZ2SPEXkIKdfbH5AgAA//8DAFBLAwQUAAYACAAAACEArU7jEg8BAAAiAgAAEAAAAHhsL2NvbW1lbnRzMS54bWy8UE1LxDAUvAv+h/DubtoeZJUmiwgrggfB9QfE5nUbyEfJyy5df71v7daDJ09CCJnJvJnhtZspeHHETC5FBfWqAoGxS9bFvYL33fZmDYKKidb4FFHBCQk2+vqq7VIIGAsJNoikYChlvJeSugGDoVUaMfJPn3IwhWHeSxozGksDYgleNlV1K4NxEXRrDmVImZaH1K38oS45L46KXkJFxl7BYw1ilj1bBRX7FJxYlPm88vXBPvQpjsYruAMGXfIpCxctTsgT6/pM5m2KZRbtzJCCOZO9Cc6fZrY5E/LbseinnA6jsEhddmPhnVErOVJynJzT5aXwr7IPzf+XfcPskP7Yduk9L3pBpL8AAAD//wMAUEsDBBQABgAIAAAAIQD0oS/xigEAAA0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TU/jMBCG7yvtf4h8p05ZhFaVY4RgVxwWbaUWOBtn0li4tuUZopZfv5NEpenCidt8vH7n8djqarf1RQcZXQyVmM9KUUCwsXZhU4mH9e+zn6JAMqE2PgaoxB5QXOnv39QyxwSZHGDBFgEr0RKlhZRoW9ganHE7cKeJeWuI07yRsWmchdtoX7cQSJ6X5aWEHUGooT5L74ZidFx09FXTOtqeDx/X+8TAWl2n5J01xLfU987miLGh4t5YFyhiW/zaWfBKTmWKOVdgX7OjvS6VnKZqZY2HGx6hG+MRlDwW1B2Yfn1L4zJq1dGiA0sxF+jeeIHnong2CD1YJTqTnQnEgL1sTIbYJ6Ssn2J+wRaAUEkWjMUhnGqnsbvQ80HAwamwNxhBuHGKuHbkAf82S5PpE+L5lHhgGHlHnOvkY3Z4a8h8gBzuzeP+G/DHhRd8SOvIh+CwwNOiWrUmQ807P/SPBXXHu8u+N7lpTdhAfdB8bPQP/zj+bj2/mJU/Sn7JSU3J4z/W/wAAAP//AwBQSwECLQAUAAYACAAAACEAkleNNXkBAABwBQAAEwAAAAAAAAAAAAAAAAAAAAAAW0NvbnRlbnRfVHlwZXNdLnhtbFBLAQItABQABgAIAAAAIQBQfE7B9gAAAEwCAAALAAAAAAAAAAAAAAAAALIDAABfcmVscy8ucmVsc1BLAQItABQABgAIAAAAIQCMlsVu8wAAALoCAAAaAAAAAAAAAAAAAAAAANkGAAB4bC9fcmVscy93b3JrYm9vay54bWwucmVsc1BLAQItABQABgAIAAAAIQAypEXrwAEAAM8CAAAPAAAAAAAAAAAAAAAAAAwJAAB4bC93b3JrYm9vay54bWxQSwECLQAUAAYACAAAACEAuhojTIEBAADAAgAAFAAAAAAAAAAAAAAAAAD5CgAAeGwvc2hhcmVkU3RyaW5ncy54bWxQSwECLQAUAAYACAAAACEA52V1uNYAAAC4AQAAIwAAAAAAAAAAAAAAAACsDAAAeGwvd29ya3NoZWV0cy9fcmVscy9zaGVldDEueG1sLnJlbHNQSwECLQAUAAYACAAAACEA+2KlbZQGAACnGwAAEwAAAAAAAAAAAAAAAADDDQAAeGwvdGhlbWUvdGhlbWUxLnhtbFBLAQItABQABgAIAAAAIQAqx2l2lggAANiGAAANAAAAAAAAAAAAAAAAAIgUAAB4bC9zdHlsZXMueG1sUEsBAi0AFAAGAAgAAAAhAGLoPSSfBAAAzgsAABgAAAAAAAAAAAAAAAAASR0AAHhsL3dvcmtzaGVldHMvc2hlZXQxLnhtbFBLAQItABQABgAIAAAAIQACLO2znwIAAA4HAAAbAAAAAAAAAAAAAAAAAB4iAAB4bC9kcmF3aW5ncy92bWxEcmF3aW5nMS52bWxQSwECLQAUAAYACAAAACEAhHiedDUBAAASAgAAEQAAAAAAAAAAAAAAAAD2JAAAZG9jUHJvcHMvY29yZS54bWxQSwECLQAUAAYACAAAACEArU7jEg8BAAAiAgAAEAAAAAAAAAAAAAAAAABiJwAAeGwvY29tbWVudHMxLnhtbFBLAQItABQABgAIAAAAIQD0oS/xigEAAA0DAAAQAAAAAAAAAAAAAAAAAJ8oAABkb2NQcm9wcy9hcHAueG1sUEsFBgAAAAANAA0AWAMAAF8rAAAAAAUj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2AAAABUFyaWFsBncAAAAGK21uLWVhCXgAAAABAAl5AAAAByQAAAAAAQAAABEAAAAEFFN5c3RlbS5EcmF3aW5nLkNvbG9yBAAAAAV6AAAAFFN5c3RlbS5EcmF3aW5nLkNvbG9yBAAAAAV2YWx1ZQVzdGF0ZQprbm93bkNvbG9yBG5hbWUAAAABCQcHBAAAAAAAAAAAAAAAAAAAAAoBewAAAHoAAAAAAAD//////wIAAAAKAXwAAAB6AAAA//////////8CAAAACgF9AAAAegAAAE5BIv//////AgAAAAoBfgAAAHoAAADe3Nv//////wIAAAAKAX8AAAB6AAAAfmk///////8CAAAACgGAAAAAegAAAIyEcv//////AgAAAAoBgQAAAHoAAAAlIe3//////wIAAAAKAYIAAAB6AAAANDtG//////8CAAAACgGDAAAAegAAAHSYw///////AgAAAAoBhAAAAHoAAAAelPf//////wIAAAAKAYUAAAB6AAAAHpT3//////8CAAAACgGGAAAAegAAACUh7f//////AgAAAAoBhwAAAHoAAAAAAAD//////wIAAAAKAYgAAAB6AAAA//////////8CAAAACgGJAAAAegAAAE5BIv//////AgAAAAoBigAAAHoAAADe3Nv//////wIAAAAKBCUAAACYAVN5c3RlbS5Db2xsZWN0aW9ucy5HZW5lcmljLkxpc3RgMVtbQXBsb3Jpcy5CYXNlLk9iamVjdHMuRGF0YU9iamVjdCwgQXBsb3Jpcy5CYXNlLCBWZXJzaW9uPTQuMC4wLjE0ODYsIEN1bHR1cmU9bmV1dHJhbCwgUHVibGljS2V5VG9rZW49MTZmYzEzYTIyNmMwZTk1MV1dAwAAAAZfaXRlbXMFX3NpemUIX3ZlcnNpb24EAAAhQXBsb3Jpcy5CYXNlLk9iamVjdHMuRGF0YU9iamVjdFtdAwAAAAgICYsAAAANAAAADQAAAAQmAAAAlQFTeXN0ZW0uQ29sbGVjdGlvbnMuR2VuZXJpYy5MaXN0YDFbW0FwbG9yaXMuQmFzZS5VSS5WaXN1YWxPYmplY3QsIEFwbG9yaXMuQmFzZSwgVmVyc2lvbj00LjAuMC4xNDg2LCBDdWx0dXJlPW5ldXRyYWwsIFB1YmxpY0tleVRva2VuPTE2ZmMxM2EyMjZjMGU5NTFdXQMAAAAGX2l0ZW1zBV9zaXplCF92ZXJzaW9uBAAAHkFwbG9yaXMuQmFzZS5VSS5WaXN1YWxPYmplY3RbXQMAAAAICAmMAAAAAQAAAAEAAAAFKAAAAJsBQXBsb3Jpcy5CYXNlLk9iamVjdHMuRGF0YU9iamVjdENvbGxlY3Rpb25gMVtbQXBsb3Jpcy5DaGFydC5WYWx1ZUxpbmU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AuMC4xNDg2LCBDdWx0dXJlPW5ldXRyYWwsIFB1YmxpY0tleVRva2VuPTE2ZmMxM2EyMjZjMGU5NTFdXQMAAACRAVN5c3RlbS5Db2xsZWN0aW9ucy5HZW5lcmljLkxpc3RgMVtbQXBsb3Jpcy5DaGFydC5WYWx1ZUxpbm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jQAAAAmOAAAACQYAAAAJAQAAAAmPAAAABSkAAACbAUFwbG9yaXMuQmFzZS5PYmplY3RzLkRhdGFPYmplY3RDb2xsZWN0aW9uYDFbW0FwbG9yaXMuQ2hhcnQuQXhpc0JyZWFr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wLjAuMTQ4NiwgQ3VsdHVyZT1uZXV0cmFsLCBQdWJsaWNLZXlUb2tlbj0xNmZjMTNhMjI2YzBlOTUxXV0DAAAAkQFTeXN0ZW0uQ29sbGVjdGlvbnMuR2VuZXJpYy5MaXN0YDFbW0FwbG9yaXMuQ2hhcnQuQXhpc0JyZWF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AAAAAJkQAAAAkGAAAACQEAAAAJkg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aAAAAAMAAAAJaQAAAAlqAAAACWsAAAABAAAAAAoKCWwAAAAAAAAACgAAAAAAAAAABS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gAAAADAAAACWkAAAAJagAAAAlrAAAAAQAAAAAKBpMAAAABJQlsAAAAAQAAAAoAAAAAAAAAAAUtAAAAmgFBcGxvcmlzLkJhc2UuT2JqZWN0cy5EYXRhT2JqZWN0Q29sbGVjdGlvbmAxW1tBcGxvcmlzLkNoYXJ0LlRpY2tNYXJr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AuMC4xNDg2LCBDdWx0dXJlPW5ldXRyYWwsIFB1YmxpY0tleVRva2VuPTE2ZmMxM2EyMjZjMGU5NTFdXQMAAACQAVN5c3RlbS5Db2xsZWN0aW9ucy5HZW5lcmljLkxpc3RgMVtbQXBsb3Jpcy5DaGFydC5UaWNrTWFy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UAAAACZUAAAAJBgAAAAkBAAAACZYAAAAFMA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XAAAAIQAAAMDUvkLctItDAZgAAAAhAAAAiYUuRNy0i0MJmQAAALgBAAD/////AQEKCZoAAAABAAoABzEAAAAAAQAAAAUAAAAEFVN5c3RlbS5EcmF3aW5nLlBvaW50RgQAAAABmwAAACEAAACJRS9E3LSLQwGcAAAAIQAAAMDUvkIiTKtDAZ0AAAAhAAAAIWDGQyJMq0MBngAAACEAAACJhS5EIkyrQwGfAAAAIQAAAIlFL0TcNI5DBzIAAAAAAQAAAAUAAAAEF0FwbG9yaXMuQmFzZS5BbmNob3JNb2RlAwAAAAWgAAAAF0FwbG9yaXMuQmFzZS5BbmNob3JNb2RlAQAAAAd2YWx1ZV9fAAgDAAAABAAAAAGhAAAAoAAAAAUAAAABogAAAKAAAAADAAAAAaMAAACgAAAABgAAAAGkAAAAoAAAAAUAAAAPMwAAAAUAAAABAAAAAAEFNAAAABVBcGxvcmlzLkJhc2UuVUkuTGFiZWwcAAAAD21BbmNob3JQb3NpdGlvbgttQW5jaG9yTW9kZQ9tQWRkSW5uZXJNYXJnaW4WbU9mZnNldERpcmVjdGlvbkFuY2hvchdtT2Zmc2V0T3J0aG9nb25hbEFuY2hvcgttVGV4dEZvcm1hdAltUm90YXRpb24KbUJhY2tDb2xvcg1tVXNlQmFja0NvbG9yDm1Vc2V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BAQEAAEDAwEAAAAABwIAAAMA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MAAAABpQAAACEAAACJRS9E3LSLQwGmAAAAoAAAAAQAAAAAAAAAAAAAAAAJpwAAAAAAAAAJqAAAAAAABakAAAAqQXBsb3Jpcy5CYXNlLlVJLkxhYmVsK0xpbmVBbGlnbm1lbnRPcHRpb25zAQAAAAd2YWx1ZV9fAAgDAAAAAAAAAAGqAAAAcgAAAAAAAAAAAAAAAasAAAAVAAAAAAAAAAAAAAAAAAAAAAAAAAAAAAAGrAAAAA1DYXRlZ29yeSBheGlzCgmtAAAACawAAADkAgAA/////wABCgmuAAAAAQAKAAE1AAAAJQAAAAmvAAAABgAAAAYAAAABNgAAACYAAAAJsAAAAAIAAAACAAAAATgAAAAoAAAACgmxAAAACbIAAAAJBwAAAAkBAAAACbMAAAABOQAAACkAAAAKCbQAAAAJtQAAAAkHAAAACQEAAAAJtg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oAAAAAwAAAAlpAAAACWoAAAAJawAAAAEAAAAACga3AAAAASUJbAAAAAAAAAAKAAAAAAA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aAAAAAMAAAAJaQAAAAlqAAAACWsAAAABAAAAAAoGuAAAAAElCWwAAAAAAAAACgAAAAAAAAAABT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EAAAABCWgAAAADAAAACWkAAAAJagAAAAlrAAAAAQAAAAAKCZMAAAAJbAAAAAEAAAAKAAAAAAAAAAABPQAAAC0AAAAKCbkAAAAJugAAAAkHAAAACQEAAAAJuwAAAAFAAAAAMAAAAAG8AAAAIQAAAMDUvkLctItDAb0AAAAhAAAAwNS+QiSBX0IJvgAAALgBAAD/////AQEKCb8AAAABAAoAB0EAAAAAAQAAAAUAAAAEFVN5c3RlbS5EcmF3aW5nLlBvaW50RgQAAAABwAAAACEAAADA1L5CsK9JQgHBAAAAIQAAAApBeELctItDAcIAAAAhAAAACkF4QgClJ0MBwwAAACEAAAAKQXhCJIFfQgHEAAAAIQAAAApBeEKwr0lCB0IAAAAAAQAAAAUAAAAEF0FwbG9yaXMuQmFzZS5BbmNob3JNb2RlAwAAAAHFAAAAoAAAAAEAAAABxgAAAKAAAAAIAAAAAccAAACgAAAAAgAAAAHIAAAAoAAAAAYAAAAByQAAAKAAAAAHAAAAD0MAAAAFAAAAAQAAAAABAUQAAAA0AAAAAcoAAAAhAAAACkF4QrCvSUIBywAAAKAAAAAHAAAAAaSLrkBGF1HCCcwAAAAAAAAACc0AAAAAAAHOAAAAqQAAAAEAAAABzwAAAHIAAAAAAMBCAAAYQgHQAAAAFQAAAAAAIEEAACBBu3+0QosuCkISg74/BtEAAAAvJSBTZWxlY3RlZA0KIldpZGVzcHJlYWQgVXNlIiANCm9yICJMaW1pdGVkIFVzZSIKCdIAAAAJ0QAAAOQCAAD/////AQEKCdMAAAABAAoAAUUAAAAlAAAACdQAAAAIAAAACAAAAAFGAAAAJgAAAAnVAAAAAgAAAAIAAAAHRwAAAAABAAAAAAAAAAQuQXBsb3Jpcy5DaGFydC5Db2x1bW5PcmllbnRlZENoYXJ0K1VudXNlZFNlcmllcwIAAAAESA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1gAAAAIAAAA4AQAAAUkAAAAlAAAACdcAAAACAAAAYAAAAAFKAAAAJgAAAAnYAAAAAAAAAAAAAAAESw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dkAAAAAAAAAAAAAAAFMAAAAJQAAAAnaAAAAAAAAAAAAAAABTQAAACYAAAAJ2AAAAAAAAAAAAAAABE4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dsAAAAAAAAAAAAAAAFPAAAAJQAAAAnaAAAAAAAAAAAAAAABUAAAACYAAAAJ2AAAAAAAAAAAAAAABFE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cAAAACQAAADcAAAABUgAAACUAAAAJ3QAAAAkAAAAXAAAAAVMAAAAmAAAACdgAAAAAAAAAAAAAAARU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3gAAAAAAAAAAAAAAAVUAAAAlAAAACdoAAAAAAAAAAAAAAAFWAAAAJgAAAAnYAAAAAAAAAAAAAAAEVw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d8AAAAAAAAAAAAAAAFYAAAAJQAAAAnaAAAAAAAAAAAAAAABWQAAACYAAAAJ2AAAAAAAAAAAAAAABFo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gAAAAAAAAAAAAAAABWwAAACUAAAAJ2gAAAAAAAAAAAAAAAVwAAAAmAAAACdgAAAAAAAAAAAAAAARd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hAAAAAAAAAAAAAAABXgAAACUAAAAJ2gAAAAAAAAAAAAAAAV8AAAAmAAAACdgAAAAAAAAAAAAAAARg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eIAAAAAAAAAAAAAAAFhAAAAJQAAAAnaAAAAAAAAAAAAAAABYgAAACYAAAAJ2AAAAAAAAAAAAAAABWMAAACtAUFwbG9yaXMuQmFzZS5PYmplY3RzLkRhdGFPYmplY3RDb2xsZWN0aW9uYDFbW0FwbG9yaXMuQ2hhcnQuQ29sdW1uT3JpZW50ZWRMZWdlbmR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qwFBcGxvcmlzLkJhc2UuT2JqZWN0cy5Tb3J0YWJsZUNvbGxlY3Rpb25gMVtbQXBsb3Jpcy5DaGFydC5Db2x1bW5PcmllbnRlZExlZ2VuZEVsZW1lbnQsIEFwbG9yaXMuQ2hhcnQsIFZlcnNpb249NC4wLjAuMTQ4NiwgQ3VsdHVyZT1uZXV0cmFsLCBQdWJsaWNLZXlUb2tlbj0xNmZjMTNhMjI2YzBlOTUxXV0DAAAAowFTeXN0ZW0uQ29sbGVjdGlvbnMuR2VuZXJpYy5MaXN0YDFbW0FwbG9yaXMuQ2hhcnQuQ29sdW1uT3JpZW50ZWRMZWdlbmR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eMAAAAJ5AAAAAkUAAAACQEAAAAJ5QAAAAFlAAAAHAAAAAHmAAAAIQAAAFiVvULQS7RDAecAAAAhAAAAs0mPQ0lvwEMJ6AAAAAnpAAAAAAAAAAoB6gAAAHIAAAAAAAAAAAAAAAHrAAAAcgAAAAAAAAAAAAAAAAAAAAHsAAAAFQAAAAAAAAAAAAAAAAAAAAAAAACkAQAA/////wEBCgntAAAAAQAKAAFmAAAAJQAAAAnuAAAAAQAAAAEAAAABZwAAACYAAAAJ7wAAAAEAAAABAAAABXA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8AAAAAnxAAAAAQAAAP7///8BAAAAAQAAAAEAAAABAAAAAQAAAAEAAAAAAAEFcQ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yAAAACfMAAAABAAAAAAAAAAAAAAAAAAAAAAEFdQAAAB9BcGxvcmlzLkJhc2UuT2JqZWN0cy5QZXJzSWREYXRhAgAAAANtSWQLbUN1c3RvbURhdGEHAggDAAAACfQAAAAKBXgAAAAaQXBsb3Jpcy5CYXNlLk9iamVjdHMuQ29sb3IHAAAAEkRhdGFPYmplY3QrbVBhcmVudBVEYXRhT2JqZWN0K21Db250YWluZXIFbVR5cGUEbVJHQhBtVGhlbWVDb2xvckluZGV4DG1BdXRvVXBkYXRlZAltTW9kaWZpZWQCAgAAAAAACAgIAQEDAAAACgoAAAAAAAAAAA0AAAAAAQF5AAAAeAAAAAoKAQAAAAAAAAD/////AAEHiwAAAAABAAAAEAAAAAQfQXBsb3Jpcy5CYXNlLk9iamVjdHMuRGF0YU9iamVjdAMAAAAJCQAAAAkKAAAACQsAAAAJDAAAAAkQAAAACREAAAAJDQAAAAkOAAAACQ8AAAAJBwAAAAkGAAAACRgAAAAJFAAAAA0DB4wAAAAAAQAAAAQAAAAEHEFwbG9yaXMuQmFzZS5VSS5WaXN1YWxPYmplY3QDAAAACRwAAAANAwSNAAAAkQFTeXN0ZW0uQ29sbGVjdGlvbnMuR2VuZXJpYy5MaXN0YDFbW0FwbG9yaXMuQ2hhcnQuVmFsdWVMaW5lLCBBcGxvcmlzLkNoYXJ0LCBWZXJzaW9uPTQuMC4wLjE0ODYsIEN1bHR1cmU9bmV1dHJhbCwgUHVibGljS2V5VG9rZW49MTZmYzEzYTIyNmMwZTk1MV1dAwAAAAZfaXRlbXMFX3NpemUIX3ZlcnNpb24EAAAZQXBsb3Jpcy5DaGFydC5WYWx1ZUxpbmVbXQIAAAAICAn1AAAAAAAAAAAAAAABjgAAACUAAAAJ2gAAAAAAAAAAAAAAAY8AAAAmAAAACdgAAAAAAAAAAAAAAASQAAAAkQFTeXN0ZW0uQ29sbGVjdGlvbnMuR2VuZXJpYy5MaXN0YDFbW0FwbG9yaXMuQ2hhcnQuQXhpc0JyZWFrLCBBcGxvcmlzLkNoYXJ0LCBWZXJzaW9uPTQuMC4wLjE0ODYsIEN1bHR1cmU9bmV1dHJhbCwgUHVibGljS2V5VG9rZW49MTZmYzEzYTIyNmMwZTk1MV1dAwAAAAZfaXRlbXMFX3NpemUIX3ZlcnNpb24EAAAZQXBsb3Jpcy5DaGFydC5BeGlzQnJlYWtbXQIAAAAICAn2AAAAAAAAAAAAAAABkQAAACUAAAAJ2gAAAAAAAAAAAAAAAZIAAAAmAAAACdgAAAAAAAAAAAAAAASUAAAAkAFTeXN0ZW0uQ29sbGVjdGlvbnMuR2VuZXJpYy5MaXN0YDFbW0FwbG9yaXMuQ2hhcnQuVGlja01hcmssIEFwbG9yaXMuQ2hhcnQsIFZlcnNpb249NC4wLjAuMTQ4NiwgQ3VsdHVyZT1uZXV0cmFsLCBQdWJsaWNLZXlUb2tlbj0xNmZjMTNhMjI2YzBlOTUxXV0DAAAABl9pdGVtcwVfc2l6ZQhfdmVyc2lvbgQAABhBcGxvcmlzLkNoYXJ0LlRpY2tNYXJrW10CAAAACAgJ9wAAAAAAAAAAAAAAAZUAAAAlAAAACdoAAAAAAAAAAAAAAAGWAAAAJgAAAAnYAAAAAAAAAAAAAAABmQAAAHAAAAAKCgAAAEA/CfgAAAAJ+QAAAAEAAAD+////AAAAAAEAAAAAAAAAAAAAAAEAAAAAAAAAAAAAAZoAAAB1AAAACfoAAAAKBac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2AAAACXcAAAAJ+wAAAAEACfwAAAABqAAAAHgAAAAKCgEAAAAAAAAA/////wABBK0AAACWAVN5c3RlbS5Db2xsZWN0aW9ucy5HZW5lcmljLkxpc3RgMVtbQXBsb3Jpcy5CYXNlLk9iamVjdHMuVmFyaWFibGUsIEFwbG9yaXMuQmFzZSwgVmVyc2lvbj00LjAuMC4xNDg2LCBDdWx0dXJlPW5ldXRyYWwsIFB1YmxpY0tleVRva2VuPTE2ZmMxM2EyMjZjMGU5NTFdXQMAAAAGX2l0ZW1zBV9zaXplCF92ZXJzaW9uBAAAH0FwbG9yaXMuQmFzZS5PYmplY3RzLlZhcmlhYmxlW10DAAAACAgJ/QAAAAAAAAAAAAAAAa4AAAB1AAAACf4AAAAKB68AAAAAAQAAAAgAAAAEH0FwbG9yaXMuQmFzZS5PYmplY3RzLkRhdGFPYmplY3QDAAAACSoAAAAJKwAAAAksAAAACS0AAAAJKAAAAAkpAAAACgoHsAAAAAABAAAABAAAAAQcQXBsb3Jpcy5CYXNlLlVJLlZpc3VhbE9iamVjdAMAAAAJMAAAAAk0AAAACgoBsQAAAI0AAAAJ9QAAAAAAAAAAAAAAAbIAAAAlAAAACdoAAAAAAAAAAAAAAAGzAAAAJgAAAAnYAAAAAAAAAAAAAAABtAAAAJAAAAAJ9gAAAAAAAAAAAAAAAbUAAAAlAAAACdoAAAAAAAAAAAAAAAG2AAAAJgAAAAnYAAAAAAAAAAAAAAABuQAAAJQAAAAJ/wAAAAsAAAAhAAAAAboAAAAlAAAACQABAAALAAAAIQAAAAG7AAAAJgAAAAnYAAAAAAAAAAAAAAABvgAAAHAAAAAKCgAAAEA/CQEBAAAJAgEAAAEAAAD+////AAAAAAEAAAAAAAAAAAAAAAEAAAAAAAAAAAAAAb8AAAB1AAAACQMBAAAKBcw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AoQQl2AAAACXcAAAAJBAEAAAAACQUBAAABzQAAAHgAAAAKCgAAAAD///8ADgAAAAABAdIAAACtAAAACf0AAAAAAAAAAgAAAAHTAAAAdQAAAAkGAQAACgfUAAAAAAEAAAAIAAAABB9BcGxvcmlzLkJhc2UuT2JqZWN0cy5EYXRhT2JqZWN0AwAAAAk6AAAACTsAAAAJPAAAAAk9AAAACTgAAAAJOQAAAAkHAQAACQgBAAAH1QAAAAABAAAABAAAAAQcQXBsb3Jpcy5CYXNlLlVJLlZpc3VhbE9iamVjdAMAAAAJQAAAAAlEAAAACgoH1gAAAAABAAAAIAAAAAQdQXBsb3Jpcy5DaGFydC5DaGFydERhdGFTZXJpZXMCAAAACQkBAAAJCgEAAA0eB9cAAAAAAQAAACAAAAAEH0FwbG9yaXMuQmFzZS5PYmplY3RzLkRhdGFPYmplY3QDAAAACQoBAAAJCQEAAA0eB9gAAAAAAQAAAAAAAAAEHEFwbG9yaXMuQmFzZS5VSS5WaXN1YWxPYmplY3QDAAAAB9kAAAAAAQAAAAAAAAAEIkFwbG9yaXMuQ2hhcnQuQW5ub3RhdGlvbkRhdGFTZXJpZXMCAAAAB9oAAAAAAQAAAAAAAAAEH0FwbG9yaXMuQmFzZS5PYmplY3RzLkRhdGFPYmplY3QDAAAAB9sAAAAAAQAAAAAAAAAEHUFwbG9yaXMuQ2hhcnQuQW5ub3RhdGlvbkdyb3VwAgAAAAfcAAAAAAEAAAAQAAAABBxBcGxvcmlzLkNoYXJ0LkNoYXJ0RGF0YUdyb3VwAgAAAAkLAQAACQwBAAAJDQEAAAkOAQAACQ8BAAAJEAEAAAkRAQAACRIBAAAJEwEAAA0HB90AAAAAAQAAABAAAAAEH0FwbG9yaXMuQmFzZS5PYmplY3RzLkRhdGFPYmplY3QDAAAACQwBAAAJEAEAAAkSAQAACQsBAAAJDQEAAAkOAQAACRMBAAAJDwEAAAkRAQAADQcH3gAAAAABAAAAAAAAAAQWQXBsb3Jpcy5DaGFydC5EZWx0YUJhcgIAAAAH3wAAAAABAAAAAAAAAAQZQXBsb3Jpcy5DaGFydC5EZWx0YUJyaWRnZQIAAAAH4AAAAAABAAAAAAAAAAQZQXBsb3Jpcy5DaGFydC5Hcm93dGhBcnJvdwIAAAAH4QAAAAABAAAAAAAAAAQgQXBsb3Jpcy5DaGFydC5XYXRlcmZhbGxDb25uZWN0b3ICAAAAB+IAAAAAAQAAAAAAAAAEHkFwbG9yaXMuQ2hhcnQuRWxlbWVudENvbm5lY3RvcgIAAAAE4wAAAKMBU3lzdGVtLkNvbGxlY3Rpb25zLkdlbmVyaWMuTGlzdGAxW1tBcGxvcmlzLkNoYXJ0LkNvbHVtbk9yaWVudGVkTGVnZW5kRWxlbWVudCwgQXBsb3Jpcy5DaGFydCwgVmVyc2lvbj00LjAuMC4xNDg2LCBDdWx0dXJlPW5ldXRyYWwsIFB1YmxpY0tleVRva2VuPTE2ZmMxM2EyMjZjMGU5NTFdXQMAAAAGX2l0ZW1zBV9zaXplCF92ZXJzaW9uBAAAK0FwbG9yaXMuQ2hhcnQuQ29sdW1uT3JpZW50ZWRMZWdlbmRFbGVtZW50W10CAAAACAgJFAEAAAIAAABoAQAAAeQAAAAlAAAACRUBAAACAAAADAAAAAHlAAAAJgAAAAkWAQAAAAAAAAAAAAAB6AAAAHAAAAAKCgAAAAAACRcBAAAJGAEAAAEAAAD+////AQAAAAEAAAABAAAAAQAAAAEAAAABAAAAAAABAekAAABxAAAACgoJGQEAAAkaAQAAAQAAAAAAAAAAAAAAAAAAAAABAe0AAAB1AAAACRsBAAAKB+4AAAAAAQAAAAQAAAAEH0FwbG9yaXMuQmFzZS5PYmplY3RzLkRhdGFPYmplY3QDAAAACWMAAAANAwfvAAAAAAEAAAAEAAAABBxBcGxvcmlzLkJhc2UuVUkuVmlzdWFsT2JqZWN0AwAAAAllAAAADQMB8AAAAHgAAAAKCgAAAAAAAAAADQAAAAABAfEAAAB4AAAACgoBAAAAAAAAAP////8AAQHyAAAAeAAAAAoKAQAAAP///wD/////AAEB8wAAAHgAAAAKCgEAAAAAAAAA/////wABD/QAAAABAAAACAAAAAAH9QAAAAABAAAAAAAAAAQXQXBsb3Jpcy5DaGFydC5WYWx1ZUxpbmUCAAAAB/YAAAAAAQAAAAAAAAAEF0FwbG9yaXMuQ2hhcnQuQXhpc0JyZWFrAgAAAAf3AAAAAAEAAAAAAAAABBZBcGxvcmlzLkNoYXJ0LlRpY2tNYXJrAgAAAAX4AAAAGkFwbG9yaXMuQmFzZS5PYmplY3RzLkNvbG9yBwAAABJEYXRhT2JqZWN0K21QYXJlbnQVRGF0YU9iamVjdCttQ29udGFpbmVyBW1UeXBlBG1SR0IQbVRoZW1lQ29sb3JJbmRleAxtQXV0b1VwZGF0ZWQJbU1vZGlmaWVkBAIAAAAAAB9BcGxvcmlzLkJhc2UuT2JqZWN0cy5MaW5lRm9ybWF0AwAAAAgICAEBAwAAAAmZAAAACgAAAAAAAAAADQAAAAAABfkAAAAaQXBsb3Jpcy5CYXNlLk9iamVjdHMuQ29sb3IHAAAAEkRhdGFPYmplY3QrbVBhcmVudBVEYXRhT2JqZWN0K21Db250YWluZXIFbVR5cGUEbVJHQhBtVGhlbWVDb2xvckluZGV4DG1BdXRvVXBkYXRlZAltTW9kaWZpZWQEAgAAAAAAH0FwbG9yaXMuQmFzZS5PYmplY3RzLkxpbmVGb3JtYXQDAAAACAgIAQEDAAAACZkAAAAKAQAAAAAAAAD/////AAEP+gAAAAEAAAAI9AIAAAH7AAAAeAAAAAoKAAAAAAAAAAANAAAAAAEB/AAAAHgAAAAKCgEAAAAAAAAA/////wABB/0AAAAAAQAAAAAAAAAEHUFwbG9yaXMuQmFzZS5PYmplY3RzLlZhcmlhYmxlAwAAAA/+AAAAAQAAAAgAAAAAB/8AAAAAAQAAABAAAAAEFkFwbG9yaXMuQ2hhcnQuVGlja01hcmsCAAAACRwBAAAJHQEAAAkeAQAACR8BAAAJIAEAAAkhAQAACSIBAAAJIwEAAAkkAQAACSUBAAAJJgEAAA0FBwABAAAAAQAAABAAAAAEH0FwbG9yaXMuQmFzZS5PYmplY3RzLkRhdGFPYmplY3QDAAAACRwBAAAJHQEAAAkeAQAACR8BAAAJIAEAAAkhAQAACSIBAAAJIwEAAAkkAQAACSUBAAAJJgEAAA0FBQEBAAAaQXBsb3Jpcy5CYXNlLk9iamVjdHMuQ29sb3IHAAAAEkRhdGFPYmplY3QrbVBhcmVudBVEYXRhT2JqZWN0K21Db250YWluZXIFbVR5cGUEbVJHQhBtVGhlbWVDb2xvckluZGV4DG1BdXRvVXBkYXRlZAltTW9kaWZpZWQEAgAAAAAAH0FwbG9yaXMuQmFzZS5PYmplY3RzLkxpbmVGb3JtYXQDAAAACAgIAQEDAAAACb4AAAAKAAAAAAAAAAANAAAAAAAFAgEAABpBcGxvcmlzLkJhc2UuT2JqZWN0cy5Db2xvcgcAAAASRGF0YU9iamVjdCttUGFyZW50FURhdGFPYmplY3QrbUNvbnRhaW5lcgVtVHlwZQRtUkdCEG1UaGVtZUNvbG9ySW5kZXgMbUF1dG9VcGRhdGVkCW1Nb2RpZmllZAQCAAAAAAAfQXBsb3Jpcy5CYXNlLk9iamVjdHMuTGluZUZvcm1hdAMAAAAICAgBAQMAAAAJvgAAAAoBAAAAAAAAAP////8AAQ8DAQAAAQAAAAj1AgAAAQQBAAB4AAAACgoAAAAAAAAAAA0AAAAAAAEFAQAAeAAAAAoKAAAAAAAAAAANAAAAAAEPBgEAAAEAAAAIsgIAAAUHAQ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oAAAAAwAAAAlpAAAACWoAAAAJawAAAAEAAAAACgmTAAAACWwAAAABAAAACgAAAAAAAAAABQgB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cAAAAJAQAAAAAAAAAABicBAAABLgMAAAAGKAEAAAEsBikBAAABLQYqAQAAASsBAAAAAAoKBisBAAAITS9kL3l5eXkAAAAACgAAAAAAAAAABQkBAAAdQXBsb3Jpcy5DaGFydC5DaGFydERhdGFTZXJpZXMcAAAABm1DaGFydAttU2VyaWVzVHlwZQltRXhjZWxSb3cKbUV4Y2VsUm93MgVtQXhpcw1tRGF0YUVsZW1lbnRzEm1TZXJpZXNEZXNjcmlwdGlvbhNtU2VyaWVzRGVzY3JpcHRpb24yCm1TdGFja2VkT24MbUN1c3RvbVdpZHRoD21DdXN0b21Qb3NpdGlvbg1tQ3VzdG9tWk9yZGVyCW1Qb2x5bGluZQhtUG9seWdvbhRtUmVzdG9yZUxhYmVsVmlzaWJsZQZtTGFiZWwPbUxhYmVsUG9zaXRpb25zEW1MYWJlbEFuY2hvck1vZGVzDm1MYWJlbFBvc2l0aW9uC21TbW9vdGhMaW5lDm1TYW1lVHlwZUluZGV4DG1CYXJQb3NpdGlvbhZtTGVnZW5kVXBkYXRlU3VzcGVuZGVkFG1QZW5kaW5nTGVnZW5kVXBkYXRlGERhdGFPYmplY3QrbUNoaWxkT2JqZWN0cxJEYXRhT2JqZWN0K21QYXJlbnQVRGF0YU9iamVjdCttQ29udGFpbmVyGURhdGFPYmplY3QrbVZpc3VhbE9iamVjdHMEBAAABAQBAQQAAAAEBAAEBAQAAAAAAAADBAQDIUFwbG9yaXMuQ2hhcnQuQ29sdW1uT3JpZW50ZWRDaGFydAIAAAAYQXBsb3Jpcy5DaGFydC5TZXJpZXNUeXBlAgAAAAgIJUFwbG9yaXMuQ2hhcnQuQ29sdW1uT3JpZW50ZWRDaGFydEF4aXMCAAAAogFBcGxvcmlzLkJhc2UuT2JqZWN0cy5EYXRhT2JqZWN0Q29sbGVjdGlvbmAxW1tBcGxvcmlzLkNoYXJ0LkNoYXJ0RGF0YUVsZW1lbnQsIEFwbG9yaXMuQ2hhcnQsIFZlcnNpb249NC4wLjAuMTQ4NiwgQ3VsdHVyZT1uZXV0cmFsLCBQdWJsaWNLZXlUb2tlbj0xNmZjMTNhMjI2YzBlOTUxXV0DAAAAHUFwbG9yaXMuQ2hhcnQuQ2hhcnREYXRhU2VyaWVzAgAAAAsLCB5BcGxvcmlzLkJhc2UuVUkuVmlzdWFsUG9seWxpbmUDAAAAHUFwbG9yaXMuQmFzZS5VSS5WaXN1YWxQb2x5Z29uAwAAAAEcQXBsb3Jpcy5DaGFydC5Db25uZWN0ZWRMYWJlbAIAAAAXU3lzdGVtLkRyYXdpbmcuUG9pbnRGW10EAAAAGUFwbG9yaXMuQmFzZS5BbmNob3JNb2RlW10DAAAACAEICAg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EsAQAAEwAAAAAAAAACAAAA/////wkHAAAACS0BAAAGLgEAAA5XaWRlc3ByZWFkIFVzZQoKAAAAAAAAAAAAAAAACgoACS8BAAAJMAEAAAkxAQAAAAAAAAAAAAAAAAAAAAAAAAAACTIBAAAJAQAAAAkBAAAACTMBAAABCgEAAAkBAAAJAQAAAAE0AQAAEwAAAAAAAAADAAAA/////wkHAAAACTUBAAAGNgEAAAtMaW1pdGVkIFVzZQoKAAAAAAAAAAAAAAAACgoACTcBAAAJOAEAAAk5AQAAAAAAAAABAAAAAAAAAAAAAAAACToBAAAJAQAAAAkBAAAACTsBAAAFCw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Y8AQAAMENvdXJzZSANClBsYW5uaW5nDQomIERlZ3JlZQ0KVHJhY2tpbmcvDQpBdWRpdGluZwAFPQEAAB5BcGxvcmlzLkNoYXJ0LkNoYXJ0R3JvdXBBbmNob3IBAAAAB3ZhbHVlX18ACAIAAAAAAAAACgAAAAABAAAAAQAAAAk+AQAACT8BAAAJQAEAAAoJBwAAAAlBAQAACQEAAAAJAQAAAAlCAQAAAQwBAAALAQAACQEAAAAGQwEAABZBbmFseXRpY3MgJg0KUmVwb3J0aW5nAAFEAQAAPQEAAAAAAAAKAAAAAAEAAAABAAAACUUBAAAJRgEAAAlHAQAACgkHAAAACUgBAAAJAQAAAAkBAAAACUkBAAABDQEAAAsBAAAJAQAAAAZKAQAAJUlkZW50aWZpY2F0aW9uIA0Kb2YgYXQtcmlzaw0KU3R1ZGVudHMAAUsBAAA9AQAAAAAAAAoAAAAAAQAAAAEAAAAJTAEAAAlNAQAACU4BAAAKCQcAAAAJTwEAAAkBAAAACQEAAAAJUAEAAAEOAQAACwEAAAkBAAAABlEBAAAVVHV0b3IvDQpBZHZpc29yDQpNZ210AAFSAQAAPQEAAAAAAAAKAAAAAAEAAAABAAAACVMBAAAJVAEAAAlVAQAACgkHAAAACVYBAAAJAQAAAAkBAAAACVcBAAABDwEAAAsBAAAJAQAAAAZYAQAAEkFjYWRlbWljDQpUdXRvcmluZwABWQEAAD0BAAAAAAAACgAAAAABAAAAAQAAAAlaAQAACVsBAAAJXAEAAAoJBwAAAAldAQAACQEAAAAJAQAAAAleAQAAARABAAALAQAACQEAAAAGXwEAADFBdXRvbWF0aW9uICYNCkZhY2lsaXRhdGlvbiBvZg0KVHJhbnNmZXIgDQpDcmVkaXRzAAFgAQAAPQEAAAAAAAAKAAAAAAEAAAABAAAACWEBAAAJYgEAAAljAQAACgkHAAAACWQBAAAJAQAAAAkBAAAACWUBAAABEQEAAAsBAAAJAQAAAAZmAQAAOkNvbm5lY3RpbmcNClN0dWRlbnRzIHRvDQpWYXJpb3VzDQpTdXBwbGVtZW50YXJ5DQpSZXNvdXJjZXMAAWcBAAA9AQAAAAAAAAoAAAAAAQAAAAEAAAAJaAEAAAlpAQAACWoBAAAKCQcAAAAJawEAAAkBAAAACQEAAAAJbAEAAAESAQAACwEAAAkBAAAABm0BAAAiQXNzZXNzbWVudCBvZg0KU3R1ZGVudA0KRW5nYWdlbWVudAABbgEAAD0BAAAAAAAACgAAAAABAAAAAQAAAAlvAQAACXABAAAJcQEAAAoJBwAAAAlyAQAACQEAAAAJAQAAAAlzAQAAARMBAAALAQAACQEAAAAGdAEAABFWaXJ0dWFsDQpDb2FjaGluZwABdQEAAD0BAAAAAAAACgAAAAABAAAAAQAAAAl2AQAACXcBAAAJeAEAAAoJBwAAAAl5AQAACQEAAAAJAQAAAAl6AQAABxQBAAAAAQAAAAQAAAAEKUFwbG9yaXMuQ2hhcnQuQ29sdW1uT3JpZW50ZWRMZWdlbmRFbGVtZW50AgAAAAl7AQAACXwBAAAKCgcVAQAAAAEAAAAEAAAABB9BcGxvcmlzLkJhc2UuT2JqZWN0cy5EYXRhT2JqZWN0AwAAAAl8AQAACXsBAAAKCgcWAQAAAAEAAAAAAAAABBxBcGxvcmlzLkJhc2UuVUkuVmlzdWFsT2JqZWN0AwAAAAEXAQAAeAAAAAoKAAAAAAAAAAANAAAAAAEBGAEAAHgAAAAKCgEAAAAAAAAA/////wABARkBAAB4AAAACgoBAAAA////AP////8AAQEaAQAAeAAAAAoKAQAAAAAAAAD/////AAEPGwEAAAEAAAAIAAAAAAUcAQAAFkFwbG9yaXMuQ2hhcnQuVGlja01hcmsNAAAAC21WaXN1YWxMaW5lCW1HcmlkTGluZQZtTGFiZWwFbUF4aXMIbVZpc2libGUJbVBvc2l0aW9uC21TdGFydFBvaW50CW1FbmRQb2ludAxtSGFzR3JpZExpbmUYRGF0YU9iamVjdCttQ2hpbGRPYmplY3RzEkRhdGFPYmplY3QrbVBhcmVudBVEYXRhT2JqZWN0K21Db250YWluZXIZRGF0YU9iamVjdCttVmlzdWFsT2JqZWN0cwQEBAQAAAQEAAMEBAMaQXBsb3Jpcy5CYXNlLlVJLlZpc3VhbExpbmUDAAAAGkFwbG9yaXMuQmFzZS5VSS5WaXN1YWxMaW5lAwAAABVBcGxvcmlzLkJhc2UuVUkuTGFiZWwDAAAAEkFwbG9yaXMuQ2hhcnQuQXhpcwIAAAABBhVTeXN0ZW0uRHJhd2luZy5Qb2ludEYEAAAAFVN5c3RlbS5EcmF3aW5nLlBvaW50RgQAAAA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fQEAAAoJfgEAAAkHAAAAAQAAAAAAAAAAAX8BAAAhAAAAwNS+Qty0i0MBgAEAACEAAADA1LZC3LSLQwAJgQEAAAkHAAAACQEAAAAJggEAAAEdAQAAHAEAAAmDAQAACgmEAQAACQcAAAABmpmZmZmZuT8BhQEAACEAAADA1L5CloeAQwGGAQAAIQAAAMDUtkKWh4BDAAmHAQAACQcAAAAJAQAAAAmIAQAAAR4BAAAcAQAACYkBAAAKCYoBAAAJBwAAAAGamZmZmZnJPwGLAQAAIQAAAMDUvkKitGpDAYwBAAAhAAAAwNS2QqK0akMACY0BAAAJBwAAAAkBAAAACY4BAAABHwEAABwBAAAJjwEAAAoJkAEAAAkHAAAAATMzMzMzM9M/AZEBAAAhAAAAwNS+QhdaVEMBkgEAACEAAADA1LZCF1pUQwAJkwEAAAkHAAAACQEAAAAJlAEAAAEgAQAAHAEAAAmVAQAACgmWAQAACQcAAAABmpmZmZmZ2T8BlwEAACEAAADA1L5CjP89QwGYAQAAIQAAAMDUtkKM/z1DAAmZAQAACQcAAAAJAQAAAAmaAQAAASEBAAAcAQAACZsBAAAKCZwBAAAJBwAAAAEAAAAAAADgPwGdAQAAIQAAAMDUvkIApSdDAZ4BAAAhAAAAwNS2QgClJ0MACZ8BAAAJBwAAAAkBAAAACaABAAABIgEAABwBAAAJoQEAAAoJogEAAAkHAAAAATMzMzMzM+M/AaMBAAAhAAAAwNS+QnVKEUMBpAEAACEAAADA1LZCdUoRQwAJpQEAAAkHAAAACQEAAAAJpgEAAAEjAQAAHAEAAAmnAQAACgmoAQAACQcAAAABZmZmZmZm5j8BqQEAACEAAADA1L5C1d/1QgGqAQAAIQAAAMDUtkLV3/VCAAmrAQAACQcAAAAJAQAAAAmsAQAAASQBAAAcAQAACa0BAAAKCa4BAAAJBwAAAAGamZmZmZnpPwGvAQAAIQAAAMDUvkK+KslCAbABAAAhAAAAwNS2Qr4qyUIACbEBAAAJBwAAAAkBAAAACbIBAAABJQEAABwBAAAJswEAAAoJtAEAAAkHAAAAAc3MzMzMzOw/AbUBAAAhAAAAwNS+Qqh1nEIBtgEAACEAAADA1LZCqHWcQgAJtwEAAAkHAAAACQEAAAAJuAEAAAEmAQAAHAEAAAm5AQAACgm6AQAACQcAAAABAAAAAAAA8D8BuwEAACEAAADA1L5CJIFfQgG8AQAAIQAAAMDUtkIkgV9CAAm9AQAACQcAAAAJAQAAAAm+AQAABS0BAACiAUFwbG9yaXMuQmFzZS5PYmplY3RzLkRhdGFPYmplY3RDb2xsZWN0aW9uYDFbW0FwbG9yaXMuQ2hhcnQuQ2hhcnREYXRhRWxlbWVudCwgQXBsb3Jpcy5DaGFydCwgVmVyc2lvbj00LjAuMC4xNDg2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Q2hhcnREYXRhRWxlbWVudCwgQXBsb3Jpcy5DaGFydCwgVmVyc2lvbj00LjAuMC4xNDg2LCBDdWx0dXJlPW5ldXRyYWwsIFB1YmxpY0tleVRva2VuPTE2ZmMxM2EyMjZjMGU5NTFdXQMAAACYAVN5c3RlbS5Db2xsZWN0aW9ucy5HZW5lcmljLkxpc3RgMVtbQXBsb3Jpcy5DaGFydC5DaGFydERhdGF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b8BAAAJwAEAAAkJAQAACQEAAAAJwQEAAAUvAQAAHEFwbG9yaXMuQ2hhcnQuQ29ubmVjdGVkTGFiZWwkAAAADm1Db25uZWN0b3JMaW5lEG1aT3JkZXJDb25uZWN0b3IObUNvbm5lY3Rvck1vZGUZbUFuZ2xlZENvbm5lY3RvckRpcmVjdGlvbhBtQ29ubmVjdG9yVGFyZ2V0GW1Db25uZWN0b3JUYXJnZXRBcmVhU2hhcGUabUNvbm5lY3RvckRpc3BsYXlUaHJlc2hvbGQTbUNvbm5lY3RBbmNob3JQb2ludB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RMYWJlbCttTGluZUFsaWdubWVudA9MYWJlbCttVGV4dFNpemUVTGFiZWwrbUxhYmVsUmVjdGFuZ2xlG0xhYmVsK21Jbm5lck1hcmdpbkxlZnRSaWdodAtMYWJlbCttVGV4dBBMYWJlbCttVmFyaWFibGVzE0xhYmVsK21WYXJpYWJsZUxpc3QUTGFiZWwr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EBAQEAAAEBAAAAAQABAAABAQEAAEDAwEAAAAABwIAAAMAHkFwbG9yaXMuQmFzZS5VSS5WaXN1YWxQb2x5bGluZQMAAAAIK0FwbG9yaXMuQ2hhcnQuQ29ubmVjdGVkTGFiZWwrZUNvbm5lY3Rvck1vZGUCAAAANkFwbG9yaXMuQ2hhcnQuQ29ubmVjdGVkTGFiZWwrZUFuZ2xlZENvbm5lY3RvckRpcmVjdGlvbgIAAAAZU3lzdGVtLkRyYXdpbmcuUmVjdGFuZ2xlRgQAAAAtQXBsb3Jpcy5DaGFydC5Db25uZWN0ZWRMYWJlbCtlVGFyZ2V0QXJlYVNoYXBlAgAAAAsB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IAAAAKWAIAAAXCAQAAK0FwbG9yaXMuQ2hhcnQuQ29ubmVjdGVkTGFiZWwrZUNvbm5lY3Rvck1vZGUBAAAAB3ZhbHVlX18ACAIAAAABAAAABcMBAAA2QXBsb3Jpcy5DaGFydC5Db25uZWN0ZWRMYWJlbCtlQW5nbGVkQ29ubmVjdG9yRGlyZWN0aW9uAQAAAAd2YWx1ZV9fAAgCAAAAAAAAAAHEAQAAFQAAAG+rIUQBvIhDoGgPQoBtPEAFxQEAAC1BcGxvcmlzLkNoYXJ0LkNvbm5lY3RlZExhYmVsK2VUYXJnZXRBcmVhU2hhcGUBAAAAB3ZhbHVlX18ACAIAAAAAAAAAAAAQQQEBxgEAACEAAAD5oSxEbniJQwHHAQAAoAAAAAQAAAAAAAAAAAAAAAAJyAEAAAAAAAAJyQEAAAAAAcoBAACpAAAAAAAAAAHLAQAAcgAAAAAADEIAAGBBAcwBAAAVAAAAAAAAAAAAAAAAAAAAAAAAAF662T8JLgEAAAoJzQEAAAbOAQAAACADAAD/////AAEKCc8BAAABAAoABzABAAAAAQAAAAIAAAAEFVN5c3RlbS5EcmF3aW5nLlBvaW50RgQAAAAB0AEAACEAAAD5oSxEbniJQwHRAQAAIQAAAMDUtEJoDFdDBzEBAAAAAQAAAAIAAAAEF0FwbG9yaXMuQmFzZS5BbmNob3JNb2RlAwAAAAHSAQAAoAAAAAQAAAAB0wEAAKAAAAACAAAAATIBAAAlAAAACdQBAAABAAAAAQAAAAEzAQAAJgAAAAnVAQAAAQAAAAEAAAABNQEAAC0BAAAKCdYBAAAJ1wEAAAkKAQAACQEAAAAJ2AEAAAE3AQAALwEAAApYAgAAAdkBAADCAQAAAQAAAAHaAQAAwwEAAAAAAAAB2wEAABUAAABvqyFEuaNKQ6BoD0KSqIFCAdwBAADFAQAAAAAAAAAAEEEBAd0BAAAhAAAA+aEsRN4Na0MB3gEAAKAAAAAEAAAAAAAAAAAAAAAACd8BAAAAAAAACeABAAAAAAHhAQAAqQAAAAAAAAAB4gEAAHIAAAAAAChCAABgQQHjAQAAFQAAAAAAAAAAAAAAAAAAAAAAAABeutk/CTYBAAAKCeQBAAAJzgEAACADAAD/////AAEKCeUBAAABAAoABzgBAAAAAQAAAAIAAAAEFVN5c3RlbS5EcmF3aW5nLlBvaW50RgQAAAAB5gEAACEAAAD5oSxE3g1rQwHnAQAAIQAAAMDUtEIJsNtCBzkBAAAAAQAAAAIAAAAEF0FwbG9yaXMuQmFzZS5BbmNob3JNb2RlAwAAAAHoAQAAoAAAAAQAAAAB6QEAAKAAAAACAAAAAToBAAAlAAAACeoBAAABAAAAAQAAAAE7AQAAJgAAAAnrAQAAAQAAAAEAAAAPPgEAAAEAAAAIAAAAAAc/AQAAAAEAAAABAAAABBVBcGxvcmlzLkJhc2UuVUkuTGFiZWwDAAAACewBAAABQAEAADQAAAAB7QEAACEAAACy5QBD3DSOQwHuAQAAoAAAAAMAAAAAAAAAAAAAAAAJ7wEAAAAAAAAJ8AEAAAAAAfEBAACpAAAAAAAAAAHyAQAAcgAAAAAAQEIAAIBCAfMBAAAVAAAAuujSQtFFjkPUczpCLrpoQhKDvj8JPAEAAAoJ9AEAAAnOAQAAIAMAAP////8BAQoJ9QEAAAEACgABQQEAACUAAAAJ9gEAAAAAAAAAAAAAAUIBAAAmAAAACfcBAAACAAAABAAAAA9FAQAAAQAAAAgAAAAAB0YBAAAAAQAAAAEAAAAEFUFwbG9yaXMuQmFzZS5VSS5MYWJlbAMAAAAJ+AEAAAFHAQAANAAAAAH5AQAAIQAAAFbcQ0PcNI5DAfoBAACgAAAAAwAAAAAAAAAAAAAAAAn7AQAAAAAAAAn8AQAAAAAB/QEAAKkAAAAAAAAAAf4BAAByAAAAAABkQgAAyEEB/wEAABUAAACLLihD0UWOQwIuW0J00bVBEoO+PwlDAQAACgkAAgAACc4BAAAgAwAA/////wEBCgkBAgAAAQAKAAFIAQAAJQAAAAnaAAAAAAAAAAAAAAABSQEAACYAAAAJAgIAAAIAAAAMAAAAD0wBAAABAAAACAAAAAAHTQEAAAABAAAAAQAAAAQVQXBsb3Jpcy5CYXNlLlVJLkxhYmVsAwAAAAkDAgAAAU4BAAA0AAAAAQQCAAAhAAAAfWmDQ9w0jkMBBQIAAKAAAAADAAAAAAAAAAAAAAAACQYCAAAAAAAACQcCAAAAAAEIAgAAqQAAAAAAAAABCQIAAHIAAAAAAIhCAAAYQgEKAgAAFQAAAAAAZkPRRY5DAZeBQosuCkISg74/CUoBAAAKCQsCAAAJzgEAACADAAD/////AQEKCQwCAAABAAoAAU8BAAAlAAAACfYBAAAAAAAAAAAAAAFQAQAAJgAAAAkNAgAAAgAAAAQAAAAPUwEAAAEAAAAIAAAAAAdUAQAAAAEAAAABAAAABBVBcGxvcmlzLkJhc2UuVUkuTGFiZWwDAAAACQ4CAAABVQEAADQAAAABDwIAACEAAADP5KRD3DSOQwEQAgAAoAAAAAMAAAAAAAAAAAAAAAAJEQIAAAAAAAAJEgIAAAAAARMCAACpAAAAAAAAAAEUAgAAcgAAAAAAGEIAABhCARUCAAAVAAAAXXSbQ9FFjkO9FhZCiy4KQhKDvj8JUQEAAAoJFgIAAAnOAQAAIAMAAP////8BAQoJFwIAAAEACgABVgEAACUAAAAJ9gEAAAAAAAAAAAAAAVcBAAAmAAAACRgCAAACAAAABAAAAA9aAQAAAQAAAAgAAAAAB1sBAAAAAQAAAAEAAAAEFUFwbG9yaXMuQmFzZS5VSS5MYWJlbAMAAAAJGQIAAAFcAQAANAAAAAEaAgAAIQAAACFgxkPcNI5DARsCAACgAAAAAwAAAAAAAAAAAAAAAAkcAgAAAAAAAAkdAgAAAAABHgIAAKkAAAAAAAAAAR8CAAByAAAAAABIQgAAyEEBIAIAABUAAAAXXbpD0UWOQ6W5QUJ00bVBEoO+PwlYAQAACgkhAgAACc4BAAAgAwAA/////wEBCgkiAgAAAQAKAAFdAQAAJQAAAAn2AQAAAAAAAAAAAAABXgEAACYAAAAJIwIAAAIAAAAEAAAAD2EBAAABAAAACAAAAAAHYgEAAAABAAAAAQAAAAQVQXBsb3Jpcy5CYXNlLlVJLkxhYmVsAwAAAAkkAgAAAWMBAAA0AAAAASUCAAAhAAAAc9vnQ9w0jkMBJgIAAKAAAAADAAAAAAAAAAAAAAAACScCAAAAAAAACSgCAAAAAAEpAgAAqQAAAAAAAAABKgIAAHIAAAAAAIpCAABMQgErAgAAFQAAAF1010PRRY5DdWiDQl10OUISg74/CV8BAAAKCSwCAAAJzgEAACADAAD/////AQEKCS0CAAABAAoAAWQBAAAlAAAACS4CAAAAAAAAAAAAAAFlAQAAJgAAAAkvAgAAAgAAAAQAAAAPaAEAAAEAAAAIAAAAAAdpAQAAAAEAAAABAAAABBVBcGxvcmlzLkJhc2UuVUkuTGFiZWwDAAAACTACAAABagEAADQAAAABMQIAACEAAABiqwRE3DSOQwEyAgAAoAAAAAMAAAAAAAAAAAAAAAAJMwIAAAAAAAAJNAIAAAAAATUCAACpAAAAAAAAAAE2AgAAcgAAAAAAmkIAAIBCATcCAAAVAAAA0UX3Q9FFjkMY9JFCLrpoQhKDvj8JZgEAAAoJOAIAAAnOAQAAIAMAAP////8BAQoJOQIAAAEACgABawEAACUAAAAJOgIAAAAAAAAAAAAAAWwBAAAmAAAACTsCAAACAAAAAgAAAA9vAQAAAQAAAAgAAAAAB3ABAAAAAQAAAAEAAAAEFUFwbG9yaXMuQmFzZS5VSS5MYWJlbAMAAAAJPAIAAAFxAQAANAAAAAE9AgAAIQAAAAxpFUTcNI5DAT4CAACgAAAAAwAAAAAAAAAAAAAAAAk/AgAAAAAAAAlAAgAAAAABQQIAAKkAAAAAAAAAAUICAAByAAAAAACWQgAAGEIBQwIAABUAAABddAxE0UWOQy9RjkKLLgpCEoO+PwltAQAACglEAgAACc4BAAAgAwAA/////wEBCglFAgAAAQAKAAFyAQAAJQAAAAkuAgAAAAAAAAAAAAABcwEAACYAAAAJRgIAAAIAAAAEAAAAD3YBAAABAAAACAAAAAAHdwEAAAABAAAAAQAAAAQVQXBsb3Jpcy5CYXNlLlVJLkxhYmVsAwAAAAlHAgAAAXgBAAA0AAAAAUgCAAAhAAAAtCYmRNw0jkMBSQIAAKAAAAADAAAAAAAAAAAAAAAACUoCAAAAAAAACUsCAAAAAAFMAgAAqQAAAAAAAAABTQIAAHIAAAAAAEBCAADIQQFOAgAAFQAAAC46IETRRY5D1HM6QnTRtUESg74/CXQBAAAKCU8CAAAJzgEAACADAAD/////AQEKCVACAAABAAoAAXkBAAAlAAAACfYBAAAAAAAAAAAAAAF6AQAAJgAAAAlRAgAAAgAAAAQAAAAFewEAAClBcGxvcmlzLkNoYXJ0LkNvbHVtbk9yaWVudGVkTGVnZW5kRWxlbWVudA0AAAAHbUxlZ2VuZAttRGF0YVNlcmllcxRMZWdlbmRFbGVtZW50K21MYWJlbBhMZWdlbmRFbGVtZW50K21SZWN0YW5nbGUTTGVnZW5kRWxlbWVudCttTGluZRVMZWdlbmRFbGVtZW50K21DaXJjbGUVTGVnZW5kRWxlbWVudCttTWFya2VyFExlZ2VuZEVsZW1lbnQrbUluZGV4HUxlZ2VuZEVsZW1lbnQrbUxhYmVsUG9zaXRpb25zGERhdGFPYmplY3QrbUNoaWxkT2JqZWN0cxJEYXRhT2JqZWN0K21QYXJlbnQVRGF0YU9iamVjdCttQ29udGFpbmVyGURhdGFPYmplY3QrbVZpc3VhbE9iamVjdHMEBAQEBAQEAAQDBAQDIkFwbG9yaXMuQ2hhcnQuQ29sdW1uT3JpZW50ZWRMZWdlbmQCAAAAHUFwbG9yaXMuQ2hhcnQuQ2hhcnREYXRhU2VyaWVzAgAAABVBcGxvcmlzLkJhc2UuVUkuTGFiZWwDAAAAGkFwbG9yaXMuQmFzZS5VSS5WaXN1YWxSZWN0AwAAABpBcGxvcmlzLkJhc2UuVUkuVmlzdWFsTGluZQMAAAAdQXBsb3Jpcy5CYXNlLlVJLlZpc3VhbEVsbGlwc2UDAAAAGkFwbG9yaXMuQ2hhcnQuVmlzdWFsTWFya2VyAgAAAAgXU3lzdGVtLkRyYXdpbmcuUG9pbnRGW10E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FAAAAAkJAQAACVICAAAJUwIAAAoKCgAAAAAKCVQCAAAJFAAAAAkBAAAACVUCAAABfAEAAHsBAAAJFAAAAAkKAQAACVYCAAAJVwIAAAoKCgEAAAAKCVgCAAAJFAAAAAkBAAAACVkCAAABfQEAADAAAAABWgIAACEAAADA1L5C3LSLQwFbAgAAIQAAAMDUtkLctItDCVwCAADMAQAA/////wEBCgldAgAAAQAKAAF+AQAANAAAAAFeAgAAIQAAAMDUs0LctItDAV8CAACgAAAAAgAAAAAAAAAAAAAAAAlgAgAAAAAAAAlhAgAAAAABYgIAAKkAAAAAAAAAAWMCAAByAAAAAACAQQAAQEEBZAIAABUAAADRRZNCdNGIQ3otjEGjiy5BEoO+PwZlAgAAAjAlCglmAgAACc4BAADQAgAA/////wEBCglnAgAAAQAKAAGBAQAAJQAAAAnaAAAAAAAAAAAAAAABggEAACYAAAAJaAIAAAIAAAACAAAAAYMBAAAwAAAAAWkCAAAhAAAAwNS+QpaHgEMBagIAACEAAADA1LZCloeAQwlrAgAAzAEAAP////8BAQoJbAIAAAEACgABhAEAADQAAAABbQIAACEAAADA1LNCloeAQwFuAgAAoAAAAAIAAAAAAAAAAAAAAAAJbwIAAAAAAAAJcAIAAAAAAXECAACpAAAAAAAAAAFyAgAAcgAAAAAAuEEAAEBBAXMCAAAVAAAAo4uGQnTRe0M0Fr9Bo4suQRKDvj8GdAIAAAMxMCUKCXUCAAAJzgEAANACAAD/////AQEKCXYCAAABAAoAAYcBAAAlAAAACdoAAAAAAAAAAAAAAAGIAQAAJgAAAAl3AgAAAgAAAAIAAAABiQEAADAAAAABeAIAACEAAADA1L5CorRqQwF5AgAAIQAAAMDUtkKitGpDCXoCAADMAQAA/////wEBCgl7AgAAAQAKAAGKAQAANAAAAAF8AgAAIQAAAMDUs0KitGpDAX0CAACgAAAAAgAAAAAAAAAAAAAAAAl+AgAAAAAAAAl/AgAAAAABgAIAAKkAAAAAAAAAAYECAAByAAAAAAC4QQAAQEEBggIAABUAAACji4ZCRRdlQzQWv0Gjiy5BEoO+PwaDAgAAAzIwJQoJhAIAAAnOAQAA0AIAAP////8BAQoJhQIAAAEACgABjQEAACUAAAAJ2gAAAAAAAAAAAAAAAY4BAAAmAAAACYYCAAACAAAAAgAAAAGPAQAAMAAAAAGHAgAAIQAAAMDUvkIXWlRDAYgCAAAhAAAAwNS2QhdaVEMJiQIAAMwBAAD/////AQEKCYoCAAABAAoAAZABAAA0AAAAAYsCAAAhAAAAwNSzQhdaVEMBjAIAAKAAAAACAAAAAAAAAAAAAAAACY0CAAAAAAAACY4CAAAAAAGPAgAAqQAAAAAAAAABkAIAAHIAAAAAALhBAABAQQGRAgAAFQAAAKOLhkLRRU9DNBa/QaOLLkESg74/BpICAAADMzAlCgmTAgAACc4BAADQAgAA/////wEBCgmUAgAAAQAKAAGTAQAAJQAAAAnaAAAAAAAAAAAAAAABlAEAACYAAAAJlQIAAAIAAAACAAAAAZUBAAAwAAAAAZYCAAAhAAAAwNS+Qoz/PUMBlwIAACEAAADA1LZCjP89QwmYAgAAzAEAAP////8BAQoJmQIAAAEACgABlgEAADQAAAABmgIAACEAAADA1LNCjP89QwGbAgAAoAAAAAIAAAAAAAAAAAAAAAAJnAIAAAAAAAAJnQIAAAAAAZ4CAACpAAAAAAAAAAGfAgAAcgAAAAAAuEEAAEBBAaACAAAVAAAAo4uGQqOLOEM0Fr9Bo4suQRKDvj8GoQIAAAM0MCUKCaICAAAJzgEAANACAAD/////AQEKCaMCAAABAAoAAZkBAAAlAAAACdoAAAAAAAAAAAAAAAGaAQAAJgAAAAmkAgAAAgAAAAIAAAABmwEAADAAAAABpQIAACEAAADA1L5CAKUnQwGmAgAAIQAAAMDUtkIApSdDCacCAADMAQAA/////wEBCgmoAgAAAQAKAAGcAQAANAAAAAGpAgAAIQAAAMDUs0IApSdDAaoCAACgAAAAAgAAAAAAAAAAAAAAAAmrAgAAAAAAAAmsAgAAAAABrQIAAKkAAAAAAAAAAa4CAAByAAAAAAC4QQAAQEEBrwIAABUAAACji4ZCdNEhQzQWv0Gjiy5BEoO+PwawAgAAAzUwJQoJsQIAAAnOAQAA0AIAAP////8BAQoJsgIAAAEACgABnwEAACUAAAAJ2gAAAAAAAAAAAAAAAaABAAAmAAAACbMCAAACAAAAAgAAAAGhAQAAMAAAAAG0AgAAIQAAAMDUvkJ1ShFDAbUCAAAhAAAAwNS2QnVKEUMJtgIAAMwBAAD/////AQEKCbcCAAABAAoAAaIBAAA0AAAAAbgCAAAhAAAAwNSzQnVKEUMBuQIAAKAAAAACAAAAAAAAAAAAAAAACboCAAAAAAAACbsCAAAAAAG8AgAAqQAAAAAAAAABvQIAAHIAAAAAALhBAABAQQG+AgAAFQAAAKOLhkIAAAxDNBa/QaOLLkESg74/Br8CAAADNjAlCgnAAgAACc4BAADQAgAA/////wEBCgnBAgAAAQAKAAGlAQAAJQAAAAnaAAAAAAAAAAAAAAABpgEAACYAAAAJwgIAAAIAAAACAAAAAacBAAAwAAAAAcMCAAAhAAAAwNS+QtXf9UIBxAIAACEAAADA1LZC1d/1QgnFAgAAzAEAAP////8BAQoJxgIAAAEACgABqAEAADQAAAABxwIAACEAAADA1LNC1d/1QgHIAgAAoAAAAAIAAAAAAAAAAAAAAAAJyQIAAAAAAAAJygIAAAAAAcsCAACpAAAAAAAAAAHMAgAAcgAAAAAAuEEAAEBBAc0CAAAVAAAAo4uGQqOL6kI0Fr9Bo4suQRKDvj8GzgIAAAM3MCUKCc8CAAAJzgEAANACAAD/////AQEKCdACAAABAAoAAasBAAAlAAAACdoAAAAAAAAAAAAAAAGsAQAAJgAAAAnRAgAAAgAAAAIAAAABrQEAADAAAAAB0gIAACEAAADA1L5CvirJQgHTAgAAIQAAAMDUtkK+KslCCdQCAADMAQAA/////wEBCgnVAgAAAQAKAAGuAQAANAAAAAHWAgAAIQAAAMDUs0K+KslCAdcCAACgAAAAAgAAAAAAAAAAAAAAAAnYAgAAAAAAAAnZAgAAAAAB2gIAAKkAAAAAAAAAAdsCAAByAAAAAAC4QQAAQEEB3AIAABUAAACji4ZCuui+QjQWv0Gjiy5BEoO+PwbdAgAAAzgwJQoJ3gIAAAnOAQAA0AIAAP////8BAQoJ3wIAAAEACgABsQEAACUAAAAJ2gAAAAAAAAAAAAAAAbIBAAAmAAAACeACAAACAAAAAgAAAAGzAQAAMAAAAAHhAgAAIQAAAMDUvkKodZxCAeICAAAhAAAAwNS2Qqh1nEIJ4wIAAMwBAAD/////AQEKCeQCAAABAAoAAbQBAAA0AAAAAeUCAAAhAAAAwNSzQqh1nEIB5gIAAKAAAAACAAAAAAAAAAAAAAAACecCAAAAAAAACegCAAAAAAHpAgAAqQAAAAAAAAAB6gIAAHIAAAAAALhBAABAQQHrAgAAFQAAAKOLhkJddJFCNBa/QaOLLkESg74/BuwCAAADOTAlCgntAgAACc4BAADQAgAA/////wEBCgnuAgAAAQAKAAG3AQAAJQAAAAnaAAAAAAAAAAAAAAABuAEAACYAAAAJ7wIAAAIAAAACAAAAAbkBAAAwAAAAAfACAAAhAAAAwNS+QiSBX0IB8QIAACEAAADA1LZCJIFfQgnyAgAAzAEAAP////8BAQoJ8wIAAAEACgABugEAADQAAAAB9AIAACEAAADA1LNCJIFfQgH1AgAAoAAAAAIAAAAAAAAAAAAAAAAJ9gIAAAAAAAAJ9wIAAAAAAfgCAACpAAAAAAAAAAH5AgAAcgAAAAAA6EEAAEBBAfoCAAAVAAAA0UV3QgAASEIcuepBo4suQRKDvj8G+wIAAAQxMDAlCgn8AgAACc4BAADQAgAA/////wEBCgn9AgAAAQAKAAG9AQAAJQAAAAnaAAAAAAAAAAAAAAABvgEAACYAAAAJ/gIAAAIAAAACAAAABL8BAACYAVN5c3RlbS5Db2xsZWN0aW9ucy5HZW5lcmljLkxpc3RgMVtbQXBsb3Jpcy5DaGFydC5DaGFydERhdGFFbGVtZW50LCBBcGxvcmlzLkNoYXJ0LCBWZXJzaW9uPTQuMC4wLjE0ODYsIEN1bHR1cmU9bmV1dHJhbCwgUHVibGljS2V5VG9rZW49MTZmYzEzYTIyNmMwZTk1MV1dAwAAAAZfaXRlbXMFX3NpemUIX3ZlcnNpb24EAAAgQXBsb3Jpcy5DaGFydC5DaGFydERhdGFFbGVtZW50W10CAAAACAgJ/wIAAAkAAAAbAAAAAcABAAAlAAAACQADAAAJAAAACwAAAAHBAQAAJgAAAAkBAwAAAAAAAAAAAAAFyA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kBAAAKAAAAAABAQQl2AAAACXcAAAAJAgMAAAEACQMDAAAByQEAAHgAAAAKCgAAAAD///8ADgAAAAABAc0BAACtAAAACQQDAAABAAAAAQAAAAHPAQAAdQAAAAkFAwAACgfUAQAAAAEAAAAEAAAABB9BcGxvcmlzLkJhc2UuT2JqZWN0cy5EYXRhT2JqZWN0AwAAAAktAQAADQMH1QEAAAABAAAABAAAAAQcQXBsb3Jpcy5CYXNlLlVJLlZpc3VhbE9iamVjdAMAAAAJLwEAAA0DAdYBAAC/AQAACQYDAAAJAAAAGwAAAAHXAQAAJQAAAAkHAwAACQAAAAsAAAAB2AEAACYAAAAJCAMAAAAAAAAAAAAABd8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KAQAACgAAAAAAQEEJdgAAAAl3AAAACQkDAAABAAkKAwAAAeABAAB4AAAACgoAAAAA////AA4AAAAAAQHkAQAArQAAAAkLAwAAAQAAAAEAAAAB5QEAAHUAAAAJDAMAAAoH6gEAAAABAAAABAAAAAQfQXBsb3Jpcy5CYXNlLk9iamVjdHMuRGF0YU9iamVjdAMAAAAJNQEAAA0DB+sBAAAAAQAAAAQAAAAEHEFwbG9yaXMuQmFzZS5VSS5WaXN1YWxPYmplY3QDAAAACTcBAAANAwHsAQAANAAAAAENAwAAIQAAALLlAEPkAYRCAQ4DAACgAAAAAQAAAAAAAAAAAAAAAAkPAwAAAAAAAAkQAwAAAAABEQMAAKkAAAAAAAAAARIDAAByAAAAAAC4QQAAQEEBEwMAABUAAACji+pCdNFdQjQWv0Gjiy5BEoO+PwYUAwAAAzk0JQoJFQMAAAnOAQAANAMAAP////8BAQoJFgMAAAEACgAB7wEAACMAAAAKCgAAAAAAKEEJdgAAAAl3AAAACRcDAAAAAAkYAwAAAfABAAB4AAAACgoAAAAA////AA4AAAAAAQH0AQAArQAAAAkZAwAAAQAAAAEAAAAB9QEAAHUAAAAJGgMAAAoH9gEAAAABAAAAAAAAAAQfQXBsb3Jpcy5CYXNlLk9iamVjdHMuRGF0YU9iamVjdAMAAAAH9wEAAAABAAAABAAAAAQcQXBsb3Jpcy5CYXNlLlVJLlZpc3VhbE9iamVjdAMAAAAJQAEAAAnsAQAACgoB+AEAADQAAAABGwMAACEAAABW3ENDFweNQgEcAwAAoAAAAAEAAAAAAAAAAAAAAAAJHQMAAAAAAAAJHgMAAAAAAR8DAACpAAAAAAAAAAEgAwAAcgAAAAAAuEEAAEBBASEDAAAVAAAA6KI3QwAAcEI0Fr9Bo4suQRKDvj8GIgMAAAM5MiUKCSMDAAAJzgEAADQDAAD/////AQEKCSQDAAABAAoAAfsBAAAjAAAACgoAAAAAAChBCXYAAAAJdwAAAAklAwAAAAAJJgMAAAH8AQAAeAAAAAoKAAAAAP///wAOAAAAAAEBAAIAAK0AAAAJJwMAAAEAAAABAAAAAQECAAB1AAAACSgDAAAKBwICAAAAAQAAAAQAAAAEHEFwbG9yaXMuQmFzZS5VSS5WaXN1YWxPYmplY3QDAAAACUcBAAAJ+AEAAAoKAQMCAAA0AAAAASkDAAAhAAAAfWmDQ+3PsEIBKgMAAKAAAAABAAAAAAAAAAAAAAAACSsDAAAAAAAACSwDAAAAAAEtAwAAqQAAAAAAAAABLgMAAHIAAAAAALhBAABAQQEvAwAAFQAAALroekOji5pCNBa/QaOLLkESg74/BjADAAADODQlCgkxAwAACc4BAAA0AwAA/////wEBCgkyAwAAAQAKAAEGAgAAIwAAAAoKAAAAAAAoQQl2AAAACXcAAAAJMwMAAAAACTQDAAABBwIAAHgAAAAKCgAAAAD///8ADgAAAAABAQsCAACtAAAACTUDAAABAAAAAQAAAAEMAgAAdQAAAAk2AwAACgcNAgAAAAEAAAAEAAAABBxBcGxvcmlzLkJhc2UuVUkuVmlzdWFsT2JqZWN0AwAAAAlOAQAACQMCAAAKCgEOAgAANAAAAAE3AwAAIQAAAM/kpEMYN+9CATgDAACgAAAAAQAAAAAAAAAAAAAAAAk5AwAAAAAAAAk6AwAAAAABOwMAAKkAAAAAAAAAATwDAAByAAAAAAC4QQAAQEEBPQMAABUAAABGF59Diy7aQjQWv0Gjiy5BEoO+PwY+AwAAAzcwJQoJPwMAAAnOAQAANAMAAP////8BAQoJQAMAAAEACgABEQIAACMAAAAKCgAAAAAAKEEJdgAAAAl3AAAACUEDAAAAAAlCAwAAARICAAB4AAAACgoAAAAA////AA4AAAAAAQEWAgAArQAAAAlDAwAAAQAAAAEAAAABFwIAAHUAAAAJRAMAAAoHGAIAAAABAAAABAAAAAQcQXBsb3Jpcy5CYXNlLlVJLlZpc3VhbE9iamVjdAMAAAAJVQEAAAkOAgAACgoBGQIAADQAAAABRQMAACEAAAAhYMZDBVINQwFGAwAAoAAAAAEAAAAAAAAAAAAAAAAJRwMAAAAAAAAJSAMAAAAAAUkDAACpAAAAAAAAAAFKAwAAcgAAAAAAuEEAAEBBAUsDAAAVAAAA0UXAQwAAAkM0Fr9Bo4suQRKDvj8GTAMAAAM2MCUKCU0DAAAJzgEAADQDAAD/////AQEKCU4DAAABAAoAARwCAAAjAAAACgoAAAAAAChBCXYAAAAJdwAAAAlPAwAAAAAJUAMAAAEdAgAAeAAAAAoKAAAAAP///wAOAAAAAAEBIQIAAK0AAAAJUQMAAAEAAAABAAAAASICAAB1AAAACVIDAAAKByMCAAAAAQAAAAQAAAAEHEFwbG9yaXMuQmFzZS5VSS5WaXN1YWxPYmplY3QDAAAACVwBAAAJGQIAAAoKASQCAAA0AAAAAVMDAAAhAAAAc9vnQ+Ss/EIBVAMAAKAAAAABAAAAAAAAAAAAAAAACVUDAAAAAAAACVYDAAAAAAFXAwAAqQAAAAAAAAABWAMAAHIAAAAAALhBAABAQQFZAwAAFQAAALro4UO66OZCNBa/QaOLLkESg74/BloDAAADNjclCglbAwAACc4BAAA0AwAA/////wEBCglcAwAAAQAKAAEnAgAAIwAAAAoKAAAAAAAoQQl2AAAACXcAAAAJXQMAAAAACV4DAAABKAIAAHgAAAAKCgAAAAD///8ADgAAAAABASwCAACtAAAACV8DAAABAAAAAQAAAAEtAgAAdQAAAAlgAwAACgcuAgAAAAEAAAAAAAAABB9BcGxvcmlzLkJhc2UuT2JqZWN0cy5EYXRhT2JqZWN0AwAAAAcvAgAAAAEAAAAEAAAABBxBcGxvcmlzLkJhc2UuVUkuVmlzdWFsT2JqZWN0AwAAAAljAQAACSQCAAAKCgEwAgAANAAAAAFhAwAAIQAAAGKrBETxz+hCAWIDAACgAAAAAQAAAAAAAAAAAAAAAAljAwAAAAAAAAlkAwAAAAABZQMAAKkAAAAAAAAAAWYDAAByAAAAAAC4QQAAQEEBZwMAABUAAADRxQFEuujSQjQWv0Gjiy5BEoO+PwZoAwAAAzcyJQoJaQMAAAnOAQAANAMAAP////8BAQoJagMAAAEACgABMwIAACMAAAAKCgAAAAAAKEEJdgAAAAl3AAAACWsDAAAAAAlsAwAAATQCAAB4AAAACgoAAAAA////AA4AAAAAAQE4AgAArQAAAAltAwAAAQAAAAEAAAABOQIAAHUAAAAJbgMAAAoHOgIAAAABAAAAAAAAAAQfQXBsb3Jpcy5CYXNlLk9iamVjdHMuRGF0YU9iamVjdAMAAAAHOwIAAAABAAAABAAAAAQcQXBsb3Jpcy5CYXNlLlVJLlZpc3VhbE9iamVjdAMAAAAJagEAAAkwAgAACgoBPAIAADQAAAABbwMAACEAAAAMaRVE9rPuQgFwAwAAoAAAAAEAAAAAAAAAAAAAAAAJcQMAAAAAAAAJcgMAAAAAAXMDAACpAAAAAAAAAAF0AwAAcgAAAAAAuEEAAEBBAXUDAAAVAAAAF10SRBdd2EI0Fr9Bo4suQRKDvj8GdgMAAAM3MCUKCXcDAAAJzgEAADQDAAD/////AQEKCXgDAAABAAoAAT8CAAAjAAAACgoAAAAAAChBCXYAAAAJdwAAAAl5AwAAAAAJegMAAAFAAgAAeAAAAAoKAAAAAP///wAOAAAAAAEBRAIAAK0AAAAJewMAAAEAAAABAAAAAUUCAAB1AAAACXwDAAAKB0YCAAAAAQAAAAQAAAAEHEFwbG9yaXMuQmFzZS5VSS5WaXN1YWxPYmplY3QDAAAACXEBAAAJPAIAAAoKAUcCAAA0AAAAAX0DAAAhAAAAtCYmRLmjREMBfgMAAKAAAAABAAAAAAAAAAAAAAAACX8DAAAAAAAACYADAAAAAAGBAwAAqQAAAAAAAAABggMAAHIAAAAAALhBAABAQQGDAwAAFQAAAIsuI0RddDlDNBa/QaOLLkESg74/BoQDAAADMzYlCgmFAwAACc4BAAA0AwAA/////wEBCgmGAwAAAQAKAAFKAgAAIwAAAAoKAAAAAAAoQQl2AAAACXcAAAAJhwMAAAAACYgDAAABSwIAAHgAAAAKCgAAAAD///8ADgAAAAABAU8CAACtAAAACYkDAAABAAAAAQAAAAFQAgAAdQAAAAmKAwAACgdRAgAAAAEAAAAEAAAABBxBcGxvcmlzLkJhc2UuVUkuVmlzdWFsT2JqZWN0AwAAAAl4AQAACUcCAAAKCgFSAgAANAAAAAGLAwAAIQAAABCU5ELQy7ZDAYwDAACgAAAABQAAAAAAAAAAAAAAAAmNAwAAAAAAAAmOAwAAAAABjwMAAKkAAAAAAAAAAZADAAByAAAAAACqQgAAQEEBkQMAABUAAABddOFCLrq2Q7t/oEKjiy5BEoO+PwkuAQAACgmSAwAACc4BAACEAwAA/////wEBCgmTAwAAAQAKAAFTAgAAHAAAAAGUAwAAIQAAAFiVx0LQy7ZDAZUDAAAhAAAAEJTeQn6LvEMJlgMAAAmXAwAAAAAAAAoBmAMAAHIAAAAAAAAAAAAAAAGZAwAAcgAAAAAAAAAAAAAAAAAAAAGaAwAAFQAAAAAAAAAAAAAAAAAAAAAAAACYAwAA/////wEBCgmbAwAAAQAKAAFUAgAAJQAAAAmcAwAAAAAAAAAAAAABVQIAACYAAAAJnQMAAAIAAAACAAAAAVYCAAA0AAAAAZ4DAAAhAAAAtw1gQ9DLtkMBnwMAAKAAAAAFAAAAAAAAAAAAAAAACaADAAAAAAAACaEDAAAAAAGiAwAAqQAAAAAAAAABowMAAHIAAAAAAHBCAABAQQGkAwAAFQAAAC66XkMuurZDvRZmQqOLLkESg74/CTYBAAAKCaUDAAAJzgEAAIQDAAD/////AQEKCaYDAAABAAoAAVcCAAAcAAAAAacDAAAhAAAAW45RQ9DLtkMBqAMAACEAAAC3DV1Dfou8QwmpAwAACaoDAAAAAAAACgGrAwAAcgAAAAAAAAAAAAAAAawDAAByAAAAAAAAAAAAAAAAAAAAAa0DAAAVAAAAAAAAAAAAAAAAAAAAAAAAAJgDAAD/////AQEKCa4DAAABAAoAAVgCAAAlAAAACa8DAAAAAAAAAAAAAAFZAgAAJgAAAAmwAwAAAgAAAAIAAAABXAIAAHAAAAAKCgAAAEA/CbEDAAAJsgMAAAEAAAD+////AAAAAAEAAAAAAAAAAAAAAAEAAAAAAAAAAAAAAV0CAAB1AAAACbMDAAAKAWACAAAjAAAACgoAAAAAAChBCXYAAAAJdwAAAAm0AwAAAAAJtQMAAAFhAgAAeAAAAAoKAAAAAP///wAOAAAAAAEBZgIAAK0AAAAJtgMAAAEAAAABAAAAAWcCAAB1AAAACbcDAAAKB2gCAAAAAQAAAAQAAAAEHEFwbG9yaXMuQmFzZS5VSS5WaXN1YWxPYmplY3QDAAAACX0BAAAJfgEAAAoKAWsCAABwAAAACgoAAABAPwm4AwAACbkDAAABAAAA/v///wAAAAABAAAAAAAAAAAAAAABAAAAAAAAAAAAAAFsAgAAdQAAAAm6AwAACgFvAgAAIwAAAAoKAAAAAAAoQQl2AAAACXcAAAAJuwMAAAAACbwDAAABcAIAAHgAAAAKCgAAAAD///8ADgAAAAABAXUCAACtAAAACb0DAAABAAAAAwAAAAF2AgAAdQAAAAm+AwAACgd3AgAAAAEAAAAEAAAABBxBcGxvcmlzLkJhc2UuVUkuVmlzdWFsT2JqZWN0AwAAAAmDAQAACYQBAAAKCgF6AgAAcAAAAAoKAAAAQD8JvwMAAAnAAwAAAQAAAP7///8AAAAAAQAAAAAAAAAAAAAAAQAAAAAAAAAAAAABewIAAHUAAAAJwQMAAAoBfgIAACMAAAAKCgAAAAAAKEEJdgAAAAl3AAAACcIDAAAAAAnDAwAAAX8CAAB4AAAACgoAAAAA////AA4AAAAAAQGEAgAArQAAAAnEAwAAAQAAAAMAAAABhQIAAHUAAAAJxQMAAAoHhgIAAAABAAAABAAAAAQcQXBsb3Jpcy5CYXNlLlVJLlZpc3VhbE9iamVjdAMAAAAJiQEAAAmKAQAACgoBiQIAAHAAAAAKCgAAAEA/CcYDAAAJxwMAAAEAAAD+////AAAAAAEAAAAAAAAAAAAAAAEAAAAAAAAAAAAAAYoCAAB1AAAACcgDAAAKAY0CAAAjAAAACgoAAAAAAChBCXYAAAAJdwAAAAnJAwAAAAAJygMAAAGOAgAAeAAAAAoKAAAAAP///wAOAAAAAAEBkwIAAK0AAAAJywMAAAEAAAADAAAAAZQCAAB1AAAACcwDAAAKB5UCAAAAAQAAAAQAAAAEHEFwbG9yaXMuQmFzZS5VSS5WaXN1YWxPYmplY3QDAAAACY8BAAAJkAEAAAoKAZgCAABwAAAACgoAAABAPwnNAwAACc4DAAABAAAA/v///wAAAAABAAAAAAAAAAAAAAABAAAAAAAAAAAAAAGZAgAAdQAAAAnPAwAACgGcAgAAIwAAAAoKAAAAAAAoQQl2AAAACXcAAAAJ0AMAAAAACdEDAAABnQIAAHgAAAAKCgAAAAD///8ADgAAAAABAaICAACtAAAACdIDAAABAAAAAwAAAAGjAgAAdQAAAAnTAwAACgekAgAAAAEAAAAEAAAABBxBcGxvcmlzLkJhc2UuVUkuVmlzdWFsT2JqZWN0AwAAAAmVAQAACZYBAAAKCgGnAgAAcAAAAAoKAAAAQD8J1AMAAAnVAwAAAQAAAP7///8AAAAAAQAAAAAAAAAAAAAAAQAAAAAAAAAAAAABqAIAAHUAAAAJ1gMAAAoBqwIAACMAAAAKCgAAAAAAKEEJdgAAAAl3AAAACdcDAAAAAAnYAwAAAawCAAB4AAAACgoAAAAA////AA4AAAAAAQGxAgAArQAAAAnZAwAAAQAAAAMAAAABsgIAAHUAAAAJ2gMAAAoHswIAAAABAAAABAAAAAQcQXBsb3Jpcy5CYXNlLlVJLlZpc3VhbE9iamVjdAMAAAAJmwEAAAmcAQAACgoBtgIAAHAAAAAKCgAAAEA/CdsDAAAJ3AMAAAEAAAD+////AAAAAAEAAAAAAAAAAAAAAAEAAAAAAAAAAAAAAbcCAAB1AAAACd0DAAAKAboCAAAjAAAACgoAAAAAAChBCXYAAAAJdwAAAAneAwAAAAAJ3wMAAAG7AgAAeAAAAAoKAAAAAP///wAOAAAAAAEBwAIAAK0AAAAJ4AMAAAEAAAADAAAAAcECAAB1AAAACeEDAAAKB8ICAAAAAQAAAAQAAAAEHEFwbG9yaXMuQmFzZS5VSS5WaXN1YWxPYmplY3QDAAAACaEBAAAJogEAAAoKAcUCAABwAAAACgoAAABAPwniAwAACeMDAAABAAAA/v///wAAAAABAAAAAAAAAAAAAAABAAAAAAAAAAAAAAHGAgAAdQAAAAnkAwAACgHJAgAAIwAAAAoKAAAAAAAoQQl2AAAACXcAAAAJ5QMAAAAACeYDAAABygIAAHgAAAAKCgAAAAD///8ADgAAAAABAc8CAACtAAAACecDAAABAAAAAwAAAAHQAgAAdQAAAAnoAwAACgfRAgAAAAEAAAAEAAAABBxBcGxvcmlzLkJhc2UuVUkuVmlzdWFsT2JqZWN0AwAAAAmnAQAACagBAAAKCgHUAgAAcAAAAAoKAAAAQD8J6QMAAAnqAwAAAQAAAP7///8AAAAAAQAAAAAAAAAAAAAAAQAAAAAAAAAAAAAB1QIAAHUAAAAJ6wMAAAoB2AIAACMAAAAKCgAAAAAAKEEJdgAAAAl3AAAACewDAAAAAAntAwAAAdkCAAB4AAAACgoAAAAA////AA4AAAAAAQHeAgAArQAAAAnuAwAAAQAAAAMAAAAB3wIAAHUAAAAJ7wMAAAoH4AIAAAABAAAABAAAAAQcQXBsb3Jpcy5CYXNlLlVJLlZpc3VhbE9iamVjdAMAAAAJrQEAAAmuAQAACgoB4wIAAHAAAAAKCgAAAEA/CfADAAAJ8QMAAAEAAAD+////AAAAAAEAAAAAAAAAAAAAAAEAAAAAAAAAAAAAAeQCAAB1AAAACfIDAAAKAecCAAAjAAAACgoAAAAAAChBCXYAAAAJdwAAAAnzAwAAAAAJ9AMAAAHoAgAAeAAAAAoKAAAAAP///wAOAAAAAAEB7QIAAK0AAAAJ9QMAAAEAAAADAAAAAe4CAAB1AAAACfYDAAAKB+8CAAAAAQAAAAQAAAAEHEFwbG9yaXMuQmFzZS5VSS5WaXN1YWxPYmplY3QDAAAACbMBAAAJtAEAAAoKAfICAABwAAAACgoAAABAPwn3AwAACfgDAAABAAAA/v///wAAAAABAAAAAAAAAAAAAAABAAAAAAAAAAAAAAHzAgAAdQAAAAn5AwAACgH2AgAAIwAAAAoKAAAAAAAoQQl2AAAACXcAAAAJ+gMAAAAACfsDAAAB9wIAAHgAAAAKCgAAAAD///8ADgAAAAABAfwCAACtAAAACfwDAAABAAAAAwAAAAH9AgAAdQAAAAn9AwAACgf+AgAAAAEAAAAEAAAABBxBcGxvcmlzLkJhc2UuVUkuVmlzdWFsT2JqZWN0AwAAAAm5AQAACboBAAAKCgf/AgAAAAEAAAAQAAAABB5BcGxvcmlzLkNoYXJ0LkNoYXJ0RGF0YUVsZW1lbnQCAAAACf4DAAAJ/wMAAAkABAAACQEEAAAJAgQAAAkDBAAACQQEAAAJBQQAAAkGBAAADQcHAAMAAAABAAAAEAAAAAQfQXBsb3Jpcy5CYXNlLk9iamVjdHMuRGF0YU9iamVjdAMAAAAJ/wMAAAn+AwAACQMEAAAJBQQAAAkABAAACQEEAAAJAgQAAAkGBAAACQQEAAANBwcBAwAAAAEAAAAAAAAABBxBcGxvcmlzLkJhc2UuVUkuVmlzdWFsT2JqZWN0AwAAAAECAwAAeAAAAAoKAAAAAAAAAAANAAAAAAEBAwMAAHgAAAAKCgEAAAAAAAAA/////wABBwQDAAAAAQAAAAQAAAAEHUFwbG9yaXMuQmFzZS5PYmplY3RzLlZhcmlhYmxlAwAAAAUHBAAAHUFwbG9yaXMuQmFzZS5PYmplY3RzLlZhcmlhYmxlAgAAAAZOdW1iZXIIUG9zaXRpb24AAAgIAwAAAAEAAAAAAAAAAQgEAAAHBAAAAAAAAAAAAAABCQQAAAcEAAAAAAAAAAAAAAEKBAAABwQAAAAAAAAAAAAADwUDAAABAAAACAAAAAAHBgMAAAABAAAAEAAAAAQeQXBsb3Jpcy5DaGFydC5DaGFydERhdGFFbGVtZW50AgAAAAkLBAAACQwEAAAJDQQAAAkOBAAACQ8EAAAJEAQAAAkRBAAACRIEAAAJEwQAAA0HBwcDAAAAAQAAABAAAAAEH0FwbG9yaXMuQmFzZS5PYmplY3RzLkRhdGFPYmplY3QDAAAACQwEAAAJCwQAAAkQBAAACRIEAAAJDQQAAAkOBAAACQ8EAAAJEwQAAAkRBAAADQcHCAMAAAABAAAAAAAAAAQcQXBsb3Jpcy5CYXNlLlVJLlZpc3VhbE9iamVjdAMAAAABCQMAAHgAAAAKCgAAAAAAAAAADQAAAAABAQoDAAB4AAAACgoBAAAAAAAAAP////8AAQcLAwAAAAEAAAAEAAAABB1BcGxvcmlzLkJhc2UuT2JqZWN0cy5WYXJpYWJsZQMAAAABFAQAAAcEAAABAAAAAAAAAAEVBAAABwQAAAAAAAAAAAAAARYEAAAHBAAAAAAAAAAAAAABFwQAAAcEAAAAAAAAAAAAAA8MAwAAAQAAAAgAAAAABQ8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sBAAAKAAAAAAAoQQl2AAAACXcAAAAJGAQAAAAACRkEAAABEAMAAHgAAAAKCgAAAAD///8ADgAAAAABARUDAACtAAAACRoEAAABAAAAAwAAAAEWAwAAdQAAAAkbBAAACgEXAwAAeAAAAAoKAAAAAAAAAAANAAAAAAABGAMAAHgAAAAKCgAAAAAAAAAADQAAAAABBxkDAAAAAQAAAAQAAAAEHUFwbG9yaXMuQmFzZS5PYmplY3RzLlZhcmlhYmxlAwAAAAEcBAAABwQAAAEAAAAAAAAAAR0EAAAHBAAAAAAAAAAAAAABHgQAAAcEAAAAAAAAAAAAAAEfBAAABwQAAAAAAAAAAAAADxoDAAABAAAACE0BAAAFHQ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DAEAAAoAAAAAAChBCXYAAAAJdwAAAAkgBAAAAAAJIQQAAAEeAwAAeAAAAAoKAAAAAP///wAOAAAAAAEBIwMAAK0AAAAJIgQAAAEAAAABAAAAASQDAAB1AAAACSMEAAAKASUDAAB4AAAACgoAAAAAAAAAAA0AAAAAAAEmAwAAeAAAAAoKAAAAAAAAAAANAAAAAAEHJwMAAAABAAAABAAAAAQdQXBsb3Jpcy5CYXNlLk9iamVjdHMuVmFyaWFibGUDAAAAASQEAAAHBAAAAQAAAAAAAAABJQQAAAcEAAAAAAAAAAAAAAEmBAAABwQAAAAAAAAAAAAAAScEAAAHBAAAAAAAAAAAAAAPKAMAAAEAAAAIUgEAAAUr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NAQAACgAAAAAAKEEJdgAAAAl3AAAACSgEAAAAAAkpBAAAASwDAAB4AAAACgoAAAAA////AA4AAAAAAQExAwAArQAAAAkqBAAAAQAAAAMAAAABMgMAAHUAAAAJKwQAAAoBMwMAAHgAAAAKCgAAAAAAAAAADQAAAAAAATQDAAB4AAAACgoAAAAAAAAAAA0AAAAAAQc1AwAAAAEAAAAEAAAABB1BcGxvcmlzLkJhc2UuT2JqZWN0cy5WYXJpYWJsZQMAAAABLAQAAAcEAAABAAAAAAAAAAEtBAAABwQAAAAAAAAAAAAAAS4EAAAHBAAAAAAAAAAAAAABLwQAAAcEAAAAAAAAAAAAAA82AwAAAQAAAAhMAQAABTk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4BAAAKAAAAAAAoQQl2AAAACXcAAAAJMAQAAAAACTEEAAABOgMAAHgAAAAKCgAAAAD///8ADgAAAAABAT8DAACtAAAACTIEAAABAAAAAwAAAAFAAwAAdQAAAAkzBAAACgFBAwAAeAAAAAoKAAAAAAAAAAANAAAAAAABQgMAAHgAAAAKCgAAAAAAAAAADQAAAAABB0MDAAAAAQAAAAQAAAAEHUFwbG9yaXMuQmFzZS5PYmplY3RzLlZhcmlhYmxlAwAAAAE0BAAABwQAAAEAAAAAAAAAATUEAAAHBAAAAAAAAAAAAAABNgQAAAcEAAAAAAAAAAAAAAE3BAAABwQAAAAAAAAAAAAAD0QDAAABAAAACE4BAAAFRw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DwEAAAoAAAAAAChBCXYAAAAJdwAAAAk4BAAAAAAJOQQAAAFIAwAAeAAAAAoKAAAAAP///wAOAAAAAAEBTQMAAK0AAAAJOgQAAAEAAAADAAAAAU4DAAB1AAAACTsEAAAKAU8DAAB4AAAACgoAAAAAAAAAAA0AAAAAAAFQAwAAeAAAAAoKAAAAAAAAAAANAAAAAAEHUQMAAAABAAAABAAAAAQdQXBsb3Jpcy5CYXNlLk9iamVjdHMuVmFyaWFibGUDAAAAATwEAAAHBAAAAQAAAAAAAAABPQQAAAcEAAAAAAAAAAAAAAE+BAAABwQAAAAAAAAAAAAAAT8EAAAHBAAAAAAAAAAAAAAPUgMAAAEAAAAITwEAAAVV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QAQAACgAAAAAAKEEJdgAAAAl3AAAACUAEAAAAAAlBBAAAAVYDAAB4AAAACgoAAAAA////AA4AAAAAAQFbAwAArQAAAAlCBAAAAQAAAAMAAAABXAMAAHUAAAAJQwQAAAoBXQMAAHgAAAAKCgAAAAAAAAAADQAAAAAAAV4DAAB4AAAACgoAAAAAAAAAAA0AAAAAAQdfAwAAAAEAAAAEAAAABB1BcGxvcmlzLkJhc2UuT2JqZWN0cy5WYXJpYWJsZQMAAAABRAQAAAcEAAABAAAAAAAAAAFFBAAABwQAAAAAAAAAAAAAAUYEAAAHBAAAAAAAAAAAAAABRwQAAAcEAAAAAAAAAAAAAA9gAwAAAQAAAAjFAAAAAWMDAAAjAAAACgoAAAAAAChBCXYAAAAJdwAAAAlIBAAAAAAJSQQAAAFkAwAAeAAAAAoKAAAAAP///wAOAAAAAAEBaQMAAK0AAAAJSgQAAAEAAAADAAAAAWoDAAB1AAAACUsEAAAKAWsDAAB4AAAACgoAAAAAAAAAAA0AAAAAAAFsAwAAeAAAAAoKAAAAAAAAAAANAAAAAAEHbQMAAAABAAAABAAAAAQdQXBsb3Jpcy5CYXNlLk9iamVjdHMuVmFyaWFibGUDAAAAAUwEAAAHBAAAAQAAAAAAAAABTQQAAAcEAAAAAAAAAAAAAAFOBAAABwQAAAAAAAAAAAAAAU8EAAAHBAAAAAAAAAAAAAAPbgMAAAEAAAAIlQIAAAVx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SAQAACgAAAAAAKEEJdgAAAAl3AAAACVAEAAAAAAlRBAAAAXIDAAB4AAAACgoAAAAA////AA4AAAAAAQF3AwAArQAAAAlSBAAAAQAAAAMAAAABeAMAAHUAAAAJUwQAAAoBeQMAAHgAAAAKCgAAAAAAAAAADQAAAAAAAXoDAAB4AAAACgoAAAAAAAAAAA0AAAAAAQd7AwAAAAEAAAAEAAAABB1BcGxvcmlzLkJhc2UuT2JqZWN0cy5WYXJpYWJsZQMAAAABVAQAAAcEAAABAAAAAAAAAAFVBAAABwQAAAAAAAAAAAAAAVYEAAAHBAAAAAAAAAAAAAABVwQAAAcEAAAAAAAAAAAAAA98AwAAAQAAAAjEAAAABX8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RMBAAAKAAAAAAAoQQl2AAAACXcAAAAJWAQAAAAACVkEAAABgAMAAHgAAAAKCgAAAAD///8ADgAAAAABAYUDAACtAAAACVoEAAABAAAAAwAAAAGGAwAAdQAAAAlbBAAACgGHAwAAeAAAAAoKAAAAAAAAAAANAAAAAAABiAMAAHgAAAAKCgAAAAAAAAAADQAAAAABB4kDAAAAAQAAAAQAAAAEHUFwbG9yaXMuQmFzZS5PYmplY3RzLlZhcmlhYmxlAwAAAAFcBAAABwQAAAEAAAAAAAAAAV0EAAAHBAAAAAAAAAAAAAABXgQAAAcEAAAAAAAAAAAAAAFfBAAABwQAAAAAAAAAAAAAD4oDAAABAAAACFABAAABjQMAACMAAAAKCgAAAAAAKEEJdgAAAAl3AAAACWAEAAAAAAlhBAAAAY4DAAB4AAAACgoBAAAAAAAAAP////8AAQGSAwAArQAAAAliBAAAAQAAAAEAAAABkwMAAHUAAAAJYwQAAAoBlgMAAHAAAAAKCgAAAEA/CWQEAAAJZQQAAAEAAAD+////AAAAAAEAAAAAAAAAAAAAAAEAAAAAAAAAAAAAAZcDAABxAAAACgoJZgQAAAlnBAAAAQAAAAAAAAAAAAAA/////wEAAZsDAAB1AAAACWgEAAAKB5wDAAAAAQAAAAAAAAAEH0FwbG9yaXMuQmFzZS5PYmplY3RzLkRhdGFPYmplY3QDAAAAB50DAAAAAQAAAAQAAAAEHEFwbG9yaXMuQmFzZS5VSS5WaXN1YWxPYmplY3QDAAAACVICAAAJUwIAAAoKAaADAAAjAAAACgoAAAAAAChBCXYAAAAJdwAAAAlpBAAAAAAJagQAAAGhAwAAeAAAAAoKAQAAAAAAAAD/////AAEBpQMAAK0AAAAJawQAAAEAAAABAAAAAaYDAAB1AAAACWwEAAAKAakDAABwAAAACgoAAABAPwltBAAACW4EAAABAAAA/v///wAAAAABAAAAAAAAAAAAAAABAAAAAAAAAAAAAAGqAwAAcQAAAAoKCW8EAAAJcAQAAAEAAAAAAAAAAAAAAP////8BAAGuAwAAdQAAAAlxBAAACgevAwAAAAEAAAAAAAAABB9BcGxvcmlzLkJhc2UuT2JqZWN0cy5EYXRhT2JqZWN0AwAAAAewAwAAAAEAAAAEAAAABBxBcGxvcmlzLkJhc2UuVUkuVmlzdWFsT2JqZWN0AwAAAAlWAgAACVcCAAAKCgGxAwAAeAAAAAoKAAAAAAAAAAANAAAAAAAFsgMAABpBcGxvcmlzLkJhc2UuT2JqZWN0cy5Db2xvcgcAAAASRGF0YU9iamVjdCttUGFyZW50FURhdGFPYmplY3QrbUNvbnRhaW5lcgVtVHlwZQRtUkdCEG1UaGVtZUNvbG9ySW5kZXgMbUF1dG9VcGRhdGVkCW1Nb2RpZmllZAQCAAAAAAAfQXBsb3Jpcy5CYXNlLk9iamVjdHMuTGluZUZvcm1hdAMAAAAICAgBAQMAAAAJXAIAAAoBAAAAAAAAAP////8AAQ+zAwAAAQAAAAj7AgAAAbQDAAB4AAAACgoAAAAAAAAAAA0AAAAAAAG1AwAAeAAAAAoKAAAAAAAAAAANAAAAAAEHtgMAAAABAAAABAAAAAQdQXBsb3Jpcy5CYXNlLk9iamVjdHMuVmFyaWFibGUDAAAAAXIEAAAHBAAAAQAAAAAAAAABcwQAAAcEAAAAAAAAAAAAAAF0BAAABwQAAAAAAAAAAAAAAXUEAAAHBAAAAAAAAAAAAAAPtwMAAAEAAAAIJgAAAAG4AwAAeAAAAAoKAAAAAAAAAAANAAAAAAAFuQMAABpBcGxvcmlzLkJhc2UuT2JqZWN0cy5Db2xvcgcAAAASRGF0YU9iamVjdCttUGFyZW50FURhdGFPYmplY3QrbUNvbnRhaW5lcgVtVHlwZQRtUkdCEG1UaGVtZUNvbG9ySW5kZXgMbUF1dG9VcGRhdGVkCW1Nb2RpZmllZAQCAAAAAAAfQXBsb3Jpcy5CYXNlLk9iamVjdHMuTGluZUZvcm1hdAMAAAAICAgBAQMAAAAJawIAAAoBAAAAAAAAAP////8AAQ+6AwAAAQAAAAj5AgAAAbsDAAB4AAAACgoAAAAAAAAAAA0AAAAAAAG8AwAAeAAAAAoKAAAAAAAAAAANAAAAAAEHvQMAAAABAAAABAAAAAQdQXBsb3Jpcy5CYXNlLk9iamVjdHMuVmFyaWFibGUDAAAAAXYEAAAHBAAAAQAAAAAAAAABdwQAAAcEAAAAAAAAAAAAAAF4BAAABwQAAAAAAAAAAAAAAXkEAAAHBAAAAAAAAAAAAAAPvgMAAAEAAAAIIwAAAAG/AwAAeAAAAAoKAAAAAAAAAAANAAAAAAAFwAMAABpBcGxvcmlzLkJhc2UuT2JqZWN0cy5Db2xvcgcAAAASRGF0YU9iamVjdCttUGFyZW50FURhdGFPYmplY3QrbUNvbnRhaW5lcgVtVHlwZQRtUkdCEG1UaGVtZUNvbG9ySW5kZXgMbUF1dG9VcGRhdGVkCW1Nb2RpZmllZAQCAAAAAAAfQXBsb3Jpcy5CYXNlLk9iamVjdHMuTGluZUZvcm1hdAMAAAAICAgBAQMAAAAJegIAAAoBAAAAAAAAAP////8AAQ/BAwAAAQAAAAj4AgAAAcIDAAB4AAAACgoAAAAAAAAAAA0AAAAAAAHDAwAAeAAAAAoKAAAAAAAAAAANAAAAAAEHxAMAAAABAAAABAAAAAQdQXBsb3Jpcy5CYXNlLk9iamVjdHMuVmFyaWFibGUDAAAAAXoEAAAHBAAAAQAAAAAAAAABewQAAAcEAAAAAAAAAAAAAAF8BAAABwQAAAAAAAAAAAAAAX0EAAAHBAAAAAAAAAAAAAAPxQMAAAEAAAAIKwAAAAHGAwAAeAAAAAoKAAAAAAAAAAANAAAAAAAFxwMAABpBcGxvcmlzLkJhc2UuT2JqZWN0cy5Db2xvcgcAAAASRGF0YU9iamVjdCttUGFyZW50FURhdGFPYmplY3QrbUNvbnRhaW5lcgVtVHlwZQRtUkdCEG1UaGVtZUNvbG9ySW5kZXgMbUF1dG9VcGRhdGVkCW1Nb2RpZmllZAQCAAAAAAAfQXBsb3Jpcy5CYXNlLk9iamVjdHMuTGluZUZvcm1hdAMAAAAICAgBAQMAAAAJiQIAAAoBAAAAAAAAAP////8AAQ/IAwAAAQAAAAj3AgAAAckDAAB4AAAACgoAAAAAAAAAAA0AAAAAAAHKAwAAeAAAAAoKAAAAAAAAAAANAAAAAAEHywMAAAABAAAABAAAAAQdQXBsb3Jpcy5CYXNlLk9iamVjdHMuVmFyaWFibGUDAAAAAX4EAAAHBAAAAQAAAAAAAAABfwQAAAcEAAAAAAAAAAAAAAGABAAABwQAAAAAAAAAAAAAAYEEAAAHBAAAAAAAAAAAAAAPzAMAAAEAAAAIKgAAAAHNAwAAeAAAAAoKAAAAAAAAAAANAAAAAAAFzgMAABpBcGxvcmlzLkJhc2UuT2JqZWN0cy5Db2xvcgcAAAASRGF0YU9iamVjdCttUGFyZW50FURhdGFPYmplY3QrbUNvbnRhaW5lcgVtVHlwZQRtUkdCEG1UaGVtZUNvbG9ySW5kZXgMbUF1dG9VcGRhdGVkCW1Nb2RpZmllZAQCAAAAAAAfQXBsb3Jpcy5CYXNlLk9iamVjdHMuTGluZUZvcm1hdAMAAAAICAgBAQMAAAAJmAIAAAoBAAAAAAAAAP////8AAQ/PAwAAAQAAAAj6AgAAAdADAAB4AAAACgoAAAAAAAAAAA0AAAAAAAHRAwAAeAAAAAoKAAAAAAAAAAANAAAAAAEH0gMAAAABAAAABAAAAAQdQXBsb3Jpcy5CYXNlLk9iamVjdHMuVmFyaWFibGUDAAAAAYIEAAAHBAAAAQAAAAAAAAABgwQAAAcEAAAAAAAAAAAAAAGEBAAABwQAAAAAAAAAAAAAAYUEAAAHBAAAAAAAAAAAAAAP0wMAAAEAAAAIJwAAAAHUAwAAeAAAAAoKAAAAAAAAAAANAAAAAAAF1QMAABpBcGxvcmlzLkJhc2UuT2JqZWN0cy5Db2xvcgcAAAASRGF0YU9iamVjdCttUGFyZW50FURhdGFPYmplY3QrbUNvbnRhaW5lcgVtVHlwZQRtUkdCEG1UaGVtZUNvbG9ySW5kZXgMbUF1dG9VcGRhdGVkCW1Nb2RpZmllZAQCAAAAAAAfQXBsb3Jpcy5CYXNlLk9iamVjdHMuTGluZUZvcm1hdAMAAAAICAgBAQMAAAAJpwIAAAoBAAAAAAAAAP////8AAQ/WAwAAAQAAAAj2AgAAAdcDAAB4AAAACgoAAAAAAAAAAA0AAAAAAAHYAwAAeAAAAAoKAAAAAAAAAAANAAAAAAEH2QMAAAABAAAABAAAAAQdQXBsb3Jpcy5CYXNlLk9iamVjdHMuVmFyaWFibGUDAAAAAYYEAAAHBAAAAQAAAAAAAAABhwQAAAcEAAAAAAAAAAAAAAGIBAAABwQAAAAAAAAAAAAAAYkEAAAHBAAAAAAAAAAAAAAP2gMAAAEAAAAIKQAAAAHbAwAAeAAAAAoKAAAAAAAAAAANAAAAAAAF3AMAABpBcGxvcmlzLkJhc2UuT2JqZWN0cy5Db2xvcgcAAAASRGF0YU9iamVjdCttUGFyZW50FURhdGFPYmplY3QrbUNvbnRhaW5lcgVtVHlwZQRtUkdCEG1UaGVtZUNvbG9ySW5kZXgMbUF1dG9VcGRhdGVkCW1Nb2RpZmllZAQCAAAAAAAfQXBsb3Jpcy5CYXNlLk9iamVjdHMuTGluZUZvcm1hdAMAAAAICAgBAQMAAAAJtgIAAAoBAAAAAAAAAP////8AAQ/dAwAAAQAAAAgAAwAAAd4DAAB4AAAACgoAAAAAAAAAAA0AAAAAAAHfAwAAeAAAAAoKAAAAAAAAAAANAAAAAAEH4AMAAAABAAAABAAAAAQdQXBsb3Jpcy5CYXNlLk9iamVjdHMuVmFyaWFibGUDAAAAAYoEAAAHBAAAAQAAAAAAAAABiwQAAAcEAAAAAAAAAAAAAAGMBAAABwQAAAAAAAAAAAAAAY0EAAAHBAAAAAAAAAAAAAAP4QMAAAEAAAAIKAAAAAHiAwAAeAAAAAoKAAAAAAAAAAANAAAAAAAF4wMAABpBcGxvcmlzLkJhc2UuT2JqZWN0cy5Db2xvcgcAAAASRGF0YU9iamVjdCttUGFyZW50FURhdGFPYmplY3QrbUNvbnRhaW5lcgVtVHlwZQRtUkdCEG1UaGVtZUNvbG9ySW5kZXgMbUF1dG9VcGRhdGVkCW1Nb2RpZmllZAQCAAAAAAAfQXBsb3Jpcy5CYXNlLk9iamVjdHMuTGluZUZvcm1hdAMAAAAICAgBAQMAAAAJxQIAAAoBAAAAAAAAAP////8AAQ/kAwAAAQAAAAj8AgAAAeUDAAB4AAAACgoAAAAAAAAAAA0AAAAAAAHmAwAAeAAAAAoKAAAAAAAAAAANAAAAAAEH5wMAAAABAAAABAAAAAQdQXBsb3Jpcy5CYXNlLk9iamVjdHMuVmFyaWFibGUDAAAAAY4EAAAHBAAAAQAAAAAAAAABjwQAAAcEAAAAAAAAAAAAAAGQBAAABwQAAAAAAAAAAAAAAZEEAAAHBAAAAAAAAAAAAAAP6AMAAAEAAAAILAAAAAHpAwAAeAAAAAoKAAAAAAAAAAANAAAAAAAF6gMAABpBcGxvcmlzLkJhc2UuT2JqZWN0cy5Db2xvcgcAAAASRGF0YU9iamVjdCttUGFyZW50FURhdGFPYmplY3QrbUNvbnRhaW5lcgVtVHlwZQRtUkdCEG1UaGVtZUNvbG9ySW5kZXgMbUF1dG9VcGRhdGVkCW1Nb2RpZmllZAQCAAAAAAAfQXBsb3Jpcy5CYXNlLk9iamVjdHMuTGluZUZvcm1hdAMAAAAICAgBAQMAAAAJ1AIAAAoBAAAAAAAAAP////8AAQ/rAwAAAQAAAAj9AgAAAewDAAB4AAAACgoAAAAAAAAAAA0AAAAAAAHtAwAAeAAAAAoKAAAAAAAAAAANAAAAAAEH7gMAAAABAAAABAAAAAQdQXBsb3Jpcy5CYXNlLk9iamVjdHMuVmFyaWFibGUDAAAAAZIEAAAHBAAAAQAAAAAAAAABkwQAAAcEAAAAAAAAAAAAAAGUBAAABwQAAAAAAAAAAAAAAZUEAAAHBAAAAAAAAAAAAAAP7wMAAAEAAAAILQAAAAHwAwAAeAAAAAoKAAAAAAAAAAANAAAAAAAF8QMAABpBcGxvcmlzLkJhc2UuT2JqZWN0cy5Db2xvcgcAAAASRGF0YU9iamVjdCttUGFyZW50FURhdGFPYmplY3QrbUNvbnRhaW5lcgVtVHlwZQRtUkdCEG1UaGVtZUNvbG9ySW5kZXgMbUF1dG9VcGRhdGVkCW1Nb2RpZmllZAQCAAAAAAAfQXBsb3Jpcy5CYXNlLk9iamVjdHMuTGluZUZvcm1hdAMAAAAICAgBAQMAAAAJ4wIAAAoBAAAAAAAAAP////8AAQ/yAwAAAQAAAAj+AgAAAfMDAAB4AAAACgoAAAAAAAAAAA0AAAAAAAH0AwAAeAAAAAoKAAAAAAAAAAANAAAAAAEH9QMAAAABAAAABAAAAAQdQXBsb3Jpcy5CYXNlLk9iamVjdHMuVmFyaWFibGUDAAAAAZYEAAAHBAAAAQAAAAAAAAABlwQAAAcEAAAAAAAAAAAAAAGYBAAABwQAAAAAAAAAAAAAAZkEAAAHBAAAAAAAAAAAAAAP9gMAAAEAAAAIJQAAAAH3AwAAeAAAAAoKAAAAAAAAAAANAAAAAAAF+AMAABpBcGxvcmlzLkJhc2UuT2JqZWN0cy5Db2xvcgcAAAASRGF0YU9iamVjdCttUGFyZW50FURhdGFPYmplY3QrbUNvbnRhaW5lcgVtVHlwZQRtUkdCEG1UaGVtZUNvbG9ySW5kZXgMbUF1dG9VcGRhdGVkCW1Nb2RpZmllZAQCAAAAAAAfQXBsb3Jpcy5CYXNlLk9iamVjdHMuTGluZUZvcm1hdAMAAAAICAgBAQMAAAAJ8gIAAAoBAAAAAAAAAP////8AAQ/5AwAAAQAAAAj/AgAAAfoDAAB4AAAACgoAAAAAAAAAAA0AAAAAAAH7AwAAeAAAAAoKAAAAAAAAAAANAAAAAAEH/AMAAAABAAAABAAAAAQdQXBsb3Jpcy5CYXNlLk9iamVjdHMuVmFyaWFibGUDAAAAAZoEAAAHBAAAAQAAAAAAAAABmwQAAAcEAAAAAAAAAAAAAAGcBAAABwQAAAAAAAAAAAAAAZ0EAAAHBAAAAAAAAAAAAAAP/QMAAAEAAAAIJAAAAAX+Aw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Z4EAAAJnwQAAAoJoAQAAAoJCQEAAAgGP1qO645t4j8KAAAAAAmhBAAACaIEAAAAAAAAAAmjBAAACQkBAAAJAQAAAAmkBAAAAf8DAAD+AwAACaUEAAAJpgQAAAoJpwQAAAoJCQEAAAgGFGzAS7Dd2j8KAQAAAAmoBAAACakEAAAAAAAAAAmqBAAACQkBAAAJAQAAAAmrBAAAAQAEAAD+AwAACawEAAAJrQQAAAoJrgQAAAoJCQEAAAgG2HOt3HHA0T8KAgAAAAmvBAAACbAEAAAAAAAAAAmxBAAACQkBAAAJAQAAAAmyBAAAAQEEAAD+AwAACbMEAAAJtAQAAAoJtQQAAAoJCQEAAAgGYwEM3S68yj8KAwAAAAm2BAAACbcEAAAAAAAAAAm4BAAACQkBAAAJAQAAAAm5BAAAAQIEAAD+AwAACboEAAAJuwQAAAoJvAQAAAoJCQEAAAgGbY8gx7mMyj8KBAAAAAm9BAAACb4EAAAAAAAAAAm/BAAACQkBAAAJAQAAAAnABAAAAQMEAAD+AwAACcEEAAAJwgQAAAoJwwQAAAoJCQEAAAgGVKbw9TrXxz8KBQAAAAnEBAAACcUEAAAAAAAAAAnGBAAACQkBAAAJAQAAAAnHBAAAAQQEAAD+AwAACcgEAAAJyQQAAAoJygQAAAoJCQEAAAgGDL0qZsuLxD8KBgAAAAnLBAAACcwEAAAAAAAAAAnNBAAACQkBAAAJAQAAAAnOBAAAAQUEAAD+AwAACc8EAAAJ0AQAAAoJ0QQAAAoJCQEAAAgGX5rsTQUnxD8KBwAAAAnSBAAACdMEAAAAAAAAAAnUBAAACQkBAAAJAQAAAAnVBAAAAQYEAAD+AwAACdYEAAAJ1wQAAAoJ2AQAAAoJCQEAAAgGEn1jS3d8pD8KCAAAAAnZBAAACdoEAAAAAAAAAAnbBAAACQkBAAAJAQAAAAncBAAAAQsEAAD+AwAACd0EAAAJ3gQAAAoJ3wQAAAoJCgEAAAgGjSaUl7Ri1z8KAAAAAAngBAAACeEEAAAAAAAAAAniBAAACQoBAAAJAQAAAAnjBAAAAQwEAAD+AwAACeQEAAAJ5QQAAAoJ5gQAAAoJCgEAAAgG1xKZPsgK4D8KAQAAAAnnBAAACegEAAAAAAAAAAnpBAAACQoBAAAJAQAAAAnqBAAAAQ0EAAD+AwAACesEAAAJ7AQAAAoJ7QQAAAoJCgEAAAgGm4ie8LMJ4j8KAgAAAAnuBAAACe8EAAAAAAAAAAnwBAAACQoBAAAJAQAAAAnxBAAAAQ4EAAD+AwAACfIEAAAJ8wQAAAoJ9AQAAAoJCgEAAAgGr9CgHd2G3z8KAwAAAAn1BAAACfYEAAAAAAAAAAn3BAAACQoBAAAJAQAAAAn4BAAAAQ8EAAD+AwAACfkEAAAJ+gQAAAoJ+wQAAAoJCgEAAAgGhkSvtSpn2T8KBAAAAAn8BAAACf0EAAAAAAAAAAn+BAAACQoBAAAJAQAAAAn/BAAAARAEAAD+AwAACQAFAAAJAQUAAAoJAgUAAAoJCgEAAAgGJrtPNhAM3z8KBQAAAAkDBQAACQQFAAAAAAAAAAkFBQAACQoBAAAJAQAAAAkGBQAAAREEAAD+AwAACQcFAAAJCAUAAAoJCQUAAAoJCgEAAAgGJZyCl9rE4T8KBgAAAAkKBQAACQsFAAAAAAAAAAkMBQAACQoBAAAJAQAAAAkNBQAAARIEAAD+AwAACQ4FAAAJDwUAAAoJEAUAAAoJCgEAAAgG067iyxty4T8KBwAAAAkRBQAACRIFAAAAAAAAAAkTBQAACQoBAAAJAQAAAAkUBQAAARMEAAD+AwAACRUFAAAJFgUAAAoJFwUAAAoJCgEAAAgG23pwMGNH1D8KCAAAAAkYBQAACRkFAAAAAAAAAAkaBQAACQoBAAAJAQAAAAkbBQAAARgEAAB4AAAACgoAAAAAAAAAAA0AAAAAAAEZBAAAeAAAAAoKAAAAAAAAAAANAAAAAAEHGgQAAAABAAAABAAAAAQdQXBsb3Jpcy5CYXNlLk9iamVjdHMuVmFyaWFibGUDAAAAARwFAAAHBAAAAQAAAAAAAAABHQUAAAcEAAAAAAAAAAAAAAEeBQAABwQAAAAAAAAAAAAAAR8FAAAHBAAAAAAAAAAAAAAPGwQAAAEAAAAImwIAAAEgBAAAeAAAAAoKAAAAAAAAAAANAAAAAAABIQQAAHgAAAAKCgAAAAAAAAAADQAAAAABByIEAAAAAQAAAAQAAAAEHUFwbG9yaXMuQmFzZS5PYmplY3RzLlZhcmlhYmxlAwAAAAEgBQAABwQAAAEAAAAAAAAAASEFAAAHBAAAAAAAAAAAAAABIgUAAAcEAAAAAAAAAAAAAAEjBQAABwQAAAAAAAAAAAAADyMEAAABAAAACKMCAAABKAQAAHgAAAAKCgAAAAAAAAAADQAAAAAAASkEAAB4AAAACgoAAAAAAAAAAA0AAAAAAQcqBAAAAAEAAAAEAAAABB1BcGxvcmlzLkJhc2UuT2JqZWN0cy5WYXJpYWJsZQMAAAABJAUAAAcEAAABAAAAAAAAAAElBQAABwQAAAAAAAAAAAAAASYFAAAHBAAAAAAAAAAAAAABJwUAAAcEAAAAAAAAAAAAAA8rBAAAAQAAAAigAgAAATAEAAB4AAAACgoAAAAAAAAAAA0AAAAAAAExBAAAeAAAAAoKAAAAAAAAAAANAAAAAAEHMgQAAAABAAAABAAAAAQdQXBsb3Jpcy5CYXNlLk9iamVjdHMuVmFyaWFibGUDAAAAASgFAAAHBAAAAQAAAAAAAAABKQUAAAcEAAAAAAAAAAAAAAEqBQAABwQAAAAAAAAAAAAAASsFAAAHBAAAAAAAAAAAAAAPMwQAAAEAAAAInwIAAAE4BAAAeAAAAAoKAAAAAAAAAAANAAAAAAABOQQAAHgAAAAKCgAAAAAAAAAADQAAAAABBzoEAAAAAQAAAAQAAAAEHUFwbG9yaXMuQmFzZS5PYmplY3RzLlZhcmlhYmxlAwAAAAEsBQAABwQAAAEAAAAAAAAAAS0FAAAHBAAAAAAAAAAAAAABLgUAAAcEAAAAAAAAAAAAAAEvBQAABwQAAAAAAAAAAAAADzsEAAABAAAACJ4CAAABQAQAAHgAAAAKCgAAAAAAAAAADQAAAAAAAUEEAAB4AAAACgoAAAAAAAAAAA0AAAAAAQdCBAAAAAEAAAAEAAAABB1BcGxvcmlzLkJhc2UuT2JqZWN0cy5WYXJpYWJsZQMAAAABMAUAAAcEAAABAAAAAAAAAAExBQAABwQAAAAAAAAAAAAAATIFAAAHBAAAAAAAAAAAAAABMwUAAAcEAAAAAAAAAAAAAA9DBAAAAQAAAAiiAgAAAUgEAAB4AAAACgoAAAAAAAAAAA0AAAAAAAFJBAAAeAAAAAoKAAAAAAAAAAANAAAAAAEHSgQAAAABAAAABAAAAAQdQXBsb3Jpcy5CYXNlLk9iamVjdHMuVmFyaWFibGUDAAAAATQFAAAHBAAAAQAAAAAAAAABNQUAAAcEAAAAAAAAAAAAAAE2BQAABwQAAAAAAAAAAAAAATcFAAAHBAAAAAAAAAAAAAAPSwQAAAEAAAAInAIAAAFQBAAAeAAAAAoKAAAAAAAAAAANAAAAAAABUQQAAHgAAAAKCgAAAAAAAAAADQAAAAABB1IEAAAAAQAAAAQAAAAEHUFwbG9yaXMuQmFzZS5PYmplY3RzLlZhcmlhYmxlAwAAAAE4BQAABwQAAAEAAAAAAAAAATkFAAAHBAAAAAAAAAAAAAABOgUAAAcEAAAAAAAAAAAAAAE7BQAABwQAAAAAAAAAAAAAD1MEAAABAAAACJ0CAAABWAQAAHgAAAAKCgAAAAAAAAAADQAAAAAAAVkEAAB4AAAACgoAAAAAAAAAAA0AAAAAAQdaBAAAAAEAAAAEAAAABB1BcGxvcmlzLkJhc2UuT2JqZWN0cy5WYXJpYWJsZQMAAAABPAUAAAcEAAABAAAAAAAAAAE9BQAABwQAAAAAAAAAAAAAAT4FAAAHBAAAAAAAAAAAAAABPwUAAAcEAAAAAAAAAAAAAA9bBAAAAQAAAAihAgAAAWAEAAB4AAAACgoAAAAAAAAAAA0AAAAAAAFhBAAAeAAAAAoKAQAAAAAAAAD/////AAEHYgQAAAABAAAABAAAAAQdQXBsb3Jpcy5CYXNlLk9iamVjdHMuVmFyaWFibGUDAAAAAUAFAAAHBAAAAQAAAAAAAAABQQUAAAcEAAAAAAAAAAAAAAFCBQAABwQAAAAAAAAAAAAAAUMFAAAHBAAAAAAAAAAAAAAPYwQAAAEAAAAIcwIAAAFkBAAAeAAAAAoKAAAAAP///wAOAAAAAAAFZQQAABpBcGxvcmlzLkJhc2UuT2JqZWN0cy5Db2xvcgcAAAASRGF0YU9iamVjdCttUGFyZW50FURhdGFPYmplY3QrbUNvbnRhaW5lcgVtVHlwZQRtUkdCEG1UaGVtZUNvbG9ySW5kZXgMbUF1dG9VcGRhdGVkCW1Nb2RpZmllZAQCAAAAAAAfQXBsb3Jpcy5CYXNlLk9iamVjdHMuTGluZUZvcm1hdAMAAAAICAgBAQMAAAAJlgMAAAoBAAAAAAAAAP////8AAQFmBAAAeAAAAAoKAAAAAD9pfgAFAAAAAAABZwQAAHgAAAAKCgEAAAAAAAAA/////wABD2gEAAABAAAACHQCAAABaQQAAHgAAAAKCgAAAAAAAAAADQAAAAAAAWoEAAB4AAAACgoBAAAAAAAAAP////8AAQdrBAAAAAEAAAAEAAAABB1BcGxvcmlzLkJhc2UuT2JqZWN0cy5WYXJpYWJsZQMAAAABRAUAAAcEAAABAAAAAAAAAAFFBQAABwQAAAAAAAAAAAAAAUYFAAAHBAAAAAAAAAAAAAABRwUAAAcEAAAAAAAAAAAAAA9sBAAAAQAAAAhOAgAAAW0EAAB4AAAACgoAAAAA////AA4AAAAAAAVuBAAAGkFwbG9yaXMuQmFzZS5PYmplY3RzLkNvbG9yBwAAABJEYXRhT2JqZWN0K21QYXJlbnQVRGF0YU9iamVjdCttQ29udGFpbmVyBW1UeXBlBG1SR0IQbVRoZW1lQ29sb3JJbmRleAxtQXV0b1VwZGF0ZWQJbU1vZGlmaWVkBAIAAAAAAB9BcGxvcmlzLkJhc2UuT2JqZWN0cy5MaW5lRm9ybWF0AwAAAAgICAEBAwAAAAmpAwAACgEAAAAAAAAA/////wABAW8EAAB4AAAACgoAAAAAcoSMAAYAAAAAAAFwBAAAeAAAAAoKAQAAAAAAAAD/////AAEPcQQAAAEAAAAIUwIAAAGeBAAALwEAAApYAgAAAUgFAADCAQAAAgAAAAFJBQAAwwEAAAEAAAABSgUAABUAAAA+8d1CF68ZQ5hoD0JCdfVCAUsFAADFAQAAAAAAAAAAoEAAAUwFAAAhAAAAsuUAQ2gMV0MBTQUAAKAAAAAAAAAAAAAAAAAAAAAACU4FAAAAAAAACU8FAAAAAAFQBQAAqQAAAAAAAAABUQUAAHIAAAAAALhBAABAQQFSBQAAFQAAAKOL6kIAAFJDNBa/QaOLLkESg74/BlMFAAADNTglCglUBQAACc4BAAA0AwAA/////wEBCglVBQAAAQAKAAGfBAAAHAAAAAFWBQAAIQAAAD7x10LctItDAVcFAAAhAAAAxdIVQxevFkMJWAUAAAlZBQAAAAAAAAoBWgUAAHIAAAAAAAAAAAAAAAFbBQAAcgAAAAAAAAAAAAAAAAAAAAFcBQAAFQAAAAAAAAAAAAAAAAAAAAAAAACkAQAA/////wEBCgldBQAAAQAKAAegBAAAAAEAAAACAAAABBpBcGxvcmlzLkJhc2UuVUkuVmlzdWFsTGluZQMAAAAKCgehBAAAAAEAAAADAAAABBVTeXN0ZW0uRHJhd2luZy5Qb2ludEYEAAAAAV4FAAAhAAAAsuUAQ2gMV0MBXwUAACEAAAA+8dFCaAxXQwFgBQAAIQAAAMXSGENoDFdDB6IEAAAAAQAAAAMAAAAEF0FwbG9yaXMuQmFzZS5BbmNob3JNb2RlAwAAAAFhBQAAoAAAAAAAAAABYgUAAKAAAAACAAAAAWMFAACgAAAABAAAAAGjBAAAJQAAAAmcAwAAAAAAAAAAAAABpAQAACYAAAAJZAUAAAIAAAACAAAAAaUEAAAvAQAAClgCAAABZQUAAMIBAAACAAAAAWYFAADDAQAAAQAAAAFnBQAAFQAAAEPvMUOVkzxDmGgPQkasr0IBaAUAAMUBAAAAAAAAAACgQAABaQUAACEAAABW3ENDpn5oQwFqBQAAoAAAAAAAAAAAAAAAAAAAAAAJawUAAAAAAAAJbAUAAAAAAW0FAACpAAAAAAAAAAFuBQAAcgAAAAAAuEEAAEBBAW8FAAAVAAAA6KI3Q9FFY0M0Fr9Bo4suQRKDvj8GcAUAAAM0MiUKCXEFAAAJzgEAADQDAAD/////AQEKCXIFAAABAAoAAaYEAAAcAAAAAXMFAAAhAAAAQ+8uQ9y0i0MBdAUAACEAAABpyVhDlZM5Qwl1BQAACXYFAAAAAAAACgF3BQAAcgAAAAAAAAAAAAAAAXgFAAByAAAAAAAAAAAAAAAAAAAAAXkFAAAVAAAAAAAAAAAAAAAAAAAAAAAAAKQBAAD/////AQEKCXoFAAABAAoAB6cEAAAAAQAAAAIAAAAEGkFwbG9yaXMuQmFzZS5VSS5WaXN1YWxMaW5lAwAAAAoKB6gEAAAAAQAAAAMAAAAEFVN5c3RlbS5EcmF3aW5nLlBvaW50RgQAAAABewUAACEAAABW3ENDpn5oQwF8BQAAIQAAAEPvK0OmfmhDAX0FAAAhAAAAaclbQ6Z+aEMHqQQAAAABAAAAAwAAAAQXQXBsb3Jpcy5CYXNlLkFuY2hvck1vZGUDAAAAAX4FAACgAAAAAAAAAAF/BQAAoAAAAAIAAAABgAUAAKAAAAAEAAAAAaoEAAAlAAAACZwDAAAAAAAAAAAAAAGrBAAAJgAAAAmBBQAAAgAAAAIAAAABrAQAAC8BAAAKWAIAAAGCBQAAwgEAAAIAAAABgwUAAMMBAAABAAAAAYQFAAAVAAAA5+V0Qw1pXEOcaA9CrAJgQgGFBQAAxQEAAAAAAAAAAKBAAAGGBQAAIQAAAH1pg0NiaXhDAYcFAACgAAAAAAAAAAAAAAAAAAAAAAmIBQAAAAAAAAmJBQAAAAABigUAAKkAAAAAAAAAAYsFAAByAAAAAAC4QQAAQEEBjAUAABUAAAC66HpDLrpyQzQWv0Gjiy5BEoO+PwaNBQAAAzI4JQoJjgUAAAnOAQAANAMAAP////8BAQoJjwUAAAEACgABrQQAABwAAAABkAUAACEAAADn5XFD3LSLQwGRBQAAIQAAAAfgjUMNaVlDCZIFAAAJkwUAAAAAAAAKAZQFAAByAAAAAAAAAAAAAAABlQUAAHIAAAAAAAAAAAAAAAAAAAABlgUAABUAAAAAAAAAAAAAAAAAAAAAAAAApAEAAP////8BAQoJlwUAAAEACgAHrgQAAAABAAAAAgAAAAQaQXBsb3Jpcy5CYXNlLlVJLlZpc3VhbExpbmUDAAAACgoHrwQAAAABAAAAAwAAAAQVU3lzdGVtLkRyYXdpbmcuUG9pbnRGBAAAAAGYBQAAIQAAAH1pg0NiaXhDAZkFAAAhAAAA5+VuQ2JpeEMBmgUAACEAAAAHYI9DYml4QwewBAAAAAEAAAADAAAABBdBcGxvcmlzLkJhc2UuQW5jaG9yTW9kZQMAAAABmwUAAKAAAAAAAAAAAZwFAACgAAAAAgAAAAGdBQAAoAAAAAQAAAABsQQAACUAAAAJnAMAAAAAAAAAAAAAAbIEAAAmAAAACZ4FAAACAAAAAgAAAAGzBAAALwEAAApYAgAAAZ8FAADCAQAAAgAAAAGgBQAAwwEAAAEAAAABoQUAABUAAABF7ptDKrlrQ6BoD0I4wiJCAaIFAADFAQAAAAAAAAAAoEAAAaMFAAAhAAAAz+SkQ7gIgEMBpAUAAKAAAAAAAAAAAAAAAAAAAAAACaUFAAAAAAAACaYFAAAAAAGnBQAAqQAAAAAAAAABqAUAAHIAAAAAALhBAABAQQGpBQAAFQAAAEYXn0O66HpDNBa/QaOLLkESg74/BqoFAAADMjElCgmrBQAACc4BAAA0AwAA/////wEBCgmsBQAAAQAKAAG0BAAAHAAAAAGtBQAAIQAAAEVumkPctItDAa4FAAAhAAAAWVuvQyq5aEMJrwUAAAmwBQAAAAAAAAoBsQUAAHIAAAAAAAAAAAAAAAGyBQAAcgAAAAAAAAAAAAAAAAAAAAGzBQAAFQAAAAAAAAAAAAAAAAAAAAAAAACkAQAA/////wEBCgm0BQAAAQAKAAe1BAAAAAEAAAACAAAABBpBcGxvcmlzLkJhc2UuVUkuVmlzdWFsTGluZQMAAAAKCge2BAAAAAEAAAADAAAABBVTeXN0ZW0uRHJhd2luZy5Qb2ludEYEAAAAAbUFAAAhAAAAz+SkQ7gIgEMBtgUAACEAAABF7phDuAiAQwG3BQAAIQAAAFnbsEO4CIBDB7cEAAAAAQAAAAMAAAAEF0FwbG9yaXMuQmFzZS5BbmNob3JNb2RlAwAAAAG4BQAAoAAAAAAAAAABuQUAAKAAAAACAAAAAboFAACgAAAABAAAAAG4BAAAJQAAAAmcAwAAAAAAAAAAAAABuQQAACYAAAAJuwUAAAIAAAACAAAAAboEAAAvAQAAClgCAAABvAUAAMIBAAACAAAAAb0FAADDAQAAAQAAAAG+BQAAFQAAAJdpvUMLDGxDoGgPQrR2IUIBvwUAAMUBAAAAAAAAAACgQAABwAUAACEAAAAhYMZDcR2AQwHBBQAAoAAAAAAAAAAAAAAAAAAAAAAJwgUAAAAAAAAJwwUAAAAAAcQFAACpAAAAAAAAAAHFBQAAcgAAAAAAuEEAAEBBAcYFAAAVAAAA0UXAQ7roekM0Fr9Bo4suQRKDvj8GxwUAAAMyMSUKCcgFAAAJzgEAADQDAAD/////AQEKCckFAAABAAoAAbsEAAAcAAAAAcoFAAAhAAAAl+m7Q9y0i0MBywUAACEAAACr1tBDCwxpQwnMBQAACc0FAAAAAAAACgHOBQAAcgAAAAAAAAAAAAAAAc8FAAByAAAAAAAAAAAAAAAAAAAAAdAFAAAVAAAAAAAAAAAAAAAAAAAAAAAAAKQBAAD/////AQEKCdEFAAABAAoAB7wEAAAAAQAAAAIAAAAEGkFwbG9yaXMuQmFzZS5VSS5WaXN1YWxMaW5lAwAAAAoKB70EAAAAAQAAAAMAAAAEFVN5c3RlbS5EcmF3aW5nLlBvaW50RgQAAAAB0gUAACEAAAAhYMZDcR2AQwHTBQAAIQAAAJdpukNxHYBDAdQFAAAhAAAAq1bSQ3EdgEMHvgQAAAABAAAAAwAAAAQXQXBsb3Jpcy5CYXNlLkFuY2hvck1vZGUDAAAAAdUFAACgAAAAAAAAAAHWBQAAoAAAAAIAAAAB1wUAAKAAAAAEAAAAAb8EAAAlAAAACZwDAAAAAAAAAAAAAAHABAAAJgAAAAnYBQAAAgAAAAIAAAABwQQAAC8BAAAKWAIAAAHZBQAAwgEAAAIAAAAB2gUAAMMBAAABAAAAAdsFAAAVAAAA6eTeQybHcEOgaA9CSIoOQgHcBQAAxQEAAAAAAAAAAKBAAAHdBQAAIQAAAHPb50M4TIFDAd4FAACgAAAAAAAAAAAAAAAAAAAAAAnfBQAAAAAAAAngBQAAAAAB4QUAAKkAAAAAAAAAAeIFAAByAAAAAAC4QQAAQEEB4wUAABUAAAC66OFDLrp8QzQWv0Gjiy5BEoO+PwbkBQAAAzE5JQoJ5QUAAAnOAQAANAMAAP////8BAQoJ5gUAAAEACgABwgQAABwAAAAB5wUAACEAAADpZN1D3LSLQwHoBQAAIQAAAP1R8kMmx21DCekFAAAJ6gUAAAAAAAAKAesFAAByAAAAAAAAAAAAAAAB7AUAAHIAAAAAAAAAAAAAAAAAAAAB7QUAABUAAAAAAAAAAAAAAAAAAAAAAAAApAEAAP////8BAQoJ7gUAAAEACgAHwwQAAAABAAAAAgAAAAQaQXBsb3Jpcy5CYXNlLlVJLlZpc3VhbExpbmUDAAAACgoHxAQAAAABAAAAAwAAAAQVU3lzdGVtLkRyYXdpbmcuUG9pbnRGBAAAAAHvBQAAIQAAAHPb50M4TIFDAfAFAAAhAAAA6eTbQzhMgUMB8QUAACEAAAD90fNDOEyBQwfFBAAAAAEAAAADAAAABBdBcGxvcmlzLkJhc2UuQW5jaG9yTW9kZQMAAAAB8gUAAKAAAAAAAAAAAfMFAACgAAAAAgAAAAH0BQAAoAAAAAQAAAABxgQAACUAAAAJnAMAAAAAAAAAAAAAAccEAAAmAAAACfUFAAACAAAABgAAAAHIBAAALwEAAApYAgAAAfYFAADCAQAAAgAAAAH3BQAAwwEAAAEAAAAB+AUAABUAAAAdMABEHIh2Q6BoD0LgDO9BAfkFAADFAQAAAAAAAAAAoEAAAfoFAAAhAAAAYqsERHW8gkMB+wUAAKAAAAAAAAAAAAAAAAAAAAAACfwFAAAAAAAACf0FAAAAAAH+BQAAqQAAAAAAAAAB/wUAAHIAAAAAALhBAABAQQEABgAAFQAAANHFAUSLLoBDNBa/QaOLLkESg74/BgEGAAADMTYlCgkCBgAACc4BAAA0AwAA/////wEBCgkDBgAAAQAKAAHJBAAAHAAAAAEEBgAAIQAAADrg/kPctItDAQUGAAAhAAAAp+YJRByIc0MJBgYAAAkHBgAAAAAAAAoBCAYAAHIAAAAAAAAAAAAAAAEJBgAAcgAAAAAAAAAAAAAAAAAAAAEKBgAAFQAAAAAAAAAAAAAAAAAAAAAAAACkAQAA/////wEBCgkLBgAAAQAKAAfKBAAAAAEAAAACAAAABBpBcGxvcmlzLkJhc2UuVUkuVmlzdWFsTGluZQMAAAAKCgfLBAAAAAEAAAADAAAABBVTeXN0ZW0uRHJhd2luZy5Qb2ludEYEAAAAAQwGAAAhAAAAYqsERHW8gkMBDQYAACEAAAA6YP1DdbyCQwEOBgAAIQAAAKemCkR1vIJDB8wEAAAAAQAAAAMAAAAEF0FwbG9yaXMuQmFzZS5BbmNob3JNb2RlAwAAAAEPBgAAoAAAAAAAAAABEAYAAKAAAAACAAAAAREGAACgAAAABAAAAAHNBAAAJQAAAAk6AgAAAAAAAAAAAAABzgQAACYAAAAJEgYAAAIAAAACAAAAAc8EAAAvAQAAClgCAAABEwYAAMIBAAACAAAAARQGAADDAQAAAQAAAAEVBgAAFQAAAMftEEQaOHdDoGgPQvCM6UEBFgYAAMUBAAAAAAAAAACgQAABFwYAACEAAAAMaRVEdOiCQwEYBgAAoAAAAAAAAAAAAAAAAAAAAAAJGQYAAAAAAAAJGgYAAAAAARsGAACpAAAAAAAAAAEcBgAAcgAAAAAAuEEAAEBBAR0GAAAVAAAAF10SRIsugEM0Fr9Bo4suQRKDvj8GHgYAAAMxNiUKCR8GAAAJzgEAADQDAAD/////AQEKCSAGAAABAAoAAdAEAAAcAAAAASEGAAAhAAAAxy0QRNy0i0MBIgYAACEAAABRpBpEGjh0QwkjBgAACSQGAAAAAAAACgElBgAAcgAAAAAAAAAAAAAAASYGAAByAAAAAAAAAAAAAAAAAAAAAScGAAAVAAAAAAAAAAAAAAAAAAAAAAAAAKQBAAD/////AQEKCSgGAAABAAoAB9EEAAAAAQAAAAIAAAAEGkFwbG9yaXMuQmFzZS5VSS5WaXN1YWxMaW5lAwAAAAoKB9IEAAAAAQAAAAMAAAAEFVN5c3RlbS5EcmF3aW5nLlBvaW50RgQAAAABKQYAACEAAAAMaRVEdOiCQwEqBgAAIQAAAMdtD0R06IJDASsGAAAhAAAAUWQbRHTogkMH0wQAAAABAAAAAwAAAAQXQXBsb3Jpcy5CYXNlLkFuY2hvck1vZGUDAAAAASwGAACgAAAAAAAAAAEtBgAAoAAAAAIAAAABLgYAAKAAAAAEAAAAAdQEAAAlAAAACZwDAAAAAAAAAAAAAAHVBAAAJgAAAAkvBgAAAgAAAAYAAAAB1gQAAC8BAAAKWAIAAAEwBgAAwgEAAAIAAAABMQYAAMMBAAABAAAAATIGAAAVAAAAb6shRAG8iEOgaA9CgG08QAEzBgAAxQEAAAAAAAAAAKBAAAE0BgAAIQAAALQmJkRueIlDATUGAACgAAAAAAAAAAAAAAAAAAAAAAk2BgAAAAAAAAk3BgAAAQABOAYAAKkAAAAAAAAAATkGAAByAAAAAACAQQAAQEEBOgYAABUAAAAX3SNEo4uGQ3otjEGjiy5BEoO+PwY7BgAAAjQlCgk8BgAACc4BAAA0AwAA/////wEBCgk9BgAAAQAKAAHXBAAAHAAAAAE+BgAAIQAAAG/rIETctItDAT8GAAAhAAAA+WErRAE8h0MJQAYAAAlBBgAAAAAAAAoBQgYAAHIAAAAAAAAAAAAAAAFDBgAAcgAAAAAAAAAAAAAAAAAAAAFEBgAAFQAAAAAAAAAAAAAAAAAAAAAAAACkAQAA/////wEBCglFBgAAAQAKAAfYBAAAAAEAAAACAAAABBpBcGxvcmlzLkJhc2UuVUkuVmlzdWFsTGluZQMAAAAKCgfZBAAAAAEAAAADAAAABBVTeXN0ZW0uRHJhd2luZy5Qb2ludEYEAAAAAUYGAAAhAAAAtCYmRG54iUMBRwYAACEAAABvKyBEbniJQwFIBgAAIQAAAPkhLERueIlDB9oEAAAAAQAAAAMAAAAEF0FwbG9yaXMuQmFzZS5BbmNob3JNb2RlAwAAAAFJBgAAoAAAAAAAAAABSgYAAKAAAAACAAAAAUsGAACgAAAABAAAAAHbBAAAJQAAAAmcAwAAAAAAAAAAAAAB3AQAACYAAAAJTAYAAAIAAAACAAAAAd0EAAAvAQAAClgCAAABTQYAAMIBAAACAAAAAU4GAADDAQAAAQAAAAFPBgAAFQAAAD7x3ULkAZBCmGgPQkpcl0IBUAYAAMUBAAAAAAAAAACgQAABUQYAACEAAACy5QBDCbDbQgFSBgAAoAAAAAAAAAAAAAAAAAAAAAAJUwYAAAAAAAAJVAYAAAAAAVUGAACpAAAAAAAAAAFWBgAAcgAAAAAAuEEAAEBBAVcGAAAVAAAAo4vqQkYX0UI0Fr9Bo4suQRKDvj8GWAYAAAMzNyUKCVkGAAAJzgEAADQDAAD/////AQEKCVoGAAABAAoAAd4EAAAcAAAAAVsGAAAhAAAAPvHXQhevFkMBXAYAACEAAADF0hVD5AGKQgldBgAACV4GAAAAAAAACgFfBgAAcgAAAAAAAAAAAAAAAWAGAAByAAAAAAAAAAAAAAAAAAAAAWEGAAAVAAAAAAAAAAAAAAAAAAAAAAAAAKQBAAD/////AQEKCWIGAAABAAoAB98EAAAAAQAAAAIAAAAEGkFwbG9yaXMuQmFzZS5VSS5WaXN1YWxMaW5lAwAAAAoKB+AEAAAAAQAAAAMAAAAEFVN5c3RlbS5EcmF3aW5nLlBvaW50RgQAAAABYwYAACEAAACy5QBDCbDbQgFkBgAAIQAAAD7x0UIJsNtCAWUGAAAhAAAAxdIYQwmw20IH4QQAAAABAAAAAwAAAAQXQXBsb3Jpcy5CYXNlLkFuY2hvck1vZGUDAAAAAWYGAACgAAAAAAAAAAFnBgAAoAAAAAIAAAABaAYAAKAAAAAEAAAAAeIEAAAlAAAACa8DAAAAAAAAAAAAAAHjBAAAJgAAAAlpBgAAAgAAAAIAAAAB5AQAAC8BAAAKWAIAAAFqBgAAwgEAAAIAAAABawYAAMMBAAABAAAAAWwGAAAVAAAAQ+8xQxcHmUKYaA9CEyDUQgFtBgAAxQEAAAAAAAAAAKBAAAFuBgAAIQAAAFbcQ0OQiwFDAW8GAACgAAAAAAAAAAAAAAAAAAAAAAlwBgAAAAAAAAlxBgAAAAABcgYAAKkAAAAAAAAAAXMGAAByAAAAAAC4QQAAQEEBdAYAABUAAADoojdD0UX3QjQWv0Gjiy5BEoO+PwZ1BgAAAzUwJQoJdgYAAAnOAQAANAMAAP////8BAQoJdwYAAAEACgAB5QQAABwAAAABeAYAACEAAABD7y5DlZM5QwF5BgAAIQAAAGnJWEMXB5NCCXoGAAAJewYAAAAAAAAKAXwGAAByAAAAAAAAAAAAAAABfQYAAHIAAAAAAAAAAAAAAAAAAAABfgYAABUAAAAAAAAAAAAAAAAAAAAAAAAApAEAAP////8BAQoJfwYAAAEACgAH5gQAAAABAAAAAgAAAAQaQXBsb3Jpcy5CYXNlLlVJLlZpc3VhbExpbmUDAAAACgoH5wQAAAABAAAAAwAAAAQVU3lzdGVtLkRyYXdpbmcuUG9pbnRGBAAAAAGABgAAIQAAAFbcQ0OQiwFDAYEGAAAhAAAAQ+8rQ5CLAUMBggYAACEAAABpyVtDkIsBQwfoBAAAAAEAAAADAAAABBdBcGxvcmlzLkJhc2UuQW5jaG9yTW9kZQMAAAABgwYAAKAAAAAAAAAAAYQGAACgAAAAAgAAAAGFBgAAoAAAAAQAAAAB6QQAACUAAAAJrwMAAAAAAAAAAAAAAeoEAAAmAAAACYYGAAACAAAAAgAAAAHrBAAALwEAAApYAgAAAYcGAADCAQAAAgAAAAGIBgAAwwEAAAEAAAABiQYAABUAAADn5XRD7c+8QpxoD0ItAvBCAYoGAADFAQAAAAAAAAAAoEAAAYsGAAAhAAAAfWmDQ4JoGkMBjAYAAKAAAAAAAAAAAAAAAAAAAAAACY0GAAAAAAAACY4GAAAAAAGPBgAAqQAAAAAAAAABkAYAAHIAAAAAALhBAABAQQGRBgAAFQAAALroekNGFxVDNBa/QaOLLkESg74/BpIGAAADNTYlCgmTBgAACc4BAAA0AwAA/////wEBCgmUBgAAAQAKAAHsBAAAHAAAAAGVBgAAIQAAAOflcUMNaVlDAZYGAAAhAAAAB+CNQ+3PtkIJlwYAAAmYBgAAAAAAAAoBmQYAAHIAAAAAAAAAAAAAAAGaBgAAcgAAAAAAAAAAAAAAAAAAAAGbBgAAFQAAAAAAAAAAAAAAAAAAAAAAAACkAQAA/////wEBCgmcBgAAAQAKAAftBAAAAAEAAAACAAAABBpBcGxvcmlzLkJhc2UuVUkuVmlzdWFsTGluZQMAAAAKCgfuBAAAAAEAAAADAAAABBVTeXN0ZW0uRHJhd2luZy5Qb2ludEYEAAAAAZ0GAAAhAAAAfWmDQ4JoGkMBngYAACEAAADn5W5DgmgaQwGfBgAAIQAAAAdgj0OCaBpDB+8EAAAAAQAAAAMAAAAEF0FwbG9yaXMuQmFzZS5BbmNob3JNb2RlAwAAAAGgBgAAoAAAAAAAAAABoQYAAKAAAAACAAAAAaIGAACgAAAABAAAAAHwBAAAJQAAAAmvAwAAAAAAAAAAAAAB8QQAACYAAAAJowYAAAIAAAACAAAAAfIEAAAvAQAAClgCAAABpAYAAMIBAAACAAAAAaUGAADDAQAAAQAAAAGmBgAAFQAAAEXum0MYN/tCoGgPQjw70EIBpwYAAMUBAAAAAAAAAACgQAABqAYAACEAAADP5KRDW6oxQwGpBgAAoAAAAAAAAAAAAAAAAAAAAAAJqgYAAAAAAAAJqwYAAAAAAawGAACpAAAAAAAAAAGtBgAAcgAAAAAAuEEAAEBBAa4GAAAVAAAARhefQ3TRK0M0Fr9Bo4suQRKDvj8GrwYAAAM0OSUKCbAGAAAJzgEAADQDAAD/////AQEKCbEGAAABAAoAAfMEAAAcAAAAAbIGAAAhAAAARW6aQyq5aEMBswYAACEAAABZW69DGDf1Qgm0BgAACbUGAAAAAAAACgG2BgAAcgAAAAAAAAAAAAAAAbcGAAByAAAAAAAAAAAAAAAAAAAAAbgGAAAVAAAAAAAAAAAAAAAAAAAAAAAAAKQBAAD/////AQEKCbkGAAABAAoAB/QEAAAAAQAAAAIAAAAEGkFwbG9yaXMuQmFzZS5VSS5WaXN1YWxMaW5lAwAAAAoKB/UEAAAAAQAAAAMAAAAEFVN5c3RlbS5EcmF3aW5nLlBvaW50RgQAAAABugYAACEAAADP5KRDW6oxQwG7BgAAIQAAAEXumENbqjFDAbwGAAAhAAAAWduwQ1uqMUMH9gQAAAABAAAAAwAAAAQXQXBsb3Jpcy5CYXNlLkFuY2hvck1vZGUDAAAAAb0GAACgAAAAAAAAAAG+BgAAoAAAAAIAAAABvwYAAKAAAAAEAAAAAfcEAAAlAAAACa8DAAAAAAAAAAAAAAH4BAAAJgAAAAnABgAAAgAAAAIAAAAB+QQAAC8BAAAKWAIAAAHBBgAAwgEAAAIAAAABwgYAAMMBAAABAAAAAcMGAAAVAAAAl2m9QwVSE0OgaA9CDHSlQgHEBgAAxQEAAAAAAAAAAKBAAAHFBgAAIQAAACFgxkMIrzxDAcYGAACgAAAAAAAAAAAAAAAAAAAAAAnHBgAAAAAAAAnIBgAAAAAByQYAAKkAAAAAAAAAAcoGAAByAAAAAAC4QQAAQEEBywYAABUAAADRRcBD6KI3QzQWv0Gjiy5BEoO+PwbMBgAAAzQwJQoJzQYAAAnOAQAANAMAAP////8BAQoJzgYAAAEACgAB+gQAABwAAAABzwYAACEAAACX6btDCwxpQwHQBgAAIQAAAKvW0EMFUhBDCdEGAAAJ0gYAAAAAAAAKAdMGAAByAAAAAAAAAAAAAAAB1AYAAHIAAAAAAAAAAAAAAAAAAAAB1QYAABUAAAAAAAAAAAAAAAAAAAAAAAAApAEAAP////8BAQoJ1gYAAAEACgAH+wQAAAABAAAAAgAAAAQaQXBsb3Jpcy5CYXNlLlVJLlZpc3VhbExpbmUDAAAACgoH/AQAAAABAAAAAwAAAAQVU3lzdGVtLkRyYXdpbmcuUG9pbnRGBAAAAAHXBgAAIQAAACFgxkMIrzxDAdgGAAAhAAAAl2m6QwivPEMB2QYAACEAAACrVtJDCK88Qwf9BAAAAAEAAAADAAAABBdBcGxvcmlzLkJhc2UuQW5jaG9yTW9kZQMAAAAB2gYAAKAAAAAAAAAAAdsGAACgAAAAAgAAAAHcBgAAoAAAAAQAAAAB/gQAACUAAAAJrwMAAAAAAAAAAAAAAf8EAAAmAAAACd0GAAACAAAAAgAAAAEABQAALwEAAApYAgAAAd4GAADCAQAAAgAAAAHfBgAAwwEAAAEAAAAB4AYAABUAAADp5N5DclYEQ6BoD0Jo4cxCAeEGAADFAQAAAAAAAAAAoEAAAeIGAAAhAAAAc9vnQ8yON0MB4wYAAKAAAAAAAAAAAAAAAAAAAAAACeQGAAAAAAAACeUGAAAAAAHmBgAAqQAAAAAAAAAB5wYAAHIAAAAAALhBAABAQQHoBgAAFQAAALro4UOLLjJDNBa/QaOLLkESg74/BukGAAADNDklCgnqBgAACc4BAAA0AwAA/////wEBCgnrBgAAAQAKAAEBBQAAHAAAAAHsBgAAIQAAAOlk3UMmx21DAe0GAAAhAAAA/VHyQ3JWAUMJ7gYAAAnvBgAAAAAAAAoB8AYAAHIAAAAAAAAAAAAAAAHxBgAAcgAAAAAAAAAAAAAAAAAAAAHyBgAAFQAAAAAAAAAAAAAAAAAAAAAAAACkAQAA/////wEBCgnzBgAAAQAKAAcCBQAAAAEAAAACAAAABBpBcGxvcmlzLkJhc2UuVUkuVmlzdWFsTGluZQMAAAAKCgcDBQAAAAEAAAADAAAABBVTeXN0ZW0uRHJhd2luZy5Qb2ludEYEAAAAAfQGAAAhAAAAc9vnQ8yON0MB9QYAACEAAADp5NtDzI43QwH2BgAAIQAAAP3R80PMjjdDBwQFAAAAAQAAAAMAAAAEF0FwbG9yaXMuQmFzZS5BbmNob3JNb2RlAwAAAAH3BgAAoAAAAAAAAAAB+AYAAKAAAAACAAAAAfkGAACgAAAABAAAAAEFBQAAJQAAAAmvAwAAAAAAAAAAAAABBgUAACYAAAAJ+gYAAAIAAAAGAAAAAQcFAAAvAQAAClgCAAAB+wYAAMIBAAACAAAAAfwGAADDAQAAAQAAAAH9BgAAFQAAAB0wAETxz/RCoGgPQkdA7EIB/gYAAMUBAAAAAAAAAACgQAAB/wYAACEAAABiqwRECng1QwEABwAAoAAAAAAAAAAAAAAAAAAAAAAJAQcAAAAAAAAJAgcAAAAAAQMHAACpAAAAAAAAAAEEBwAAcgAAAAAAuEEAAEBBAQUHAAAVAAAA0cUBRBddMEM0Fr9Bo4suQRKDvj8GBgcAAAM1NiUKCQcHAAAJzgEAADQDAAD/////AQEKCQgHAAABAAoAAQgFAAAcAAAAAQkHAAAhAAAAOuD+QxyIc0MBCgcAACEAAACn5glE8c/uQgkLBwAACQwHAAAAAAAACgENBwAAcgAAAAAAAAAAAAAAAQ4HAAByAAAAAAAAAAAAAAAAAAAAAQ8HAAAVAAAAAAAAAAAAAAAAAAAAAAAAAKQBAAD/////AQEKCRAHAAABAAoABwkFAAAAAQAAAAIAAAAEGkFwbG9yaXMuQmFzZS5VSS5WaXN1YWxMaW5lAwAAAAoKBwoFAAAAAQAAAAMAAAAEFVN5c3RlbS5EcmF3aW5nLlBvaW50RgQAAAABEQcAACEAAABiqwRECng1QwESBwAAIQAAADpg/UMKeDVDARMHAAAhAAAAp6YKRAp4NUMHCwUAAAABAAAAAwAAAAQXQXBsb3Jpcy5CYXNlLkFuY2hvck1vZGUDAAAAARQHAACgAAAAAAAAAAEVBwAAoAAAAAIAAAABFgcAAKAAAAAEAAAAAQwFAAAlAAAACToCAAAAAAAAAAAAAAENBQAAJgAAAAkXBwAAAgAAAAIAAAABDgUAAC8BAAAKWAIAAAEYBwAAwgEAAAIAAAABGQcAAMMBAAABAAAAARoHAAAVAAAAx+0QRPaz+kKgaA9CPrznQgEbBwAAxQEAAAAAAAAAAKBAAAEcBwAAIQAAAAxpFUQKSTdDAR0HAACgAAAAAAAAAAAAAAAAAAAAAAkeBwAAAAAAAAkfBwAAAAABIAcAAKkAAAAAAAAAASEHAAByAAAAAAC4QQAAQEEBIgcAABUAAAAXXRJEiy4yQzQWv0Gjiy5BEoO+PwYjBwAAAzU1JQoJJAcAAAnOAQAANAMAAP////8BAQoJJQcAAAEACgABDwUAABwAAAABJgcAACEAAADHLRBEGjh0QwEnBwAAIQAAAFGkGkT2s/RCCSgHAAAJKQcAAAAAAAAKASoHAAByAAAAAAAAAAAAAAABKwcAAHIAAAAAAAAAAAAAAAAAAAABLAcAABUAAAAAAAAAAAAAAAAAAAAAAAAApAEAAP////8BAQoJLQcAAAEACgAHEAUAAAABAAAAAgAAAAQaQXBsb3Jpcy5CYXNlLlVJLlZpc3VhbExpbmUDAAAACgoHEQUAAAABAAAAAwAAAAQVU3lzdGVtLkRyYXdpbmcuUG9pbnRGBAAAAAEuBwAAIQAAAAxpFUQKSTdDAS8HAAAhAAAAx20PRApJN0MBMAcAACEAAABRZBtECkk3QwcSBQAAAAEAAAADAAAABBdBcGxvcmlzLkJhc2UuQW5jaG9yTW9kZQMAAAABMQcAAKAAAAAAAAAAATIHAACgAAAAAgAAAAEzBwAAoAAAAAQAAAABEwUAACUAAAAJrwMAAAAAAAAAAAAAARQFAAAmAAAACTQHAAACAAAABgAAAAEVBQAALwEAAApYAgAAATUHAADCAQAAAgAAAAE2BwAAwwEAAAEAAAABNwcAABUAAABvqyFEuaNKQ6BoD0KSqIFCATgHAADFAQAAAAAAAAAAoEAAATkHAAAhAAAAtCYmRN4Na0MBOgcAAKAAAAAAAAAAAAAAAAAAAAAACTsHAAAAAAAACTwHAAAAAAE9BwAAqQAAAAAAAAABPgcAAHIAAAAAALhBAABAQQE/BwAAFQAAAIsuI0QAAGZDNBa/QaOLLkESg74/BkAHAAADMzIlCglBBwAACc4BAAA0AwAA/////wEBCglCBwAAAQAKAAEWBQAAHAAAAAFDBwAAIQAAAG/rIEQBPIdDAUQHAAAhAAAA+WErRLmjR0MJRQcAAAlGBwAAAAAAAAoBRwcAAHIAAAAAAAAAAAAAAAFIBwAAcgAAAAAAAAAAAAAAAAAAAAFJBwAAFQAAAAAAAAAAAAAAAAAAAAAAAACkAQAA/////wEBCglKBwAAAQAKAAcXBQAAAAEAAAACAAAABBpBcGxvcmlzLkJhc2UuVUkuVmlzdWFsTGluZQMAAAAKCgcYBQAAAAEAAAADAAAABBVTeXN0ZW0uRHJhd2luZy5Qb2ludEYEAAAAAUsHAAAhAAAAtCYmRN4Na0MBTAcAACEAAABvKyBE3g1rQwFNBwAAIQAAAPkhLETeDWtDBxkFAAAAAQAAAAMAAAAEF0FwbG9yaXMuQmFzZS5BbmNob3JNb2RlAwAAAAFOBwAAoAAAAAAAAAABTwcAAKAAAAACAAAAAVAHAACgAAAABAAAAAEaBQAAJQAAAAmvAwAAAAAAAAAAAAABGwUAACYAAAAJUQcAAAIAAAACAAAAAU4FAAAjAAAACgoAAAAAAChBCXYAAAAJdwAAAAlSBwAAAAAJUwcAAAFPBQAAeAAAAAoKAAAAAD9pfgAFAAAAAAEBVAUAAK0AAAAJVAcAAAEAAAADAAAAAVUFAAB1AAAACVUHAAAKAVgFAABwAAAACgoAAABAPwlWBwAACVcHAAABAAAA/v///wAAAAABAAAAAAAAAAAAAAABAAAAAAAAAAAAAAFZBQAAcQAAAAoKCVgHAAAJWQcAAAEAAAAAAAAAAAAAAP////8BAAFdBQAAdQAAAAlaBwAACgdkBQAAAAEAAAAEAAAABBxBcGxvcmlzLkJhc2UuVUkuVmlzdWFsT2JqZWN0AwAAAAmfBAAACZ4EAAAKCgFrBQAAIwAAAAoKAAAAAAAoQQl2AAAACXcAAAAJWwcAAAAACVwHAAABbAUAAHgAAAAKCgAAAAA/aX4ABQAAAAABAXEFAACtAAAACV0HAAABAAAAAwAAAAFyBQAAdQAAAAleBwAACgF1BQAAcAAAAAoKAAAAQD8JXwcAAAlgBwAAAQAAAP7///8AAAAAAQAAAAAAAAAAAAAAAQAAAAAAAAAAAAABdgUAAHEAAAAKCglhBwAACWIHAAABAAAAAAAAAAAAAAD/////AQABegUAAHUAAAAJYwcAAAoHgQUAAAABAAAABAAAAAQcQXBsb3Jpcy5CYXNlLlVJLlZpc3VhbE9iamVjdAMAAAAJpgQAAAmlBAAACgoBiAUAACMAAAAKCgAAAAAAKEEJdgAAAAl3AAAACWQHAAAAAAllBwAAAYkFAAB4AAAACgoAAAAAP2l+AAUAAAAAAQGOBQAArQAAAAlmBwAAAQAAAAMAAAABjwUAAHUAAAAJZwcAAAoBkgUAAHAAAAAKCgAAAEA/CWgHAAAJaQcAAAEAAAD+////AAAAAAEAAAAAAAAAAAAAAAEAAAAAAAAAAAAAAZMFAABxAAAACgoJagcAAAlrBwAAAQAAAAAAAAAAAAAA/////wEAAZcFAAB1AAAACWwHAAAKB54FAAAAAQAAAAQAAAAEHEFwbG9yaXMuQmFzZS5VSS5WaXN1YWxPYmplY3QDAAAACa0EAAAJrAQAAAoKAaUFAAAjAAAACgoAAAAAAChBCXYAAAAJdwAAAAltBwAAAAAJbgcAAAGmBQAAeAAAAAoKAAAAAD9pfgAFAAAAAAEBqwUAAK0AAAAJbwcAAAEAAAADAAAAAawFAAB1AAAACXAHAAAKAa8FAABwAAAACgoAAABAPwlxBwAACXIHAAABAAAA/v///wAAAAABAAAAAAAAAAAAAAABAAAAAAAAAAAAAAGwBQAAcQAAAAoKCXMHAAAJdAcAAAEAAAAAAAAAAAAAAP////8BAAG0BQAAdQAAAAl1BwAACge7BQAAAAEAAAAEAAAABBxBcGxvcmlzLkJhc2UuVUkuVmlzdWFsT2JqZWN0AwAAAAm0BAAACbMEAAAKCgHCBQAAIwAAAAoKAAAAAAAoQQl2AAAACXcAAAAJdgcAAAAACXcHAAABwwUAAHgAAAAKCgAAAAA/aX4ABQAAAAABAcgFAACtAAAACXgHAAABAAAAAwAAAAHJBQAAdQAAAAl5BwAACgHMBQAAcAAAAAoKAAAAQD8JegcAAAl7BwAAAQAAAP7///8AAAAAAQAAAAAAAAAAAAAAAQAAAAAAAAAAAAABzQUAAHEAAAAKCgl8BwAACX0HAAABAAAAAAAAAAAAAAD/////AQAB0QUAAHUAAAAJfgcAAAoH2AUAAAABAAAABAAAAAQcQXBsb3Jpcy5CYXNlLlVJLlZpc3VhbE9iamVjdAMAAAAJuwQAAAm6BAAACgoB3wUAACMAAAAKCgAAAAAAKEEJdgAAAAl3AAAACX8HAAAAAAmABwAAAeAFAAB4AAAACgoAAAAAP2l+AAUAAAAAAQHlBQAArQAAAAmBBwAAAQAAAAMAAAAB5gUAAHUAAAAJggcAAAoB6QUAAHAAAAAKCgAAAEA/CYMHAAAJhAcAAAEAAAD+////AAAAAAEAAAAAAAAAAAAAAAEAAAAAAAAAAAAAAeoFAABxAAAACgoJhQcAAAmGBwAAAQAAAAAAAAAAAAAA/////wEAAe4FAAB1AAAACYcHAAAKB/UFAAAAAQAAAAQAAAAEHEFwbG9yaXMuQmFzZS5VSS5WaXN1YWxPYmplY3QDAAAACcIEAAAJwQQAAAoKAfwFAAAjAAAACgoAAAAAAChBCXYAAAAJdwAAAAmIBwAAAAAJiQcAAAH9BQAAeAAAAAoKAAAAAD9pfgAFAAAAAAEBAgYAAK0AAAAJigcAAAEAAAADAAAAAQMGAAB1AAAACYsHAAAKAQYGAABwAAAACgoAAABAPwmMBwAACY0HAAABAAAA/v///wAAAAABAAAAAAAAAAAAAAABAAAAAAAAAAAAAAEHBgAAcQAAAAoKCY4HAAAJjwcAAAEAAAAAAAAAAAAAAP////8BAAELBgAAdQAAAAmQBwAACgcSBgAAAAEAAAAEAAAABBxBcGxvcmlzLkJhc2UuVUkuVmlzdWFsT2JqZWN0AwAAAAnJBAAACcgEAAAKCgEZBgAAIwAAAAoKAAAAAAAoQQl2AAAACXcAAAAJkQcAAAAACZIHAAABGgYAAHgAAAAKCgAAAAA/aX4ABQAAAAABAR8GAACtAAAACZMHAAABAAAAAwAAAAEgBgAAdQAAAAmUBwAACgEjBgAAcAAAAAoKAAAAQD8JlQcAAAmWBwAAAQAAAP7///8AAAAAAQAAAAAAAAAAAAAAAQAAAAAAAAAAAAABJAYAAHEAAAAKCgmXBwAACZgHAAABAAAAAAAAAAAAAAD/////AQABKAYAAHUAAAAJmQcAAAoHLwYAAAABAAAABAAAAAQcQXBsb3Jpcy5CYXNlLlVJLlZpc3VhbE9iamVjdAMAAAAJ0AQAAAnPBAAACgoBNgYAACMAAAAKCgAAAAAAKEEJdgAAAAl3AAAACZoHAAAAAAmbBwAAATcGAAB4AAAACgoAAAAAP2l+AAUAAAAAAAE8BgAArQAAAAmcBwAAAQAAAAMAAAABPQYAAHUAAAAJnQcAAAoBQAYAAHAAAAAKCgAAAEA/CZ4HAAAJnwcAAAEAAAD+////AAAAAAEAAAAAAAAAAAAAAAEAAAAAAAAAAAAAAUEGAABxAAAACgoJoAcAAAmhBwAAAQAAAAAAAAAAAAAA/////wEAAUUGAAB1AAAACaIHAAAKB0wGAAAAAQAAAAQAAAAEHEFwbG9yaXMuQmFzZS5VSS5WaXN1YWxPYmplY3QDAAAACdcEAAAJ1gQAAAoKAVMGAAAjAAAACgoAAAAAAChBCXYAAAAJdwAAAAmjBwAAAAAJpAcAAAFUBgAAeAAAAAoKAAAAAHKEjAAGAAAAAAEBWQYAAK0AAAAJpQcAAAEAAAADAAAAAVoGAAB1AAAACaYHAAAKAV0GAABwAAAACgoAAABAPwmnBwAACagHAAABAAAA/v///wAAAAABAAAAAAAAAAAAAAABAAAAAAAAAAAAAAFeBgAAcQAAAAoKCakHAAAJqgcAAAEAAAAAAAAAAAAAAP////8BAAFiBgAAdQAAAAmrBwAACgdpBgAAAAEAAAAEAAAABBxBcGxvcmlzLkJhc2UuVUkuVmlzdWFsT2JqZWN0AwAAAAneBAAACd0EAAAKCgFwBgAAIwAAAAoKAAAAAAAoQQl2AAAACXcAAAAJrAcAAAAACa0HAAABcQYAAHgAAAAKCgAAAAByhIwABgAAAAABAXYGAACtAAAACa4HAAABAAAAAwAAAAF3BgAAdQAAAAmvBwAACgF6BgAAcAAAAAoKAAAAQD8JsAcAAAmxBwAAAQAAAP7///8AAAAAAQAAAAAAAAAAAAAAAQAAAAAAAAAAAAABewYAAHEAAAAKCgmyBwAACbMHAAABAAAAAAAAAAAAAAD/////AQABfwYAAHUAAAAJtAcAAAoHhgYAAAABAAAABAAAAAQcQXBsb3Jpcy5CYXNlLlVJLlZpc3VhbE9iamVjdAMAAAAJ5QQAAAnkBAAACgoBjQYAACMAAAAKCgAAAAAAKEEJdgAAAAl3AAAACbUHAAAAAAm2BwAAAY4GAAB4AAAACgoAAAAAcoSMAAYAAAAAAQGTBgAArQAAAAm3BwAAAQAAAAMAAAABlAYAAHUAAAAJuAcAAAoBlwYAAHAAAAAKCgAAAEA/CbkHAAAJugcAAAEAAAD+////AAAAAAEAAAAAAAAAAAAAAAEAAAAAAAAAAAAAAZgGAABxAAAACgoJuwcAAAm8BwAAAQAAAAAAAAAAAAAA/////wEAAZwGAAB1AAAACb0HAAAKB6MGAAAAAQAAAAQAAAAEHEFwbG9yaXMuQmFzZS5VSS5WaXN1YWxPYmplY3QDAAAACewEAAAJ6wQAAAoKAaoGAAAjAAAACgoAAAAAAChBCXYAAAAJdwAAAAm+BwAAAAAJvwcAAAGrBgAAeAAAAAoKAAAAAHKEjAAGAAAAAAEBsAYAAK0AAAAJwAcAAAEAAAADAAAAAbEGAAB1AAAACcEHAAAKAbQGAABwAAAACgoAAABAPwnCBwAACcMHAAABAAAA/v///wAAAAABAAAAAAAAAAAAAAABAAAAAAAAAAAAAAG1BgAAcQAAAAoKCcQHAAAJxQcAAAEAAAAAAAAAAAAAAP////8BAAG5BgAAdQAAAAnGBwAACgfABgAAAAEAAAAEAAAABBxBcGxvcmlzLkJhc2UuVUkuVmlzdWFsT2JqZWN0AwAAAAnzBAAACfIEAAAKCgHHBgAAIwAAAAoKAAAAAAAoQQl2AAAACXcAAAAJxwcAAAAACcgHAAAByAYAAHgAAAAKCgAAAAByhIwABgAAAAABAc0GAACtAAAACckHAAABAAAAAwAAAAHOBgAAdQAAAAnKBwAACgHRBgAAcAAAAAoKAAAAQD8JywcAAAnMBwAAAQAAAP7///8AAAAAAQAAAAAAAAAAAAAAAQAAAAAAAAAAAAAB0gYAAHEAAAAKCgnNBwAACc4HAAABAAAAAAAAAAAAAAD/////AQAB1gYAAHUAAAAJzwcAAAoH3QYAAAABAAAABAAAAAQcQXBsb3Jpcy5CYXNlLlVJLlZpc3VhbE9iamVjdAMAAAAJ+gQAAAn5BAAACgoB5AYAACMAAAAKCgAAAAAAKEEJdgAAAAl3AAAACdAHAAAAAAnRBwAAAeUGAAB4AAAACgoAAAAAcoSMAAYAAAAAAQHqBgAArQAAAAnSBwAAAQAAAAMAAAAB6wYAAHUAAAAJ0wcAAAoB7gYAAHAAAAAKCgAAAEA/CdQHAAAJ1QcAAAEAAAD+////AAAAAAEAAAAAAAAAAAAAAAEAAAAAAAAAAAAAAe8GAABxAAAACgoJ1gcAAAnXBwAAAQAAAAAAAAAAAAAA/////wEAAfMGAAB1AAAACdgHAAAKB/oGAAAAAQAAAAQAAAAEHEFwbG9yaXMuQmFzZS5VSS5WaXN1YWxPYmplY3QDAAAACQEFAAAJAAUAAAoKAQEHAAAjAAAACgoAAAAAAChBCXYAAAAJdwAAAAnZBwAAAAAJ2gcAAAECBwAAeAAAAAoKAAAAAHKEjAAGAAAAAAEBBwcAAK0AAAAJ2wcAAAEAAAADAAAAAQgHAAB1AAAACdwHAAAKAQsHAABwAAAACgoAAABAPwndBwAACd4HAAABAAAA/v///wAAAAABAAAAAAAAAAAAAAABAAAAAAAAAAAAAAEMBwAAcQAAAAoKCd8HAAAJ4AcAAAEAAAAAAAAAAAAAAP////8BAAEQBwAAdQAAAAnhBwAACgcXBwAAAAEAAAAEAAAABBxBcGxvcmlzLkJhc2UuVUkuVmlzdWFsT2JqZWN0AwAAAAkIBQAACQcFAAAKCgEeBwAAIwAAAAoKAAAAAAAoQQl2AAAACXcAAAAJ4gcAAAAACeMHAAABHwcAAHgAAAAKCgAAAAByhIwABgAAAAABASQHAACtAAAACeQHAAABAAAAAwAAAAElBwAAdQAAAAnlBwAACgEoBwAAcAAAAAoKAAAAQD8J5gcAAAnnBwAAAQAAAP7///8AAAAAAQAAAAAAAAAAAAAAAQAAAAAAAAAAAAABKQcAAHEAAAAKCgnoBwAACekHAAABAAAAAAAAAAAAAAD/////AQABLQcAAHUAAAAJ6gcAAAoHNAcAAAABAAAABAAAAAQcQXBsb3Jpcy5CYXNlLlVJLlZpc3VhbE9iamVjdAMAAAAJDwUAAAkOBQAACgoBOwcAACMAAAAKCgAAAAAAKEEJdgAAAAl3AAAACesHAAAAAAnsBwAAATwHAAB4AAAACgoAAAAAcoSMAAYAAAAAAQFBBwAArQAAAAntBwAAAQAAAAMAAAABQgcAAHUAAAAJ7gcAAAoBRQcAAHAAAAAKCgAAAEA/Ce8HAAAJ8AcAAAEAAAD+////AAAAAAEAAAAAAAAAAAAAAAEAAAAAAAAAAAAAAUYHAABxAAAACgoJ8QcAAAnyBwAAAQAAAAAAAAAAAAAA/////wEAAUoHAAB1AAAACfMHAAAKB1EHAAAAAQAAAAQAAAAEHEFwbG9yaXMuQmFzZS5VSS5WaXN1YWxPYmplY3QDAAAACRYFAAAJFQUAAAoKAVIHAAB4AAAACgoAAAAA////AA4AAAAAAAFTBwAAeAAAAAoKAAAAAP///wAOAAAAAAEHVAcAAAABAAAABAAAAAQdQXBsb3Jpcy5CYXNlLk9iamVjdHMuVmFyaWFibGUDAAAAAfQHAAAHBAAAAQAAAAAAAAAB9QcAAAcEAAAAAAAAAAAAAAH2BwAABwQAAAAAAAAAAAAAAfcHAAAHBAAAAAAAAAAAAAAPVQcAAAEAAAAIagIAAAVWBwAAGkFwbG9yaXMuQmFzZS5PYmplY3RzLkNvbG9yBwAAABJEYXRhT2JqZWN0K21QYXJlbnQVRGF0YU9iamVjdCttQ29udGFpbmVyBW1UeXBlBG1SR0IQbVRoZW1lQ29sb3JJbmRleAxtQXV0b1VwZGF0ZWQJbU1vZGlmaWVkBAIAAAAAAB9BcGxvcmlzLkJhc2UuT2JqZWN0cy5MaW5lRm9ybWF0AwAAAAgICAEBAwAAAAlYBQAACgAAAAD///8ADgAAAAAABVcHAAAaQXBsb3Jpcy5CYXNlLk9iamVjdHMuQ29sb3IHAAAAEkRhdGFPYmplY3QrbVBhcmVudBVEYXRhT2JqZWN0K21Db250YWluZXIFbVR5cGUEbVJHQhBtVGhlbWVDb2xvckluZGV4DG1BdXRvVXBkYXRlZAltTW9kaWZpZWQEAgAAAAAAH0FwbG9yaXMuQmFzZS5PYmplY3RzLkxpbmVGb3JtYXQDAAAACAgIAQEDAAAACVgFAAAKAQAAAAAAAAD/////AAEBWAcAAHgAAAAKCgAAAAA/aX4ABQAAAAAAAVkHAAB4AAAACgoBAAAAAAAAAP////8AAQ9aBwAAAQAAAAhaAgAAAVsHAAB4AAAACgoAAAAA////AA4AAAAAAAFcBwAAeAAAAAoKAAAAAP///wAOAAAAAAEHXQcAAAABAAAABAAAAAQdQXBsb3Jpcy5CYXNlLk9iamVjdHMuVmFyaWFibGUDAAAAAfgHAAAHBAAAAQAAAAAAAAAB+QcAAAcEAAAAAAAAAAAAAAH6BwAABwQAAAAAAAAAAAAAAfsHAAAHBAAAAAAAAAAAAAAPXgcAAAEAAAAIawIAAAVfBwAAGkFwbG9yaXMuQmFzZS5PYmplY3RzLkNvbG9yBwAAABJEYXRhT2JqZWN0K21QYXJlbnQVRGF0YU9iamVjdCttQ29udGFpbmVyBW1UeXBlBG1SR0IQbVRoZW1lQ29sb3JJbmRleAxtQXV0b1VwZGF0ZWQJbU1vZGlmaWVkBAIAAAAAAB9BcGxvcmlzLkJhc2UuT2JqZWN0cy5MaW5lRm9ybWF0AwAAAAgICAEBAwAAAAl1BQAACgAAAAD///8ADgAAAAAABWAHAAAaQXBsb3Jpcy5CYXNlLk9iamVjdHMuQ29sb3IHAAAAEkRhdGFPYmplY3QrbVBhcmVudBVEYXRhT2JqZWN0K21Db250YWluZXIFbVR5cGUEbVJHQhBtVGhlbWVDb2xvckluZGV4DG1BdXRvVXBkYXRlZAltTW9kaWZpZWQEAgAAAAAAH0FwbG9yaXMuQmFzZS5PYmplY3RzLkxpbmVGb3JtYXQDAAAACAgIAQEDAAAACXUFAAAKAQAAAAAAAAD/////AAEBYQcAAHgAAAAKCgAAAAA/aX4ABQAAAAAAAWIHAAB4AAAACgoBAAAAAAAAAP////8AAQ9jBwAAAQAAAAhUAgAAAWQHAAB4AAAACgoAAAAA////AA4AAAAAAAFlBwAAeAAAAAoKAAAAAP///wAOAAAAAAEHZgcAAAABAAAABAAAAAQdQXBsb3Jpcy5CYXNlLk9iamVjdHMuVmFyaWFibGUDAAAAAfwHAAAHBAAAAQAAAAAAAAAB/QcAAAcEAAAAAAAAAAAAAAH+BwAABwQAAAAAAAAAAAAAAf8HAAAHBAAAAAAAAAAAAAAPZwcAAAEAAAAIbwIAAAVoBwAAGkFwbG9yaXMuQmFzZS5PYmplY3RzLkNvbG9yBwAAABJEYXRhT2JqZWN0K21QYXJlbnQVRGF0YU9iamVjdCttQ29udGFpbmVyBW1UeXBlBG1SR0IQbVRoZW1lQ29sb3JJbmRleAxtQXV0b1VwZGF0ZWQJbU1vZGlmaWVkBAIAAAAAAB9BcGxvcmlzLkJhc2UuT2JqZWN0cy5MaW5lRm9ybWF0AwAAAAgICAEBAwAAAAmSBQAACgAAAAD///8ADgAAAAAABWkHAAAaQXBsb3Jpcy5CYXNlLk9iamVjdHMuQ29sb3IHAAAAEkRhdGFPYmplY3QrbVBhcmVudBVEYXRhT2JqZWN0K21Db250YWluZXIFbVR5cGUEbVJHQhBtVGhlbWVDb2xvckluZGV4DG1BdXRvVXBkYXRlZAltTW9kaWZpZWQEAgAAAAAAH0FwbG9yaXMuQmFzZS5PYmplY3RzLkxpbmVGb3JtYXQDAAAACAgIAQEDAAAACZIFAAAKAQAAAAAAAAD/////AAEBagcAAHgAAAAKCgAAAAA/aX4ABQAAAAAAAWsHAAB4AAAACgoBAAAAAAAAAP////8AAQ9sBwAAAQAAAAhbAgAAAW0HAAB4AAAACgoAAAAA////AA4AAAAAAAFuBwAAeAAAAAoKAAAAAP///wAOAAAAAAEHbwcAAAABAAAABAAAAAQdQXBsb3Jpcy5CYXNlLk9iamVjdHMuVmFyaWFibGUDAAAAAQAIAAAHBAAAAQAAAAAAAAABAQgAAAcEAAAAAAAAAAAAAAECCAAABwQAAAAAAAAAAAAAAQMIAAAHBAAAAAAAAAAAAAAPcAcAAAEAAAAIcQIAAAVxBwAAGkFwbG9yaXMuQmFzZS5PYmplY3RzLkNvbG9yBwAAABJEYXRhT2JqZWN0K21QYXJlbnQVRGF0YU9iamVjdCttQ29udGFpbmVyBW1UeXBlBG1SR0IQbVRoZW1lQ29sb3JJbmRleAxtQXV0b1VwZGF0ZWQJbU1vZGlmaWVkBAIAAAAAAB9BcGxvcmlzLkJhc2UuT2JqZWN0cy5MaW5lRm9ybWF0AwAAAAgICAEBAwAAAAmvBQAACgAAAAD///8ADgAAAAAABXIHAAAaQXBsb3Jpcy5CYXNlLk9iamVjdHMuQ29sb3IHAAAAEkRhdGFPYmplY3QrbVBhcmVudBVEYXRhT2JqZWN0K21Db250YWluZXIFbVR5cGUEbVJHQhBtVGhlbWVDb2xvckluZGV4DG1BdXRvVXBkYXRlZAltTW9kaWZpZWQEAgAAAAAAH0FwbG9yaXMuQmFzZS5PYmplY3RzLkxpbmVGb3JtYXQDAAAACAgIAQEDAAAACa8FAAAKAQAAAAAAAAD/////AAEBcwcAAHgAAAAKCgAAAAA/aX4ABQAAAAAAAXQHAAB4AAAACgoBAAAAAAAAAP////8AAQ91BwAAAQAAAAhYAgAAAXYHAAB4AAAACgoAAAAA////AA4AAAAAAAF3BwAAeAAAAAoKAAAAAP///wAOAAAAAAEHeAcAAAABAAAABAAAAAQdQXBsb3Jpcy5CYXNlLk9iamVjdHMuVmFyaWFibGUDAAAAAQQIAAAHBAAAAQAAAAAAAAABBQgAAAcEAAAAAAAAAAAAAAEGCAAABwQAAAAAAAAAAAAAAQcIAAAHBAAAAAAAAAAAAAAPeQcAAAEAAAAIcgIAAAV6BwAAGkFwbG9yaXMuQmFzZS5PYmplY3RzLkNvbG9yBwAAABJEYXRhT2JqZWN0K21QYXJlbnQVRGF0YU9iamVjdCttQ29udGFpbmVyBW1UeXBlBG1SR0IQbVRoZW1lQ29sb3JJbmRleAxtQXV0b1VwZGF0ZWQJbU1vZGlmaWVkBAIAAAAAAB9BcGxvcmlzLkJhc2UuT2JqZWN0cy5MaW5lRm9ybWF0AwAAAAgICAEBAwAAAAnMBQAACgAAAAD///8ADgAAAAAABXsHAAAaQXBsb3Jpcy5CYXNlLk9iamVjdHMuQ29sb3IHAAAAEkRhdGFPYmplY3QrbVBhcmVudBVEYXRhT2JqZWN0K21Db250YWluZXIFbVR5cGUEbVJHQhBtVGhlbWVDb2xvckluZGV4DG1BdXRvVXBkYXRlZAltTW9kaWZpZWQEAgAAAAAAH0FwbG9yaXMuQmFzZS5PYmplY3RzLkxpbmVGb3JtYXQDAAAACAgIAQEDAAAACcwFAAAKAQAAAAAAAAD/////AAEBfAcAAHgAAAAKCgAAAAA/aX4ABQAAAAAAAX0HAAB4AAAACgoBAAAAAAAAAP////8AAQ9+BwAAAQAAAAhWAgAAAX8HAAB4AAAACgoAAAAA////AA4AAAAAAAGABwAAeAAAAAoKAAAAAP///wAOAAAAAAEHgQcAAAABAAAABAAAAAQdQXBsb3Jpcy5CYXNlLk9iamVjdHMuVmFyaWFibGUDAAAAAQgIAAAHBAAAAQAAAAAAAAABCQgAAAcEAAAAAAAAAAAAAAEKCAAABwQAAAAAAAAAAAAAAQsIAAAHBAAAAAAAAAAAAAAPggcAAAEAAAAIlwIAAAWDBwAAGkFwbG9yaXMuQmFzZS5PYmplY3RzLkNvbG9yBwAAABJEYXRhT2JqZWN0K21QYXJlbnQVRGF0YU9iamVjdCttQ29udGFpbmVyBW1UeXBlBG1SR0IQbVRoZW1lQ29sb3JJbmRleAxtQXV0b1VwZGF0ZWQJbU1vZGlmaWVkBAIAAAAAAB9BcGxvcmlzLkJhc2UuT2JqZWN0cy5MaW5lRm9ybWF0AwAAAAgICAEBAwAAAAnpBQAACgAAAAD///8ADgAAAAAABYQHAAAaQXBsb3Jpcy5CYXNlLk9iamVjdHMuQ29sb3IHAAAAEkRhdGFPYmplY3QrbVBhcmVudBVEYXRhT2JqZWN0K21Db250YWluZXIFbVR5cGUEbVJHQhBtVGhlbWVDb2xvckluZGV4DG1BdXRvVXBkYXRlZAltTW9kaWZpZWQEAgAAAAAAH0FwbG9yaXMuQmFzZS5PYmplY3RzLkxpbmVGb3JtYXQDAAAACAgIAQEDAAAACekFAAAKAQAAAAAAAAD/////AAEBhQcAAHgAAAAKCgAAAAA/aX4ABQAAAAAAAYYHAAB4AAAACgoBAAAAAAAAAP////8AAQ+HBwAAAQAAAAiEAgAAAYgHAAB4AAAACgoAAAAA////AA4AAAAAAAGJBwAAeAAAAAoKAAAAAP///wAOAAAAAAEHigcAAAABAAAABAAAAAQdQXBsb3Jpcy5CYXNlLk9iamVjdHMuVmFyaWFibGUDAAAAAQwIAAAHBAAAAQAAAAAAAAABDQgAAAcEAAAAAAAAAAAAAAEOCAAABwQAAAAAAAAAAAAAAQ8IAAAHBAAAAAAAAAAAAAAPiwcAAAEAAAAIpAIAAAWMBwAAGkFwbG9yaXMuQmFzZS5PYmplY3RzLkNvbG9yBwAAABJEYXRhT2JqZWN0K21QYXJlbnQVRGF0YU9iamVjdCttQ29udGFpbmVyBW1UeXBlBG1SR0IQbVRoZW1lQ29sb3JJbmRleAxtQXV0b1VwZGF0ZWQJbU1vZGlmaWVkBAIAAAAAAB9BcGxvcmlzLkJhc2UuT2JqZWN0cy5MaW5lRm9ybWF0AwAAAAgICAEBAwAAAAkGBgAACgAAAAD///8ADgAAAAAABY0HAAAaQXBsb3Jpcy5CYXNlLk9iamVjdHMuQ29sb3IHAAAAEkRhdGFPYmplY3QrbVBhcmVudBVEYXRhT2JqZWN0K21Db250YWluZXIFbVR5cGUEbVJHQhBtVGhlbWVDb2xvckluZGV4DG1BdXRvVXBkYXRlZAltTW9kaWZpZWQEAgAAAAAAH0FwbG9yaXMuQmFzZS5PYmplY3RzLkxpbmVGb3JtYXQDAAAACAgIAQEDAAAACQYGAAAKAQAAAAAAAAD/////AAEBjgcAAHgAAAAKCgAAAAA/aX4ABQAAAAAAAY8HAAB4AAAACgoBAAAAAAAAAP////8AAQ+QBwAAAQAAAAiDAgAAAZEHAAB4AAAACgoAAAAA////AA4AAAAAAAGSBwAAeAAAAAoKAAAAAP///wAOAAAAAAEHkwcAAAABAAAABAAAAAQdQXBsb3Jpcy5CYXNlLk9iamVjdHMuVmFyaWFibGUDAAAAARAIAAAHBAAAAQAAAAAAAAABEQgAAAcEAAAAAAAAAAAAAAESCAAABwQAAAAAAAAAAAAAARMIAAAHBAAAAAAAAAAAAAAPlAcAAAEAAAAImgIAAAWVBwAAGkFwbG9yaXMuQmFzZS5PYmplY3RzLkNvbG9yBwAAABJEYXRhT2JqZWN0K21QYXJlbnQVRGF0YU9iamVjdCttQ29udGFpbmVyBW1UeXBlBG1SR0IQbVRoZW1lQ29sb3JJbmRleAxtQXV0b1VwZGF0ZWQJbU1vZGlmaWVkBAIAAAAAAB9BcGxvcmlzLkJhc2UuT2JqZWN0cy5MaW5lRm9ybWF0AwAAAAgICAEBAwAAAAkjBgAACgAAAAD///8ADgAAAAAABZYHAAAaQXBsb3Jpcy5CYXNlLk9iamVjdHMuQ29sb3IHAAAAEkRhdGFPYmplY3QrbVBhcmVudBVEYXRhT2JqZWN0K21Db250YWluZXIFbVR5cGUEbVJHQhBtVGhlbWVDb2xvckluZGV4DG1BdXRvVXBkYXRlZAltTW9kaWZpZWQEAgAAAAAAH0FwbG9yaXMuQmFzZS5PYmplY3RzLkxpbmVGb3JtYXQDAAAACAgIAQEDAAAACSMGAAAKAQAAAAAAAAD/////AAEBlwcAAHgAAAAKCgAAAAA/aX4ABQAAAAAAAZgHAAB4AAAACgoBAAAAAAAAAP////8AAQ+ZBwAAAQAAAAiFAgAAAZoHAAB4AAAACgoAAAAA////AA4AAAAAAAGbBwAAeAAAAAoKAAAAAP///wAOAAAAAAEHnAcAAAABAAAABAAAAAQdQXBsb3Jpcy5CYXNlLk9iamVjdHMuVmFyaWFibGUDAAAAARQIAAAHBAAAAQAAAAAAAAABFQgAAAcEAAAAAAAAAAAAAAEWCAAABwQAAAAAAAAAAAAAARcIAAAHBAAAAAAAAAAAAAAPnQcAAAEAAAAIbQIAAAWeBwAAGkFwbG9yaXMuQmFzZS5PYmplY3RzLkNvbG9yBwAAABJEYXRhT2JqZWN0K21QYXJlbnQVRGF0YU9iamVjdCttQ29udGFpbmVyBW1UeXBlBG1SR0IQbVRoZW1lQ29sb3JJbmRleAxtQXV0b1VwZGF0ZWQJbU1vZGlmaWVkBAIAAAAAAB9BcGxvcmlzLkJhc2UuT2JqZWN0cy5MaW5lRm9ybWF0AwAAAAgICAEBAwAAAAlABgAACgAAAAD///8ADgAAAAAABZ8HAAAaQXBsb3Jpcy5CYXNlLk9iamVjdHMuQ29sb3IHAAAAEkRhdGFPYmplY3QrbVBhcmVudBVEYXRhT2JqZWN0K21Db250YWluZXIFbVR5cGUEbVJHQhBtVGhlbWVDb2xvckluZGV4DG1BdXRvVXBkYXRlZAltTW9kaWZpZWQEAgAAAAAAH0FwbG9yaXMuQmFzZS5PYmplY3RzLkxpbmVGb3JtYXQDAAAACAgIAQEDAAAACUAGAAAKAQAAAAAAAAD/////AAEBoAcAAHgAAAAKCgAAAAA/aX4ABQAAAAAAAaEHAAB4AAAACgoBAAAAAAAAAP////8AAQ+iBwAAAQAAAAhVAgAAAaMHAAB4AAAACgoAAAAA////AA4AAAAAAAGkBwAAeAAAAAoKAAAAAP///wAOAAAAAAEHpQcAAAABAAAABAAAAAQdQXBsb3Jpcy5CYXNlLk9iamVjdHMuVmFyaWFibGUDAAAAARgIAAAHBAAAAQAAAAAAAAABGQgAAAcEAAAAAAAAAAAAAAEaCAAABwQAAAAAAAAAAAAAARsIAAAHBAAAAAAAAAAAAAAPpgcAAAEAAAAIMgIAAAWnBwAAGkFwbG9yaXMuQmFzZS5PYmplY3RzLkNvbG9yBwAAABJEYXRhT2JqZWN0K21QYXJlbnQVRGF0YU9iamVjdCttQ29udGFpbmVyBW1UeXBlBG1SR0IQbVRoZW1lQ29sb3JJbmRleAxtQXV0b1VwZGF0ZWQJbU1vZGlmaWVkBAIAAAAAAB9BcGxvcmlzLkJhc2UuT2JqZWN0cy5MaW5lRm9ybWF0AwAAAAgICAEBAwAAAAldBgAACgAAAAD///8ADgAAAAAABagHAAAaQXBsb3Jpcy5CYXNlLk9iamVjdHMuQ29sb3IHAAAAEkRhdGFPYmplY3QrbVBhcmVudBVEYXRhT2JqZWN0K21Db250YWluZXIFbVR5cGUEbVJHQhBtVGhlbWVDb2xvckluZGV4DG1BdXRvVXBkYXRlZAltTW9kaWZpZWQEAgAAAAAAH0FwbG9yaXMuQmFzZS5PYmplY3RzLkxpbmVGb3JtYXQDAAAACAgIAQEDAAAACV0GAAAKAQAAAAAAAAD/////AAEBqQcAAHgAAAAKCgAAAAByhIwABgAAAAAAAaoHAAB4AAAACgoBAAAAAAAAAP////8AAQ+rBwAAAQAAAAgEAgAAAawHAAB4AAAACgoAAAAA////AA4AAAAAAAGtBwAAeAAAAAoKAAAAAP///wAOAAAAAAEHrgcAAAABAAAABAAAAAQdQXBsb3Jpcy5CYXNlLk9iamVjdHMuVmFyaWFibGUDAAAAARwIAAAHBAAAAQAAAAAAAAABHQgAAAcEAAAAAAAAAAAAAAEeCAAABwQAAAAAAAAAAAAAAR8IAAAHBAAAAAAAAAAAAAAPrwcAAAEAAAAINQIAAAWwBwAAGkFwbG9yaXMuQmFzZS5PYmplY3RzLkNvbG9yBwAAABJEYXRhT2JqZWN0K21QYXJlbnQVRGF0YU9iamVjdCttQ29udGFpbmVyBW1UeXBlBG1SR0IQbVRoZW1lQ29sb3JJbmRleAxtQXV0b1VwZGF0ZWQJbU1vZGlmaWVkBAIAAAAAAB9BcGxvcmlzLkJhc2UuT2JqZWN0cy5MaW5lRm9ybWF0AwAAAAgICAEBAwAAAAl6BgAACgAAAAD///8ADgAAAAAABbEHAAAaQXBsb3Jpcy5CYXNlLk9iamVjdHMuQ29sb3IHAAAAEkRhdGFPYmplY3QrbVBhcmVudBVEYXRhT2JqZWN0K21Db250YWluZXIFbVR5cGUEbVJHQhBtVGhlbWVDb2xvckluZGV4DG1BdXRvVXBkYXRlZAltTW9kaWZpZWQEAgAAAAAAH0FwbG9yaXMuQmFzZS5PYmplY3RzLkxpbmVGb3JtYXQDAAAACAgIAQEDAAAACXoGAAAKAQAAAAAAAAD/////AAEBsgcAAHgAAAAKCgAAAAByhIwABgAAAAAAAbMHAAB4AAAACgoBAAAAAAAAAP////8AAQ+0BwAAAQAAAAgFAgAAAbUHAAB4AAAACgoAAAAA////AA4AAAAAAAG2BwAAeAAAAAoKAAAAAP///wAOAAAAAAEHtwcAAAABAAAABAAAAAQdQXBsb3Jpcy5CYXNlLk9iamVjdHMuVmFyaWFibGUDAAAAASAIAAAHBAAAAQAAAAAAAAABIQgAAAcEAAAAAAAAAAAAAAEiCAAABwQAAAAAAAAAAAAAASMIAAAHBAAAAAAAAAAAAAAPuAcAAAEAAAAINwIAAAW5BwAAGkFwbG9yaXMuQmFzZS5PYmplY3RzLkNvbG9yBwAAABJEYXRhT2JqZWN0K21QYXJlbnQVRGF0YU9iamVjdCttQ29udGFpbmVyBW1UeXBlBG1SR0IQbVRoZW1lQ29sb3JJbmRleAxtQXV0b1VwZGF0ZWQJbU1vZGlmaWVkBAIAAAAAAB9BcGxvcmlzLkJhc2UuT2JqZWN0cy5MaW5lRm9ybWF0AwAAAAgICAEBAwAAAAmXBgAACgAAAAD///8ADgAAAAAABboHAAAaQXBsb3Jpcy5CYXNlLk9iamVjdHMuQ29sb3IHAAAAEkRhdGFPYmplY3QrbVBhcmVudBVEYXRhT2JqZWN0K21Db250YWluZXIFbVR5cGUEbVJHQhBtVGhlbWVDb2xvckluZGV4DG1BdXRvVXBkYXRlZAltTW9kaWZpZWQEAgAAAAAAH0FwbG9yaXMuQmFzZS5PYmplY3RzLkxpbmVGb3JtYXQDAAAACAgIAQEDAAAACZcGAAAKAQAAAAAAAAD/////AAEBuwcAAHgAAAAKCgAAAAByhIwABgAAAAAAAbwHAAB4AAAACgoBAAAAAAAAAP////8AAQ+9BwAAAQAAAAgDAgAAAb4HAAB4AAAACgoAAAAA////AA4AAAAAAAG/BwAAeAAAAAoKAAAAAP///wAOAAAAAAEHwAcAAAABAAAABAAAAAQdQXBsb3Jpcy5CYXNlLk9iamVjdHMuVmFyaWFibGUDAAAAASQIAAAHBAAAAQAAAAAAAAABJQgAAAcEAAAAAAAAAAAAAAEmCAAABwQAAAAAAAAAAAAAAScIAAAHBAAAAAAAAAAAAAAPwQcAAAEAAAAIOAIAAAXCBwAAGkFwbG9yaXMuQmFzZS5PYmplY3RzLkNvbG9yBwAAABJEYXRhT2JqZWN0K21QYXJlbnQVRGF0YU9iamVjdCttQ29udGFpbmVyBW1UeXBlBG1SR0IQbVRoZW1lQ29sb3JJbmRleAxtQXV0b1VwZGF0ZWQJbU1vZGlmaWVkBAIAAAAAAB9BcGxvcmlzLkJhc2UuT2JqZWN0cy5MaW5lRm9ybWF0AwAAAAgICAEBAwAAAAm0BgAACgAAAAD///8ADgAAAAAABcMHAAAaQXBsb3Jpcy5CYXNlLk9iamVjdHMuQ29sb3IHAAAAEkRhdGFPYmplY3QrbVBhcmVudBVEYXRhT2JqZWN0K21Db250YWluZXIFbVR5cGUEbVJHQhBtVGhlbWVDb2xvckluZGV4DG1BdXRvVXBkYXRlZAltTW9kaWZpZWQEAgAAAAAAH0FwbG9yaXMuQmFzZS5PYmplY3RzLkxpbmVGb3JtYXQDAAAACAgIAQEDAAAACbQGAAAKAQAAAAAAAAD/////AAEBxAcAAHgAAAAKCgAAAAByhIwABgAAAAAAAcUHAAB4AAAACgoBAAAAAAAAAP////8AAQ/GBwAAAQAAAAgAAgAAAccHAAB4AAAACgoAAAAA////AA4AAAAAAAHIBwAAeAAAAAoKAAAAAP///wAOAAAAAAEHyQcAAAABAAAABAAAAAQdQXBsb3Jpcy5CYXNlLk9iamVjdHMuVmFyaWFibGUDAAAAASgIAAAHBAAAAQAAAAAAAAABKQgAAAcEAAAAAAAAAAAAAAEqCAAABwQAAAAAAAAAAAAAASsIAAAHBAAAAAAAAAAAAAAPygcAAAEAAAAILQIAAAXLBwAAGkFwbG9yaXMuQmFzZS5PYmplY3RzLkNvbG9yBwAAABJEYXRhT2JqZWN0K21QYXJlbnQVRGF0YU9iamVjdCttQ29udGFpbmVyBW1UeXBlBG1SR0IQbVRoZW1lQ29sb3JJbmRleAxtQXV0b1VwZGF0ZWQJbU1vZGlmaWVkBAIAAAAAAB9BcGxvcmlzLkJhc2UuT2JqZWN0cy5MaW5lRm9ybWF0AwAAAAgICAEBAwAAAAnRBgAACgAAAAD///8ADgAAAAAABcwHAAAaQXBsb3Jpcy5CYXNlLk9iamVjdHMuQ29sb3IHAAAAEkRhdGFPYmplY3QrbVBhcmVudBVEYXRhT2JqZWN0K21Db250YWluZXIFbVR5cGUEbVJHQhBtVGhlbWVDb2xvckluZGV4DG1BdXRvVXBkYXRlZAltTW9kaWZpZWQEAgAAAAAAH0FwbG9yaXMuQmFzZS5PYmplY3RzLkxpbmVGb3JtYXQDAAAACAgIAQEDAAAACdEGAAAKAQAAAAAAAAD/////AAEBzQcAAHgAAAAKCgAAAAByhIwABgAAAAAAAc4HAAB4AAAACgoBAAAAAAAAAP////8AAQ/PBwAAAQAAAAj/AQAAAdAHAAB4AAAACgoAAAAA////AA4AAAAAAAHRBwAAeAAAAAoKAAAAAP///wAOAAAAAAEH0gcAAAABAAAABAAAAAQdQXBsb3Jpcy5CYXNlLk9iamVjdHMuVmFyaWFibGUDAAAAASwIAAAHBAAAAQAAAAAAAAABLQgAAAcEAAAAAAAAAAAAAAEuCAAABwQAAAAAAAAAAAAAAS8IAAAHBAAAAAAAAAAAAAAP0wcAAAEAAAAImAIAAAXUBwAAGkFwbG9yaXMuQmFzZS5PYmplY3RzLkNvbG9yBwAAABJEYXRhT2JqZWN0K21QYXJlbnQVRGF0YU9iamVjdCttQ29udGFpbmVyBW1UeXBlBG1SR0IQbVRoZW1lQ29sb3JJbmRleAxtQXV0b1VwZGF0ZWQJbU1vZGlmaWVkBAIAAAAAAB9BcGxvcmlzLkJhc2UuT2JqZWN0cy5MaW5lRm9ybWF0AwAAAAgICAEBAwAAAAnuBgAACgAAAAD///8ADgAAAAAABdUHAAAaQXBsb3Jpcy5CYXNlLk9iamVjdHMuQ29sb3IHAAAAEkRhdGFPYmplY3QrbVBhcmVudBVEYXRhT2JqZWN0K21Db250YWluZXIFbVR5cGUEbVJHQhBtVGhlbWVDb2xvckluZGV4DG1BdXRvVXBkYXRlZAltTW9kaWZpZWQEAgAAAAAAH0FwbG9yaXMuQmFzZS5PYmplY3RzLkxpbmVGb3JtYXQDAAAACAgIAQEDAAAACe4GAAAKAQAAAAAAAAD/////AAEB1gcAAHgAAAAKCgAAAAByhIwABgAAAAAAAdcHAAB4AAAACgoBAAAAAAAAAP////8AAQ/YBwAAAQAAAAiHAgAAAdkHAAB4AAAACgoAAAAA////AA4AAAAAAAHaBwAAeAAAAAoKAAAAAP///wAOAAAAAAEH2wcAAAABAAAABAAAAAQdQXBsb3Jpcy5CYXNlLk9iamVjdHMuVmFyaWFibGUDAAAAATAIAAAHBAAAAQAAAAAAAAABMQgAAAcEAAAAAAAAAAAAAAEyCAAABwQAAAAAAAAAAAAAATMIAAAHBAAAAAAAAAAAAAAP3AcAAAEAAAAIlgIAAAXdBwAAGkFwbG9yaXMuQmFzZS5PYmplY3RzLkNvbG9yBwAAABJEYXRhT2JqZWN0K21QYXJlbnQVRGF0YU9iamVjdCttQ29udGFpbmVyBW1UeXBlBG1SR0IQbVRoZW1lQ29sb3JJbmRleAxtQXV0b1VwZGF0ZWQJbU1vZGlmaWVkBAIAAAAAAB9BcGxvcmlzLkJhc2UuT2JqZWN0cy5MaW5lRm9ybWF0AwAAAAgICAEBAwAAAAkLBwAACgAAAAD///8ADgAAAAAABd4HAAAaQXBsb3Jpcy5CYXNlLk9iamVjdHMuQ29sb3IHAAAAEkRhdGFPYmplY3QrbVBhcmVudBVEYXRhT2JqZWN0K21Db250YWluZXIFbVR5cGUEbVJHQhBtVGhlbWVDb2xvckluZGV4DG1BdXRvVXBkYXRlZAltTW9kaWZpZWQEAgAAAAAAH0FwbG9yaXMuQmFzZS5PYmplY3RzLkxpbmVGb3JtYXQDAAAACAgIAQEDAAAACQsHAAAKAQAAAAAAAAD/////AAEB3wcAAHgAAAAKCgAAAAByhIwABgAAAAAAAeAHAAB4AAAACgoBAAAAAAAAAP////8AAQ/hBwAAAQAAAAiCAgAAAeIHAAB4AAAACgoAAAAA////AA4AAAAAAAHjBwAAeAAAAAoKAAAAAP///wAOAAAAAAEH5AcAAAABAAAABAAAAAQdQXBsb3Jpcy5CYXNlLk9iamVjdHMuVmFyaWFibGUDAAAAATQIAAAHBAAAAQAAAAAAAAABNQgAAAcEAAAAAAAAAAAAAAE2CAAABwQAAAAAAAAAAAAAATcIAAAHBAAAAAAAAAAAAAAP5QcAAAEAAAAImQIAAAXmBwAAGkFwbG9yaXMuQmFzZS5PYmplY3RzLkNvbG9yBwAAABJEYXRhT2JqZWN0K21QYXJlbnQVRGF0YU9iamVjdCttQ29udGFpbmVyBW1UeXBlBG1SR0IQbVRoZW1lQ29sb3JJbmRleAxtQXV0b1VwZGF0ZWQJbU1vZGlmaWVkBAIAAAAAAB9BcGxvcmlzLkJhc2UuT2JqZWN0cy5MaW5lRm9ybWF0AwAAAAgICAEBAwAAAAkoBwAACgAAAAD///8ADgAAAAAABecHAAAaQXBsb3Jpcy5CYXNlLk9iamVjdHMuQ29sb3IHAAAAEkRhdGFPYmplY3QrbVBhcmVudBVEYXRhT2JqZWN0K21Db250YWluZXIFbVR5cGUEbVJHQhBtVGhlbWVDb2xvckluZGV4DG1BdXRvVXBkYXRlZAltTW9kaWZpZWQEAgAAAAAAH0FwbG9yaXMuQmFzZS5PYmplY3RzLkxpbmVGb3JtYXQDAAAACAgIAQEDAAAACSgHAAAKAQAAAAAAAAD/////AAEB6AcAAHgAAAAKCgAAAAByhIwABgAAAAAAAekHAAB4AAAACgoBAAAAAAAAAP////8AAQ/qBwAAAQAAAAiGAgAAAesHAAB4AAAACgoAAAAA////AA4AAAAAAAHsBwAAeAAAAAoKAAAAAP///wAOAAAAAAEH7QcAAAABAAAABAAAAAQdQXBsb3Jpcy5CYXNlLk9iamVjdHMuVmFyaWFibGUDAAAAATgIAAAHBAAAAQAAAAAAAAABOQgAAAcEAAAAAAAAAAAAAAE6CAAABwQAAAAAAAAAAAAAATsIAAAHBAAAAAAAAAAAAAAP7gcAAAEAAAAIKgIAAAXvBwAAGkFwbG9yaXMuQmFzZS5PYmplY3RzLkNvbG9yBwAAABJEYXRhT2JqZWN0K21QYXJlbnQVRGF0YU9iamVjdCttQ29udGFpbmVyBW1UeXBlBG1SR0IQbVRoZW1lQ29sb3JJbmRleAxtQXV0b1VwZGF0ZWQJbU1vZGlmaWVkBAIAAAAAAB9BcGxvcmlzLkJhc2UuT2JqZWN0cy5MaW5lRm9ybWF0AwAAAAgICAEBAwAAAAlFBwAACgAAAAD///8ADgAAAAAABfAHAAAaQXBsb3Jpcy5CYXNlLk9iamVjdHMuQ29sb3IHAAAAEkRhdGFPYmplY3QrbVBhcmVudBVEYXRhT2JqZWN0K21Db250YWluZXIFbVR5cGUEbVJHQhBtVGhlbWVDb2xvckluZGV4DG1BdXRvVXBkYXRlZAltTW9kaWZpZWQEAgAAAAAAH0FwbG9yaXMuQmFzZS5PYmplY3RzLkxpbmVGb3JtYXQDAAAACAgIAQEDAAAACUUHAAAKAQAAAAAAAAD/////AAEB8QcAAHgAAAAKCgAAAAByhIwABgAAAAAAAfIHAAB4AAAACgoBAAAAAAAAAP////8AAQ/zBwAAAQAAAAgCAgAACw=="/>
</p:tagLst>
</file>

<file path=ppt/tags/tag561.xml><?xml version="1.0" encoding="utf-8"?>
<p:tagLst xmlns:a="http://schemas.openxmlformats.org/drawingml/2006/main" xmlns:r="http://schemas.openxmlformats.org/officeDocument/2006/relationships" xmlns:p="http://schemas.openxmlformats.org/presentationml/2006/main">
  <p:tag name="APLORISTAG" val="Mve3Smr0meKyLMINN.642"/>
</p:tagLst>
</file>

<file path=ppt/tags/tag562.xml><?xml version="1.0" encoding="utf-8"?>
<p:tagLst xmlns:a="http://schemas.openxmlformats.org/drawingml/2006/main" xmlns:r="http://schemas.openxmlformats.org/officeDocument/2006/relationships" xmlns:p="http://schemas.openxmlformats.org/presentationml/2006/main">
  <p:tag name="APLORISTAG" val="Mve3Smr0meKyLMINN.598"/>
</p:tagLst>
</file>

<file path=ppt/tags/tag563.xml><?xml version="1.0" encoding="utf-8"?>
<p:tagLst xmlns:a="http://schemas.openxmlformats.org/drawingml/2006/main" xmlns:r="http://schemas.openxmlformats.org/officeDocument/2006/relationships" xmlns:p="http://schemas.openxmlformats.org/presentationml/2006/main">
  <p:tag name="APLORISTAG" val="Mve3Smr0meKyLMINN.643"/>
</p:tagLst>
</file>

<file path=ppt/tags/tag564.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AFFQAAABlTeXN0ZW0uRHJhd2luZy5SZWN0YW5nbGVGBAAAAAF4AXkFd2lkdGgGaGVpZ2h0AAAAAAsLCwsEAAAA//9/////f////3////9//wEWAAAAFQAAAP//f////3////9/////f/8AAAAAAAUXAAAALEFwbG9yaXMuQ2hhcnQuQXhpc0JyZWFrK0F4aXNCcmVha0Rpc3BsYXlNb2RlAQAAAAd2YWx1ZV9fAAgCAAAAAQAAAAEBAQoKCRgAAAAKCgAAAAAACRkAAAAKCRoAAAAAAAAACgUbAAAAGUFwbG9yaXMuQ2hhcnQuT3JpZW50YXRpb24BAAAAB3ZhbHVlX18ACAIAAAABAAAACRwAAAABHQAAABUAAADCwC5ClO53QZS2DkTeZHRDAAQeAAAAC1N5c3RlbS5HdWlkCwAAAAJfYQJfYgJfYwJfZAJfZQJfZgJfZwJfaAJfaQJfagJfawAAAAAAAAAAAAAACAcHAgICAgICAgIAAAAAAAAAAAAAAAAAAAAAAAoKCR8AAAAACgoKAQAAAAAAAAD/////AAEBIAAAABUAAAAAACBBAAAgQT0nFUToop5DXQRwQoWxKEOgWhxEeMasQwUhAAAAFVN5c3RlbS5EcmF3aW5nLlBvaW50RgIAAAABeAF5AAALCwQAAACsJQREPKtEQwYiAAAAEEo1V0QyOHNiall2Y0Q2V0Q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wsAuQuTxgUMBLwAAACEAAACgohlE5PGBQwkwAAAACTEAAAAJMgAAAAkzAAAAAAAAAAAAAAAAAAAACTQAAAAAAAAAAAAJNQAAAAkBAAAACQEAAAAJNgAAAAEHAAAABgAAAAkBAAAAATcAAAAnAAAAAAAAAM3MTD8AAAAIAQAJAQAAAAk4AAAACTkAAAABAAAAAAAAAAABAAAAAAAA8D8BmpmZmZmZuT8AAAAgQQEBCToAAAAKCTsAAAAJPAAAAAk9AAAAAT4AAAAhAAAAwsAuQuTxgUMBPwAAACEAAADCwC5ClO53QQ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BtExpC+6ubQ4wOM0PLp71BCWUAAAAF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CgAAAAgBAAAAAgAAAAMAAAAEAAAABQAAAAYAAAAHAAAACAAAAAkAAAAKAAAABRwAAAAaQXBsb3Jpcy5CYXNlLlVJLlZpc3VhbFJlY3QUAAAAC21TdGFydFBvaW50CW1FbmRQb2ludAttTGluZUZvcm1hdAttRmlsbEZvcm1hdAltUm90YXRpb24SbVJlY3RhbmdsZVByb3ZpZGVyDG1QYWludE9mZnNldBJtUGFpbnRTaXplT3ZlcnJpZGUObUV4dHJhUm90YXRpb24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BAAEBAQABAAAAAAHAgAAAwAVU3lzdGVtLkRyYXdpbmcuUG9pbnRGBAAAABVTeXN0ZW0uRHJhd2luZy5Qb2ludEYEAAAAH0FwbG9yaXMuQmFzZS5PYmplY3RzLkxpbmVGb3JtYXQDAAAAH0FwbG9yaXMuQmFzZS5PYmplY3RzLkZpbGxGb3JtYXQDAAAACypBcGxvcmlzLkJhc2UuVUkuSVJlY3RhbmdsZVBvc2l0aW9uUHJvdmlkZXIDAAAAFFN5c3RlbS5EcmF3aW5nLlNpemVGBAAAABRTeXN0ZW0uRHJhd2luZy5TaXplRgQAAAALGVN5c3RlbS5EcmF3aW5nLlJlY3RhbmdsZUYEAAAACAgBAQgBAQ9TeXN0ZW0uSW50UHRyW10BAwAAAAFuAAAAIQAAAMLALkKU7ndBAW8AAAAhAAAAoKIZROTxgUMJcAAAAAlxAAAAAAAAAAoFcgAAABRTeXN0ZW0uRHJhd2luZy5TaXplRgIAAAAFd2lkdGgGaGVpZ2h0AAALCwQAAAAAAAAAAAAAAAFzAAAAcgAAAAAAAAAAAAAAAAAAAAF0AAAAFQAAAAAAAAAAAAAAAAAAAAAAAAAUAAAA/////wEBCgl1AAAAAQAKAA8fAAAA1jgAAAJQSwMEFAAGAAgAAAAhAHliQ59+AQAA+AUAABMACAJbQ29udGVudF9UeXBlc10ueG1s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RUyU7DMBC9I/EPka8ocdsDQqhpDxSOUInyAcaeNFHjRR53+3smbkFQhZSqlbjEiu23TTIzHG90nazAY2VNzvpZjyVgpFWVmefsbfaU3rEEgzBK1NZAzraAbDy6vhrOtg4wIbTBnJUhuHvOUZagBWbWgaGTwnotAr36OXdCLsQc+KDXu+XSmgAmpKHhYKPhBAqxrEPyuKHtnROCs+Rhd6+Ryplwrq6kCGSUN6e8FbfqxK2MOjCX2qKoJCgrl5osZYSfeLGm+L8IeKixw1mLwj56RsjoHsvK4c0+wgvV3lcKkqnw4VloCso3NV9bv3i3dpF116FF7SAPOg9CYQkQdJ3FNdOiMn/Qj5eRx6V/YSNNvkh8oo/BP/kI9GMDj8/zSxFpjgTHsK0BL5x2R3pMuRQe1Gvw1AMXN/Cd+4gPaXXTkXh+vX/2wCdvlzyNg6m3DmlSeTj9I3x2fINOHRGBDxV09vyXIo250wUPmh6aOapAtWjzOLdHHwA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BP47bD5AAAARw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SzWrDMBCE74W+g9h7Ldv9oYTIuZRCrm36AEJeWya2JLTbH799RUJTB4J7MT3OLJr52NV68zX04gMjdd4pKLIcBDrj6861Ct52zzePIIi1q3XvHSoYkWBTXV+tX7DXnB6R7QKJlOJIgWUOKynJWBw0ZT6gS5PGx0FzkrGVQZu9blGWef4g4zQDqrNMsa0VxG19C2I3htT8d7Zvms7gkzfvAzq+UCE5cWEK1LFFVnCQR7PIEijIywx3SzIQj31a4gniqOfq7xettzpi/coxXXhKMbXnYIolYT593JNF5N91nCySh8nsYcp/hil/NiPPvn/1DQAA//8DAFBLAwQUAAYACAAAACEAchCB788BAAAEAwAADwAAAHhsL3dvcmtib29rLnhtbIxS247TMBB9R+IfLL+3dp2kVFWSVelFVEJoxWX32ThuY60vke2QrBD/vpOEQIEXnsYz47mcMye/641G36QPytkCr5YUI2mFq5S9FvjL59Nig1GI3FZcOysL/CwDvitfv8o755++OveEoIENBa5jbLaEBFFLw8PSNdJC5uK84RFcfyWh8ZJXoZYyGk0YpWtiuLJ46rD1/9PDXS5KyIMTrZE2Tk281DzC+qFWTcBlflFaPkyIEG+aD9zA3r3GSPMQj5WKsipwBq7r5B8B3zZvW6Uhy9aUppiUv1Dee8Tb6PbOAIgQ7pWILTwKTIdfAw8PSnbhd8Hgov5R2cp1BV5DP4yeZ5dRBm43Jh9VFWtgfgOEzLF3Ul3rCEGWpOMAcjNhJBAmjRbZEd2u0c6rcOCRw7kGhs+AYoWR3yp4+HO1Gva8LfnkjEQfeYf+KmI3RWwoIvNAwbUAHgYzdk8ppTBCOCta7+Ece8j8ZET28X2IZQ4WtV4V+PubjCXH7JAsWHZKFrvsSBerdcIW6/TEsnTPWJqxH7MWTP+PGIwS3gV3iUvhDJl0APoRRPZCjnLaTHIqc9Nvd17U5wM6aX6FI004YBdAM29GZgGXLwAAAP//AwBQSwMEFAAGAAgAAAAhANTCoTF+CQAADo8AAA0AAAB4bC9zdHlsZXMueG1s7F1tj6M4Ev5+0v0HxOg+dvMSSKCVZHU9s7lbaW81UvdJ95UQJ0HDSwRkJr2n++9XBTgEOg04dna7I8+HnkDK5fLjqscvOMX0p0MUKt9JmgVJPFONe11VSOwnqyDezNR/Py/uHFXJci9eeWESk5n6QjL1p/lf/zLN8peQPG0JyRVQEWczdZvnuwdNy/wtibzsPtmRGL5ZJ2nk5XCZbrRslxJvlWGhKNRMXR9rkRfEaqnhIfKHKIm89Nt+d+cn0c7Lg2UQBvlLoUtVIv/hl02cpN4yBFMPhuX5VHdx8Up9FPhpkiXr/B7Uacl6HfjktZWu5mqgaT6N99EiyjPFT/ZxPlPN4y2l/OaXFUA4tlSlbPTnZAVm6Pf631SNFm5I2k3JT58+UWGtqmo+XSdxXaMB3VO05OFbnPyIF/gdVAl2oNh8mv2ufPdCuGNgjX4SJqmSQ3eAGcWd2ItIKfHZC4NlGqDY2ouC8KW8beKNogcruSgAPPGmVtZQ/l2iVFWXi9+WVQXxihwIgOC0anv2tknkoeCryhp6qc5r2z+8nn8EYag8eXH2CoNzOtLNcqYuFnrxD0vUgL+taHkCJlPD+/tp36Nab9rI5xR9lbV8gq+yc+hXnt5q1NvAH3UUXl+6MGMPFt6bgVuDmzR4AW/Mp8BQOUnjBTpR9fn5ZQfRGAOZlh5VyPVIb1LvxTDtkwJaUeF8ukzSFZA3ZSRkgvLWfBqSdQ7dnwabLf6fJzv4u0zyHJhuPl0F3iaJvRA+arRE9QGa45MwfEKC/8+61m3poP2wPmEwYCPkA6Q9/AhNqT6WGssLqKFRyK0LmW8WUrzdLnxZgPJCdXkF+uurx6Ll9fXfw2ATR+S0wNc0yYmfFyNb4RQNO06Mf9uOtvGyEAyAtL+rrr8IvXFP1/+2j5YkXRSTh7qTMZDqK5EuMHln9kh8gFI6ok/iI/HhoXzpP9J/pP9cbzyV8SXjS8aXjC9YMBWLtz96Pi/5R/KP5B/JP5J/yv05ub/RzYcSH4kPz3gh/Uf6j/Sf6803ZHzJ+JLxJePrz5rPS/6R/CP5R/KP5J9yP0Hur3bzocRH4sMzXlx0qEoW4jmSJtGT6FUnWSsgJIlLEpck3oyJP44lZfTJ6OOJPuk/0n+k/1xvy0bGl4wvGV8yvv6sLVHJP5J/JP9I/pH8I494DvmVt3yE3z1eSHwkPjzjqfSf9+k/2mk2jzK3x0laD8u5KKuHclifT+8Bo3F/TpBj6SrPR5HWocgP81aKjtHb+RmoJac5Q4zqZ2c0RQS9PvFvzJXi0aQhyjZJg9/hsQ9mT/IhiwhJVeVH6u2eyQFSkBSmaYd1K5XJSVsx6dP5/CdVW2Hf/CSnCbWnnL3Rq/djLcD9gawF8D+QtZD16zrWYsafAV5rjIu8Y+WksddvYZVdWNv8ASf12DJDz/GqiuOyBJc3Q0q6PPBPohETFb0KQLamwAB1K02BrHwfpCnIkZ3EeH751jkYDNbZpFcW8n/D3TBcqsMBvUbQqGCPnJs0lGk47QWXes3AHhY6lB/rBk/AuUEZiiydxoRFL0Vz2HOVIYPaM8TxmVC7xqBwNWNZXA7ofBhJNsdbnhH2LMEBGJTeME1fJ29PrjuP4bePzlyamDUJgwdBpiDuh5POTj6IuXQG8i7M5V4dgre9tfLs7zmQuOaEvmY9yOFZ5ADtngf3GuywcJ7AeKkbUq2wz8Z4Y07f3xY6/A4ZbN57W+gewbtsy8nYgB87x4bLO4VpPsAyxPba3BMUjaUti5VnnZwFzGsZxjR+4ZZBZ5dTK5vjwSCgiknoWZgYuYDuWr3L+GFsC8z6P8gKv5+j6UzxFvqFzipvoS10ynkLbaHz0VtoC51Q3kBbXDou3EJbLp/WcK0zrzFvdm+Ix9wb4jH3hnjMvSEeM/QbIjJDf29MVpxRgFMJJ68eab145HiIQcF36sBbdpIwTH6QlfJPeKFKGgbxN3g1UnEmAV+StNwHYR7EeEQBnHAbrFYEX2+FuycMimA9LkYRTObFKALWFqMIaEaIIlMU2KYosE1RYJuiwDZFgT0SBfZIFNgjUWCPRIE9EgU2vO5ITIhYosC2RIFtiQIbDo+JwcgWBbYtCmxbFNi2KLBtUWCPRYE9FgU2vjNRyHA0FgX2WBTYE1FgT0SBPREFtgv7rUJ6zYUNQiGKDF2USYYuziZYngpqHcxlxWiC90yK0iQMcUMY4oYwxA1hiJvCEDeFIQ6vlBTkBaYwxE1hiI+EIT4ShvhIGOIjYYiP2BB/td5uFodxs3O5/ap4i4rYyzc7h718s0vYyzc7gr08J34tYmGuv0Un7OU58WtRB3v9nPi1aIK5/hY5sJfnxK9FBOz1c+JnNWmWuX6LM34tTvwszvi1OPGzOfGzOfGzOfGzOfGzOfEbc+I35sQPf01zMiln9v8xJ35jTvwmnPhNOPFzm+taZvzc5nKWubyhcxpg6NwWNHctLmgCFOHxQaP1zITdAoMXRIMXRIMXRIMXxNazEHYQW89ALlDAC2LrmccFFvCC2HrGwW5B69nGBQp4QWw9y7jAAjYQf0vSyAvp48/mfmPxEvX2I8+vJMUT2LREcwCwzz0kzfKXkBiWNXFGhmkaFoJcPm0dJI5jRCluDtGOlF6KWwPExxj5pfh4iDh2TynuDBGfHMVHA8QnuGNUap90iTuuY7uOpeMWTCXeiWQlb+JqrZLvbCyVx9llJT/EHtOp7elEp9Jv4ROgSr87oL3gQFQefoVw5mk8dbRKv63X8mef3rflcTVU2uN0uhronwCYDm7Pl/JwIqrbnkLeObomnNTpl3fx2EipH0+QDCiAu6CVQX0dhga5yJeVfF8HFPK4XKIG9SE6sQ27OLZcFnA6AwARRXn8dUkl34soyuPmfyXf2wCQN3GqUsl3skNlj1lHmNMLKOrH576lfji72NNhKI/rp8qevghGfMza45xeD0L5OiLdor/qdB5wWmZ1WB/PyRTW5t4yJE/I1if3lRVZe/swfz5+OVPrz/8iq2AfAaFXUl+D70leqJip9edfg802B6YFRCAlxq9ZXvyv7NNgpv7358eJ++XnhXnn6I/OnTUi9p1rP365s63Pj1++LFzd1D//D2CKwjh7OBjWTN3m+e5B0zJ/SyIvu48CP02yZJ3f+0mkJet14BMt26XEW2VbQvIo1ExddzVXi7wgxowlhvWQhSCVVo2tjH+q783Uk4vSfLReA/PLv0UjtIJBnrCS+f8BAAD//wMAUEsDBBQABgAIAAAAIQDnZXW41gAAALgBAAAjAAAAeGwvd29ya3NoZWV0cy9fcmVscy9zaGVldDEueG1sLnJlbHOskMlqAzEMQO+F/oPRPdZMDqGUeHIJhVxD+gHC1ix0vGC5afL3dSiFDAR66VHb05O2u4uf1ZmzTDEYaHUDioONbgqDgffT2+oFlBQKjuYY2MCVBXbd89P2yDOVOiTjlERVShADYynpFVHsyJ5Ex8ShVvqYPZUa5gET2Q8aGNdNs8F8z4BuwVQHZyAfXAvqdE1189/s2PeT5X20n55DebACz37eZ/qqx1Uq5YGLAa3R/eTkrt7q2gv42Gn9n042+puuLIx+k62u/7tp4OLf3TcAAAD//wMAUEsDBBQABgAIAAAAIQCFvGtscQYAAL8UAAAYAAAAeGwvd29ya3NoZWV0cy9zaGVldDIueG1slFjbbuM2EH0v0H8Q9B6Zd0pG7MX6fku66La7z4rMJMLalispl23Rf+9QsiyRFBbbBLDlwzNDcmY4HM3th/fjwXtVeZFmp5GPA+R76pRk+/T0NPL//GNxE/peUcanfXzITmrkf1eF/2H86y+3b1n+rXhWqvRAw6kY+c9leR4OBkXyrI5xEWRndYKRxyw/xiX8zJ8GxTlX8b4SOh4GBCExOMbpya81DPOf0ZE9PqaJmmXJy1GdylpJrg5xCesvntNz0Wg7Jj+j7hjn317ON0l2PIOKh/SQlt8rpb53TIbrp1OWxw8H2Pc7ZnHS6K5+OOqPaZJnRfZYBqBuUC/U3XM0iAagaXy7T2EH2uxerh5H/kc8vMfMH4xvKwN9SdVb0Xn2yuy8U4/lVB0OQGa+px3wkGXfNHO9H/kIdBbqoBJtCi+Gr1d1YWMCTvzrMg3Rcwyuk3SfmwkXldM+5d5DXKhpdvia7stniA4Ijr16jF8O5e/Z20qlT88loLCWyiDD/feZKhJwi15Ms5FZXMbj2zx788C/GNZxjnW04CHIjW8TjX7U8MinsEoQLQB+HWN2O3iFtSUXzuTKAcWV1NRBZg4yd5CFgywdZOUgawfZOMjWQXYOcucg911kAGa62kr7rMdWGq5cob3Y5VOT71W+Ac83RtbjI7/yfmW/SQ3A59XoyLT5tGaAf68MbDJmLoOYjLnLoCZj4TIs3y9dBjd1rFyGMBlrlyFNxsZlhCZj6zIik7FzGdgy6l0PxbLqfU3hXbu3ZjWcDr7pBknldKkzQX2w9PDIF11FlvUnNUVWh44FhEeCsjAMGQ0xpeH8pp24PnU1P6z4NBAcY8wFDoXAhEvh8GddPgkYZUhKJCOMJEdMOvx5l88CxIWMOKY4ZDxkGPjW+hddPgowDwnmCCPMcBTK0GIvu2wSEIoJlZQQjjnB1FnMqksH5RESIqIS40hIzrilfG2xpWAS8TAklJOIYYu9sdgh4ZzLEEWUIkFCO/S6bBogZjrKWfmuy8dBbQwSCcwEYsx1012XHwYYUx4hIqiIsAgpd8x+X/OjKgzAMijilDIRch6FVMp2r0a0QiB2o7WJUg1b6Z9Yx3dy5VzTv4PMHGTuIAsHWTrIykHWDrJxkK2D7LqIYQfZa4elhntTu67BOldBdcq5uJ5yPQxyXN+5dWq/Ip3MbaXMaR/Hsvqsj2OlzXkfx4reRQ+HWHlxeeHA1/W2IVZiXPXpsRLUuoeDrTS96eGQNmYrG277ONbFtOvh4HY9hs+jHh+GbQmkh8GHEDLt7i2PTS6cOlfDoWM0Mv7Mu2hq0y1jzozxKBDI+CNOTpkbAjIQxuRR5AgsDAFYcGjtaGkQYEbLBytjHAXI2sLaGOeBNHaA3C1s/q/A1hDQic4OAZvA21gz/I91odc5xE3yq3Ar+1Hr/ExaUnPEpy40c6G5Cy1caOlCKxdau9DGhbYutHOhOxe6NyDTdFYprE8KgQsoeSnK7Fi/rMDZ8au8KNrqp3rtgYGoTYwXiFTvJ3VB00Ag3x49K8nNGlL3FYVYXpr3ktpwqKZb9JGonQt7SVbwr3pJbfapplv3kqxjtuklWYG+7SVZB3rXkKCCvRqTtreK6VZd5nZOxA/dCrfb9cTU5TG4Vb8oWp6a4HqUdKtnapGmDUnfoa9jDmUmk1C5wD9iIcLYyUSzRqJJvhRjCVUmVIOCS6irLLvPbT5jEuojKDQRp0iyqLXJJSwuy671hwEjjEdQS0ExGyJE3MJ3ac9AMBTjBKpfqFEl58KKzpXJF4GkUMVGoeAECYYIVL9WWKxNCXg5APWQ8zGH4hdBhe1IbEwJK6q3PxzdNaP1q0Ura8aMrjs7MXOJibluQli1U93iqNsPR5U/Vc2QwkuyF92goOD5K9rpwOhUYeNiCKVcD451ywbrkcFVBFoo5/hJ3cX5U3oqvAO0bKAbEkgIx7zul9Q/oJ1TpayHrIQcVmcvaI4paIegAMiPWVY2P2ACrfOzKl/OXpan0GGp+l0j/5zlZR6nJaQ+wP/OYOAwO6cjn8EbB7iXRJCwoLtXpok7AGrVe7kryurbe8lB7h8IBYg2im8+igm64fqDCIlupCR4IqcogjLh36YPdnz/uSbYMU4G6j1RVdMvrJt+YOb34afdF+8u20N/DVpLv53UJ9hm9fz1Myy4etTWhWXWn9ViB29N63H8HwAAAP//AwBQSwMEFAAGAAgAAAAhAPtipW2UBgAApxsAABMAAAB4bC90aGVtZS90aGVtZTEueG1s7FlPb9s2FL8P2HcgdG9tJ7YbB3WK2LGbrU0bxG6HHmmZllhTokDSSX0b2uOAAcO6YZcBu+0wbCvQArt0nyZbh60D+hX2SEqyGMtL0gYb1tWHRCJ/fP/f4yN19dqDiKFDIiTlcdurXa56iMQ+H9M4aHt3hv1LGx6SCsdjzHhM2t6cSO/a1vvvXcWbKiQRQbA+lpu47YVKJZuVivRhGMvLPCExzE24iLCCVxFUxgIfAd2IVdaq1WYlwjT2UIwjIHt7MqE+QUNN0tvKiPcYvMZK6gGfiYEmTZwVBjue1jRCzmWXCXSIWdsDPmN+NCQPlIcYlgom2l7V/LzK1tUK3kwXMbVibWFd3/zSdemC8XTN8BTBKGda69dbV3Zy+gbA1DKu1+t1e7WcngFg3wdNrSxFmvX+Rq2T0SyA7OMy7W61Ua27+AL99SWZW51Op9FKZbFEDcg+1pfwG9VmfXvNwRuQxTeW8PXOdrfbdPAGZPHNJXz/SqtZd/EGFDIaT5fQ2qH9fko9h0w42y2FbwB8o5rCFyiIhjy6NIsJj9WqWIvwfS76ANBAhhWNkZonZIJ9iOIujkaCYs0AbxJcmLFDvlwa0ryQ9AVNVNv7MMGQEQt6r55//+r5U/Tq+ZPjh8+OH/50/OjR8cMfLS1n4S6Og+LCl99+9ufXH6M/nn7z8vEX5XhZxP/6wye//Px5ORAyaCHRiy+f/PbsyYuvPv39u8cl8G2BR0X4kEZEolvkCB3wCHQzhnElJyNxvhXDEFNnBQ6Bdgnpngod4K05ZmW4DnGNd1dA8SgDXp/dd2QdhGKmaAnnG2HkAPc4Zx0uSg1wQ/MqWHg4i4Ny5mJWxB1gfFjGu4tjx7W9WQJVMwtKx/bdkDhi7jMcKxyQmCik5/iUkBLt7lHq2HWP+oJLPlHoHkUdTEtNMqQjJ5AWi3ZpBH6Zl+kMrnZss3cXdTgr03qHHLpISAjMSoQfEuaY8TqeKRyVkRziiBUNfhOrsEzIwVz4RVxPKvB0QBhHvTGRsmzNbQH6Fpx+A0O9KnX7HptHLlIoOi2jeRNzXkTu8Gk3xFFShh3QOCxiP5BTCFGM9rkqg+9xN0P0O/gBxyvdfZcSx92nF4I7NHBEWgSInpmJEl9eJ9yJ38GcTTAxVQZKulOpIxr/XdlmFOq25fCubLe9bdjEypJn90SxXoX7D5boHTyL9wlkxfIW9a5Cv6vQ3ltfoVfl8sXX5UUphiqtGxLba5vOO1rZeE8oYwM1Z+SmNL23hA1o3IdBvc4cOkl+EEtCeNSZDAwcXCCwWYMEVx9RFQ5CnEDfXvM0kUCmpAOJEi7hvGiGS2lrPPT+yp42G/ocYiuHxGqPj+3wuh7Ojhs5GSNVYM60GaN1TeCszNavpERBt9dhVtNCnZlbzYhmiqLDLVdZm9icy8HkuWowmFsTOhsE/RBYuQnHfs0azjuYkbG2u/VR5hbjhYt0kQzxmKQ+0nov+6hmnJTFypIiWg8bDPrseIrVCtxamuwbcDuLk4rs6ivYZd57Ey9lEbzwElA7mY4sLiYni9FR22s11hoe8nHS9iZwVIbHKAGvS91MYhbAfZOvhA37U5PZZPnCm61MMTcJanD7Ye2+pLBTBxIh1Q6WoQ0NM5WGAIs1Jyv/WgPMelEKlFSjs0mxvgHB8K9JAXZ0XUsmE+KrorMLI9p29jUtpXymiBiE4yM0YjNxgMH9OlRBnzGVcONhKoJ+ges5bW0z5RbnNOmKl2IGZ8cxS0KclludolkmW7gpSLkM5q0gHuhWKrtR7vyqmJS/IFWKYfw/U0XvJ3AFsT7WHvDhdlhgpDOl7XGhQg5VKAmp3xfQOJjaAdECV7wwDUEFd9TmvyCH+r/NOUvDpDWcJNUBDZCgsB+pUBCyD2XJRN8pxGrp3mVJspSQiaiCuDKxYo/IIWFDXQObem/3UAihbqpJWgYM7mT8ue9pBo0C3eQU882pZPnea3Pgn+58bDKDUm4dNg1NZv9cxLw9WOyqdr1Znu29RUX0xKLNqmdZAcwKW0ErTfvXFOGcW62tWEsarzUy4cCLyxrDYN4QJXCRhPQf2P+o8Jn94KE31CE/gNqK4PuFJgZhA1F9yTYeSBdIOziCxskO2mDSpKxp09ZJWy3brC+40835njC2luws/j6nsfPmzGXn5OJFGju1sGNrO7bS1ODZkykKQ5PsIGMcY76UFT9m8dF9cPQOfDaYMSVNMMGnKoGhhx6YPIDktxzN0q2/AAAA//8DAFBLAwQUAAYACAAAACEALNTALjsFAACQDQAAGAAAAHhsL3dvcmtzaGVldHMvc2hlZXQxLnhtbJxXW2+jRhR+r9T/gHgPzP1i2V5t4lwc7aqrbrv7jGFsowXjwiRxtup/7xkutgE3ivqCMfOd71y+M8Nh+uGQZ96zKau02M18HCDfM7u4SNLdZub/+cfdlfK9yka7JMqKnZn5r6byP8x//WX6UpQ/qq0x1gOGXTXzt9buJ2FYxVuTR1VQ7M0OVtZFmUcW/pabsNqXJkpqozwLCUIizKN05zcMk/I9HMV6ncZmUcRPudnZhqQ0WWQh/mqb7quO7ZC8iy8poxfItYvnLMRFs3Lkw2wUX57GZVEVaxvERR42oY2z1KHu5ZnHI6ILxcqj8sfT/gqI95DcKs1S+1qn63t5PFludkUZrTJQ5IBZFJ9FGY3p3x8nMM2nSQq1dQ3hlWY98z/iySPzw/m0Vu5bal6qs3vPRquvJjOxNQk0kO+5xlgVxQ8HXMIjBIxVDXCMUWzTZ3NjsmzmPxDorb9qHw+k9REencynp/vO4V3dTV9KbxVV5qbIvqeJ3YJX6NrErKOnzJ4eqkBRgigm/Lj4e/HyYNLN1oIJg5K5yk2S14WpYmgmFypkGRcZuIOrl6duS0C9o0OTWesNB0BZ2VdXfVhemcrepY7T9+KnyhZ5F1ZL1xBBsjWRgBI1ROcRdnSkZyNbG9iEb9jgno1ubeC3tcEQWMf//nhdUZvM4ebIdFbU/0EJ3htKQRUI8EZOLqWwkaLuiEVko/m0LF482NYun33kDh08cWE6QYmCPovd6ke3XIPgcQVPn+ccTcNnR9hCrlsIaHLEUNnH3LQYeo7RfcyiwRCo9ZGHDXzdXsLgPs/dJQzpY+4bDIV8T75oH/NwCcP6mGWLgZ8Tj+hjHi9h+BETgg5HMdwmHoqB+VEMtwxigNonb4NKXzcYSmutELQY04xoSqgWiuqRMC2ctXApuCCn4OoeWAww7igQGAklESEaoUFtb4dwJpTSmhPMKUZaD+B3IzjDnCvWXY+FqmO5b9GuJs9zSI9IShUmmmnBEFEDfepTceYz0sExgQw1lwyCQooNpFo27Cc4k5hSyaUWWCrKVT+YxxZ+qjUmgnOkhGJKQOGP8J7IsAneEtktD0UeOL5uMFS0aWECqSPNFMwBWPJBVjctWnboCxIPIUQSIpgAwRglfNBjtz20DriAvpJaAxYJQm6vhhL38CjAGDqCnq4D+vsW7g4hpzEmhCLonlbr4TZt0KzrYExBK4B3Qg+aeTmEY8wENI/CnCgx6v3HFt71GwQNGCgLllRoSf5DYtihb0nslvuH6lmv1H1+3UCormvAAialwFhDi2vFkRzX+KYxYG5CeJ7LAPYEHwmx6IFYgCQmsBGwhj3ECJEjg9ueAQ8kw4IICScKV1QSMTK46xnQQMHOQfR4HeHvWzyuw+YBolxDUJ3gYwcPrUHT+jyAc4gqoqWShDJE6cjDsmfAAswQ9AZVilMOE83YA8xnTh3WbBceEDi0sII2wYxqgnpVbfZ1M1s1b9V9tDGfo3KT7iovM2s4p1EAk0fZTEr1vS329VMYfFaFhRGn+7eFid7ASxcF0HXrorDdH3h/O96vxj7tvaJMYcCqh/SZvy9KW0aphfc2PP9ZwEK22KfuyHNHIjQonFHwSWLTeLwAtJnZRPFrO5575SRNZn65TOopyBzsp8rOp/DrPZXA+TccsQhqh68+imt0xd0FugFdSUnwtbxBWiD0Tzc+5zDoDb5jLs7OeRSH5hCb+itGNdP9fJofJl8+ffM+FwkMhvCa/m1nvkAJ6vvvXyGZ+tYNNhBec62DDV+6b6n5vwAAAP//AwBQSwMEFAAGAAgAAAAhAL639HWcAgAADwcAABsAAAB4bC9kcmF3aW5ncy92bWxEcmF3aW5nMS52bWzsVctu2zAQvPcrCObgiww9krgpIwkIUuTWFmj6OAa0RFtM+BDEtSzn67ukZCdu0CJoD71UsKXVcri7MxxA+aAVwb9xrC/opjPMVY3Q3M21rDrr7ArmldWs14q+mYD2d0C7WslKsPFx2DK8YosYKvHUROM4DUDL4ljz6ptWt2Gur52k5RuSW+Ya3grFd3YDpGdigIKKWoJf9cuy1rw9WiA1B17QlMa+QHxUocz7sSDsWkFkXdC7IcHrDrIko6SytqudfBQFzdJFkkThTgnWaLGvx2DXlkNTUJ1EiZoQI+7ongxiHBEbQmcfBLm30jjYKSyuJYguzEdwIF+PrDteS2Eg0LUPBQXftrLGiAr8tAXtMJpIPWNxoPScjkuT7JyScd/JEcdxhFlrnQRpDeNLZ9UGxCUy07xbSzNXYgVscdHC5ZQA27L09AwTW1lDw9LMx42Q6wZYlmD8OJemFgNLfZleOrmUSsKONbKuhbnUzs63HW/noTsDv3FGVlKpyirbFfRkhZdIPWdUSYC2NTLmG7B7FT0YDwjR2RPcH7GXEFWr7ZZYM+q2dNWmE3i6o14HkX8S1FgjDqcAaK2lHcikj5+4ll5yFGnOFTA/zMz3I3kt+z3Ob8NluTbMyzYr8xhXw1hxz6ai4XVg18qf8Hu0J/m0vMfSX8K5frQweoXkA/tge/FdQnMtlHKBns/eoidfZq9M1dgujESSiCwuIoK/84icRiR9G5F3+EjzeGDPgFjsConcoJrlDVdOhPV9JrAb2Ge7LcNGH0y5a3SJNmXi8VPstfdvB1qIzZF18PAvfbn4O1+mWXpszOzJlqmP97b0sL0ts/+2/De2TNGPWeTdifezYE4fn/6pK4P9XroymPV1rozxK1j+AAAA//8DAFBLAwQUAAYACAAAACEAozz4M/sCAADRCAAAFAAAAHhsL3NoYXJlZFN0cmluZ3MueG1snFZRb9owEH6v1P9g5anVSANdO40JqBAMrQ8daNBNezTOhZzk2Mx22Pj3OwcoyIGN9s3cfef77u47h87Dn0KyFRiLWnWj1k0zYqCETlEtutHzbBR/jJh1XKVcagXdaA02euhdXnSsdYxile1GuXPLT0liRQ4Ftzd6CYo8mTYFd/TTLBK7NMBTmwO4Qia3zeaHpOCoIiZ0qVw3un8fsVLhrxIGW0Mr6nUs9jquN+KilG7NfqPLGRc8hQIF4+kKLZFkBuxSK4tzlOgQbCdxvU7iQ7fhpZSxwwLYxOgMrC+USzZ1PMtY39+iTRjT32XxbCzIOmJCHfP3JE+gHF33BbgkeifxQzQgnDZMb5MS9aTK7mvopwUqtM5wgoRkiPZKWxeav6PwJYHFlCgwunprqdDsCpWQpR8j41SzH6GzDX/WArkDOoMTN9fhtUPg6u3Buyrfmn2gtSHOx9owyBEy9qg2sqIhsnGWUQ8Muxo8jq9ZwjaIGYhcaakX6wPAbFwr9FBWunRvUNbY5T77RAK3wOwSBGbrWp4fOXdsDrQtKVhhkI5srUvDHDoJjJzVL1SWDKWjwh7Cmcx2yMc9KMRMXVnpYApmRV2prcHO388yjqbm/qyMlrLwSnriii/AH8McXqbV/tTCn1UKZmF4WpK0aLdIeHUKL1u1033t/t3azUraA5JuCBiRNBTJV7I+pqHzoDkE+AYWuBF5iHohQWtFhAvSzRCW3Liq9qvpa6eYlUr4oVFKTm/cWfMc7WP6FFOjuH8NcAXsWWFtEpNyLlE02F28pir98vO5XkF408Tgyg9EaRfT3sRLegHRnR32mpAtoduK0Lk8/o0+TH8Cuc0q6VmPXU4v1wnciT6cG3fI5H8xM03fg7AB05fH/0ClIahaInZ50Wo0m83QWRlZTO77Y+7KWLlbzWP+jXUDaDfa7XZ4/20V9q5mjn+SwELrXWUlLluBnfZXAwrd/YWBmla/Qknfv1rnhmj5MfgUJPWUFm9/eUJ/SXp/AQAA//8DAFBLAwQUAAYACAAAACEA2WYniZEBAAAv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PGzEQhu9I/Q+W78RLilAVeY0QtOJQ1IgEep56Z7MWXnvlGZakv77erEI29FCpt/l4/frxePT1tvWix0QuhlJezAopMNhYubAp5dP62/kXKYghVOBjwFLukOS1+XSmlyl2mNghiWwRqJQNc7dQimyDLdAst0Pu1DG1wDlNGxXr2lm8i/a1xcBqXhRXCreMocLqvHs3lKPjouf/Na2iHfjoeb3rMrDRN13nnQXOrzQPzqZIsWbxANYFjtSIr1uLXqupTGfOFdrX5HhnCq2mqV5Z8HibrzA1eEKtjgV9jzCMbwkukdE9L3q0HJMg9zsPcC7FLyAcwErZQ3IQOAMOsjHZx74jTuZnTC/UIDJplQVjcR9OtdPYXZr5XpCDU+FgMILkxini2rFH+lEvIfG/iPcMI++Ic9P5mBzdAcMU8h13FVsUj/AmPipOgD4gfHfhhZ66dcyH8DDi06JeNZCwyr9y6B8L+j5PN/nB5LaBsMHqoPm7MazG87j/5uJyVnwu8l9PalodN938AQAA//8DAFBLAwQUAAYACAAAACEAdP7pBA8BAAAiAgAAEAAAAHhsL2NvbW1lbnRzMS54bWy8UMtOwzAQvCPxD9beqZMcUEGxKzgUIXFAonyAiTeNJT8ir1ulfD1b0nDgxAnJsjzj2ZnRtpspeHHETC5FBfWqAoGxS9bFvYL33fZmDYKKidb4FFHBCQk2+vqq7VIIGAsJNoikYChlvJeSugGDoVUaMfJPn3IwhWHeSxozGksDYgleNlV1K4NxEXRrDmVImZaH1K38oS45L46KXkJFxl7BYw1ilj1bBRX7FJxYlPm88vXBPvQpjsYruAMGXfIpCxctTsgT6/pM5m2KZRbtzJCCOZO9Cc6fZrY5E/LbseinnA6jsEhddmPhnVErOVJynJzT5aXwr7IPzf+XfcPskP7Yduk9L3pBpL8AAAD//wMAUEsDBBQABgAIAAAAIQCz6T46NQEAABI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V9LwzAUxd8Fv0PJe5umY0NC24HKEHEgOFF8C8ndFmz+kFzt9u3N6qyT+Xg55/445956vjNd9gkhamcbwoqSZGClU9puGvK8WuRXJIsorBKds9CQPUQyby8vaum5dAEeg/MQUEPMEslGLn1DtoieUxrlFoyIRXLYJK5dMALTGDbUC/kuNkCrspxRAyiUQEEPwNyPRHJEKjki/UfoBoCSFDowYDFSVjD660UIJv67MCgnTqNx71OnY9xTtpLf4ujeRT0a+74v+skQI+Vn9HX58DRUzbU93EoCaWsluQwg0IW2pqdDOlwnIi7Tjdca1PW+vXdW4FbY7M6FBABta3ruSsShADfHzSxl4t8NfqSXyc3takHaqmTTnFV5Wa0qxidTXs7eDin+AlKwsy+2XwAAAP//AwBQSwECLQAUAAYACAAAACEAeWJDn34BAAD4BQAAEwAAAAAAAAAAAAAAAAAAAAAAW0NvbnRlbnRfVHlwZXNdLnhtbFBLAQItABQABgAIAAAAIQBQfE7B9gAAAEwCAAALAAAAAAAAAAAAAAAAALcDAABfcmVscy8ucmVsc1BLAQItABQABgAIAAAAIQAT+O2w+QAAAEcDAAAaAAAAAAAAAAAAAAAAAN4GAAB4bC9fcmVscy93b3JrYm9vay54bWwucmVsc1BLAQItABQABgAIAAAAIQByEIHvzwEAAAQDAAAPAAAAAAAAAAAAAAAAABcJAAB4bC93b3JrYm9vay54bWxQSwECLQAUAAYACAAAACEA1MKhMX4JAAAOjwAADQAAAAAAAAAAAAAAAAATCwAAeGwvc3R5bGVzLnhtbFBLAQItABQABgAIAAAAIQDnZXW41gAAALgBAAAjAAAAAAAAAAAAAAAAALwUAAB4bC93b3Jrc2hlZXRzL19yZWxzL3NoZWV0MS54bWwucmVsc1BLAQItABQABgAIAAAAIQCFvGtscQYAAL8UAAAYAAAAAAAAAAAAAAAAANMVAAB4bC93b3Jrc2hlZXRzL3NoZWV0Mi54bWxQSwECLQAUAAYACAAAACEA+2KlbZQGAACnGwAAEwAAAAAAAAAAAAAAAAB6HAAAeGwvdGhlbWUvdGhlbWUxLnhtbFBLAQItABQABgAIAAAAIQAs1MAuOwUAAJANAAAYAAAAAAAAAAAAAAAAAD8jAAB4bC93b3Jrc2hlZXRzL3NoZWV0MS54bWxQSwECLQAUAAYACAAAACEAvrf0dZwCAAAPBwAAGwAAAAAAAAAAAAAAAACwKAAAeGwvZHJhd2luZ3Mvdm1sRHJhd2luZzEudm1sUEsBAi0AFAAGAAgAAAAhAKM8+DP7AgAA0QgAABQAAAAAAAAAAAAAAAAAhSsAAHhsL3NoYXJlZFN0cmluZ3MueG1sUEsBAi0AFAAGAAgAAAAhANlmJ4mRAQAALwMAABAAAAAAAAAAAAAAAAAAsi4AAGRvY1Byb3BzL2FwcC54bWxQSwECLQAUAAYACAAAACEAdP7pBA8BAAAiAgAAEAAAAAAAAAAAAAAAAAB5MQAAeGwvY29tbWVudHMxLnhtbFBLAQItABQABgAIAAAAIQCz6T46NQEAABICAAARAAAAAAAAAAAAAAAAALYyAABkb2NQcm9wcy9jb3JlLnhtbFBLBQYAAAAADgAOAJ4DAAAiNQAAAAAFIwAAAB9BcGxvcmlzLkJhc2UuT2JqZWN0cy5UZXh0Rm9ybWF0DAAAABJEYXRhT2JqZWN0K21QYXJlbnQVRGF0YU9iamVjdCttQ29udGFpbmVyCW1Gb250Qm9sZAttRm9udEl0YWxpYw5tRm9udFVuZGVybGluZQltRm9udFNpemUJbUZvbnROYW1lEG1Gb250RmFyRWFzdE5hbWUKbUZvbnRDb2xvcgltTW9kaWZpZWQSbUF1dG9Db2xvckRpc2FibGVkCm1BdXRvQ29sb3ICAgAAAAABAQQAAAQBAQELGkFwbG9yaXMuQmFzZS5PYmplY3RzLkNvbG9yAwAAAAEBGkFwbG9yaXMuQmFzZS5PYmplY3RzLkNvbG9yAwAAAAMAAAAKCgAAAAAAQEEGdgAAAAVBcmlhbAZ3AAAABittbi1lYQl4AAAAAQAJeQAAAAckAAAAAAEAAAARAAAABBRTeXN0ZW0uRHJhd2luZy5Db2xvcgQAAAAFegAAABRTeXN0ZW0uRHJhd2luZy5Db2xvcgQAAAAFdmFsdWUFc3RhdGUKa25vd25Db2xvcgRuYW1lAAAAAQkHBwQAAAAAAAAAAAAAAAAAAAAKAXsAAAB6AAAAAAAA//////8CAAAACgF8AAAAegAAAP//////////AgAAAAoBfQAAAHoAAABOQSL//////wIAAAAKAX4AAAB6AAAA3tzb//////8CAAAACgF/AAAAegAAAH5pP///////AgAAAAoBgAAAAHoAAACMhHL//////wIAAAAKAYEAAAB6AAAAJSHt//////8CAAAACgGCAAAAegAAADQ7Rv//////AgAAAAoBgwAAAHoAAAB0mMP//////wIAAAAKAYQAAAB6AAAAHpT3//////8CAAAACgGFAAAAegAAAB6U9///////AgAAAAoBhgAAAHoAAAAlIe3//////wIAAAAKAYcAAAB6AAAAAAAA//////8CAAAACgGIAAAAegAAAP//////////AgAAAAoBiQAAAHoAAABOQSL//////wIAAAAKAYoAAAB6AAAA3tzb//////8CAAAACgQlAAAAmAFTeXN0ZW0uQ29sbGVjdGlvbnMuR2VuZXJpYy5MaXN0YDFbW0FwbG9yaXMuQmFzZS5PYmplY3RzLkRhdGFPYmplY3QsIEFwbG9yaXMuQmFzZSwgVmVyc2lvbj00LjAuMC4xNDg2LCBDdWx0dXJlPW5ldXRyYWwsIFB1YmxpY0tleVRva2VuPTE2ZmMxM2EyMjZjMGU5NTFdXQMAAAAGX2l0ZW1zBV9zaXplCF92ZXJzaW9uBAAAIUFwbG9yaXMuQmFzZS5PYmplY3RzLkRhdGFPYmplY3RbXQMAAAAICAmLAAAADQAAAA0AAAAEJgAAAJUBU3lzdGVtLkNvbGxlY3Rpb25zLkdlbmVyaWMuTGlzdGAxW1tBcGxvcmlzLkJhc2UuVUkuVmlzdWFsT2JqZWN0LCBBcGxvcmlzLkJhc2UsIFZlcnNpb249NC4wLjAuMTQ4NiwgQ3VsdHVyZT1uZXV0cmFsLCBQdWJsaWNLZXlUb2tlbj0xNmZjMTNhMjI2YzBlOTUxXV0DAAAABl9pdGVtcwVfc2l6ZQhfdmVyc2lvbgQAAB5BcGxvcmlzLkJhc2UuVUkuVmlzdWFsT2JqZWN0W10DAAAACAgJjAAAAAEAAAABAAAABSgAAACbAUFwbG9yaXMuQmFzZS5PYmplY3RzLkRhdGFPYmplY3RDb2xsZWN0aW9uYDFbW0FwbG9yaXMuQ2hhcnQuVmFsdWVMaW5l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WYWx1ZUxpbmUsIEFwbG9yaXMuQ2hhcnQsIFZlcnNpb249NC4wLjAuMTQ4NiwgQ3VsdHVyZT1uZXV0cmFsLCBQdWJsaWNLZXlUb2tlbj0xNmZjMTNhMjI2YzBlOTUxXV0DAAAAkQFTeXN0ZW0uQ29sbGVjdGlvbnMuR2VuZXJpYy5MaXN0YDFbW0FwbG9yaXMuQ2hhcnQuVmFsdWVMaW5l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Y0AAAAJjgAAAAkGAAAACQEAAAAJjwAAAAUpAAAAmwFBcGxvcmlzLkJhc2UuT2JqZWN0cy5EYXRhT2JqZWN0Q29sbGVjdGlvbmAxW1tBcGxvcmlzLkNoYXJ0LkF4aXNCcmVhay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QXhpc0JyZWFrLCBBcGxvcmlzLkNoYXJ0LCBWZXJzaW9uPTQuMC4wLjE0ODYsIEN1bHR1cmU9bmV1dHJhbCwgUHVibGljS2V5VG9rZW49MTZmYzEzYTIyNmMwZTk1MV1dAwAAAJEBU3lzdGVtLkNvbGxlY3Rpb25zLkdlbmVyaWMuTGlzdGAxW1tBcGxvcmlzLkNoYXJ0LkF4aXNCcmVh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QAAAACZEAAAAJBgAAAAkBAAAACZIAAAAFK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aAAAAAMAAAAJaQAAAAlqAAAACWsAAAABAAAAAAoKCWwAAAAAAAAACgAAAAAAAAAABS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gAAAADAAAACWkAAAAJagAAAAlrAAAAAQAAAAAKCglsAAAAAAAAAAoAAAAAAAAAAAUs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GAAAACQEAAAAAAAAAAAloAAAAAwAAAAlpAAAACWoAAAAJawAAAAEAAAAACgaTAAAAASUJbAAAAAEAAAAKAAAAAAAAAAAFLQAAAJoBQXBsb3Jpcy5CYXNlLk9iamVjdHMuRGF0YU9iamVjdENvbGxlY3Rpb25gMVtbQXBsb3Jpcy5DaGFydC5UaWNrTWFyaywgQXBsb3Jpcy5DaGFydCwgVmVyc2lvbj00LjAuMC4xNDg2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VGlja01hcmssIEFwbG9yaXMuQ2hhcnQsIFZlcnNpb249NC4wLjAuMTQ4NiwgQ3VsdHVyZT1uZXV0cmFsLCBQdWJsaWNLZXlUb2tlbj0xNmZjMTNhMjI2YzBlOTUxXV0DAAAAkAFTeXN0ZW0uQ29sbGVjdGlvbnMuR2VuZXJpYy5MaXN0YDFbW0FwbG9yaXMuQ2hhcnQuVGlja01hcm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lAAAAAmVAAAACQYAAAAJAQAAAAmWAAAABTAAAAAaQXBsb3Jpcy5CYXNlLlVJLlZpc3VhbExpbmUNAAAAC21TdGFydFBvaW50CW1FbmRQb2ludAttTGluZUZvcm1h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AAAAABwIAAAMAFVN5c3RlbS5EcmF3aW5nLlBvaW50RgQAAAAVU3lzdGVtLkRyYXdpbmcuUG9pbnRGBAAAAB9BcGxvcmlzLkJhc2UuT2JqZWN0cy5MaW5lRm9ybWF0AwAAAAgIAQEIAQEPU3lzdGVtLkludFB0cltdAQMAAAABlwAAACEAAADCwC5C5PGBQwGYAAAAIQAAAKCiGUTk8YFDCZkAAAC4AQAA/////wEBCgmaAAAAAQAKAAcxAAAAAAEAAAAFAAAABBVTeXN0ZW0uRHJhd2luZy5Qb2ludEYEAAAAAZsAAAAhAAAAoGIaROTxgUMBnAAAACEAAADCwC5C+86PQwGdAAAAIQAAAKyOpEP7zo9DAZ4AAAAhAAAAoKIZRPvOj0MBnwAAACEAAACgYhpE5HGEQwcyAAAAAAEAAAAFAAAABBdBcGxvcmlzLkJhc2UuQW5jaG9yTW9kZQMAAAAFoAAAABdBcGxvcmlzLkJhc2UuQW5jaG9yTW9kZQEAAAAHdmFsdWVfXwAIAwAAAAQAAAABoQAAAKAAAAAFAAAAAaIAAACgAAAAAwAAAAGjAAAAoAAAAAYAAAABpAAAAKAAAAAFAAAADzMAAAAFAAAAAQAAAAABBTQAAAAVQXBsb3Jpcy5CYXNlLlVJLkxhYmVsHAAAAA9tQW5jaG9yUG9zaXRpb24LbUFuY2hvck1vZGUPbUFkZElubmVyTWFyZ2luFm1PZmZzZXREaXJlY3Rpb25BbmNob3IXbU9mZnNldE9ydGhvZ29uYWxBbmNob3ILbVRleHRGb3JtYXQJbVJvdGF0aW9uCm1CYWNrQ29sb3INbVVzZUJhY2tDb2xvcg5tVXNlQmFja2dyb3VuZA5tTGluZUFsaWdubWVudAltVGV4dFNpemUPbUxhYmVsUmVjdGFuZ2xlFW1Jbm5lck1hcmdpbkxlZnRSaWdodAVtVGV4dAptVmFyaWFibGVzDW1WYXJpYWJsZUxpc3QO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AAAAEAAQAAAQEBAABAwMBAAAAAAcCAAADAB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DAAAAAaUAAAAhAAAAoGIaROTxgUMBpgAAAKAAAAAEAAAAAAAAAAAAAAAACacAAAAAAAAACagAAAAAAAWpAAAAKkFwbG9yaXMuQmFzZS5VSS5MYWJlbCtMaW5lQWxpZ25tZW50T3B0aW9ucwEAAAAHdmFsdWVfXwAIAwAAAAAAAAABqgAAAHIAAAAAAAAAAAAAAAGrAAAAFQAAAAAAAAAAAAAAAAAAAAAAAAAAAAAABqwAAAANQ2F0ZWdvcnkgYXhpcwoJrQAAAAmsAAAA5AIAAP////8AAQoJrgAAAAEACgEBNQAAACUAAAAJrwAAAAYAAAAGAAAAATYAAAAmAAAACbAAAAACAAAAAgAAAAE4AAAAKAAAAAoJsQAAAAmyAAAACQcAAAAJAQAAAAmzAAAAATkAAAApAAAACgm0AAAACbUAAAAJBwAAAAkBAAAACbYAAAAFO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aAAAAAMAAAAJaQAAAAlqAAAACWsAAAABAAAAAAoJkwAAAAlsAAAAAAAAAAoAAAAAAA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BAAAAAQloAAAAAwAAAAlpAAAACWoAAAAJawAAAAEAAAAACga3AAAAASUJbAAAAAAAAAAKAAAAAAAAAAAFP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QAAAAEJaAAAAAMAAAAJaQAAAAlqAAAACWsAAAABAAAAAAoJkwAAAAlsAAAAAQAAAAoAAAAAAAAAAAE9AAAALQAAAAoJuAAAAAm5AAAACQcAAAAJAQAAAAm6AAAAAUAAAAAwAAAAAbsAAAAhAAAAwsAuQuTxgUMBvAAAACEAAADCwC5ClO53QQm9AAAAuAEAAP////8BAQoJvgAAAAEACgAHQQAAAAABAAAABQAAAAQVU3lzdGVtLkRyYXdpbmcuUG9pbnRGBAAAAAG/AAAAIQAAAMLALkLCqCBBAcAAAAAhAAAAMmElQeTxgUMBwQAAACEAAAAyYSVBWbEJQwHCAAAAIQAAADJhJUGU7ndBAcMAAAAhAAAAMmElQcKoIEEHQgAAAAABAAAABQAAAAQXQXBsb3Jpcy5CYXNlLkFuY2hvck1vZGUDAAAAAcQAAACgAAAAAQAAAAHFAAAAoAAAAAgAAAABxgAAAKAAAAACAAAAAccAAACgAAAABgAAAAHIAAAAoAAAAAcAAAAPQwAAAAUAAAABAAAAAAEBRAAAADQAAAAByQAAACEAAADCwC5CwqggQQHKAAAAoAAAAAEAAAAAAAAAAAAAAAAJywAAAAAAAAAJzAAAAAAAAc0AAACpAAAAAAAAAAHOAAAAcgAAAAAAAAAAAAAAAc8AAAAVAAAAAAAAAAAAAAAAAAAAAAAAAAAAAAAG0AAAAApWYWx1ZSBheGlzCgnRAAAACdAAAADkAgAA/////wABCgnSAAAAAQAKAQFFAAAAJQAAAAnTAAAABwAAAAcAAAABRgAAACYAAAAJ1AAAAAIAAAACAAAAB0cAAAAAAQAAAAAAAAAELkFwbG9yaXMuQ2hhcnQuQ29sdW1uT3JpZW50ZWRDaGFydCtVbnVzZWRTZXJpZXMCAAAABEgAAACXAVN5c3RlbS5Db2xsZWN0aW9ucy5HZW5lcmljLkxpc3RgMVtbQXBsb3Jpcy5DaGFydC5DaGFydERhdGFTZXJpZXMsIEFwbG9yaXMuQ2hhcnQsIFZlcnNpb249NC4wLjAuMTQ4NiwgQ3VsdHVyZT1uZXV0cmFsLCBQdWJsaWNLZXlUb2tlbj0xNmZjMTNhMjI2YzBlOTUxXV0DAAAABl9pdGVtcwVfc2l6ZQhfdmVyc2lvbgQAAB9BcGxvcmlzLkNoYXJ0LkNoYXJ0RGF0YVNlcmllc1tdAgAAAAgICdUAAAADAAAADQEAAAFJAAAAJQAAAAnWAAAAAwAAAF8AAAABSgAAACYAAAAJ1wAAAAAAAAAAAAAABEsAAACcAVN5c3RlbS5Db2xsZWN0aW9ucy5HZW5lcmljLkxpc3RgMVtbQXBsb3Jpcy5DaGFydC5Bbm5vdGF0aW9uRGF0YVNlcmllcywgQXBsb3Jpcy5DaGFydCwgVmVyc2lvbj00LjAuMC4xNDg2LCBDdWx0dXJlPW5ldXRyYWwsIFB1YmxpY0tleVRva2VuPTE2ZmMxM2EyMjZjMGU5NTFdXQMAAAAGX2l0ZW1zBV9zaXplCF92ZXJzaW9uBAAAJEFwbG9yaXMuQ2hhcnQuQW5ub3RhdGlvbkRhdGFTZXJpZXNbXQIAAAAICAnYAAAAAAAAAAAAAAABTAAAACUAAAAJ2QAAAAAAAAAAAAAAAU0AAAAmAAAACdcAAAAAAAAAAAAAAAROAAAAlwFTeXN0ZW0uQ29sbGVjdGlvbnMuR2VuZXJpYy5MaXN0YDFbW0FwbG9yaXMuQ2hhcnQuQW5ub3RhdGlvbkdyb3VwLCBBcGxvcmlzLkNoYXJ0LCBWZXJzaW9uPTQuMC4wLjE0ODYsIEN1bHR1cmU9bmV1dHJhbCwgUHVibGljS2V5VG9rZW49MTZmYzEzYTIyNmMwZTk1MV1dAwAAAAZfaXRlbXMFX3NpemUIX3ZlcnNpb24EAAAfQXBsb3Jpcy5DaGFydC5Bbm5vdGF0aW9uR3JvdXBbXQIAAAAICAnaAAAAAAAAAAAAAAABTwAAACUAAAAJ2QAAAAAAAAAAAAAAAVAAAAAmAAAACdcAAAAAAAAAAAAAAARRAAAAlgFTeXN0ZW0uQ29sbGVjdGlvbnMuR2VuZXJpYy5MaXN0YDFbW0FwbG9yaXMuQ2hhcnQuQ2hhcnREYXRhR3JvdXAsIEFwbG9yaXMuQ2hhcnQsIFZlcnNpb249NC4wLjAuMTQ4NiwgQ3VsdHVyZT1uZXV0cmFsLCBQdWJsaWNLZXlUb2tlbj0xNmZjMTNhMjI2YzBlOTUxXV0DAAAABl9pdGVtcwVfc2l6ZQhfdmVyc2lvbgQAAB5BcGxvcmlzLkNoYXJ0LkNoYXJ0RGF0YUdyb3VwW10CAAAACAgJ2wAAAAkAAAAlAAAAAVIAAAAlAAAACdwAAAAJAAAAFQAAAAFTAAAAJgAAAAnXAAAAAAAAAAAAAAAEVAAAAJABU3lzdGVtLkNvbGxlY3Rpb25zLkdlbmVyaWMuTGlzdGAxW1tBcGxvcmlzLkNoYXJ0LkRlbHRhQmFyLCBBcGxvcmlzLkNoYXJ0LCBWZXJzaW9uPTQuMC4wLjE0ODYsIEN1bHR1cmU9bmV1dHJhbCwgUHVibGljS2V5VG9rZW49MTZmYzEzYTIyNmMwZTk1MV1dAwAAAAZfaXRlbXMFX3NpemUIX3ZlcnNpb24EAAAYQXBsb3Jpcy5DaGFydC5EZWx0YUJhcltdAgAAAAgICd0AAAAAAAAAAAAAAAFVAAAAJQAAAAnZAAAAAAAAAAAAAAABVgAAACYAAAAJ1wAAAAAAAAAAAAAABFcAAACTAVN5c3RlbS5Db2xsZWN0aW9ucy5HZW5lcmljLkxpc3RgMVtbQXBsb3Jpcy5DaGFydC5EZWx0YUJyaWRnZSwgQXBsb3Jpcy5DaGFydCwgVmVyc2lvbj00LjAuMC4xNDg2LCBDdWx0dXJlPW5ldXRyYWwsIFB1YmxpY0tleVRva2VuPTE2ZmMxM2EyMjZjMGU5NTFdXQMAAAAGX2l0ZW1zBV9zaXplCF92ZXJzaW9uBAAAG0FwbG9yaXMuQ2hhcnQuRGVsdGFCcmlkZ2VbXQIAAAAICAneAAAAAAAAAAAAAAABWAAAACUAAAAJ2QAAAAAAAAAAAAAAAVkAAAAmAAAACdcAAAAAAAAAAAAAAARaAAAAkwFTeXN0ZW0uQ29sbGVjdGlvbnMuR2VuZXJpYy5MaXN0YDFbW0FwbG9yaXMuQ2hhcnQuR3Jvd3RoQXJyb3csIEFwbG9yaXMuQ2hhcnQsIFZlcnNpb249NC4wLjAuMTQ4NiwgQ3VsdHVyZT1uZXV0cmFsLCBQdWJsaWNLZXlUb2tlbj0xNmZjMTNhMjI2YzBlOTUxXV0DAAAABl9pdGVtcwVfc2l6ZQhfdmVyc2lvbgQAABtBcGxvcmlzLkNoYXJ0Lkdyb3d0aEFycm93W10CAAAACAgJ3wAAAAAAAAAAAAAAAVsAAAAlAAAACdkAAAAAAAAAAAAAAAFcAAAAJgAAAAnXAAAAAAAAAAAAAAAEXQAAAJoBU3lzdGVtLkNvbGxlY3Rpb25zLkdlbmVyaWMuTGlzdGAxW1tBcGxvcmlzLkNoYXJ0LldhdGVyZmFsbENvbm5lY3RvciwgQXBsb3Jpcy5DaGFydCwgVmVyc2lvbj00LjAuMC4xNDg2LCBDdWx0dXJlPW5ldXRyYWwsIFB1YmxpY0tleVRva2VuPTE2ZmMxM2EyMjZjMGU5NTFdXQMAAAAGX2l0ZW1zBV9zaXplCF92ZXJzaW9uBAAAIkFwbG9yaXMuQ2hhcnQuV2F0ZXJmYWxsQ29ubmVjdG9yW10CAAAACAgJ4AAAAAAAAAAAAAAAAV4AAAAlAAAACdkAAAAAAAAAAAAAAAFfAAAAJgAAAAnXAAAAAAAAAAAAAAAEYAAAAJgBU3lzdGVtLkNvbGxlY3Rpb25zLkdlbmVyaWMuTGlzdGAxW1tBcGxvcmlzLkNoYXJ0LkVsZW1lbnRDb25uZWN0b3IsIEFwbG9yaXMuQ2hhcnQsIFZlcnNpb249NC4wLjAuMTQ4NiwgQ3VsdHVyZT1uZXV0cmFsLCBQdWJsaWNLZXlUb2tlbj0xNmZjMTNhMjI2YzBlOTUxXV0DAAAABl9pdGVtcwVfc2l6ZQhfdmVyc2lvbgQAACBBcGxvcmlzLkNoYXJ0LkVsZW1lbnRDb25uZWN0b3JbXQIAAAAICAnhAAAAAAAAAAAAAAABYQAAACUAAAAJ2QAAAAAAAAAAAAAAAWIAAAAmAAAACdcAAAAAAAAAAAAAAAVjAAAArQFBcGxvcmlzLkJhc2UuT2JqZWN0cy5EYXRhT2JqZWN0Q29sbGVjdGlvbmAxW1tBcGxvcmlzLkNoYXJ0LkNvbHVtbk9yaWVudGVkTGVnZW5kRWxlbWVudCwgQXBsb3Jpcy5DaGFydCwgVmVyc2lvbj00LjAuMC4xNDg2LCBDdWx0dXJlPW5ldXRyYWwsIFB1YmxpY0tleVRva2VuPTE2ZmMxM2EyMjZjMGU5NTFdXQYAAAALbUNvbGxlY3Rpb24FbUxpc3QYRGF0YU9iamVjdCttQ2hpbGRPYmplY3RzEkRhdGFPYmplY3QrbVBhcmVudBVEYXRhT2JqZWN0K21Db250YWluZXIZRGF0YU9iamVjdCttVmlzdWFsT2JqZWN0cwQDAwQEA6sBQXBsb3Jpcy5CYXNlLk9iamVjdHMuU29ydGFibGVDb2xsZWN0aW9uYDFbW0FwbG9yaXMuQ2hhcnQuQ29sdW1uT3JpZW50ZWRMZWdlbmRFbGVtZW50LCBBcGxvcmlzLkNoYXJ0LCBWZXJzaW9uPTQuMC4wLjE0ODYsIEN1bHR1cmU9bmV1dHJhbCwgUHVibGljS2V5VG9rZW49MTZmYzEzYTIyNmMwZTk1MV1dAwAAAKMBU3lzdGVtLkNvbGxlY3Rpb25zLkdlbmVyaWMuTGlzdGAxW1tBcGxvcmlzLkNoYXJ0LkNvbHVtbk9yaWVudGVkTGVnZW5k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niAAAACeMAAAAJFAAAAAkBAAAACeQAAAABZQAAABwAAAAB5QAAACEAAABtExpC+6ubQwHmAAAAIQAAAGeTWUN4hqdDCecAAAAJ6AAAAAAAAAAKAekAAAByAAAAAAAAAAAAAAAB6gAAAHIAAAAAAAAAAAAAAAAAAAAB6wAAABUAAAAAAAAAAAAAAAAAAAAAAAAApAEAAP////8BAQoJ7AAAAAEACgABZgAAACUAAAAJ7QAAAAEAAAABAAAAAWcAAAAmAAAACe4AAAABAAAAAQAAAAVw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AAACe8AAAAJ8AAAAAEAAAD+////AQAAAAEAAAABAAAAAQAAAAEAAAABAAAAAAABBXE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8QAAAAnyAAAAAQAAAAAAAAAAAAAAAAAAAAABBXUAAAAfQXBsb3Jpcy5CYXNlLk9iamVjdHMuUGVyc0lkRGF0YQIAAAADbUlkC21DdXN0b21EYXRhBwIIAwAAAAnzAAAACgV4AAAAGkFwbG9yaXMuQmFzZS5PYmplY3RzLkNvbG9yBwAAABJEYXRhT2JqZWN0K21QYXJlbnQVRGF0YU9iamVjdCttQ29udGFpbmVyBW1UeXBlBG1SR0IQbVRoZW1lQ29sb3JJbmRleAxtQXV0b1VwZGF0ZWQJbU1vZGlmaWVkAgIAAAAAAAgICAEBAwAAAAoKAAAAAAAAAAANAAAAAAEBeQAAAHgAAAAKCgEAAAAAAAAA/////wABB4sAAAAAAQAAABAAAAAEH0FwbG9yaXMuQmFzZS5PYmplY3RzLkRhdGFPYmplY3QDAAAACQkAAAAJCgAAAAkLAAAACQwAAAAJEAAAAAkRAAAACQ0AAAAJDgAAAAkPAAAACQcAAAAJBgAAAAkYAAAACRQAAAANAweMAAAAAAEAAAAEAAAABBxBcGxvcmlzLkJhc2UuVUkuVmlzdWFsT2JqZWN0AwAAAAkcAAAADQMEjQAAAJEBU3lzdGVtLkNvbGxlY3Rpb25zLkdlbmVyaWMuTGlzdGAxW1tBcGxvcmlzLkNoYXJ0LlZhbHVlTGluZSwgQXBsb3Jpcy5DaGFydCwgVmVyc2lvbj00LjAuMC4xNDg2LCBDdWx0dXJlPW5ldXRyYWwsIFB1YmxpY0tleVRva2VuPTE2ZmMxM2EyMjZjMGU5NTFdXQMAAAAGX2l0ZW1zBV9zaXplCF92ZXJzaW9uBAAAGUFwbG9yaXMuQ2hhcnQuVmFsdWVMaW5lW10CAAAACAgJ9AAAAAAAAAAAAAAAAY4AAAAlAAAACdkAAAAAAAAAAAAAAAGPAAAAJgAAAAnXAAAAAAAAAAAAAAAEkAAAAJEBU3lzdGVtLkNvbGxlY3Rpb25zLkdlbmVyaWMuTGlzdGAxW1tBcGxvcmlzLkNoYXJ0LkF4aXNCcmVhaywgQXBsb3Jpcy5DaGFydCwgVmVyc2lvbj00LjAuMC4xNDg2LCBDdWx0dXJlPW5ldXRyYWwsIFB1YmxpY0tleVRva2VuPTE2ZmMxM2EyMjZjMGU5NTFdXQMAAAAGX2l0ZW1zBV9zaXplCF92ZXJzaW9uBAAAGUFwbG9yaXMuQ2hhcnQuQXhpc0JyZWFrW10CAAAACAgJ9QAAAAAAAAAAAAAAAZEAAAAlAAAACdkAAAAAAAAAAAAAAAGSAAAAJgAAAAnXAAAAAAAAAAAAAAAElAAAAJABU3lzdGVtLkNvbGxlY3Rpb25zLkdlbmVyaWMuTGlzdGAxW1tBcGxvcmlzLkNoYXJ0LlRpY2tNYXJrLCBBcGxvcmlzLkNoYXJ0LCBWZXJzaW9uPTQuMC4wLjE0ODYsIEN1bHR1cmU9bmV1dHJhbCwgUHVibGljS2V5VG9rZW49MTZmYzEzYTIyNmMwZTk1MV1dAwAAAAZfaXRlbXMFX3NpemUIX3ZlcnNpb24EAAAYQXBsb3Jpcy5DaGFydC5UaWNrTWFya1tdAgAAAAgICfYAAAAAAAAAAAAAAAGVAAAAJQAAAAnZAAAAAAAAAAAAAAABlgAAACYAAAAJ1wAAAAAAAAAAAAAAAZkAAABwAAAACgoAAABAPwn3AAAACfgAAAABAAAA/v///wAAAAABAAAAAAAAAAAAAAABAAAAAAAAAAAAAAGaAAAAdQAAAAn5AAAACgWn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QEEJdgAAAAl3AAAACfoAAAABAAn7AAAAAagAAAB4AAAACgoBAAAAAAAAAP////8AAQStAAAAlgFTeXN0ZW0uQ29sbGVjdGlvbnMuR2VuZXJpYy5MaXN0YDFbW0FwbG9yaXMuQmFzZS5PYmplY3RzLlZhcmlhYmxlLCBBcGxvcmlzLkJhc2UsIFZlcnNpb249NC4wLjAuMTQ4NiwgQ3VsdHVyZT1uZXV0cmFsLCBQdWJsaWNLZXlUb2tlbj0xNmZjMTNhMjI2YzBlOTUxXV0DAAAABl9pdGVtcwVfc2l6ZQhfdmVyc2lvbgQAAB9BcGxvcmlzLkJhc2UuT2JqZWN0cy5WYXJpYWJsZVtdAwAAAAgICfwAAAAAAAAAAAAAAAGuAAAAdQAAAAn9AAAACgevAAAAAAEAAAAIAAAABB9BcGxvcmlzLkJhc2UuT2JqZWN0cy5EYXRhT2JqZWN0AwAAAAkqAAAACSsAAAAJLAAAAAktAAAACSgAAAAJKQAAAAoKB7AAAAAAAQAAAAQAAAAEHEFwbG9yaXMuQmFzZS5VSS5WaXN1YWxPYmplY3QDAAAACTAAAAAJNAAAAAoKAbEAAACNAAAACfQAAAAAAAAAAAAAAAGyAAAAJQAAAAnZAAAAAAAAAAAAAAABswAAACYAAAAJ1wAAAAAAAAAAAAAAAbQAAACQAAAACfUAAAAAAAAAAAAAAAG1AAAAJQAAAAnZAAAAAAAAAAAAAAABtgAAACYAAAAJ1wAAAAAAAAAAAAAAAbgAAACUAAAACf4AAAALAAAAIQAAAAG5AAAAJQAAAAn/AAAACwAAACEAAAABugAAACYAAAAJ1wAAAAAAAAAAAAAAAb0AAABwAAAACgoAAABAPwkAAQAACQEBAAABAAAA/v///wAAAAABAAAAAAAAAAAAAAABAAAAAAAAAAAAAAG+AAAAdQAAAAkCAQAACgXL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QEEJdgAAAAl3AAAACQMBAAABAAkEAQAAAcwAAAB4AAAACgoBAAAAAAAAAP////8AAQHRAAAArQAAAAn8AAAAAAAAAAAAAAAB0gAAAHUAAAAJBQEAAAoH0wAAAAABAAAACAAAAAQfQXBsb3Jpcy5CYXNlLk9iamVjdHMuRGF0YU9iamVjdAMAAAAJOgAAAAk7AAAACTwAAAAJPQAAAAk4AAAACTkAAAAJBgEAAAoH1AAAAAABAAAABAAAAAQcQXBsb3Jpcy5CYXNlLlVJLlZpc3VhbE9iamVjdAMAAAAJQAAAAAlEAAAACgoH1QAAAAABAAAAIAAAAAQdQXBsb3Jpcy5DaGFydC5DaGFydERhdGFTZXJpZXMCAAAACQcBAAAJCAEAAAkJAQAADR0H1gAAAAABAAAAIAAAAAQfQXBsb3Jpcy5CYXNlLk9iamVjdHMuRGF0YU9iamVjdAMAAAAJCQEAAAkIAQAACQcBAAANHQfXAAAAAAEAAAAAAAAABBxBcGxvcmlzLkJhc2UuVUkuVmlzdWFsT2JqZWN0AwAAAAfYAAAAAAEAAAAAAAAABCJBcGxvcmlzLkNoYXJ0LkFubm90YXRpb25EYXRhU2VyaWVzAgAAAAfZAAAAAAEAAAAAAAAABB9BcGxvcmlzLkJhc2UuT2JqZWN0cy5EYXRhT2JqZWN0AwAAAAfaAAAAAAEAAAAAAAAABB1BcGxvcmlzLkNoYXJ0LkFubm90YXRpb25Hcm91cAIAAAAH2wAAAAABAAAAEAAAAAQcQXBsb3Jpcy5DaGFydC5DaGFydERhdGFHcm91cAIAAAAJCgEAAAkLAQAACQwBAAAJDQEAAAkOAQAACQ8BAAAJEAEAAAkRAQAACRIBAAANBwfcAAAAAAEAAAAQAAAABB9BcGxvcmlzLkJhc2UuT2JqZWN0cy5EYXRhT2JqZWN0AwAAAAkKAQAACQwBAAAJDQEAAAkLAQAACQ4BAAAJDwEAAAkSAQAACREBAAAJEAEAAA0HB90AAAAAAQAAAAAAAAAEFkFwbG9yaXMuQ2hhcnQuRGVsdGFCYXICAAAAB94AAAAAAQAAAAAAAAAEGUFwbG9yaXMuQ2hhcnQuRGVsdGFCcmlkZ2UCAAAAB98AAAAAAQAAAAAAAAAEGUFwbG9yaXMuQ2hhcnQuR3Jvd3RoQXJyb3cCAAAAB+AAAAAAAQAAAAAAAAAEIEFwbG9yaXMuQ2hhcnQuV2F0ZXJmYWxsQ29ubmVjdG9yAgAAAAfhAAAAAAEAAAAAAAAABB5BcGxvcmlzLkNoYXJ0LkVsZW1lbnRDb25uZWN0b3ICAAAABOIAAACjAVN5c3RlbS5Db2xsZWN0aW9ucy5HZW5lcmljLkxpc3RgMVtbQXBsb3Jpcy5DaGFydC5Db2x1bW5PcmllbnRlZExlZ2VuZEVsZW1lbnQsIEFwbG9yaXMuQ2hhcnQsIFZlcnNpb249NC4wLjAuMTQ4NiwgQ3VsdHVyZT1uZXV0cmFsLCBQdWJsaWNLZXlUb2tlbj0xNmZjMTNhMjI2YzBlOTUxXV0DAAAABl9pdGVtcwVfc2l6ZQhfdmVyc2lvbgQAACtBcGxvcmlzLkNoYXJ0LkNvbHVtbk9yaWVudGVkTGVnZW5kRWxlbWVudFtdAgAAAAgICRMBAAADAAAAwQAAAAHjAAAAJQAAAAkUAQAAAwAAAAsAAAAB5AAAACYAAAAJFQEAAAAAAAAAAAAAAecAAABwAAAACgoAAAAAAAkWAQAACRcBAAABAAAA/v///wEAAAABAAAAAQAAAAEAAAABAAAAAQAAAAAAAQHoAAAAcQAAAAoKCRgBAAAJGQEAAAEAAAAAAAAAAAAAAAAAAAAAAQHsAAAAdQAAAAkaAQAACgftAAAAAAEAAAAEAAAABB9BcGxvcmlzLkJhc2UuT2JqZWN0cy5EYXRhT2JqZWN0AwAAAAljAAAADQMH7gAAAAABAAAABAAAAAQcQXBsb3Jpcy5CYXNlLlVJLlZpc3VhbE9iamVjdAMAAAAJZQAAAA0DAe8AAAB4AAAACgoAAAAAAAAAAA0AAAAAAQHwAAAAeAAAAAoKAQAAAAAAAAD/////AAEB8QAAAHgAAAAKCgEAAAD///8A/////wABAfIAAAB4AAAACgoBAAAAAAAAAP////8AAQ/zAAAAAQAAAAgAAAAAB/QAAAAAAQAAAAAAAAAEF0FwbG9yaXMuQ2hhcnQuVmFsdWVMaW5lAgAAAAf1AAAAAAEAAAAAAAAABBdBcGxvcmlzLkNoYXJ0LkF4aXNCcmVhawIAAAAH9gAAAAABAAAAAAAAAAQWQXBsb3Jpcy5DaGFydC5UaWNrTWFyawIAAAAF9wAAABpBcGxvcmlzLkJhc2UuT2JqZWN0cy5Db2xvcgcAAAASRGF0YU9iamVjdCttUGFyZW50FURhdGFPYmplY3QrbUNvbnRhaW5lcgVtVHlwZQRtUkdCEG1UaGVtZUNvbG9ySW5kZXgMbUF1dG9VcGRhdGVkCW1Nb2RpZmllZAQCAAAAAAAfQXBsb3Jpcy5CYXNlLk9iamVjdHMuTGluZUZvcm1hdAMAAAAICAgBAQMAAAAJmQAAAAoAAAAAAAAAAA0AAAAAAAX4AAAAGkFwbG9yaXMuQmFzZS5PYmplY3RzLkNvbG9yBwAAABJEYXRhT2JqZWN0K21QYXJlbnQVRGF0YU9iamVjdCttQ29udGFpbmVyBW1UeXBlBG1SR0IQbVRoZW1lQ29sb3JJbmRleAxtQXV0b1VwZGF0ZWQJbU1vZGlmaWVkBAIAAAAAAB9BcGxvcmlzLkJhc2UuT2JqZWN0cy5MaW5lRm9ybWF0AwAAAAgICAEBAwAAAAmZAAAACgEAAAAAAAAA/////wABD/kAAAABAAAACHUCAAAB+gAAAHgAAAAKCgAAAAAAAAAADQAAAAABAfsAAAB4AAAACgoBAAAAAAAAAP////8AAQf8AAAAAAEAAAAAAAAABB1BcGxvcmlzLkJhc2UuT2JqZWN0cy5WYXJpYWJsZQMAAAAP/QAAAAEAAAAIAAAAAAf+AAAAAAEAAAAQAAAABBZBcGxvcmlzLkNoYXJ0LlRpY2tNYXJrAgAAAAkbAQAACRwBAAAJHQEAAAkeAQAACR8BAAAJIAEAAAkhAQAACSIBAAAJIwEAAAkkAQAACSUBAAANBQf/AAAAAAEAAAAQAAAABB9BcGxvcmlzLkJhc2UuT2JqZWN0cy5EYXRhT2JqZWN0AwAAAAkbAQAACRwBAAAJHQEAAAkeAQAACR8BAAAJIAEAAAkhAQAACSIBAAAJIwEAAAkkAQAACSUBAAANBQUAAQAAGkFwbG9yaXMuQmFzZS5PYmplY3RzLkNvbG9yBwAAABJEYXRhT2JqZWN0K21QYXJlbnQVRGF0YU9iamVjdCttQ29udGFpbmVyBW1UeXBlBG1SR0IQbVRoZW1lQ29sb3JJbmRleAxtQXV0b1VwZGF0ZWQJbU1vZGlmaWVkBAIAAAAAAB9BcGxvcmlzLkJhc2UuT2JqZWN0cy5MaW5lRm9ybWF0AwAAAAgICAEBAwAAAAm9AAAACgAAAAAAAAAADQAAAAAABQEBAAAaQXBsb3Jpcy5CYXNlLk9iamVjdHMuQ29sb3IHAAAAEkRhdGFPYmplY3QrbVBhcmVudBVEYXRhT2JqZWN0K21Db250YWluZXIFbVR5cGUEbVJHQhBtVGhlbWVDb2xvckluZGV4DG1BdXRvVXBkYXRlZAltTW9kaWZpZWQEAgAAAAAAH0FwbG9yaXMuQmFzZS5PYmplY3RzLkxpbmVGb3JtYXQDAAAACAgIAQEDAAAACb0AAAAKAQAAAAAAAAD/////AAEPAgEAAAEAAAAIdgIAAAEDAQAAeAAAAAoKAAAAAAAAAAANAAAAAAEBBAEAAHgAAAAKCgEAAAAAAAAA/////wABDwUBAAABAAAACAAAAAAFBg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aAAAAAMAAAAJaQAAAAlqAAAACWsAAAABAAAAAAoJkwAAAAlsAAAAAQAAAAoAAAAAAAAAAAUHAQ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C4wLjE0ODY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BJgEAABMAAAAAAAAAAgAAAP////8JBwAAAAknAQAABigBAAAFQWdyZWUKCgAAAAAAAAAAAAAAAAoKAAkpAQAACSoBAAAJKwEAAAAAAAAAAAAAAAAAAAAAAAAAAAksAQAACQEAAAAJAQAAAAktAQAAAQgBAAAHAQAACQEAAAABLgEAABMAAAAAAAAAAwAAAP////8JBwAAAAkvAQAABjABAAAHTmV1dHJhbAoKAAAAAAAAAAAAAAAACgoACTEBAAAJMgEAAAkzAQAAAAAAAAABAAAAAAAAAAAAAAAACTQBAAAJAQAAAAkBAAAACTUBAAABCQEAAAcBAAAJAQAAAAE2AQAAEwAAAAAAAAAEAAAA/////wkHAAAACTcBAAAGOAEAAAhEaXNhZ3JlZQoKAAAAAAAAAAAAAAAACgoACTkBAAAJOgEAAAk7AQAAAAAAAAACAAAAAAAAAAAAAAAACTwBAAAJAQAAAAkBAAAACT0BAAAFCg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Y+AQAABVRvdGFsAAU/AQAAHkFwbG9yaXMuQ2hhcnQuQ2hhcnRHcm91cEFuY2hvcgEAAAAHdmFsdWVfXwAIAgAAAAAAAAAKAAAAAAEAAAABAAAACUABAAAJQQEAAAlCAQAACgkHAAAACUMBAAAJAQAAAAkBAAAACUQBAAABCwEAAAoBAAAJAQAAAAZFAQAADVVuZGVyIA0KMSwwMDAAAUYBAAA/AQAAAAAAAAoBAAAAAQAAAAEAAAAJRwEAAAlIAQAACUkBAAAKCQcAAAAJSgEAAAkBAAAACQEAAAAJSwEAAAEMAQAACgEAAAkBAAAABkwBAAAPMSwwMDAgLSANCjUsMDAwAAFNAQAAPwEAAAAAAAAKAAAAAAEAAAABAAAACU4BAAAJTwEAAAlQAQAACgkHAAAACVEBAAAJAQAAAAkBAAAACVIBAAABDQEAAAoBAAAJAQAAAAZTAQAAEDUsMDAwIC0gDQoxMCwwMDAAAVQBAAA/AQAAAAAAAAoAAAAAAQAAAAEAAAAJVQEAAAlWAQAACVcBAAAKCQcAAAAJWAEAAAkBAAAACQEAAAAJWQEAAAEOAQAACgEAAAkBAAAABloBAAARMTAsMDAwIC0gDQoxOSw5OTkAAVsBAAA/AQAAAAAAAAoAAAAAAQAAAAEAAAAJXAEAAAldAQAACV4BAAAKCQcAAAAJXwEAAAkBAAAACQEAAAAJYAEAAAEPAQAACgEAAAkBAAAABmEBAAAHMjAsMDAwKwABYgEAAD8BAAAAAAAACgAAAAABAAAAAQAAAAljAQAACWQBAAAJZQEAAAoJBwAAAAlmAQAACQEAAAAJAQAAAAlnAQAAARABAAAKAQAACQEAAAAGaAEAAAYyLVllYXIAAWkBAAA/AQAAAAAAAAoBAAAAAQAAAAEAAAAJagEAAAlrAQAACWwBAAAKCQcAAAAJbQEAAAkBAAAACQEAAAAJbgEAAAERAQAACgEAAAkBAAAABm8BAAAPNC1ZZWFyIA0KUHVibGljAAFwAQAAPwEAAAAAAAAKAAAAAAEAAAABAAAACXEBAAAJcgEAAAlzAQAACgkHAAAACXQBAAAJAQAAAAkBAAAACXUBAAABEgEAAAoBAAAJAQAAAAZ2AQAAEDQtWWVhciANClByaXZhdGUAAXcBAAA/AQAAAAAAAAoAAAAAAQAAAAEAAAAJeAEAAAl5AQAACXoBAAAKCQcAAAAJewEAAAkBAAAACQEAAAAJfAEAAAcTAQAAAAEAAAAEAAAABClBcGxvcmlzLkNoYXJ0LkNvbHVtbk9yaWVudGVkTGVnZW5kRWxlbWVudAIAAAAJfQEAAAl+AQAACX8BAAAKBxQBAAAAAQAAAAQAAAAEH0FwbG9yaXMuQmFzZS5PYmplY3RzLkRhdGFPYmplY3QDAAAACX8BAAAJfgEAAAl9AQAACgcVAQAAAAEAAAAAAAAABBxBcGxvcmlzLkJhc2UuVUkuVmlzdWFsT2JqZWN0AwAAAAEWAQAAeAAAAAoKAAAAAAAAAAANAAAAAAEBFwEAAHgAAAAKCgEAAAAAAAAA/////wABARgBAAB4AAAACgoBAAAA////AP////8AAQEZAQAAeAAAAAoKAQAAAAAAAAD/////AAEPGgEAAAEAAAAIAAAAAAUbAQAAFkFwbG9yaXMuQ2hhcnQuVGlja01hcmsNAAAAC21WaXN1YWxMaW5lCW1HcmlkTGluZQZtTGFiZWwFbUF4aXMIbVZpc2libGUJbVBvc2l0aW9uC21TdGFydFBvaW50CW1FbmRQb2ludAxtSGFzR3JpZExpbmUYRGF0YU9iamVjdCttQ2hpbGRPYmplY3RzEkRhdGFPYmplY3QrbVBhcmVudBVEYXRhT2JqZWN0K21Db250YWluZXIZRGF0YU9iamVjdCttVmlzdWFsT2JqZWN0cwQEBAQAAAQEAAMEBAMaQXBsb3Jpcy5CYXNlLlVJLlZpc3VhbExpbmUDAAAAGkFwbG9yaXMuQmFzZS5VSS5WaXN1YWxMaW5lAwAAABVBcGxvcmlzLkJhc2UuVUkuTGFiZWwDAAAAEkFwbG9yaXMuQ2hhcnQuQXhpcwIAAAABBhVTeXN0ZW0uRHJhd2luZy5Qb2ludEYEAAAAFVN5c3RlbS5EcmF3aW5nLlBvaW50RgQAAAA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gAEAAAoJgQEAAAkHAAAAAQAAAAAAAAAAAYIBAAAhAAAAwsAuQuTxgUMBgwEAACEAAADCwB5C5PGBQwAJhAEAAAkHAAAACQEAAAAJhQEAAAEcAQAAGwEAAAmGAQAACgmHAQAACQcAAAABmpmZmZmZuT8BiAEAACEAAADCwC5CS3NrQwGJAQAAIQAAAMLAHkJLc2tDAAmKAQAACQcAAAAJAQAAAAmLAQAAAR0BAAAbAQAACYwBAAAKCY0BAAAJBwAAAAGamZmZmZnJPwGOAQAAIQAAAMLALkLPAlNDAY8BAAAhAAAAwsAeQs8CU0MACZABAAAJBwAAAAkBAAAACZEBAAABHgEAABsBAAAJkgEAAAoJkwEAAAkHAAAAATMzMzMzM9M/AZQBAAAhAAAAwsAuQlKSOkMBlQEAACEAAADCwB5CUpI6QwAJlgEAAAkHAAAACQEAAAAJlwEAAAEfAQAAGwEAAAmYAQAACgmZAQAACQcAAAABmpmZmZmZ2T8BmgEAACEAAADCwC5C1SEiQwGbAQAAIQAAAMLAHkLVISJDAAmcAQAACQcAAAAJAQAAAAmdAQAAASABAAAbAQAACZ4BAAAKCZ8BAAAJBwAAAAEAAAAAAADgPwGgAQAAIQAAAMLALkJZsQlDAaEBAAAhAAAAwsAeQlmxCUMACaIBAAAJBwAAAAkBAAAACaMBAAABIQEAABsBAAAJpAEAAAoJpQEAAAkHAAAAATMzMzMzM+M/AaYBAAAhAAAAwsAuQriB4kIBpwEAACEAAADCwB5CuIHiQgAJqAEAAAkHAAAACQEAAAAJqQEAAAEiAQAAGwEAAAmqAQAACgmrAQAACQcAAAABZmZmZmZm5j8BrAEAACEAAADCwC5Cv6CxQgGtAQAAIQAAAMLAHkK/oLFCAAmuAQAACQcAAAAJAQAAAAmvAQAAASMBAAAbAQAACbABAAAKCbEBAAAJBwAAAAGamZmZmZnpPwGyAQAAIQAAAMLALkLFv4BCAbMBAAAhAAAAwsAeQsW/gEIACbQBAAAJBwAAAAkBAAAACbUBAAABJAEAABsBAAAJtgEAAAoJtwEAAAkHAAAAAc3MzMzMzOw/AbgBAAAhAAAAwsAuQpi9H0IBuQEAACEAAADCwB5CmL0fQgAJugEAAAkHAAAACQEAAAAJuwEAAAElAQAAGwEAAAm8AQAACgm9AQAACQcAAAABAAAAAAAA8D8BvgEAACEAAADCwC5ClO53QQG/AQAAIQAAAMLAHkKU7ndBAAnAAQAACQcAAAAJAQAAAAnBAQAABScBAACiAUFwbG9yaXMuQmFzZS5PYmplY3RzLkRhdGFPYmplY3RDb2xsZWN0aW9uYDFbW0FwbG9yaXMuQ2hhcnQuQ2hhcnREYXRhRWxlbWVudCwgQXBsb3Jpcy5DaGFydCwgVmVyc2lvbj00LjAuMC4xNDg2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Q2hhcnREYXRhRWxlbWVudCwgQXBsb3Jpcy5DaGFydCwgVmVyc2lvbj00LjAuMC4xNDg2LCBDdWx0dXJlPW5ldXRyYWwsIFB1YmxpY0tleVRva2VuPTE2ZmMxM2EyMjZjMGU5NTFdXQMAAACYAVN5c3RlbS5Db2xsZWN0aW9ucy5HZW5lcmljLkxpc3RgMVtbQXBsb3Jpcy5DaGFydC5DaGFydERhdGF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cIBAAAJwwEAAAkHAQAACQEAAAAJxAEAAAUpAQAAHEFwbG9yaXMuQ2hhcnQuQ29ubmVjdGVkTGFiZWwkAAAADm1Db25uZWN0b3JMaW5lEG1aT3JkZXJDb25uZWN0b3IObUNvbm5lY3Rvck1vZGUZbUFuZ2xlZENvbm5lY3RvckRpcmVjdGlvbhBtQ29ubmVjdG9yVGFyZ2V0GW1Db25uZWN0b3JUYXJnZXRBcmVhU2hhcGUabUNvbm5lY3RvckRpc3BsYXlUaHJlc2hvbGQTbUNvbm5lY3RBbmNob3JQb2ludB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RMYWJlbCttTGluZUFsaWdubWVudA9MYWJlbCttVGV4dFNpemUVTGFiZWwrbUxhYmVsUmVjdGFuZ2xlG0xhYmVsK21Jbm5lck1hcmdpbkxlZnRSaWdodAtMYWJlbCttVGV4dBBMYWJlbCttVmFyaWFibGVzE0xhYmVsK21WYXJpYWJsZUxpc3QUTGFiZWwr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EBAQEAAAEBAAAAAQABAAABAQEAAEDAwEAAAAABwIAAAMAHkFwbG9yaXMuQmFzZS5VSS5WaXN1YWxQb2x5bGluZQMAAAAIK0FwbG9yaXMuQ2hhcnQuQ29ubmVjdGVkTGFiZWwrZUNvbm5lY3Rvck1vZGUCAAAANkFwbG9yaXMuQ2hhcnQuQ29ubmVjdGVkTGFiZWwrZUFuZ2xlZENvbm5lY3RvckRpcmVjdGlvbgIAAAAZU3lzdGVtLkRyYXdpbmcuUmVjdGFuZ2xlRgQAAAAtQXBsb3Jpcy5DaGFydC5Db25uZWN0ZWRMYWJlbCtlVGFyZ2V0QXJlYVNoYXBlAgAAAAsB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IAAAAKWAIAAAXFAQAAK0FwbG9yaXMuQ2hhcnQuQ29ubmVjdGVkTGFiZWwrZUNvbm5lY3Rvck1vZGUBAAAAB3ZhbHVlX18ACAIAAAABAAAABcYBAAA2QXBsb3Jpcy5DaGFydC5Db25uZWN0ZWRMYWJlbCtlQW5nbGVkQ29ubmVjdG9yRGlyZWN0aW9uAQAAAAd2YWx1ZV9fAAgCAAAAAAAAAAHHAQAAFQAAAAzYD0QN725CgHrTQQUoRUMFyAEAAC1BcGxvcmlzLkNoYXJ0LkNvbm5lY3RlZExhYmVsK2VUYXJnZXRBcmVhU2hhcGUBAAAAB3ZhbHVlX18ACAIAAAAAAAAAAAAQQQEByQEAACEAAADgcxhExk8eQwHKAQAAoAAAAAQAAAAAAAAAAAAAAAAJywEAAAAAAAAJzAEAAAAAAc0BAACpAAAAAAAAAAHOAQAAcgAAAAAADEIAAGBBAc8BAAAVAAAAAAAAAAAAAAAAAAAAAAAAAF662T8JKAEAAAoJ0AEAAAbRAQAAACADAAD/////AAEKCdIBAAABAAoBByoBAAAAAQAAAAIAAAAEFVN5c3RlbS5EcmF3aW5nLlBvaW50RgQAAAAB0wEAACEAAADgcxhExk8eQwHUAQAAIQAAAMLAGkK83B1DBysBAAAAAQAAAAIAAAAEF0FwbG9yaXMuQmFzZS5BbmNob3JNb2RlAwAAAAHVAQAAoAAAAAQAAAAB1gEAAKAAAAACAAAAASwBAAAlAAAACdcBAAABAAAAAQAAAAEtAQAAJgAAAAnYAQAAAQAAAAEAAAABLwEAACcBAAAKCdkBAAAJ2gEAAAkIAQAACQEAAAAJ2wEAAAExAQAAKQEAAApYAgAAAdwBAADFAQAAAQAAAAHdAQAAxgEAAAAAAAAB3gEAABUAAAAM2A9E7Nj5QYB600EuBbRBAd8BAADIAQAAAAAAAAAAEEEBAeABAAAhAAAA4HMYRMLtKUIB4QEAAKAAAAAEAAAAAAAAAAAAAAAACeIBAAAAAAAACeMBAAAAAAHkAQAAqQAAAAAAAAAB5QEAAHIAAAAAAChCAABgQQHmAQAAFQAAAAAAAAAAAAAAAAAAAAAAAABeutk/CTABAAAKCecBAAAJ0QEAACADAAD/////AAEKCegBAAABAAoBBzIBAAAAAQAAAAIAAAAEFVN5c3RlbS5EcmF3aW5nLlBvaW50RgQAAAAB6QEAACEAAADgcxhEwu0pQgHqAQAAIQAAAMLAGkIEjCRCBzMBAAAAAQAAAAIAAAAEF0FwbG9yaXMuQmFzZS5BbmNob3JNb2RlAwAAAAHrAQAAoAAAAAQAAAAB7AEAAKAAAAACAAAAATQBAAAlAAAACe0BAAABAAAAAQAAAAE1AQAAJgAAAAnuAQAAAQAAAAEAAAABNwEAACcBAAAKCe8BAAAJ8AEAAAkJAQAACQEAAAAJ8QEAAAE5AQAAKQEAAApYAgAAAfIBAADFAQAAAQAAAAHzAQAAxgEAAAAAAAAB9AEAABUAAAAM2A9ESveTQYB600GIhtdAAfUBAADIAQAAAAAAAAAAEEEBAfYBAAAhAAAA4HMYRBvorkEB9wEAAKAAAAAEAAAAAAAAAAAAAAAACfgBAAAAAAAACfkBAAAAAAH6AQAAqQAAAAAAAAAB+wEAAHIAAAAAAFBCAABgQQH8AQAAFQAAAAAAAAAAAAAAAAAAAAAAAABeutk/CTgBAAAKCf0BAAAJ0QEAACADAAD/////AAEKCf4BAAABAAoBBzoBAAAAAQAAAAIAAAAEFVN5c3RlbS5EcmF3aW5nLlBvaW50RgQAAAAB/wEAACEAAADgcxhEG+iuQQEAAgAAIQAAAMLAGkLwvKdBBzsBAAAAAQAAAAIAAAAEF0FwbG9yaXMuQmFzZS5BbmNob3JNb2RlAwAAAAEBAgAAoAAAAAQAAAABAgIAAKAAAAACAAAAATwBAAAlAAAACQMCAAABAAAAAQAAAAE9AQAAJgAAAAkEAgAAAQAAAAEAAAAPQAEAAAEAAAAIAAAAAAdBAQAAAAEAAAABAAAABBVBcGxvcmlzLkJhc2UuVUkuTGFiZWwDAAAACQUCAAABQgEAADQAAAABBgIAACEAAACuRYtC5HGEQwEHAgAAoAAAAAMAAAAAAAAAAAAAAAAJCAIAAAAAAAAJCQIAAAAAAQoCAACpAAAAAAAAAAELAgAAcgAAAAAAyEEAAEBBAQwCAAAVAAAAXXRhQtFFhEPXoc1Bo4suQRKDvj8JPgEAAAoJDQIAAAnRAQAAIAMAAP////8BAQoJDgIAAAEACgABQwEAACUAAAAJ2QAAAAAAAAAAAAAAAUQBAAAmAAAACQ8CAAACAAAADAAAAA9HAQAAAQAAAAgAAAAAB0gBAAAAAQAAAAEAAAAEFUFwbG9yaXMuQmFzZS5VSS5MYWJlbAMAAAAJEAIAAAFJAQAANAAAAAERAgAAIQAAAHFtLUPkcYRDARICAACgAAAAAwAAAAAAAAAAAAAAAAkTAgAAAAAAAAkUAgAAAAABFQIAAKkAAAAAAAAAARYCAAByAAAAAAAIQgAAyEEBFwIAABUAAAAXXRxD0UWEQxqLB0J00bVBEoO+PwlFAQAACgkYAgAACdEBAAAgAwAA/////wEBCgkZAgAAAQAKAAFKAQAAJQAAAAkaAgAAAAAAAAAAAAABSwEAACYAAAAJGwIAAAIAAAAEAAAAD04BAAABAAAACAAAAAAHTwEAAAABAAAAAQAAAAQVQXBsb3Jpcy5CYXNlLlVJLkxhYmVsAwAAAAkcAgAAAVABAAA0AAAAAR0CAAAhAAAAvlJhQ+RxhEMBHgIAAKAAAAADAAAAAAAAAAAAAAAACR8CAAAAAAAACSACAAAAAAEhAgAAqQAAAAAAAAABIgIAAHIAAAAAABxCAADIQQEjAgAAFQAAABddTkPRRYRDpbkZQnTRtUESg74/CUwBAAAKCSQCAAAJ0QEAACADAAD/////AQEKCSUCAAABAAoAAVEBAAAlAAAACSYCAAAAAAAAAAAAAAFSAQAAJgAAAAknAgAAAgAAAAQAAAAPVQEAAAEAAAAIAAAAAAdWAQAAAAEAAAABAAAABBVBcGxvcmlzLkJhc2UuVUkuTGFiZWwDAAAACSgCAAABVwEAADQAAAABKQIAACEAAAAGnIpD5HGEQwEqAgAAoAAAAAMAAAAAAAAAAAAAAAAJKwIAAAAAAAAJLAIAAAAAAS0CAACpAAAAAAAAAAEuAgAAcgAAAAAAHEIAAMhBAS8CAAAVAAAARheBQ9FFhEOluRlCdNG1QRKDvj8JUwEAAAoJMAIAAAnRAQAAIAMAAP////8BAQoJMQIAAAEACgABWAEAACUAAAAJJgIAAAAAAAAAAAAAAVkBAAAmAAAACTICAAACAAAABAAAAA9cAQAAAQAAAAgAAAAAB10BAAAAAQAAAAEAAAAEFUFwbG9yaXMuQmFzZS5VSS5MYWJlbAMAAAAJMwIAAAFeAQAANAAAAAE0AgAAIQAAAKyOpEPkcYRDATUCAACgAAAAAwAAAAAAAAAAAAAAAAk2AgAAAAAAAAk3AgAAAAABOAIAAKkAAAAAAAAAATkCAAByAAAAAAA0QgAAyEEBOgIAABUAAADpoplD0UWEQxqLL0J00bVBEoO+PwlaAQAACgk7AgAACdEBAAAgAwAA/////wEBCgk8AgAAAQAKAAFfAQAAJQAAAAkaAgAAAAAAAAAAAAABYAEAACYAAAAJPQIAAAIAAAAEAAAAD2MBAAABAAAACAAAAAAHZAEAAAABAAAAAQAAAAQVQXBsb3Jpcy5CYXNlLlVJLkxhYmVsAwAAAAk+AgAAAWUBAAA0AAAAAT8CAAAhAAAAUoG+Q+RxhEMBQAIAAKAAAAADAAAAAAAAAAAAAAAACUECAAAAAAAACUICAAAAAAFDAgAAqQAAAAAAAAABRAIAAHIAAAAAAChCAABAQQFFAgAAFQAAAAAAtEPRRYRDYKIkQqOLLkESg74/CWEBAAAKCUYCAAAJ0QEAACADAAD/////AQEKCUcCAAABAAoAAWYBAAAlAAAACRoCAAAAAAAAAAAAAAFnAQAAJgAAAAlIAgAAAgAAAAQAAAAPagEAAAEAAAAIAAAAAAdrAQAAAAEAAAABAAAABBVBcGxvcmlzLkJhc2UuVUkuTGFiZWwDAAAACUkCAAABbAEAADQAAAABSgIAACEAAACgZvJD5HGEQwFLAgAAoAAAAAMAAAAAAAAAAAAAAAAJTAIAAAAAAAAJTQIAAAAAAU4CAACpAAAAAAAAAAFPAgAAcgAAAAAACEIAAEBBAVACAAAVAAAARRfqQ9FFhEMaiwdCo4suQRKDvj8JaAEAAAoJUQIAAAnRAQAAIAMAAP////8BAQoJUgIAAAEACgABbQEAACUAAAAJGgIAAAAAAAAAAAAAAW4BAAAmAAAACVMCAAACAAAABAAAAA9xAQAAAQAAAAgAAAAAB3IBAAAAAQAAAAEAAAAEFUFwbG9yaXMuQmFzZS5VSS5MYWJlbAMAAAAJVAIAAAFzAQAANAAAAAFVAgAAIQAAAKMsBkTkcYRDAVYCAACgAAAAAwAAAAAAAAAAAAAAAAlXAgAAAAAAAAlYAgAAAAABWQIAAKkAAAAAAAAAAVoCAAByAAAAAAAUQgAAyEEBWwIAABUAAACjiwFE0UWEQ9RzEkJ00bVBEoO+PwlvAQAACglcAgAACdEBAAAgAwAA/////wEBCgldAgAAAQAKAAF0AQAAJQAAAAkaAgAAAAAAAAAAAAABdQEAACYAAAAJXgIAAAIAAAAEAAAAD3gBAAABAAAACAAAAAAHeQEAAAABAAAAAQAAAAQVQXBsb3Jpcy5CYXNlLlVJLkxhYmVsAwAAAAlfAgAAAXoBAAA0AAAAAWACAAAhAAAA9iUTRORxhEMBYQIAAKAAAAADAAAAAAAAAAAAAAAACWICAAAAAAAACWMCAAAAAAFkAgAAqQAAAAAAAAABZQIAAHIAAAAAABRCAADIQQFmAgAAFQAAAACADkTRRYRD1HMSQnTRtUESg74/CXYBAAAKCWcCAAAJ0QEAACADAAD/////AQEKCWgCAAABAAoAAXsBAAAlAAAACRoCAAAAAAAAAAAAAAF8AQAAJgAAAAlpAgAAAgAAAAQAAAAFfQEAAClBcGxvcmlzLkNoYXJ0LkNvbHVtbk9yaWVudGVkTGVnZW5kRWxlbWVudA0AAAAHbUxlZ2VuZAttRGF0YVNlcmllcxRMZWdlbmRFbGVtZW50K21MYWJlbBhMZWdlbmRFbGVtZW50K21SZWN0YW5nbGUTTGVnZW5kRWxlbWVudCttTGluZRVMZWdlbmRFbGVtZW50K21DaXJjbGUVTGVnZW5kRWxlbWVudCttTWFya2VyFExlZ2VuZEVsZW1lbnQrbUluZGV4HUxlZ2VuZEVsZW1lbnQrbUxhYmVsUG9zaXRpb25zGERhdGFPYmplY3QrbUNoaWxkT2JqZWN0cxJEYXRhT2JqZWN0K21QYXJlbnQVRGF0YU9iamVjdCttQ29udGFpbmVyGURhdGFPYmplY3QrbVZpc3VhbE9iamVjdHMEBAQEBAQEAAQDBAQDIkFwbG9yaXMuQ2hhcnQuQ29sdW1uT3JpZW50ZWRMZWdlbmQCAAAAHUFwbG9yaXMuQ2hhcnQuQ2hhcnREYXRhU2VyaWVzAgAAABVBcGxvcmlzLkJhc2UuVUkuTGFiZWwDAAAAGkFwbG9yaXMuQmFzZS5VSS5WaXN1YWxSZWN0AwAAABpBcGxvcmlzLkJhc2UuVUkuVmlzdWFsTGluZQMAAAAdQXBsb3Jpcy5CYXNlLlVJLlZpc3VhbEVsbGlwc2UDAAAAGkFwbG9yaXMuQ2hhcnQuVmlzdWFsTWFya2VyAgAAAAgXU3lzdGVtLkRyYXdpbmcuUG9pbnRGW10E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FAAAAAkHAQAACWoCAAAJawIAAAoKCgAAAAAKCWwCAAAJFAAAAAkBAAAACW0CAAABfgEAAH0BAAAJFAAAAAkIAQAACW4CAAAJbwIAAAoKCgEAAAAKCXACAAAJFAAAAAkBAAAACXECAAABfwEAAH0BAAAJFAAAAAkJAQAACXICAAAJcwIAAAoKCgIAAAAKCXQCAAAJFAAAAAkBAAAACXUCAAABgAEAADAAAAABdgIAACEAAADCwC5C5PGBQwF3AgAAIQAAAMLAHkLk8YFDCXgCAADMAQAA/////wEBCgl5AgAAAQAKAAGBAQAANAAAAAF6AgAAIQAAAMLAGELk8YFDAXsCAACgAAAAAgAAAAAAAAAAAAAAAAl8AgAAAAAAAAl9AgAAAAABfgIAAKkAAAAAAAAAAX8CAAByAAAAAACAQQAAQEEBgAIAABUAAACji65Bo4t+Q3otjEGjiy5BEoO+PwaBAgAAAjAlCgmCAgAACdEBAADQAgAA/////wEBCgmDAgAAAQAKAAGEAQAAJQAAAAnZAAAAAAAAAAAAAAABhQEAACYAAAAJhAIAAAIAAAACAAAAAYYBAAAwAAAAAYUCAAAhAAAAwsAuQktza0MBhgIAACEAAADCwB5CS3NrQwmHAgAAzAEAAP////8BAQoJiAIAAAEACgABhwEAADQAAAABiQIAACEAAADCwBhCS3NrQwGKAgAAoAAAAAIAAAAAAAAAAAAAAAAJiwIAAAAAAAAJjAIAAAAAAY0CAACpAAAAAAAAAAGOAgAAcgAAAAAAuEEAAEBBAY8CAAAVAAAA0UV3QQAAZkM0Fr9Bo4suQRKDvj8GkAIAAAMxMCUKCZECAAAJ0QEAANACAAD/////AQEKCZICAAABAAoAAYoBAAAlAAAACdkAAAAAAAAAAAAAAAGLAQAAJgAAAAmTAgAAAgAAAAIAAAABjAEAADAAAAABlAIAACEAAADCwC5CzwJTQwGVAgAAIQAAAMLAHkLPAlNDCZYCAADMAQAA/////wEBCgmXAgAAAQAKAAGNAQAANAAAAAGYAgAAIQAAAMLAGELPAlNDAZkCAACgAAAAAgAAAAAAAAAAAAAAAAmaAgAAAAAAAAmbAgAAAAABnAIAAKkAAAAAAAAAAZ0CAAByAAAAAAC4QQAAQEEBngIAABUAAADRRXdBXXRNQzQWv0Gjiy5BEoO+PwafAgAAAzIwJQoJoAIAAAnRAQAA0AIAAP////8BAQoJoQIAAAEACgABkAEAACUAAAAJ2QAAAAAAAAAAAAAAAZEBAAAmAAAACaICAAACAAAAAgAAAAGSAQAAMAAAAAGjAgAAIQAAAMLALkJSkjpDAaQCAAAhAAAAwsAeQlKSOkMJpQIAAMwBAAD/////AQEKCaYCAAABAAoAAZMBAAA0AAAAAacCAAAhAAAAwsAYQlKSOkMBqAIAAKAAAAACAAAAAAAAAAAAAAAACakCAAAAAAAACaoCAAAAAAGrAgAAqQAAAAAAAAABrAIAAHIAAAAAALhBAABAQQGtAgAAFQAAANFFd0G66DRDNBa/QaOLLkESg74/Bq4CAAADMzAlCgmvAgAACdEBAADQAgAA/////wEBCgmwAgAAAQAKAAGWAQAAJQAAAAnZAAAAAAAAAAAAAAABlwEAACYAAAAJsQIAAAIAAAACAAAAAZgBAAAwAAAAAbICAAAhAAAAwsAuQtUhIkMBswIAACEAAADCwB5C1SEiQwm0AgAAzAEAAP////8BAQoJtQIAAAEACgABmQEAADQAAAABtgIAACEAAADCwBhC1SEiQwG3AgAAoAAAAAIAAAAAAAAAAAAAAAAJuAIAAAAAAAAJuQIAAAAAAboCAACpAAAAAAAAAAG7AgAAcgAAAAAAuEEAAEBBAbwCAAAVAAAA0UV3QRddHEM0Fr9Bo4suQRKDvj8GvQIAAAM0MCUKCb4CAAAJ0QEAANACAAD/////AQEKCb8CAAABAAoAAZwBAAAlAAAACdkAAAAAAAAAAAAAAAGdAQAAJgAAAAnAAgAAAgAAAAIAAAABngEAADAAAAABwQIAACEAAADCwC5CWbEJQwHCAgAAIQAAAMLAHkJZsQlDCcMCAADMAQAA/////wEBCgnEAgAAAQAKAAGfAQAANAAAAAHFAgAAIQAAAMLAGEJZsQlDAcYCAACgAAAAAgAAAAAAAAAAAAAAAAnHAgAAAAAAAAnIAgAAAAAByQIAAKkAAAAAAAAAAcoCAAByAAAAAAC4QQAAQEEBywIAABUAAADRRXdBdNEDQzQWv0Gjiy5BEoO+PwbMAgAAAzUwJQoJzQIAAAnRAQAA0AIAAP////8BAQoJzgIAAAEACgABogEAACUAAAAJ2QAAAAAAAAAAAAAAAaMBAAAmAAAACc8CAAACAAAAAgAAAAGkAQAAMAAAAAHQAgAAIQAAAMLALkK4geJCAdECAAAhAAAAwsAeQriB4kIJ0gIAAMwBAAD/////AQEKCdMCAAABAAoAAaUBAAA0AAAAAdQCAAAhAAAAwsAYQriB4kIB1QIAAKAAAAACAAAAAAAAAAAAAAAACdYCAAAAAAAACdcCAAAAAAHYAgAAqQAAAAAAAAAB2QIAAHIAAAAAALhBAABAQQHaAgAAFQAAANFFd0EXXdhCNBa/QaOLLkESg74/BtsCAAADNjAlCgncAgAACdEBAADQAgAA/////wEBCgndAgAAAQAKAAGoAQAAJQAAAAnZAAAAAAAAAAAAAAABqQEAACYAAAAJ3gIAAAIAAAACAAAAAaoBAAAwAAAAAd8CAAAhAAAAwsAuQr+gsUIB4AIAACEAAADCwB5Cv6CxQgnhAgAAzAEAAP////8BAQoJ4gIAAAEACgABqwEAADQAAAAB4wIAACEAAADCwBhCv6CxQgHkAgAAoAAAAAIAAAAAAAAAAAAAAAAJ5QIAAAAAAAAJ5gIAAAAAAecCAACpAAAAAAAAAAHoAgAAcgAAAAAAuEEAAEBBAekCAAAVAAAA0UV3QdFFp0I0Fr9Bo4suQRKDvj8G6gIAAAM3MCUKCesCAAAJ0QEAANACAAD/////AQEKCewCAAABAAoAAa4BAAAlAAAACdkAAAAAAAAAAAAAAAGvAQAAJgAAAAntAgAAAgAAAAIAAAABsAEAADAAAAAB7gIAACEAAADCwC5Cxb+AQgHvAgAAIQAAAMLAHkLFv4BCCfACAADMAQAA/////wEBCgnxAgAAAQAKAAGxAQAANAAAAAHyAgAAIQAAAMLAGELFv4BCAfMCAACgAAAAAgAAAAAAAAAAAAAAAAn0AgAAAAAAAAn1AgAAAAAB9gIAAKkAAAAAAAAAAfcCAAByAAAAAAC4QQAAQEEB+AIAABUAAADRRXdBF11sQjQWv0Gjiy5BEoO+Pwb5AgAAAzgwJQoJ+gIAAAnRAQAA0AIAAP////8BAQoJ+wIAAAEACgABtAEAACUAAAAJ2QAAAAAAAAAAAAAAAbUBAAAmAAAACfwCAAACAAAAAgAAAAG2AQAAMAAAAAH9AgAAIQAAAMLALkKYvR9CAf4CAAAhAAAAwsAeQpi9H0IJ/wIAAMwBAAD/////AQEKCQADAAABAAoAAbcBAAA0AAAAAQEDAAAhAAAAwsAYQpi9H0IBAgMAAKAAAAACAAAAAAAAAAAAAAAACQMDAAAAAAAACQQDAAAAAAEFAwAAqQAAAAAAAAABBgMAAHIAAAAAALhBAABAQQEHAwAAFQAAANFFd0GLLgpCNBa/QaOLLkESg74/BggDAAADOTAlCgkJAwAACdEBAADQAgAA/////wEBCgkKAwAAAQAKAAG6AQAAJQAAAAnZAAAAAAAAAAAAAAABuwEAACYAAAAJCwMAAAIAAAACAAAAAbwBAAAwAAAAAQwDAAAhAAAAwsAuQpTud0EBDQMAACEAAADCwB5ClO53QQkOAwAAzAEAAP////8BAQoJDwMAAAEACgABvQEAADQAAAABEAMAACEAAADCwBhClO53QQERAwAAoAAAAAIAAAAAAAAAAAAAAAAJEgMAAAAAAAAJEwMAAAAAARQDAACpAAAAAAAAAAEVAwAAcgAAAAAA6EEAAEBBARYDAAAVAAAAAAAgQQAAIEEcuepBo4suQRKDvj8GFwMAAAQxMDAlCgkYAwAACdEBAADQAgAA/////wEBCgkZAwAAAQAKAAHAAQAAJQAAAAnZAAAAAAAAAAAAAAABwQEAACYAAAAJGgMAAAIAAAACAAAABMIBAACYAVN5c3RlbS5Db2xsZWN0aW9ucy5HZW5lcmljLkxpc3RgMVtbQXBsb3Jpcy5DaGFydC5DaGFydERhdGFFbGVtZW50LCBBcGxvcmlzLkNoYXJ0LCBWZXJzaW9uPTQuMC4wLjE0ODYsIEN1bHR1cmU9bmV1dHJhbCwgUHVibGljS2V5VG9rZW49MTZmYzEzYTIyNmMwZTk1MV1dAwAAAAZfaXRlbXMFX3NpemUIX3ZlcnNpb24EAAAgQXBsb3Jpcy5DaGFydC5DaGFydERhdGFFbGVtZW50W10CAAAACAgJGwMAAAkAAAAJAAAAAcMBAAAlAAAACRwDAAAJAAAACQAAAAHEAQAAJgAAAAkdAwAAAAAAAAAAAAAFyw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cBAAAKAAAAAABAQQl2AAAACXcAAAAJHgMAAAEACR8DAAABzAEAAHgAAAAKCgAAAAD///8ADgAAAAABAdABAACtAAAACSADAAABAAAAAQAAAAHSAQAAdQAAAAkhAwAACgfXAQAAAAEAAAAEAAAABB9BcGxvcmlzLkJhc2UuT2JqZWN0cy5EYXRhT2JqZWN0AwAAAAknAQAADQMH2AEAAAABAAAABAAAAAQcQXBsb3Jpcy5CYXNlLlVJLlZpc3VhbE9iamVjdAMAAAAJKQEAAA0DAdkBAADCAQAACSIDAAAJAAAACQAAAAHaAQAAJQAAAAkjAwAACQAAAAkAAAAB2wEAACYAAAAJJAMAAAAAAAAAAAAABeI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IAQAACgAAAAAAQEEJdgAAAAl3AAAACSUDAAABAAkmAwAAAeMBAAB4AAAACgoAAAAA////AA4AAAAAAQHnAQAArQAAAAknAwAAAQAAAAEAAAAB6AEAAHUAAAAJKAMAAAoH7QEAAAABAAAABAAAAAQfQXBsb3Jpcy5CYXNlLk9iamVjdHMuRGF0YU9iamVjdAMAAAAJLwEAAA0DB+4BAAAAAQAAAAQAAAAEHEFwbG9yaXMuQmFzZS5VSS5WaXN1YWxPYmplY3QDAAAACTEBAAANAwHvAQAAwgEAAAkpAwAACQAAAAkAAAAB8AEAACUAAAAJKgMAAAkAAAAJAAAAAfEBAAAmAAAACSQDAAAAAAAAAAAAAAX4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CQEAAAoAAAAAAEBBCXYAAAAJdwAAAAkrAwAAAQAJLAMAAAH5AQAAeAAAAAoKAAAAAP///wAOAAAAAAEB/QEAAK0AAAAJLQMAAAEAAAABAAAAAf4BAAB1AAAACS4DAAAKBwMCAAAAAQAAAAQAAAAEH0FwbG9yaXMuQmFzZS5PYmplY3RzLkRhdGFPYmplY3QDAAAACTcBAAANAwcEAgAAAAEAAAAEAAAABBxBcGxvcmlzLkJhc2UuVUkuVmlzdWFsT2JqZWN0AwAAAAk5AQAADQMBBQIAADQAAAABLwMAACEAAACuRYtClO5HQQEwAwAAoAAAAAEAAAAAAAAAAAAAAAAJMQMAAAAAAAAJMgMAAAAAATMDAACpAAAAAAAAAAE0AwAAcgAAAAAAHEIAAEBBATUDAAAVAAAAAAAAAAAAAAAAAAAAAAAAABKDvj8GNgMAAAYxMDAuMCUKCTcDAAAJ0QEAADQDAAD/////AAEKCTgDAAABAAoAAQgCAAAjAAAACgoAAAAAAChBCXYAAAAJdwAAAAk5AwAAAAAJOgMAAAEJAgAAeAAAAAoKAAAAAP///wAOAAAAAAEBDQIAAK0AAAAJOwMAAAEAAAABAAAAAQ4CAAB1AAAACTwDAAAKBw8CAAAAAQAAAAQAAAAEHEFwbG9yaXMuQmFzZS5VSS5WaXN1YWxPYmplY3QDAAAACUIBAAAJBQIAAAoKARACAAA0AAAAAT0DAAAhAAAAcW0tQ5TuR0EBPgMAAKAAAAABAAAAAAAAAAAAAAAACT8DAAAAAAAACUADAAAAAAFBAwAAqQAAAAAAAAABQgMAAHIAAAAAABxCAABAQQFDAwAAFQAAAAAAAAAAAAAAAAAAAAAAAAASg74/BkQDAAAGMTAwLjAlCglFAwAACdEBAAA0AwAA/////wABCglGAwAAAQAKAAETAgAAIwAAAAoKAAAAAAAoQQl2AAAACXcAAAAJRwMAAAAACUgDAAABFAIAAHgAAAAKCgAAAAD///8ADgAAAAABARgCAACtAAAACUkDAAABAAAAAQAAAAEZAgAAdQAAAAlKAwAACgcaAgAAAAEAAAAAAAAABB9BcGxvcmlzLkJhc2UuT2JqZWN0cy5EYXRhT2JqZWN0AwAAAAcbAgAAAAEAAAAEAAAABBxBcGxvcmlzLkJhc2UuVUkuVmlzdWFsT2JqZWN0AwAAAAlJAQAACRACAAAKCgEcAgAANAAAAAFLAwAAIQAAAL5SYUOU7kdBAUwDAACgAAAAAQAAAAAAAAAAAAAAAAlNAwAAAAAAAAlOAwAAAAABTwMAAKkAAAAAAAAAAVADAAByAAAAAAAcQgAAQEEBUQMAABUAAAAAAAAAAAAAAAAAAAAAAAAAEoO+PwZSAwAABjEwMC4wJQoJUwMAAAnRAQAANAMAAP////8AAQoJVAMAAAEACgABHwIAACMAAAAKCgAAAAAAKEEJdgAAAAl3AAAACVUDAAAAAAlWAwAAASACAAB4AAAACgoAAAAA////AA4AAAAAAQEkAgAArQAAAAlXAwAAAQAAAAEAAAABJQIAAHUAAAAJWAMAAAoHJgIAAAABAAAAAAAAAAQfQXBsb3Jpcy5CYXNlLk9iamVjdHMuRGF0YU9iamVjdAMAAAAHJwIAAAABAAAABAAAAAQcQXBsb3Jpcy5CYXNlLlVJLlZpc3VhbE9iamVjdAMAAAAJUAEAAAkcAgAACgoBKAIAADQAAAABWQMAACEAAAAGnIpDlO5HQQFaAwAAoAAAAAEAAAAAAAAAAAAAAAAJWwMAAAAAAAAJXAMAAAAAAV0DAACpAAAAAAAAAAFeAwAAcgAAAAAAHEIAAEBBAV8DAAAVAAAAAAAAAAAAAAAAAAAAAAAAABKDvj8GYAMAAAYxMDAuMCUKCWEDAAAJ0QEAADQDAAD/////AAEKCWIDAAABAAoAASsCAAAjAAAACgoAAAAAAChBCXYAAAAJdwAAAAljAwAAAAAJZAMAAAEsAgAAeAAAAAoKAAAAAP///wAOAAAAAAEBMAIAAK0AAAAJZQMAAAEAAAABAAAAATECAAB1AAAACWYDAAAKBzICAAAAAQAAAAQAAAAEHEFwbG9yaXMuQmFzZS5VSS5WaXN1YWxPYmplY3QDAAAACVcBAAAJKAIAAAoKATMCAAA0AAAAAWcDAAAhAAAArI6kQ5TuR0EBaAMAAKAAAAABAAAAAAAAAAAAAAAACWkDAAAAAAAACWoDAAAAAAFrAwAAqQAAAAAAAAABbAMAAHIAAAAAABxCAABAQQFtAwAAFQAAAAAAAAAAAAAAAAAAAAAAAAASg74/Bm4DAAAGMTAwLjAlCglvAwAACdEBAAA0AwAA/////wABCglwAwAAAQAKAAE2AgAAIwAAAAoKAAAAAAAoQQl2AAAACXcAAAAJcQMAAAAACXIDAAABNwIAAHgAAAAKCgAAAAD///8ADgAAAAABATsCAACtAAAACXMDAAABAAAAAQAAAAE8AgAAdQAAAAl0AwAACgc9AgAAAAEAAAAEAAAABBxBcGxvcmlzLkJhc2UuVUkuVmlzdWFsT2JqZWN0AwAAAAleAQAACTMCAAAKCgE+AgAANAAAAAF1AwAAIQAAAFKBvkOU7kdBAXYDAACgAAAAAQAAAAAAAAAAAAAAAAl3AwAAAAAAAAl4AwAAAAABeQMAAKkAAAAAAAAAAXoDAAByAAAAAAAcQgAAQEEBewMAABUAAAAAAAAAAAAAAAAAAAAAAAAAEoO+PwZ8AwAABjEwMC4wJQoJfQMAAAnRAQAANAMAAP////8AAQoJfgMAAAEACgABQQIAACMAAAAKCgAAAAAAKEEJdgAAAAl3AAAACX8DAAAAAAmAAwAAAUICAAB4AAAACgoAAAAA////AA4AAAAAAQFGAgAArQAAAAmBAwAAAQAAAAEAAAABRwIAAHUAAAAJggMAAAoHSAIAAAABAAAABAAAAAQcQXBsb3Jpcy5CYXNlLlVJLlZpc3VhbE9iamVjdAMAAAAJZQEAAAk+AgAACgoBSQIAADQAAAABgwMAACEAAACgZvJDlO5HQQGEAwAAoAAAAAEAAAAAAAAAAAAAAAAJhQMAAAAAAAAJhgMAAAAAAYcDAACpAAAAAAAAAAGIAwAAcgAAAAAAHEIAAEBBAYkDAAAVAAAAAAAAAAAAAAAAAAAAAAAAABKDvj8GigMAAAYxMDAuMCUKCYsDAAAJ0QEAADQDAAD/////AAEKCYwDAAABAAoAAUwCAAAjAAAACgoAAAAAAChBCXYAAAAJdwAAAAmNAwAAAAAJjgMAAAFNAgAAeAAAAAoKAAAAAP///wAOAAAAAAEBUQIAAK0AAAAJjwMAAAEAAAABAAAAAVICAAB1AAAACZADAAAKB1MCAAAAAQAAAAQAAAAEHEFwbG9yaXMuQmFzZS5VSS5WaXN1YWxPYmplY3QDAAAACWwBAAAJSQIAAAoKAVQCAAA0AAAAAZEDAAAhAAAAoywGRJTuR0EBkgMAAKAAAAABAAAAAAAAAAAAAAAACZMDAAAAAAAACZQDAAAAAAGVAwAAqQAAAAAAAAABlgMAAHIAAAAAABxCAABAQQGXAwAAFQAAAAAAAAAAAAAAAAAAAAAAAAASg74/BpgDAAAGMTAwLjAlCgmZAwAACdEBAAA0AwAA/////wABCgmaAwAAAQAKAAFXAgAAIwAAAAoKAAAAAAAoQQl2AAAACXcAAAAJmwMAAAAACZwDAAABWAIAAHgAAAAKCgAAAAD///8ADgAAAAABAVwCAACtAAAACZ0DAAABAAAAAQAAAAFdAgAAdQAAAAmeAwAACgdeAgAAAAEAAAAEAAAABBxBcGxvcmlzLkJhc2UuVUkuVmlzdWFsT2JqZWN0AwAAAAlzAQAACVQCAAAKCgFfAgAANAAAAAGfAwAAIQAAAPYlE0SU7kdBAaADAACgAAAAAQAAAAAAAAAAAAAAAAmhAwAAAAAAAAmiAwAAAAABowMAAKkAAAAAAAAAAaQDAAByAAAAAAAcQgAAQEEBpQMAABUAAAAAAAAAAAAAAAAAAAAAAAAAEoO+PwamAwAABjEwMC4wJQoJpwMAAAnRAQAANAMAAP////8AAQoJqAMAAAEACgABYgIAACMAAAAKCgAAAAAAKEEJdgAAAAl3AAAACakDAAAAAAmqAwAAAWMCAAB4AAAACgoAAAAA////AA4AAAAAAQFnAgAArQAAAAmrAwAAAQAAAAEAAAABaAIAAHUAAAAJrAMAAAoHaQIAAAABAAAABAAAAAQcQXBsb3Jpcy5CYXNlLlVJLlZpc3VhbE9iamVjdAMAAAAJegEAAAlfAgAACgoBagIAADQAAAABrQMAACEAAADeEGhC+yueQwGuAwAAoAAAAAUAAAAAAAAAAAAAAAAJrwMAAAAAAAAJsAMAAAAAAbEDAACpAAAAAAAAAAGyAwAAcgAAAAAA8EEAAEBBAbMDAAAVAAAAXXRhQosunkPu/vFBo4suQRKDvj8JKAEAAAoJtAMAAAnRAQAAhAMAAP////8BAQoJtQMAAAEACgABawIAABwAAAABtgMAACEAAABtEy5C+yueQwG3AwAAIQAAAN4QXEKp66NDCbgDAAAJuQMAAAAAAAAKAboDAAByAAAAAAAAAAAAAAABuwMAAHIAAAAAAAAAAAAAAAAAAAABvAMAABUAAAAAAAAAAAAAAAAAAAAAAAAAmAMAAP////8BAQoJvQMAAAEACgABbAIAACUAAAAJvgMAAAAAAAAAAAAAAW0CAAAmAAAACb8DAAACAAAAAgAAAAFuAgAANAAAAAHAAwAAIQAAAAdv20L7K55DAcEDAACgAAAABQAAAAAAAAAAAAAAAAnCAwAAAAAAAAnDAwAAAAABxAMAAKkAAAAAAAAAAcUDAAByAAAAAAAUQgAAQEEBxgMAABUAAAAXXdhCiy6eQ9RzEkKjiy5BEoO+PwkwAQAACgnHAwAACdEBAACEAwAA/////wEBCgnIAwAAAQAKAAFvAgAAHAAAAAHJAwAAIQAAAE9wvkL7K55DAcoDAAAhAAAAB2/VQqnro0MJywMAAAnMAwAAAAAAAAoBzQMAAHIAAAAAAAAAAAAAAAHOAwAAcgAAAAAAAAAAAAAAAAAAAAHPAwAAFQAAAAAAAAAAAAAAAAAAAAAAAACYAwAA/////wEBCgnQAwAAAQAKAAFwAgAAJQAAAAnRAwAAAAAAAAAAAAABcQIAACYAAAAJ0gMAAAIAAAACAAAAAXICAAA0AAAAAdMDAAAhAAAA58cnQ/srnkMB1AMAAKAAAAAFAAAAAAAAAAAAAAAACdUDAAAAAAAACdYDAAAAAAHXAwAAqQAAAAAAAAAB2AMAAHIAAAAAADhCAABAQQHZAwAAFQAAABddJkOLLp5DAi4zQqOLLkESg74/CTgBAAAKCdoDAAAJ0QEAAIQDAAD/////AQEKCdsDAAABAAoAAXMCAAAcAAAAAdwDAAAhAAAAi0gZQ/srnkMB3QMAACEAAADnxyRDqeujQwneAwAACd8DAAAAAAAACgHgAwAAcgAAAAAAAAAAAAAAAeEDAAByAAAAAAAAAAAAAAAAAAAAAeIDAAAVAAAAAAAAAAAAAAAAAAAAAAAAAJgDAAD/////AQEKCeMDAAABAAoAAXQCAAAlAAAACdEDAAAAAAAAAAAAAAF1AgAAJgAAAAnkAwAAAgAAAAIAAAABeAIAAHAAAAAKCgAAAEA/CeUDAAAJ5gMAAAEAAAD+////AAAAAAEAAAAAAAAAAAAAAAEAAAAAAAAAAAAAAXkCAAB1AAAACecDAAAKAXwCAAAjAAAACgoAAAAAAChBCXYAAAAJdwAAAAnoAwAAAAAJ6QMAAAF9AgAAeAAAAAoKAAAAAP///wAOAAAAAAEBggIAAK0AAAAJ6gMAAAEAAAABAAAAAYMCAAB1AAAACesDAAAKB4QCAAAAAQAAAAQAAAAEHEFwbG9yaXMuQmFzZS5VSS5WaXN1YWxPYmplY3QDAAAACYABAAAJgQEAAAoKAYcCAABwAAAACgoAAABAPwnsAwAACe0DAAABAAAA/v///wAAAAABAAAAAAAAAAAAAAABAAAAAAAAAAAAAAGIAgAAdQAAAAnuAwAACgGLAgAAIwAAAAoKAAAAAAAoQQl2AAAACXcAAAAJ7wMAAAAACfADAAABjAIAAHgAAAAKCgAAAAD///8ADgAAAAABAZECAACtAAAACfEDAAABAAAAAwAAAAGSAgAAdQAAAAnyAwAACgeTAgAAAAEAAAAEAAAABBxBcGxvcmlzLkJhc2UuVUkuVmlzdWFsT2JqZWN0AwAAAAmGAQAACYcBAAAKCgGWAgAAcAAAAAoKAAAAQD8J8wMAAAn0AwAAAQAAAP7///8AAAAAAQAAAAAAAAAAAAAAAQAAAAAAAAAAAAABlwIAAHUAAAAJ9QMAAAoBmgIAACMAAAAKCgAAAAAAKEEJdgAAAAl3AAAACfYDAAAAAAn3AwAAAZsCAAB4AAAACgoAAAAA////AA4AAAAAAQGgAgAArQAAAAn4AwAAAQAAAAMAAAABoQIAAHUAAAAJ+QMAAAoHogIAAAABAAAABAAAAAQcQXBsb3Jpcy5CYXNlLlVJLlZpc3VhbE9iamVjdAMAAAAJjAEAAAmNAQAACgoBpQIAAHAAAAAKCgAAAEA/CfoDAAAJ+wMAAAEAAAD+////AAAAAAEAAAAAAAAAAAAAAAEAAAAAAAAAAAAAAaYCAAB1AAAACfwDAAAKAakCAAAjAAAACgoAAAAAAChBCXYAAAAJdwAAAAn9AwAAAAAJ/gMAAAGqAgAAeAAAAAoKAAAAAP///wAOAAAAAAEBrwIAAK0AAAAJ/wMAAAEAAAADAAAAAbACAAB1AAAACQAEAAAKB7ECAAAAAQAAAAQAAAAEHEFwbG9yaXMuQmFzZS5VSS5WaXN1YWxPYmplY3QDAAAACZIBAAAJkwEAAAoKAbQCAABwAAAACgoAAABAPwkBBAAACQIEAAABAAAA/v///wAAAAABAAAAAAAAAAAAAAABAAAAAAAAAAAAAAG1AgAAdQAAAAkDBAAACgG4AgAAIwAAAAoKAAAAAAAoQQl2AAAACXcAAAAJBAQAAAAACQUEAAABuQIAAHgAAAAKCgAAAAD///8ADgAAAAABAb4CAACtAAAACQYEAAABAAAAAwAAAAG/AgAAdQAAAAkHBAAACgfAAgAAAAEAAAAEAAAABBxBcGxvcmlzLkJhc2UuVUkuVmlzdWFsT2JqZWN0AwAAAAmYAQAACZkBAAAKCgHDAgAAcAAAAAoKAAAAQD8JCAQAAAkJBAAAAQAAAP7///8AAAAAAQAAAAAAAAAAAAAAAQAAAAAAAAAAAAABxAIAAHUAAAAJCgQAAAoBxwIAACMAAAAKCgAAAAAAKEEJdgAAAAl3AAAACQsEAAAAAAkMBAAAAcgCAAB4AAAACgoAAAAA////AA4AAAAAAQHNAgAArQAAAAkNBAAAAQAAAAMAAAABzgIAAHUAAAAJDgQAAAoHzwIAAAABAAAABAAAAAQcQXBsb3Jpcy5CYXNlLlVJLlZpc3VhbE9iamVjdAMAAAAJngEAAAmfAQAACgoB0gIAAHAAAAAKCgAAAEA/CQ8EAAAJEAQAAAEAAAD+////AAAAAAEAAAAAAAAAAAAAAAEAAAAAAAAAAAAAAdMCAAB1AAAACREEAAAKAdYCAAAjAAAACgoAAAAAAChBCXYAAAAJdwAAAAkSBAAAAAAJEwQAAAHXAgAAeAAAAAoKAAAAAP///wAOAAAAAAEB3AIAAK0AAAAJFAQAAAEAAAADAAAAAd0CAAB1AAAACRUEAAAKB94CAAAAAQAAAAQAAAAEHEFwbG9yaXMuQmFzZS5VSS5WaXN1YWxPYmplY3QDAAAACaQBAAAJpQEAAAoKAeECAABwAAAACgoAAABAPwkWBAAACRcEAAABAAAA/v///wAAAAABAAAAAAAAAAAAAAABAAAAAAAAAAAAAAHiAgAAdQAAAAkYBAAACgHlAgAAIwAAAAoKAAAAAAAoQQl2AAAACXcAAAAJGQQAAAAACRoEAAAB5gIAAHgAAAAKCgAAAAD///8ADgAAAAABAesCAACtAAAACRsEAAABAAAAAwAAAAHsAgAAdQAAAAkcBAAACgftAgAAAAEAAAAEAAAABBxBcGxvcmlzLkJhc2UuVUkuVmlzdWFsT2JqZWN0AwAAAAmqAQAACasBAAAKCgHwAgAAcAAAAAoKAAAAQD8JHQQAAAkeBAAAAQAAAP7///8AAAAAAQAAAAAAAAAAAAAAAQAAAAAAAAAAAAAB8QIAAHUAAAAJHwQAAAoB9AIAACMAAAAKCgAAAAAAKEEJdgAAAAl3AAAACSAEAAAAAAkhBAAAAfUCAAB4AAAACgoAAAAA////AA4AAAAAAQH6AgAArQAAAAkiBAAAAQAAAAMAAAAB+wIAAHUAAAAJIwQAAAoH/AIAAAABAAAABAAAAAQcQXBsb3Jpcy5CYXNlLlVJLlZpc3VhbE9iamVjdAMAAAAJsAEAAAmxAQAACgoB/wIAAHAAAAAKCgAAAEA/CSQEAAAJJQQAAAEAAAD+////AAAAAAEAAAAAAAAAAAAAAAEAAAAAAAAAAAAAAQADAAB1AAAACSYEAAAKAQMDAAAjAAAACgoAAAAAAChBCXYAAAAJdwAAAAknBAAAAAAJKAQAAAEEAwAAeAAAAAoKAAAAAP///wAOAAAAAAEBCQMAAK0AAAAJKQQAAAEAAAADAAAAAQoDAAB1AAAACSoEAAAKBwsDAAAAAQAAAAQAAAAEHEFwbG9yaXMuQmFzZS5VSS5WaXN1YWxPYmplY3QDAAAACbYBAAAJtwEAAAoKAQ4DAABwAAAACgoAAABAPwkrBAAACSwEAAABAAAA/v///wAAAAABAAAAAAAAAAAAAAABAAAAAAAAAAAAAAEPAwAAdQAAAAktBAAACgESAwAAIwAAAAoKAAAAAAAoQQl2AAAACXcAAAAJLgQAAAAACS8EAAABEwMAAHgAAAAKCgAAAAD///8ADgAAAAABARgDAACtAAAACTAEAAABAAAAAwAAAAEZAwAAdQAAAAkxBAAACgcaAwAAAAEAAAAEAAAABBxBcGxvcmlzLkJhc2UuVUkuVmlzdWFsT2JqZWN0AwAAAAm8AQAACb0BAAAKCgcbAwAAAAEAAAAQAAAABB5BcGxvcmlzLkNoYXJ0LkNoYXJ0RGF0YUVsZW1lbnQCAAAACTIEAAAJMwQAAAk0BAAACTUEAAAJNgQAAAk3BAAACTgEAAAJOQQAAAk6BAAADQcHHAMAAAABAAAAEAAAAAQfQXBsb3Jpcy5CYXNlLk9iamVjdHMuRGF0YU9iamVjdAMAAAAJMgQAAAkzBAAACTQEAAAJNQQAAAk2BAAACTcEAAAJOAQAAAk5BAAACToEAAANBwcdAwAAAAEAAAAAAAAABBxBcGxvcmlzLkJhc2UuVUkuVmlzdWFsT2JqZWN0AwAAAAEeAwAAeAAAAAoKAAAAAAAAAAANAAAAAAEBHwMAAHgAAAAKCgEAAAAAAAAA/////wABByADAAAAAQAAAAQAAAAEHUFwbG9yaXMuQmFzZS5PYmplY3RzLlZhcmlhYmxlAwAAAAU7BAAAHUFwbG9yaXMuQmFzZS5PYmplY3RzLlZhcmlhYmxlAgAAAAZOdW1iZXIIUG9zaXRpb24AAAgIAwAAAAEAAAAAAAAAATwEAAA7BAAAAAAAAAAAAAABPQQAADsEAAAAAAAAAAAAAAE+BAAAOwQAAAAAAAAAAAAADyEDAAABAAAACAAAAAAHIgMAAAABAAAAEAAAAAQeQXBsb3Jpcy5DaGFydC5DaGFydERhdGFFbGVtZW50AgAAAAk/BAAACUAEAAAJQQQAAAlCBAAACUMEAAAJRAQAAAlFBAAACUYEAAAJRwQAAA0HByMDAAAAAQAAABAAAAAEH0FwbG9yaXMuQmFzZS5PYmplY3RzLkRhdGFPYmplY3QDAAAACT8EAAAJQAQAAAlBBAAACUIEAAAJQwQAAAlEBAAACUUEAAAJRgQAAAlHBAAADQcHJAMAAAABAAAAAAAAAAQcQXBsb3Jpcy5CYXNlLlVJLlZpc3VhbE9iamVjdAMAAAABJQMAAHgAAAAKCgAAAAAAAAAADQAAAAABASYDAAB4AAAACgoBAAAAAAAAAP////8AAQcnAwAAAAEAAAAEAAAABB1BcGxvcmlzLkJhc2UuT2JqZWN0cy5WYXJpYWJsZQMAAAABSAQAADsEAAABAAAAAAAAAAFJBAAAOwQAAAAAAAAAAAAAAUoEAAA7BAAAAAAAAAAAAAABSwQAADsEAAAAAAAAAAAAAA8oAwAAAQAAAAgAAAAABykDAAAAAQAAABAAAAAEHkFwbG9yaXMuQ2hhcnQuQ2hhcnREYXRhRWxlbWVudAIAAAAJTAQAAAlNBAAACU4EAAAJTwQAAAlQBAAACVEEAAAJUgQAAAlTBAAACVQEAAANBwcqAwAAAAEAAAAQAAAABB9BcGxvcmlzLkJhc2UuT2JqZWN0cy5EYXRhT2JqZWN0AwAAAAlMBAAACU0EAAAJTgQAAAlPBAAACVAEAAAJUQQAAAlSBAAACVMEAAAJVAQAAA0HASsDAAB4AAAACgoAAAAAAAAAAA0AAAAAAQEsAwAAeAAAAAoKAQAAAAAAAAD/////AAEHLQMAAAABAAAABAAAAAQdQXBsb3Jpcy5CYXNlLk9iamVjdHMuVmFyaWFibGUDAAAAAVUEAAA7BAAAAQAAAAAAAAABVgQAADsEAAAAAAAAAAAAAAFXBAAAOwQAAAAAAAAAAAAAAVgEAAA7BAAAAAAAAAAAAAAPLgMAAAEAAAAIAAAAAAUx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KAQAACgAAAAAAQEEJdgAAAAl3AAAACVkEAAABAAlaBAAAATIDAAB4AAAACgoAAAAA////AA4AAAAAAQE3AwAArQAAAAlbBAAAAQAAAAEAAAABOAMAAHUAAAAJXAQAAAoBOQMAAHgAAAAKCgAAAAAAAAAADQAAAAAAAToDAAB4AAAACgoAAAAAAAAAAA0AAAAAAQc7AwAAAAEAAAAEAAAABB1BcGxvcmlzLkJhc2UuT2JqZWN0cy5WYXJpYWJsZQMAAAABXQQAADsEAAABAAAAAAAAAAFeBAAAOwQAAAAAAAAAAAAAAV8EAAA7BAAAAAAAAAAAAAABYAQAADsEAAAAAAAAAAAAAA88AwAAAQAAAAhSAQAABT8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sBAAAKAAAAAABAQQl2AAAACXcAAAAJYQQAAAEACWIEAAABQAMAAHgAAAAKCgAAAAD///8ADgAAAAABAUUDAACtAAAACWMEAAABAAAAAwAAAAFGAwAAdQAAAAlkBAAACgFHAwAAeAAAAAoKAAAAAAAAAAANAAAAAAABSAMAAHgAAAAKCgAAAAAAAAAADQAAAAABB0kDAAAAAQAAAAQAAAAEHUFwbG9yaXMuQmFzZS5PYmplY3RzLlZhcmlhYmxlAwAAAAFlBAAAOwQAAAEAAAAAAAAAAWYEAAA7BAAAAAAAAAAAAAABZwQAADsEAAAAAAAAAAAAAAFoBAAAOwQAAAAAAAAAAAAAD0oDAAABAAAACE0BAAAFTQ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DAEAAAoAAAAAAEBBCXYAAAAJdwAAAAlpBAAAAQAJagQAAAFOAwAAeAAAAAoKAAAAAP///wAOAAAAAAEBUwMAAK0AAAAJawQAAAEAAAADAAAAAVQDAAB1AAAACWwEAAAKAVUDAAB4AAAACgoAAAAAAAAAAA0AAAAAAAFWAwAAeAAAAAoKAAAAAAAAAAANAAAAAAEHVwMAAAABAAAABAAAAAQdQXBsb3Jpcy5CYXNlLk9iamVjdHMuVmFyaWFibGUDAAAAAW0EAAA7BAAAAQAAAAAAAAABbgQAADsEAAAAAAAAAAAAAAFvBAAAOwQAAAAAAAAAAAAAAXAEAAA7BAAAAAAAAAAAAAAPWAMAAAEAAAAIxQAAAAVb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NAQAACgAAAAAAQEEJdgAAAAl3AAAACXEEAAABAAlyBAAAAVwDAAB4AAAACgoAAAAA////AA4AAAAAAQFhAwAArQAAAAlzBAAAAQAAAAMAAAABYgMAAHUAAAAJdAQAAAoBYwMAAHgAAAAKCgAAAAAAAAAADQAAAAAAAWQDAAB4AAAACgoAAAAAAAAAAA0AAAAAAQdlAwAAAAEAAAAEAAAABB1BcGxvcmlzLkJhc2UuT2JqZWN0cy5WYXJpYWJsZQMAAAABdQQAADsEAAABAAAAAAAAAAF2BAAAOwQAAAAAAAAAAAAAAXcEAAA7BAAAAAAAAAAAAAABeAQAADsEAAAAAAAAAAAAAA9mAwAAAQAAAAjEAAAABWk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4BAAAKAAAAAABAQQl2AAAACXcAAAAJeQQAAAEACXoEAAABagMAAHgAAAAKCgAAAAD///8ADgAAAAABAW8DAACtAAAACXsEAAABAAAAAwAAAAFwAwAAdQAAAAl8BAAACgFxAwAAeAAAAAoKAAAAAAAAAAANAAAAAAABcgMAAHgAAAAKCgAAAAAAAAAADQAAAAABB3MDAAAAAQAAAAQAAAAEHUFwbG9yaXMuQmFzZS5PYmplY3RzLlZhcmlhYmxlAwAAAAF9BAAAOwQAAAEAAAAAAAAAAX4EAAA7BAAAAAAAAAAAAAABfwQAADsEAAAAAAAAAAAAAAGABAAAOwQAAAAAAAAAAAAAD3QDAAABAAAACEwBAAAFdw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DwEAAAoAAAAAAEBBCXYAAAAJdwAAAAmBBAAAAQAJggQAAAF4AwAAeAAAAAoKAAAAAP///wAOAAAAAAEBfQMAAK0AAAAJgwQAAAEAAAADAAAAAX4DAAB1AAAACYQEAAAKAX8DAAB4AAAACgoAAAAAAAAAAA0AAAAAAAGAAwAAeAAAAAoKAAAAAAAAAAANAAAAAAEHgQMAAAABAAAABAAAAAQdQXBsb3Jpcy5CYXNlLk9iamVjdHMuVmFyaWFibGUDAAAAAYUEAAA7BAAAAQAAAAAAAAABhgQAADsEAAAAAAAAAAAAAAGHBAAAOwQAAAAAAAAAAAAAAYgEAAA7BAAAAAAAAAAAAAAPggMAAAEAAAAITgEAAAWF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QAQAACgAAAAAAQEEJdgAAAAl3AAAACYkEAAABAAmKBAAAAYYDAAB4AAAACgoAAAAA////AA4AAAAAAQGLAwAArQAAAAmLBAAAAQAAAAMAAAABjAMAAHUAAAAJjAQAAAoBjQMAAHgAAAAKCgAAAAAAAAAADQAAAAAAAY4DAAB4AAAACgoAAAAAAAAAAA0AAAAAAQePAwAAAAEAAAAEAAAABB1BcGxvcmlzLkJhc2UuT2JqZWN0cy5WYXJpYWJsZQMAAAABjQQAADsEAAABAAAAAAAAAAGOBAAAOwQAAAAAAAAAAAAAAY8EAAA7BAAAAAAAAAAAAAABkAQAADsEAAAAAAAAAAAAAA+QAwAAAQAAAAhPAQAABZM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REBAAAKAAAAAABAQQl2AAAACXcAAAAJkQQAAAEACZIEAAABlAMAAHgAAAAKCgAAAAD///8ADgAAAAABAZkDAACtAAAACZMEAAABAAAAAwAAAAGaAwAAdQAAAAmUBAAACgGbAwAAeAAAAAoKAAAAAAAAAAANAAAAAAABnAMAAHgAAAAKCgAAAAAAAAAADQAAAAABB50DAAAAAQAAAAQAAAAEHUFwbG9yaXMuQmFzZS5PYmplY3RzLlZhcmlhYmxlAwAAAAGVBAAAOwQAAAEAAAAAAAAAAZYEAAA7BAAAAAAAAAAAAAABlwQAADsEAAAAAAAAAAAAAAGYBAAAOwQAAAAAAAAAAAAAD54DAAABAAAACFABAAAFoQ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EgEAAAoAAAAAAEBBCXYAAAAJdwAAAAmZBAAAAQAJmgQAAAGiAwAAeAAAAAoKAAAAAP///wAOAAAAAAEBpwMAAK0AAAAJmwQAAAEAAAADAAAAAagDAAB1AAAACZwEAAAKAakDAAB4AAAACgoAAAAAAAAAAA0AAAAAAAGqAwAAeAAAAAoKAAAAAAAAAAANAAAAAAEHqwMAAAABAAAABAAAAAQdQXBsb3Jpcy5CYXNlLk9iamVjdHMuVmFyaWFibGUDAAAAAZ0EAAA7BAAAAQAAAAAAAAABngQAADsEAAAAAAAAAAAAAAGfBAAAOwQAAAAAAAAAAAAAAaAEAAA7BAAAAAAAAAAAAAAPrAMAAAEAAAAIUQEAAAGvAwAAIwAAAAoKAAAAAAAoQQl2AAAACXcAAAAJoQQAAAAACaIEAAABsAMAAHgAAAAKCgEAAAAAAAAA/////wABAbQDAACtAAAACaMEAAABAAAAAQAAAAG1AwAAdQAAAAmkBAAACgG4AwAAcAAAAAoKAAAAQD8JpQQAAAmmBAAAAQAAAP7///8AAAAAAQAAAAAAAAAAAAAAAQAAAAAAAAAAAAABuQMAAHEAAAAKCgmnBAAACagEAAABAAAA/v///wAAAAD/////AQABvQMAAHUAAAAJqQQAAAoHvgMAAAABAAAAAAAAAAQfQXBsb3Jpcy5CYXNlLk9iamVjdHMuRGF0YU9iamVjdAMAAAAHvwMAAAABAAAABAAAAAQcQXBsb3Jpcy5CYXNlLlVJLlZpc3VhbE9iamVjdAMAAAAJagIAAAlrAgAACgoBwgMAACMAAAAKCgAAAAAAKEEJdgAAAAl3AAAACaoEAAAAAAmrBAAAAcMDAAB4AAAACgoBAAAAAAAAAP////8AAQHHAwAArQAAAAmsBAAAAQAAAAEAAAAByAMAAHUAAAAJrQQAAAoBywMAAHAAAAAKCgAAAEA/Ca4EAAAJrwQAAAEAAAD+////AAAAAAEAAAAAAAAAAAAAAAEAAAAAAAAAAAAAAcwDAABxAAAACgoJsAQAAAmxBAAAAQAAAP7///8AAAAA/////wEAAdADAAB1AAAACbIEAAAKB9EDAAAAAQAAAAAAAAAEH0FwbG9yaXMuQmFzZS5PYmplY3RzLkRhdGFPYmplY3QDAAAAB9IDAAAAAQAAAAQAAAAEHEFwbG9yaXMuQmFzZS5VSS5WaXN1YWxPYmplY3QDAAAACW4CAAAJbwIAAAoKAdUDAAAjAAAACgoAAAAAAChBCXYAAAAJdwAAAAmzBAAAAAAJtAQAAAHWAwAAeAAAAAoKAQAAAAAAAAD/////AAEB2gMAAK0AAAAJtQQAAAEAAAABAAAAAdsDAAB1AAAACbYEAAAKAd4DAABwAAAACgoAAABAPwm3BAAACbgEAAABAAAA/v///wAAAAABAAAAAAAAAAAAAAABAAAAAAAAAAAAAAHfAwAAcQAAAAoKCbkEAAAJugQAAAEAAAD+////AAAAAP////8BAAHjAwAAdQAAAAm7BAAACgfkAwAAAAEAAAAEAAAABBxBcGxvcmlzLkJhc2UuVUkuVmlzdWFsT2JqZWN0AwAAAAlyAgAACXMCAAAKCgHlAwAAeAAAAAoKAAAAAAAAAAANAAAAAAAF5gMAABpBcGxvcmlzLkJhc2UuT2JqZWN0cy5Db2xvcgcAAAASRGF0YU9iamVjdCttUGFyZW50FURhdGFPYmplY3QrbUNvbnRhaW5lcgVtVHlwZQRtUkdCEG1UaGVtZUNvbG9ySW5kZXgMbUF1dG9VcGRhdGVkCW1Nb2RpZmllZAQCAAAAAAAfQXBsb3Jpcy5CYXNlLk9iamVjdHMuTGluZUZvcm1hdAMAAAAICAgBAQMAAAAJeAIAAAoBAAAAAAAAAP////8AAQ/nAwAAAQAAAAh+AgAAAegDAAB4AAAACgoAAAAAAAAAAA0AAAAAAAHpAwAAeAAAAAoKAAAAAAAAAAANAAAAAAEH6gMAAAABAAAABAAAAAQdQXBsb3Jpcy5CYXNlLk9iamVjdHMuVmFyaWFibGUDAAAAAbwEAAA7BAAAAQAAAAAAAAABvQQAADsEAAAAAAAAAAAAAAG+BAAAOwQAAAAAAAAAAAAAAb8EAAA7BAAAAAAAAAAAAAAP6wMAAAEAAAAIJgAAAAHsAwAAeAAAAAoKAAAAAAAAAAANAAAAAAAF7QMAABpBcGxvcmlzLkJhc2UuT2JqZWN0cy5Db2xvcgcAAAASRGF0YU9iamVjdCttUGFyZW50FURhdGFPYmplY3QrbUNvbnRhaW5lcgVtVHlwZQRtUkdCEG1UaGVtZUNvbG9ySW5kZXgMbUF1dG9VcGRhdGVkCW1Nb2RpZmllZAQCAAAAAAAfQXBsb3Jpcy5CYXNlLk9iamVjdHMuTGluZUZvcm1hdAMAAAAICAgBAQMAAAAJhwIAAAoBAAAAAAAAAP////8AAQ/uAwAAAQAAAAiAAgAAAe8DAAB4AAAACgoAAAAAAAAAAA0AAAAAAAHwAwAAeAAAAAoKAAAAAAAAAAANAAAAAAEH8QMAAAABAAAABAAAAAQdQXBsb3Jpcy5CYXNlLk9iamVjdHMuVmFyaWFibGUDAAAAAcAEAAA7BAAAAQAAAAAAAAABwQQAADsEAAAAAAAAAAAAAAHCBAAAOwQAAAAAAAAAAAAAAcMEAAA7BAAAAAAAAAAAAAAP8gMAAAEAAAAIIwAAAAHzAwAAeAAAAAoKAAAAAAAAAAANAAAAAAAF9AMAABpBcGxvcmlzLkJhc2UuT2JqZWN0cy5Db2xvcgcAAAASRGF0YU9iamVjdCttUGFyZW50FURhdGFPYmplY3QrbUNvbnRhaW5lcgVtVHlwZQRtUkdCEG1UaGVtZUNvbG9ySW5kZXgMbUF1dG9VcGRhdGVkCW1Nb2RpZmllZAQCAAAAAAAfQXBsb3Jpcy5CYXNlLk9iamVjdHMuTGluZUZvcm1hdAMAAAAICAgBAQMAAAAJlgIAAAoBAAAAAAAAAP////8AAQ/1AwAAAQAAAAh3AgAAAfYDAAB4AAAACgoAAAAAAAAAAA0AAAAAAAH3AwAAeAAAAAoKAAAAAAAAAAANAAAAAAEH+AMAAAABAAAABAAAAAQdQXBsb3Jpcy5CYXNlLk9iamVjdHMuVmFyaWFibGUDAAAAAcQEAAA7BAAAAQAAAAAAAAABxQQAADsEAAAAAAAAAAAAAAHGBAAAOwQAAAAAAAAAAAAAAccEAAA7BAAAAAAAAAAAAAAP+QMAAAEAAAAIKwAAAAH6AwAAeAAAAAoKAAAAAAAAAAANAAAAAAAF+wMAABpBcGxvcmlzLkJhc2UuT2JqZWN0cy5Db2xvcgcAAAASRGF0YU9iamVjdCttUGFyZW50FURhdGFPYmplY3QrbUNvbnRhaW5lcgVtVHlwZQRtUkdCEG1UaGVtZUNvbG9ySW5kZXgMbUF1dG9VcGRhdGVkCW1Nb2RpZmllZAQCAAAAAAAfQXBsb3Jpcy5CYXNlLk9iamVjdHMuTGluZUZvcm1hdAMAAAAICAgBAQMAAAAJpQIAAAoBAAAAAAAAAP////8AAQ/8AwAAAQAAAAh6AgAAAf0DAAB4AAAACgoAAAAAAAAAAA0AAAAAAAH+AwAAeAAAAAoKAAAAAAAAAAANAAAAAAEH/wMAAAABAAAABAAAAAQdQXBsb3Jpcy5CYXNlLk9iamVjdHMuVmFyaWFibGUDAAAAAcgEAAA7BAAAAQAAAAAAAAAByQQAADsEAAAAAAAAAAAAAAHKBAAAOwQAAAAAAAAAAAAAAcsEAAA7BAAAAAAAAAAAAAAPAAQAAAEAAAAIKgAAAAEBBAAAeAAAAAoKAAAAAAAAAAANAAAAAAAFAgQAABpBcGxvcmlzLkJhc2UuT2JqZWN0cy5Db2xvcgcAAAASRGF0YU9iamVjdCttUGFyZW50FURhdGFPYmplY3QrbUNvbnRhaW5lcgVtVHlwZQRtUkdCEG1UaGVtZUNvbG9ySW5kZXgMbUF1dG9VcGRhdGVkCW1Nb2RpZmllZAQCAAAAAAAfQXBsb3Jpcy5CYXNlLk9iamVjdHMuTGluZUZvcm1hdAMAAAAICAgBAQMAAAAJtAIAAAoBAAAAAAAAAP////8AAQ8DBAAAAQAAAAh7AgAAAQQEAAB4AAAACgoAAAAAAAAAAA0AAAAAAAEFBAAAeAAAAAoKAAAAAAAAAAANAAAAAAEHBgQAAAABAAAABAAAAAQdQXBsb3Jpcy5CYXNlLk9iamVjdHMuVmFyaWFibGUDAAAAAcwEAAA7BAAAAQAAAAAAAAABzQQAADsEAAAAAAAAAAAAAAHOBAAAOwQAAAAAAAAAAAAAAc8EAAA7BAAAAAAAAAAAAAAPBwQAAAEAAAAIJwAAAAEIBAAAeAAAAAoKAAAAAAAAAAANAAAAAAAFCQQAABpBcGxvcmlzLkJhc2UuT2JqZWN0cy5Db2xvcgcAAAASRGF0YU9iamVjdCttUGFyZW50FURhdGFPYmplY3QrbUNvbnRhaW5lcgVtVHlwZQRtUkdCEG1UaGVtZUNvbG9ySW5kZXgMbUF1dG9VcGRhdGVkCW1Nb2RpZmllZAQCAAAAAAAfQXBsb3Jpcy5CYXNlLk9iamVjdHMuTGluZUZvcm1hdAMAAAAICAgBAQMAAAAJwwIAAAoBAAAAAAAAAP////8AAQ8KBAAAAQAAAAh4AgAAAQsEAAB4AAAACgoAAAAAAAAAAA0AAAAAAAEMBAAAeAAAAAoKAAAAAAAAAAANAAAAAAEHDQQAAAABAAAABAAAAAQdQXBsb3Jpcy5CYXNlLk9iamVjdHMuVmFyaWFibGUDAAAAAdAEAAA7BAAAAQAAAAAAAAAB0QQAADsEAAAAAAAAAAAAAAHSBAAAOwQAAAAAAAAAAAAAAdMEAAA7BAAAAAAAAAAAAAAPDgQAAAEAAAAIKQAAAAEPBAAAeAAAAAoKAAAAAAAAAAANAAAAAAAFEAQAABpBcGxvcmlzLkJhc2UuT2JqZWN0cy5Db2xvcgcAAAASRGF0YU9iamVjdCttUGFyZW50FURhdGFPYmplY3QrbUNvbnRhaW5lcgVtVHlwZQRtUkdCEG1UaGVtZUNvbG9ySW5kZXgMbUF1dG9VcGRhdGVkCW1Nb2RpZmllZAQCAAAAAAAfQXBsb3Jpcy5CYXNlLk9iamVjdHMuTGluZUZvcm1hdAMAAAAICAgBAQMAAAAJ0gIAAAoBAAAAAAAAAP////8AAQ8RBAAAAQAAAAh8AgAAARIEAAB4AAAACgoAAAAAAAAAAA0AAAAAAAETBAAAeAAAAAoKAAAAAAAAAAANAAAAAAEHFAQAAAABAAAABAAAAAQdQXBsb3Jpcy5CYXNlLk9iamVjdHMuVmFyaWFibGUDAAAAAdQEAAA7BAAAAQAAAAAAAAAB1QQAADsEAAAAAAAAAAAAAAHWBAAAOwQAAAAAAAAAAAAAAdcEAAA7BAAAAAAAAAAAAAAPFQQAAAEAAAAIKAAAAAEWBAAAeAAAAAoKAAAAAAAAAAANAAAAAAAFFwQAABpBcGxvcmlzLkJhc2UuT2JqZWN0cy5Db2xvcgcAAAASRGF0YU9iamVjdCttUGFyZW50FURhdGFPYmplY3QrbUNvbnRhaW5lcgVtVHlwZQRtUkdCEG1UaGVtZUNvbG9ySW5kZXgMbUF1dG9VcGRhdGVkCW1Nb2RpZmllZAQCAAAAAAAfQXBsb3Jpcy5CYXNlLk9iamVjdHMuTGluZUZvcm1hdAMAAAAICAgBAQMAAAAJ4QIAAAoBAAAAAAAAAP////8AAQ8YBAAAAQAAAAh9AgAAARkEAAB4AAAACgoAAAAAAAAAAA0AAAAAAAEaBAAAeAAAAAoKAAAAAAAAAAANAAAAAAEHGwQAAAABAAAABAAAAAQdQXBsb3Jpcy5CYXNlLk9iamVjdHMuVmFyaWFibGUDAAAAAdgEAAA7BAAAAQAAAAAAAAAB2QQAADsEAAAAAAAAAAAAAAHaBAAAOwQAAAAAAAAAAAAAAdsEAAA7BAAAAAAAAAAAAAAPHAQAAAEAAAAILAAAAAEdBAAAeAAAAAoKAAAAAAAAAAANAAAAAAAFHgQAABpBcGxvcmlzLkJhc2UuT2JqZWN0cy5Db2xvcgcAAAASRGF0YU9iamVjdCttUGFyZW50FURhdGFPYmplY3QrbUNvbnRhaW5lcgVtVHlwZQRtUkdCEG1UaGVtZUNvbG9ySW5kZXgMbUF1dG9VcGRhdGVkCW1Nb2RpZmllZAQCAAAAAAAfQXBsb3Jpcy5CYXNlLk9iamVjdHMuTGluZUZvcm1hdAMAAAAICAgBAQMAAAAJ8AIAAAoBAAAAAAAAAP////8AAQ8fBAAAAQAAAAh/AgAAASAEAAB4AAAACgoAAAAAAAAAAA0AAAAAAAEhBAAAeAAAAAoKAAAAAAAAAAANAAAAAAEHIgQAAAABAAAABAAAAAQdQXBsb3Jpcy5CYXNlLk9iamVjdHMuVmFyaWFibGUDAAAAAdwEAAA7BAAAAQAAAAAAAAAB3QQAADsEAAAAAAAAAAAAAAHeBAAAOwQAAAAAAAAAAAAAAd8EAAA7BAAAAAAAAAAAAAAPIwQAAAEAAAAILQAAAAEkBAAAeAAAAAoKAAAAAAAAAAANAAAAAAAFJQQAABpBcGxvcmlzLkJhc2UuT2JqZWN0cy5Db2xvcgcAAAASRGF0YU9iamVjdCttUGFyZW50FURhdGFPYmplY3QrbUNvbnRhaW5lcgVtVHlwZQRtUkdCEG1UaGVtZUNvbG9ySW5kZXgMbUF1dG9VcGRhdGVkCW1Nb2RpZmllZAQCAAAAAAAfQXBsb3Jpcy5CYXNlLk9iamVjdHMuTGluZUZvcm1hdAMAAAAICAgBAQMAAAAJ/wIAAAoBAAAAAAAAAP////8AAQ8mBAAAAQAAAAh5AgAAAScEAAB4AAAACgoAAAAAAAAAAA0AAAAAAAEoBAAAeAAAAAoKAAAAAAAAAAANAAAAAAEHKQQAAAABAAAABAAAAAQdQXBsb3Jpcy5CYXNlLk9iamVjdHMuVmFyaWFibGUDAAAAAeAEAAA7BAAAAQAAAAAAAAAB4QQAADsEAAAAAAAAAAAAAAHiBAAAOwQAAAAAAAAAAAAAAeMEAAA7BAAAAAAAAAAAAAAPKgQAAAEAAAAIJQAAAAErBAAAeAAAAAoKAAAAAAAAAAANAAAAAAAFLAQAABpBcGxvcmlzLkJhc2UuT2JqZWN0cy5Db2xvcgcAAAASRGF0YU9iamVjdCttUGFyZW50FURhdGFPYmplY3QrbUNvbnRhaW5lcgVtVHlwZQRtUkdCEG1UaGVtZUNvbG9ySW5kZXgMbUF1dG9VcGRhdGVkCW1Nb2RpZmllZAQCAAAAAAAfQXBsb3Jpcy5CYXNlLk9iamVjdHMuTGluZUZvcm1hdAMAAAAICAgBAQMAAAAJDgMAAAoBAAAAAAAAAP////8AAQ8tBAAAAQAAAAiBAgAAAS4EAAB4AAAACgoAAAAAAAAAAA0AAAAAAAEvBAAAeAAAAAoKAAAAAAAAAAANAAAAAAEHMAQAAAABAAAABAAAAAQdQXBsb3Jpcy5CYXNlLk9iamVjdHMuVmFyaWFibGUDAAAAAeQEAAA7BAAAAQAAAAAAAAAB5QQAADsEAAAAAAAAAAAAAAHmBAAAOwQAAAAAAAAAAAAAAecEAAA7BAAAAAAAAAAAAAAPMQQAAAEAAAAIJAAAAAUyBA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egEAAAJ6QQAAAoJ6gQAAAoJBwEAAAgG5naVPdq36j8KAAAAAAnrBAAACewEAAAAAAAAAAntBAAACQcBAAAJAQAAAAnuBAAAATMEAAAyBAAACe8EAAAJ8AQAAAoJ8QQAAAoJBwEAAAgGAAAAAACA6D8KAQAAAAnyBAAACfMEAAAAAAAAAAn0BAAACQcBAAAJAQAAAAn1BAAAATQEAAAyBAAACfYEAAAJ9wQAAAoJ+AQAAAoJBwEAAAgGlDzLiD6g6j8KAgAAAAn5BAAACfoEAAAAAAAAAAn7BAAACQcBAAAJAQAAAAn8BAAAATUEAAAyBAAACf0EAAAJ/gQAAAoJ/wQAAAoJBwEAAAgGJuD59LgZ6z8KAwAAAAkABQAACQEFAAAAAAAAAAkCBQAACQcBAAAJAQAAAAkDBQAAATYEAAAyBAAACQQFAAAJBQUAAAoJBgUAAAoJBwEAAAgGTA3sHVMD6z8KBAAAAAkHBQAACQgFAAAAAAAAAAkJBQAACQcBAAAJAQAAAAkKBQAAATcEAAAyBAAACQsFAAAJDAUAAAoJDQUAAAoJBwEAAAgGtncd0I156j8KBQAAAAkOBQAACQ8FAAAAAAAAAAkQBQAACQcBAAAJAQAAAAkRBQAAATgEAAAyBAAACRIFAAAJEwUAAAoJFAUAAAoJBwEAAAgGTijRwC0C6j8KBgAAAAkVBQAACRYFAAAAAAAAAAkXBQAACQcBAAAJAQAAAAkYBQAAATkEAAAyBAAACRkFAAAJGgUAAAoJGwUAAAoJBwEAAAgG8RE5Qbgb6z8KBwAAAAkcBQAACR0FAAAAAAAAAAkeBQAACQcBAAAJAQAAAAkfBQAAAToEAAAyBAAACSAFAAAJIQUAAAoJIgUAAAoJBwEAAAgGcgTDH7qZ6j8KCAAAAAkjBQAACSQFAAAAAAAAAAklBQAACQcBAAAJAQAAAAkmBQAAAT8EAAAyBAAACScFAAAJKAUAAAoJKQUAAAoJCAEAAAgGDATacrvKvj8KAAAAAAkqBQAACSsFAAAAAAAAAAksBQAACQgBAAAJAQAAAAktBQAAAUAEAAAyBAAACS4FAAAJLwUAAAoJMAUAAAoJCAEAAAgGAAAAAAAAxD8KAQAAAAkxBQAACTIFAAAAAAAAAAkzBQAACQgBAAAJAQAAAAk0BQAAAUEEAAAyBAAACTUFAAAJNgUAAAoJNwUAAAoJCAEAAAgGmwIc7fRIwD8KAgAAAAk4BQAACTkFAAAAAAAAAAk6BQAACQgBAAAJAQAAAAk7BQAAAUIEAAAyBAAACTwFAAAJPQUAAAoJPgUAAAoJCAEAAAgGPJ8eN2N/uD8KAwAAAAk/BQAACUAFAAAAAAAAAAlBBQAACQgBAAAJAQAAAAlCBQAAAUMEAAAyBAAACUMFAAAJRAUAAAoJRQUAAAoJCAEAAAgGNLB3TA3svT8KBAAAAAlGBQAACUcFAAAAAAAAAAlIBQAACQgBAAAJAQAAAAlJBQAAAUQEAAAyBAAACUoFAAAJSwUAAAoJTAUAAAoJCAEAAAgG964DujFPvz8KBQAAAAlNBQAACU4FAAAAAAAAAAlPBQAACQgBAAAJAQAAAAlQBQAAAUUEAAAyBAAACVEFAAAJUgUAAAoJUwUAAAoJCAEAAAgGeXNCiQZuwT8KBgAAAAlUBQAACVUFAAAAAAAAAAlWBQAACQgBAAAJAQAAAAlXBQAAAUYEAAAyBAAACVgFAAAJWQUAAAoJWgUAAAoJCAEAAAgGCsLd2PeIvD8KBwAAAAlbBQAACVwFAAAAAAAAAAldBQAACQgBAAAJAQAAAAleBQAAAUcEAAAyBAAACV8FAAAJYAUAAAoJYQUAAAoJCAEAAAgGevYUBSjbvT8KCAAAAAliBQAACWMFAAAAAAAAAAlkBQAACQgBAAAJAQAAAAllBQAAAUwEAAAyBAAACWYFAAAJZwUAAAoJaAUAAAoJCQEAAAgGjYn0QOXspj8KAAAAAAlpBQAACWoFAAAAAAAAAAlrBQAACQkBAAAJAQAAAAlsBQAAAU0EAAAyBAAACW0FAAAJbgUAAAoJbwUAAAoJCQEAAAgGAAAAAAAAtD8KAQAAAAlwBQAACXEFAAAAAAAAAAlyBQAACQkBAAAJAQAAAAlzBQAAAU4EAAAyBAAACXQFAAAJdQUAAAoJdgUAAAoJCQEAAAgGTCzcvkPYpD8KAgAAAAl3BQAACXgFAAAAAAAAAAl5BQAACQkBAAAJAQAAAAl6BQAAAU8EAAAyBAAACXsFAAAJfAUAAAoJfQUAAAoJCQEAAAgGFL8kQqplrT8KAwAAAAl+BQAACX8FAAAAAAAAAAmABQAACQkBAAAJAQAAAAmBBQAAAVAEAAAyBAAACYIFAAAJgwUAAAoJhAUAAAoJCQEAAAgGzspPiLPyoz8KBAAAAAmFBQAACYYFAAAAAAAAAAmHBQAACQkBAAAJAQAAAAmIBQAAAVEEAAAyBAAACYkFAAAJigUAAAoJiwUAAAoJCQEAAAgGrSYhir/IqT8KBQAAAAmMBQAACY0FAAAAAAAAAAmOBQAACQkBAAAJAQAAAAmPBQAAAVIEAAAyBAAACZAFAAAJkQUAAAoJkgUAAAoJCQEAAAgGNK3jzQklqj8KBgAAAAmTBQAACZQFAAAAAAAAAAmVBQAACQkBAAAJAQAAAAmWBQAAAVMEAAAyBAAACZcFAAAJmAUAAAoJmQUAAAoJCQEAAAgG8VyzOowypT8KBwAAAAmaBQAACZsFAAAAAAAAAAmcBQAACQkBAAAJAQAAAAmdBQAAAVQEAAAyBAAACZ4FAAAJnwUAAAoJoAUAAAoJCQEAAAgG6cul+Q2uqj8KCAAAAAmhBQAACaIFAAAAAAAAAAmjBQAACQkBAAAJAQAAAAmkBQAAAVkEAAB4AAAACgoAAAAAAAAAAA0AAAAAAQFaBAAAeAAAAAoKAQAAAAAAAAD/////AAEHWwQAAAABAAAABAAAAAQdQXBsb3Jpcy5CYXNlLk9iamVjdHMuVmFyaWFibGUDAAAAAaUFAAA7BAAAAQAAAAAAAAABpgUAADsEAAAAAAAAAAAAAAGnBQAAOwQAAAAAAAAAAAAAAagFAAA7BAAAAAAAAAAAAAAPXAQAAAEAAAAIAAAAAAFhBAAAeAAAAAoKAAAAAAAAAAANAAAAAAEBYgQAAHgAAAAKCgEAAAAAAAAA/////wABB2MEAAAAAQAAAAQAAAAEHUFwbG9yaXMuQmFzZS5PYmplY3RzLlZhcmlhYmxlAwAAAAGpBQAAOwQAAAEAAAAAAAAAAaoFAAA7BAAAAAAAAAAAAAABqwUAADsEAAAAAAAAAAAAAAGsBQAAOwQAAAAAAAAAAAAAD2QEAAABAAAACAAAAAABaQQAAHgAAAAKCgAAAAAAAAAADQAAAAABAWoEAAB4AAAACgoBAAAAAAAAAP////8AAQdrBAAAAAEAAAAEAAAABB1BcGxvcmlzLkJhc2UuT2JqZWN0cy5WYXJpYWJsZQMAAAABrQUAADsEAAABAAAAAAAAAAGuBQAAOwQAAAAAAAAAAAAAAa8FAAA7BAAAAAAAAAAAAAABsAUAADsEAAAAAAAAAAAAAA9sBAAAAQAAAAgAAAAAAXEEAAB4AAAACgoAAAAAAAAAAA0AAAAAAQFyBAAAeAAAAAoKAQAAAAAAAAD/////AAEHcwQAAAABAAAABAAAAAQdQXBsb3Jpcy5CYXNlLk9iamVjdHMuVmFyaWFibGUDAAAAAbEFAAA7BAAAAQAAAAAAAAABsgUAADsEAAAAAAAAAAAAAAGzBQAAOwQAAAAAAAAAAAAAAbQFAAA7BAAAAAAAAAAAAAAPdAQAAAEAAAAIAAAAAAF5BAAAeAAAAAoKAAAAAAAAAAANAAAAAAEBegQAAHgAAAAKCgEAAAAAAAAA/////wABB3sEAAAAAQAAAAQAAAAEHUFwbG9yaXMuQmFzZS5PYmplY3RzLlZhcmlhYmxlAwAAAAG1BQAAOwQAAAEAAAAAAAAAAbYFAAA7BAAAAAAAAAAAAAABtwUAADsEAAAAAAAAAAAAAAG4BQAAOwQAAAAAAAAAAAAAD3wEAAABAAAACAAAAAABgQQAAHgAAAAKCgAAAAAAAAAADQAAAAABAYIEAAB4AAAACgoBAAAAAAAAAP////8AAQeDBAAAAAEAAAAEAAAABB1BcGxvcmlzLkJhc2UuT2JqZWN0cy5WYXJpYWJsZQMAAAABuQUAADsEAAABAAAAAAAAAAG6BQAAOwQAAAAAAAAAAAAAAbsFAAA7BAAAAAAAAAAAAAABvAUAADsEAAAAAAAAAAAAAA+EBAAAAQAAAAgAAAAAAYkEAAB4AAAACgoAAAAAAAAAAA0AAAAAAQGKBAAAeAAAAAoKAQAAAAAAAAD/////AAEHiwQAAAABAAAABAAAAAQdQXBsb3Jpcy5CYXNlLk9iamVjdHMuVmFyaWFibGUDAAAAAb0FAAA7BAAAAQAAAAAAAAABvgUAADsEAAAAAAAAAAAAAAG/BQAAOwQAAAAAAAAAAAAAAcAFAAA7BAAAAAAAAAAAAAAPjAQAAAEAAAAIAAAAAAGRBAAAeAAAAAoKAAAAAAAAAAANAAAAAAEBkgQAAHgAAAAKCgEAAAAAAAAA/////wABB5MEAAAAAQAAAAQAAAAEHUFwbG9yaXMuQmFzZS5PYmplY3RzLlZhcmlhYmxlAwAAAAHBBQAAOwQAAAEAAAAAAAAAAcIFAAA7BAAAAAAAAAAAAAABwwUAADsEAAAAAAAAAAAAAAHEBQAAOwQAAAAAAAAAAAAAD5QEAAABAAAACAAAAAABmQQAAHgAAAAKCgAAAAAAAAAADQAAAAABAZoEAAB4AAAACgoBAAAAAAAAAP////8AAQebBAAAAAEAAAAEAAAABB1BcGxvcmlzLkJhc2UuT2JqZWN0cy5WYXJpYWJsZQMAAAABxQUAADsEAAABAAAAAAAAAAHGBQAAOwQAAAAAAAAAAAAAAccFAAA7BAAAAAAAAAAAAAAByAUAADsEAAAAAAAAAAAAAA+cBAAAAQAAAAgAAAAAAaEEAAB4AAAACgoAAAAAAAAAAA0AAAAAAAGiBAAAeAAAAAoKAQAAAAAAAAD/////AAEHowQAAAABAAAABAAAAAQdQXBsb3Jpcy5CYXNlLk9iamVjdHMuVmFyaWFibGUDAAAAAckFAAA7BAAAAQAAAAAAAAABygUAADsEAAAAAAAAAAAAAAHLBQAAOwQAAAAAAAAAAAAAAcwFAAA7BAAAAAAAAAAAAAAPpAQAAAEAAAAIcwIAAAGlBAAAeAAAAAoKAAAAAP///wAOAAAAAAAFpgQAABpBcGxvcmlzLkJhc2UuT2JqZWN0cy5Db2xvcgcAAAASRGF0YU9iamVjdCttUGFyZW50FURhdGFPYmplY3QrbUNvbnRhaW5lcgVtVHlwZQRtUkdCEG1UaGVtZUNvbG9ySW5kZXgMbUF1dG9VcGRhdGVkCW1Nb2RpZmllZAQCAAAAAAAfQXBsb3Jpcy5CYXNlLk9iamVjdHMuTGluZUZvcm1hdAMAAAAICAgBAQMAAAAJuAMAAAoBAAAAAAAAAP////8AAQGnBAAAeAAAAAoKAAAAAD9pfgAFAAAAAAABqAQAAHgAAAAKCgEAAAD///8A/////wAAD6kEAAABAAAACHQCAAABqgQAAHgAAAAKCgAAAAAAAAAADQAAAAAAAasEAAB4AAAACgoBAAAAAAAAAP////8AAQesBAAAAAEAAAAEAAAABB1BcGxvcmlzLkJhc2UuT2JqZWN0cy5WYXJpYWJsZQMAAAABzQUAADsEAAABAAAAAAAAAAHOBQAAOwQAAAAAAAAAAAAAAc8FAAA7BAAAAAAAAAAAAAAB0AUAADsEAAAAAAAAAAAAAA+tBAAAAQAAAAhOAgAAAa4EAAB4AAAACgoAAAAA////AA4AAAAAAAWvBAAAGkFwbG9yaXMuQmFzZS5PYmplY3RzLkNvbG9yBwAAABJEYXRhT2JqZWN0K21QYXJlbnQVRGF0YU9iamVjdCttQ29udGFpbmVyBW1UeXBlBG1SR0IQbVRoZW1lQ29sb3JJbmRleAxtQXV0b1VwZGF0ZWQJbU1vZGlmaWVkBAIAAAAAAB9BcGxvcmlzLkJhc2UuT2JqZWN0cy5MaW5lRm9ybWF0AwAAAAgICAEBAwAAAAnLAwAACgEAAAAAAAAA/////wABAbAEAAB4AAAACgoAAAAAcoSMAAYAAAAAAAGxBAAAeAAAAAoKAQAAAP///wD/////AAAPsgQAAAEAAAAIUwIAAAGzBAAAeAAAAAoKAAAAAAAAAAANAAAAAAABtAQAAHgAAAAKCgEAAAAAAAAA/////wABB7UEAAAAAQAAAAQAAAAEHUFwbG9yaXMuQmFzZS5PYmplY3RzLlZhcmlhYmxlAwAAAAHRBQAAOwQAAAEAAAAAAAAAAdIFAAA7BAAAAAAAAAAAAAAB0wUAADsEAAAAAAAAAAAAAAHUBQAAOwQAAAAAAAAAAAAAD7YEAAABAAAACFACAAABtwQAAHgAAAAKCgAAAAD///8ADgAAAAAABbgEAAAaQXBsb3Jpcy5CYXNlLk9iamVjdHMuQ29sb3IHAAAAEkRhdGFPYmplY3QrbVBhcmVudBVEYXRhT2JqZWN0K21Db250YWluZXIFbVR5cGUEbVJHQhBtVGhlbWVDb2xvckluZGV4DG1BdXRvVXBkYXRlZAltTW9kaWZpZWQEAgAAAAAAH0FwbG9yaXMuQmFzZS5PYmplY3RzLkxpbmVGb3JtYXQDAAAACAgIAQEDAAAACd4DAAAKAQAAAAAAAAD/////AAEBuQQAAHgAAAAKCgAAAADtISUABwAAAAAAAboEAAB4AAAACgoBAAAA////AP////8AAA+7BAAAAQAAAAhSAgAAAegEAAApAQAAClgCAAAB1QUAAMUBAAACAAAAAdYFAADGAQAAAQAAAAHXBQAAFQAAALysYUK+VmtCgHrTQRgORkMB2AUAAMgBAAAAAAAAAACgQAAB2QUAACEAAACuRYtCvNwdQwHaBQAAoAAAAAAAAAAAAAAAAAAAAAAJ2wUAAAAAAAAJ3AUAAAAAAd0FAACpAAAAAAAAAAHeBQAAcgAAAAAAAEIAAEBBAd8FAAAVAAAAo4tWQi66GENIRQBCo4suQRKDvj8G4AUAAAU4My41JQoJ4QUAAAnRAQAANAMAAP////8BAQoJ4gUAAAEACgEB6QQAABwAAAAB4wUAACEAAAC8rFVC5PGBQwHkBQAAIQAAAP60q0K+Vl9CCeUFAAAJ5gUAAAAAAAAKAecFAAByAAAAAAAAAAAAAAAB6AUAAHIAAAAAAAAAAAAAAAAAAAAB6QUAABUAAAAAAAAAAAAAAAAAAAAAAAAApAEAAP////8BAQoJ6gUAAAEACgAH6gQAAAABAAAAAgAAAAQaQXBsb3Jpcy5CYXNlLlVJLlZpc3VhbExpbmUDAAAACgoH6wQAAAABAAAAAwAAAAQVU3lzdGVtLkRyYXdpbmcuUG9pbnRGBAAAAAHrBQAAIQAAAK5Fi0K83B1DAewFAAAhAAAAvKxJQrzcHUMB7QUAACEAAAD+tLFCvNwdQwfsBAAAAAEAAAADAAAABBdBcGxvcmlzLkJhc2UuQW5jaG9yTW9kZQMAAAAB7gUAAKAAAAAAAAAAAe8FAACgAAAAAgAAAAHwBQAAoAAAAAQAAAAB7QQAACUAAAAJvgMAAAAAAAAAAAAAAe4EAAAmAAAACfEFAAACAAAAAgAAAAHvBAAAKQEAAApYAgAAAfIFAADFAQAAAgAAAAHzBQAAxgEAAAEAAAAB9AUAABUAAADJNSBDG42XQoB600E6HTVDAfUFAADIAQAAAAAAAAAAoEAAAfYFAAAhAAAAcW0tQytVJkMB9wUAAKAAAAAAAAAAAAAAAAAAAAAACfgFAAAAAAAACfkFAAAAAAH6BQAAqQAAAAAAAAAB+wUAAHIAAAAAAABCAABAQQH8BQAAFQAAANFFHUO66CBDSEUAQqOLLkESg74/Bv0FAAAFNzYuNiUKCf4FAAAJ0QEAADQDAAD/////AQEKCf8FAAABAAoBAfAEAAAcAAAAAQAGAAAhAAAAyTUdQ+TxgUMBAQYAACEAAAAZpT1DG42RQgkCBgAACQMGAAAAAAAACgEEBgAAcgAAAAAAAAAAAAAAAQUGAAByAAAAAAAAAAAAAAAAAAAAAQYGAAAVAAAAAAAAAAAAAAAAAAAAAAAAAKQBAAD/////AQEKCQcGAAABAAoAB/EEAAAAAQAAAAIAAAAEGkFwbG9yaXMuQmFzZS5VSS5WaXN1YWxMaW5lAwAAAAoKB/IEAAAAAQAAAAMAAAAEFVN5c3RlbS5EcmF3aW5nLlBvaW50RgQAAAABCAYAACEAAABxbS1DK1UmQwEJBgAAIQAAAMk1GkMrVSZDAQoGAAAhAAAAGaVAQytVJkMH8wQAAAABAAAAAwAAAAQXQXBsb3Jpcy5CYXNlLkFuY2hvck1vZGUDAAAAAQsGAACgAAAAAAAAAAEMBgAAoAAAAAIAAAABDQYAAKAAAAAEAAAAAfQEAAAlAAAACb4DAAAAAAAAAAAAAAH1BAAAJgAAAAkOBgAAAgAAAAIAAAAB9gQAACkBAAAKWAIAAAEPBgAAxQEAAAIAAAABEAYAAMYBAAABAAAAAREGAAAVAAAAFhtUQ/QnbkKAetNBy1lFQwESBgAAyAEAAAAAAAAAAKBAAAETBgAAIQAAAL5SYUPiNh5DARQGAACgAAAAAAAAAAAAAAAAAAAAAAkVBgAAAAAAAAkWBgAAAAABFwYAAKkAAAAAAAAAARgGAAByAAAAAAAAQgAAQEEBGQYAABUAAABGF1FDLroYQ0hFAEKjiy5BEoO+PwYaBgAABTgzLjIlCgkbBgAACdEBAAA0AwAA/////wEBCgkcBgAAAQAKAQH3BAAAHAAAAAEdBgAAIQAAABYbUUPk8YFDAR4GAAAhAAAAZopxQ/QnYkIJHwYAAAkgBgAAAAAAAAoBIQYAAHIAAAAAAAAAAAAAAAEiBgAAcgAAAAAAAAAAAAAAAAAAAAEjBgAAFQAAAAAAAAAAAAAAAAAAAAAAAACkAQAA/////wEBCgkkBgAAAQAKAAf4BAAAAAEAAAACAAAABBpBcGxvcmlzLkJhc2UuVUkuVmlzdWFsTGluZQMAAAAKCgf5BAAAAAEAAAADAAAABBVTeXN0ZW0uRHJhd2luZy5Qb2ludEYEAAAAASUGAAAhAAAAvlJhQ+I2HkMBJgYAACEAAAAWG05D4jYeQwEnBgAAIQAAAGaKdEPiNh5DB/oEAAAAAQAAAAMAAAAEF0FwbG9yaXMuQmFzZS5BbmNob3JNb2RlAwAAAAEoBgAAoAAAAAAAAAABKQYAAKAAAAACAAAAASoGAACgAAAABAAAAAH7BAAAJQAAAAm+AwAAAAAAAAAAAAAB/AQAACYAAAAJKwYAAAIAAAACAAAAAf0EAAApAQAAClgCAAABLAYAAMUBAAACAAAAAS0GAADGAQAAAQAAAAEuBgAAFQAAADIAhEPjqF9CgHrTQY/5SEMBLwYAAMgBAAAAAAAAAACgQAABMAYAACEAAAAGnIpDAGccQwExBgAAoAAAAAAAAAAAAAAAAAAAAAAJMgYAAAAAAAAJMwYAAAAAATQGAACpAAAAAAAAAAE1BgAAcgAAAAAAAEIAAEBBATYGAAAVAAAAXXSCQ7roFkNIRQBCo4suQRKDvj8GNwYAAAU4NC43JQoJOAYAAAnRAQAANAMAAP////8BAQoJOQYAAAEACgEB/gQAABwAAAABOgYAACEAAAAygIJD5PGBQwE7BgAAIQAAANq3kkPjqFNCCTwGAAAJPQYAAAAAAAAKAT4GAAByAAAAAAAAAAAAAAABPwYAAHIAAAAAAAAAAAAAAAAAAAABQAYAABUAAAAAAAAAAAAAAAAAAAAAAAAApAEAAP////8BAQoJQQYAAAEACgAH/wQAAAABAAAAAgAAAAQaQXBsb3Jpcy5CYXNlLlVJLlZpc3VhbExpbmUDAAAACgoHAAUAAAABAAAAAwAAAAQVU3lzdGVtLkRyYXdpbmcuUG9pbnRGBAAAAAFCBgAAIQAAAAacikMAZxxDAUMGAAAhAAAAMgCBQwBnHEMBRAYAACEAAADaN5RDAGccQwcBBQAAAAEAAAADAAAABBdBcGxvcmlzLkJhc2UuQW5jaG9yTW9kZQMAAAABRQYAAKAAAAAAAAAAAUYGAACgAAAAAgAAAAFHBgAAoAAAAAQAAAABAgUAACUAAAAJvgMAAAAAAAAAAAAAAQMFAAAmAAAACUgGAAACAAAAAgAAAAEEBQAAKQEAAApYAgAAAUkGAADFAQAAAgAAAAFKBgAAxgEAAAEAAAABSwYAABUAAADY8p1DH1ViQoB600GATkhDAUwGAADIAQAAAAAAAAAAoEAAAU0GAAAhAAAArI6kQ4i8HEMBTgYAAKAAAAAAAAAAAAAAAAAAAAAACU8GAAAAAAAACVAGAAAAAAFRBgAAqQAAAAAAAAABUgYAAHIAAAAAAABCAABAQQFTBgAAFQAAABddnEO66BZDSEUAQqOLLkESg74/BlQGAAAFODQuNCUKCVUGAAAJ0QEAADQDAAD/////AQEKCVYGAAABAAoBAQUFAAAcAAAAAVcGAAAhAAAA2HKcQ+TxgUMBWAYAACEAAACAqqxDH1VWQglZBgAACVoGAAAAAAAACgFbBgAAcgAAAAAAAAAAAAAAAVwGAAByAAAAAAAAAAAAAAAAAAAAAV0GAAAVAAAAAAAAAAAAAAAAAAAAAAAAAKQBAAD/////AQEKCV4GAAABAAoABwYFAAAAAQAAAAIAAAAEGkFwbG9yaXMuQmFzZS5VSS5WaXN1YWxMaW5lAwAAAAoKBwcFAAAAAQAAAAMAAAAEFVN5c3RlbS5EcmF3aW5nLlBvaW50RgQAAAABXwYAACEAAACsjqRDiLwcQwFgBgAAIQAAANjymkOIvBxDAWEGAAAhAAAAgCquQ4i8HEMHCAUAAAABAAAAAwAAAAQXQXBsb3Jpcy5CYXNlLkFuY2hvck1vZGUDAAAAAWIGAACgAAAAAAAAAAFjBgAAoAAAAAIAAAABZAYAAKAAAAAEAAAAAQkFAAAlAAAACb4DAAAAAAAAAAAAAAEKBQAAJgAAAAllBgAAAgAAAAIAAAABCwUAACkBAAAKWAIAAAFmBgAAxQEAAAIAAAABZwYAAMYBAAABAAAAAWgGAAAVAAAAfuW3Q+rFckKAetNBTjJEQwFpBgAAyAEAAAAAAAAAAKBAAAFqBgAAIQAAAFKBvkOhyh5DAWsGAACgAAAAAAAAAAAAAAAAAAAAAAlsBgAAAAAAAAltBgAAAAABbgYAAKkAAAAAAAAAAW8GAAByAAAAAAAAQgAAQEEBcAYAABUAAADRRbZD6aIZQ0hFAEKjiy5BEoO+PwZxBgAABTgyLjclCglyBgAACdEBAAA0AwAA/////wEBCglzBgAAAQAKAQEMBQAAHAAAAAF0BgAAIQAAAH5ltkPk8YFDAXUGAAAhAAAAJp3GQ+rFZkIJdgYAAAl3BgAAAAAAAAoBeAYAAHIAAAAAAAAAAAAAAAF5BgAAcgAAAAAAAAAAAAAAAAAAAAF6BgAAFQAAAAAAAAAAAAAAAAAAAAAAAACkAQAA/////wEBCgl7BgAAAQAKAAcNBQAAAAEAAAACAAAABBpBcGxvcmlzLkJhc2UuVUkuVmlzdWFsTGluZQMAAAAKCgcOBQAAAAEAAAADAAAABBVTeXN0ZW0uRHJhd2luZy5Qb2ludEYEAAAAAXwGAAAhAAAAUoG+Q6HKHkMBfQYAACEAAAB+5bRDocoeQwF+BgAAIQAAACYdyEOhyh5DBw8FAAAAAQAAAAMAAAAEF0FwbG9yaXMuQmFzZS5BbmNob3JNb2RlAwAAAAF/BgAAoAAAAAAAAAABgAYAAKAAAAACAAAAAYEGAACgAAAABAAAAAEQBQAAJQAAAAm+AwAAAAAAAAAAAAABEQUAACYAAAAJggYAAAIAAAACAAAAARIFAAApAQAAClgCAAABgwYAAMUBAAACAAAAAYQGAADGAQAAAQAAAAGFBgAAFQAAAMzK60NegoBCgHrTQZmiQEMBhgYAAMgBAAAAAAAAAACgQAABhwYAACEAAACgZvJDfJIgQwGIBgAAoAAAAAAAAAAAAAAAAAAAAAAJiQYAAAAAAAAJigYAAAAAAYsGAACpAAAAAAAAAAGMBgAAcgAAAAAAAEIAAEBBAY0GAAAVAAAAo4vqQ110G0NIRQBCo4suQRKDvj8GjgYAAAU4MS4zJQoJjwYAAAnRAQAANAMAAP////8BAQoJkAYAAAEACgEBEwUAABwAAAABkQYAACEAAADMSupD5PGBQwGSBgAAIQAAAHSC+kO9BHVCCZMGAAAJlAYAAAAAAAAKAZUGAAByAAAAAAAAAAAAAAABlgYAAHIAAAAAAAAAAAAAAAAAAAABlwYAABUAAAAAAAAAAAAAAAAAAAAAAAAApAEAAP////8BAQoJmAYAAAEACgAHFAUAAAABAAAAAgAAAAQaQXBsb3Jpcy5CYXNlLlVJLlZpc3VhbExpbmUDAAAACgoHFQUAAAABAAAAAwAAAAQVU3lzdGVtLkRyYXdpbmcuUG9pbnRGBAAAAAGZBgAAIQAAAKBm8kN8kiBDAZoGAAAhAAAAzMroQ3ySIEMBmwYAACEAAAB0AvxDfJIgQwcWBQAAAAEAAAADAAAABBdBcGxvcmlzLkJhc2UuQW5jaG9yTW9kZQMAAAABnAYAAKAAAAAAAAAAAZ0GAACgAAAAAgAAAAGeBgAAoAAAAAQAAAABFwUAACUAAAAJvgMAAAAAAAAAAAAAARgFAAAmAAAACZ8GAAACAAAAAgAAAAEZBQAAKQEAAApYAgAAAaAGAADFAQAAAgAAAAGhBgAAxgEAAAEAAAABogYAABUAAAC53gJE32tfQoB600HQCElDAaMGAADIAQAAAAAAAAAAoEAAAaQGAAAhAAAAoywGRGBfHEMBpQYAAKAAAAAAAAAAAAAAAAAAAAAACaYGAAAAAAAACacGAAAAAAGoBgAAqQAAAAAAAAABqQYAAHIAAAAAAABCAABAQQGqBgAAFQAAAC46AkS66BZDSEUAQqOLLkESg74/BqsGAAAFODQuNyUKCawGAAAJ0QEAADQDAAD/////AQEKCa0GAAABAAoBARoFAAAcAAAAAa4GAAAhAAAAuR4CROTxgUMBrwYAACEAAACNOgpE32tTQgmwBgAACbEGAAAAAAAACgGyBgAAcgAAAAAAAAAAAAAAAbMGAAByAAAAAAAAAAAAAAAAAAAAAbQGAAAVAAAAAAAAAAAAAAAAAAAAAAAAAKQBAAD/////AQEKCbUGAAABAAoABxsFAAAAAQAAAAIAAAAEGkFwbG9yaXMuQmFzZS5VSS5WaXN1YWxMaW5lAwAAAAoKBxwFAAAAAQAAAAMAAAAEFVN5c3RlbS5EcmF3aW5nLlBvaW50RgQAAAABtgYAACEAAACjLAZEYF8cQwG3BgAAIQAAALleAURgXxxDAbgGAAAhAAAAjfoKRGBfHEMHHQUAAAABAAAAAwAAAAQXQXBsb3Jpcy5CYXNlLkFuY2hvck1vZGUDAAAAAbkGAACgAAAAAAAAAAG6BgAAoAAAAAIAAAABuwYAAKAAAAAEAAAAAR4FAAAlAAAACb4DAAAAAAAAAAAAAAEfBQAAJgAAAAm8BgAAAgAAAAIAAAABIAUAACkBAAAKWAIAAAG9BgAAxQEAAAIAAAABvgYAAMYBAAABAAAAAb8GAAAVAAAADNgPRA3vbkKAetNBBShFQwHABgAAyAEAAAAAAAAAAKBAAAHBBgAAIQAAAPYlE0TGTx5DAcIGAACgAAAAAAAAAAAAAAAAAAAAAAnDBgAAAAAAAAnEBgAAAAABxQYAAKkAAAAAAAAAAcYGAAByAAAAAAAAQgAAQEEBxwYAABUAAACLLg9ELroYQ0hFAEKjiy5BEoO+PwbIBgAABTgzLjElCgnJBgAACdEBAAA0AwAA/////wEBCgnKBgAAAQAKAQEhBQAAHAAAAAHLBgAAIQAAAAwYD0Tk8YFDAcwGAAAhAAAA4DMXRA3vYkIJzQYAAAnOBgAAAAAAAAoBzwYAAHIAAAAAAAAAAAAAAAHQBgAAcgAAAAAAAAAAAAAAAAAAAAHRBgAAFQAAAAAAAAAAAAAAAAAAAAAAAACkAQAA/////wEBCgnSBgAAAQAKAAciBQAAAAEAAAACAAAABBpBcGxvcmlzLkJhc2UuVUkuVmlzdWFsTGluZQMAAAAKCgcjBQAAAAEAAAADAAAABBVTeXN0ZW0uRHJhd2luZy5Qb2ludEYEAAAAAdMGAAAhAAAA9iUTRMZPHkMB1AYAACEAAAAMWA5Exk8eQwHVBgAAIQAAAODzF0TGTx5DByQFAAAAAQAAAAMAAAAEF0FwbG9yaXMuQmFzZS5BbmNob3JNb2RlAwAAAAHWBgAAoAAAAAAAAAAB1wYAAKAAAAACAAAAAdgGAACgAAAABAAAAAElBQAAJQAAAAm+AwAAAAAAAAAAAAABJgUAACYAAAAJ2QYAAAIAAAACAAAAAScFAAApAQAAClgCAAAB2gYAAMUBAAACAAAAAdsGAADGAQAAAQAAAAHcBgAAFQAAALysYUKWgutBgHrTQeYqu0EB3QYAAMgBAAAAAAAAAACgQAAB3gYAACEAAACuRYtCBIwkQgHfBgAAoAAAAAAAAAAAAAAAAAAAAAAJ4AYAAAAAAAAJ4QYAAAAAAeIGAACpAAAAAAAAAAHjBgAAcgAAAAAAAEIAAEBBAeQGAAAVAAAAo4tWQnTRDUJIRQBCo4suQRKDvj8G5QYAAAUxMi4wJQoJ5gYAAAnRAQAANAMAAP////8BAQoJ5wYAAAEACgEBKAUAABwAAAAB6AYAACEAAAC8rFVCvlZfQgHpBgAAIQAAAP60q0KWgtNBCeoGAAAJ6wYAAAAAAAAKAewGAAByAAAAAAAAAAAAAAAB7QYAAHIAAAAAAAAAAAAAAAAAAAAB7gYAABUAAAAAAAAAAAAAAAAAAAAAAAAApAEAAP////8BAQoJ7wYAAAEACgAHKQUAAAABAAAAAgAAAAQaQXBsb3Jpcy5CYXNlLlVJLlZpc3VhbExpbmUDAAAACgoHKgUAAAABAAAAAwAAAAQVU3lzdGVtLkRyYXdpbmcuUG9pbnRGBAAAAAHwBgAAIQAAAK5Fi0IEjCRCAfEGAAAhAAAAvKxJQgSMJEIB8gYAACEAAAD+tLFCBIwkQgcrBQAAAAEAAAADAAAABBdBcGxvcmlzLkJhc2UuQW5jaG9yTW9kZQMAAAAB8wYAAKAAAAAAAAAAAfQGAACgAAAAAgAAAAH1BgAAoAAAAAQAAAABLAUAACUAAAAJ0QMAAAAAAAAAAAAAAS0FAAAmAAAACfYGAAACAAAAAgAAAAEuBQAAKQEAAApYAgAAAfcGAADFAQAAAgAAAAH4BgAAxgEAAAEAAAAB+QYAABUAAADJNSBDK1sWQoB600ELvwBCAfoGAADIAQAAAAAAAAAAoEAAAfsGAAAhAAAAcW0tQ7C6VkIB/AYAAKAAAAAAAAAAAAAAAAAAAAAACf0GAAAAAAAACf4GAAAAAAH/BgAAqQAAAAAAAAABAAcAAHIAAAAAAABCAABAQQEBBwAAFQAAANFFHUMuukBCSEUAQqOLLkESg74/BgIHAAAFMTUuNiUKCQMHAAAJ0QEAADQDAAD/////AQEKCQQHAAABAAoBAS8FAAAcAAAAAQUHAAAhAAAAyTUdQxuNkUIBBgcAACEAAAAZpT1DK1sKQgkHBwAACQgHAAAAAAAACgEJBwAAcgAAAAAAAAAAAAAAAQoHAAByAAAAAAAAAAAAAAAAAAAAAQsHAAAVAAAAAAAAAAAAAAAAAAAAAAAAAKQBAAD/////AQEKCQwHAAABAAoABzAFAAAAAQAAAAIAAAAEGkFwbG9yaXMuQmFzZS5VSS5WaXN1YWxMaW5lAwAAAAoKBzEFAAAAAQAAAAMAAAAEFVN5c3RlbS5EcmF3aW5nLlBvaW50RgQAAAABDQcAACEAAABxbS1DsLpWQgEOBwAAIQAAAMk1GkOwulZCAQ8HAAAhAAAAGaVAQ7C6VkIHMgUAAAABAAAAAwAAAAQXQXBsb3Jpcy5CYXNlLkFuY2hvck1vZGUDAAAAARAHAACgAAAAAAAAAAERBwAAoAAAAAIAAAABEgcAAKAAAAAEAAAAATMFAAAlAAAACdEDAAAAAAAAAAAAAAE0BQAAJgAAAAkTBwAAAgAAAAIAAAABNQUAACkBAAAKWAIAAAEUBwAAxQEAAAIAAAABFQcAAMYBAAABAAAAARYHAAAVAAAAFhtUQ6eQ40GAetNBQb/IQQEXBwAAyAEAAAAAAAAAAKBAAAEYBwAAIQAAAL5SYUMk+CNCARkHAACgAAAAAAAAAAAAAAAAAAAAAAkaBwAAAAAAAAkbBwAAAAABHAcAAKkAAAAAAAAAAR0HAAByAAAAAAAAQgAAQEEBHgcAABUAAABGF1FDdNENQkhFAEKjiy5BEoO+PwYfBwAABTEyLjclCgkgBwAACdEBAAA0AwAA/////wEBCgkhBwAAAQAKAQE2BQAAHAAAAAEiBwAAIQAAABYbUUP0J2JCASMHAAAhAAAAZopxQ6eQy0EJJAcAAAklBwAAAAAAAAoBJgcAAHIAAAAAAAAAAAAAAAEnBwAAcgAAAAAAAAAAAAAAAAAAAAEoBwAAFQAAAAAAAAAAAAAAAAAAAAAAAACkAQAA/////wEBCgkpBwAAAQAKAAc3BQAAAAEAAAACAAAABBpBcGxvcmlzLkJhc2UuVUkuVmlzdWFsTGluZQMAAAAKCgc4BQAAAAEAAAADAAAABBVTeXN0ZW0uRHJhd2luZy5Qb2ludEYEAAAAASoHAAAhAAAAvlJhQyT4I0IBKwcAACEAAAAWG05DJPgjQgEsBwAAIQAAAGaKdEMk+CNCBzkFAAAAAQAAAAMAAAAEF0FwbG9yaXMuQmFzZS5BbmNob3JNb2RlAwAAAAEtBwAAoAAAAAAAAAABLgcAAKAAAAACAAAAAS8HAACgAAAABAAAAAE6BQAAJQAAAAnRAwAAAAAAAAAAAAABOwUAACYAAAAJMAcAAAIAAAACAAAAATwFAAApAQAAClgCAAABMQcAAMUBAAACAAAAATIHAADGAQAAAQAAAAEzBwAAFQAAADIAhEOcHAJCgHrTQY4Yi0EBNAcAAMgBAAAAAAAAAACgQAABNQcAACEAAAAGnIpDwOIkQgE2BwAAoAAAAAAAAAAAAAAAAAAAAAAJNwcAAAAAAAAJOAcAAAAAATkHAACpAAAAAAAAAAE6BwAAcgAAAAAA0EEAAEBBATsHAAAVAAAAdNGDQ3TRDUKo59RBo4suQRKDvj8GPAcAAAQ5LjYlCgk9BwAACdEBAAA0AwAA/////wEBCgk+BwAAAQAKAQE9BQAAHAAAAAE/BwAAIQAAADKAgkPjqFNCAUAHAAAhAAAA2reSQzg57EEJQQcAAAlCBwAAAAAAAAoBQwcAAHIAAAAAAAAAAAAAAAFEBwAAcgAAAAAAAAAAAAAAAAAAAAFFBwAAFQAAAAAAAAAAAAAAAAAAAAAAAACkAQAA/////wEBCglGBwAAAQAKAAc+BQAAAAEAAAACAAAABBpBcGxvcmlzLkJhc2UuVUkuVmlzdWFsTGluZQMAAAAKCgc/BQAAAAEAAAADAAAABBVTeXN0ZW0uRHJhd2luZy5Qb2ludEYEAAAAAUcHAAAhAAAABpyKQ8DiJEIBSAcAACEAAAAyAIFDwOIkQgFJBwAAIQAAANo3lEPA4iRCB0AFAAAAAQAAAAMAAAAEF0FwbG9yaXMuQmFzZS5BbmNob3JNb2RlAwAAAAFKBwAAoAAAAAAAAAABSwcAAKAAAAACAAAAAUwHAACgAAAABAAAAAFBBQAAJQAAAAnRAwAAAAAAAAAAAAABQgUAACYAAAAJTQcAAAIAAAACAAAAAUMFAAApAQAAClgCAAABTgcAAMUBAAACAAAAAU8HAADGAQAAAQAAAAFQBwAAFQAAANjynUMHJOBBgHrTQTeGtEEBUQcAAMgBAAAAAAAAAACgQAABUgcAACEAAACsjqRDkTMdQgFTBwAAoAAAAAAAAAAAAAAAAAAAAAAJVAcAAAAAAAAJVQcAAAAAAVYHAACpAAAAAAAAAAFXBwAAcgAAAAAAAEIAAEBBAVgHAAAVAAAAF12cQ6OLBkJIRQBCo4suQRKDvj8GWQcAAAUxMS43JQoJWgcAAAnRAQAANAMAAP////8BAQoJWwcAAAEACgEBRAUAABwAAAABXAcAACEAAADYcpxDH1VWQgFdBwAAIQAAAICqrEMHJMhBCV4HAAAJXwcAAAAAAAAKAWAHAAByAAAAAAAAAAAAAAABYQcAAHIAAAAAAAAAAAAAAAAAAAABYgcAABUAAAAAAAAAAAAAAAAAAAAAAAAApAEAAP////8BAQoJYwcAAAEACgAHRQUAAAABAAAAAgAAAAQaQXBsb3Jpcy5CYXNlLlVJLlZpc3VhbExpbmUDAAAACgoHRgUAAAABAAAAAwAAAAQVU3lzdGVtLkRyYXdpbmcuUG9pbnRGBAAAAAFkBwAAIQAAAKyOpEORMx1CAWUHAAAhAAAA2PKaQ5EzHUIBZgcAACEAAACAKq5DkTMdQgdHBQAAAAEAAAADAAAABBdBcGxvcmlzLkJhc2UuQW5jaG9yTW9kZQMAAAABZwcAAKAAAAAAAAAAAWgHAACgAAAAAgAAAAFpBwAAoAAAAAQAAAABSAUAACUAAAAJ0QMAAAAAAAAAAAAAAUkFAAAmAAAACWoHAAACAAAAAgAAAAFKBQAAKQEAAApYAgAAAWsHAADFAQAAAgAAAAFsBwAAxgEAAAEAAAABbQcAABUAAAB+5bdDSG32QYB600GMHr9BAW4HAADIAQAAAAAAAAAAoEAAAW8HAAAhAAAAUoG+Q0f+KkIBcAcAAKAAAAAAAAAAAAAAAAAAAAAACXEHAAAAAAAACXIHAAAAAAFzBwAAqQAAAAAAAAABdAcAAHIAAAAAAABCAABAQQF1BwAAFQAAANFFtkNGFxVCSEUAQqOLLkESg74/BnYHAAAFMTIuMiUKCXcHAAAJ0QEAADQDAAD/////AQEKCXgHAAABAAoBAUsFAAAcAAAAAXkHAAAhAAAAfmW2Q+rFZkIBegcAACEAAAAmncZDSG3eQQl7BwAACXwHAAAAAAAACgF9BwAAcgAAAAAAAAAAAAAAAX4HAAByAAAAAAAAAAAAAAAAAAAAAX8HAAAVAAAAAAAAAAAAAAAAAAAAAAAAAKQBAAD/////AQEKCYAHAAABAAoAB0wFAAAAAQAAAAIAAAAEGkFwbG9yaXMuQmFzZS5VSS5WaXN1YWxMaW5lAwAAAAoKB00FAAAAAQAAAAMAAAAEFVN5c3RlbS5EcmF3aW5nLlBvaW50RgQAAAABgQcAACEAAABSgb5DR/4qQgGCBwAAIQAAAH7ltENH/ipCAYMHAAAhAAAAJh3IQ0f+KkIHTgUAAAABAAAAAwAAAAQXQXBsb3Jpcy5CYXNlLkFuY2hvck1vZGUDAAAAAYQHAACgAAAAAAAAAAGFBwAAoAAAAAIAAAABhgcAAKAAAAAEAAAAAU8FAAAlAAAACdEDAAAAAAAAAAAAAAFQBQAAJgAAAAmHBwAAAgAAAAIAAAABUQUAACkBAAAKWAIAAAGIBwAAxQEAAAIAAAABiQcAAMYBAAABAAAAAYoHAAAVAAAAzMrrQ7TN90GAetNBxjvaQQGLBwAAyAEAAAAAAAAAAKBAAAGMBwAAIQAAAKBm8kPMdTJCAY0HAACgAAAAAAAAAAAAAAAAAAAAAAmOBwAAAAAAAAmPBwAAAAABkAcAAKkAAAAAAAAAAZEHAAByAAAAAAAAQgAAQEEBkgcAABUAAACji+pDF10cQkhFAEKjiy5BEoO+PwaTBwAABTEzLjYlCgmUBwAACdEBAAA0AwAA/////wEBCgmVBwAAAQAKAQFSBQAAHAAAAAGWBwAAIQAAAMxK6kO9BHVCAZcHAAAhAAAAdIL6Q7TN30EJmAcAAAmZBwAAAAAAAAoBmgcAAHIAAAAAAAAAAAAAAAGbBwAAcgAAAAAAAAAAAAAAAAAAAAGcBwAAFQAAAAAAAAAAAAAAAAAAAAAAAACkAQAA/////wEBCgmdBwAAAQAKAAdTBQAAAAEAAAACAAAABBpBcGxvcmlzLkJhc2UuVUkuVmlzdWFsTGluZQMAAAAKCgdUBQAAAAEAAAADAAAABBVTeXN0ZW0uRHJhd2luZy5Qb2ludEYEAAAAAZ4HAAAhAAAAoGbyQ8x1MkIBnwcAACEAAADMyuhDzHUyQgGgBwAAIQAAAHQC/EPMdTJCB1UFAAAAAQAAAAMAAAAEF0FwbG9yaXMuQmFzZS5BbmNob3JNb2RlAwAAAAGhBwAAoAAAAAAAAAABogcAAKAAAAACAAAAAaMHAACgAAAABAAAAAFWBQAAJQAAAAnRAwAAAAAAAAAAAAABVwUAACYAAAAJpAcAAAIAAAACAAAAAVgFAAApAQAAClgCAAABpQcAAMUBAAACAAAAAaYHAADGAQAAAQAAAAGnBwAAFQAAALneAkRp6eRBgHrTQVXuqUEBqAcAAMgBAAAAAAAAAACgQAABqQcAACEAAACjLAZESvAcQgGqBwAAoAAAAAAAAAAAAAAAAAAAAAAJqwcAAAAAAAAJrAcAAAAAAa0HAACpAAAAAAAAAAGuBwAAcgAAAAAAAEIAAEBBAa8HAAAVAAAALjoCRKOLBkJIRQBCo4suQRKDvj8GsAcAAAUxMS4xJQoJsQcAAAnRAQAANAMAAP////8BAQoJsgcAAAEACgEBWQUAABwAAAABswcAACEAAAC5HgJE32tTQgG0BwAAIQAAAI06CkRp6cxBCbUHAAAJtgcAAAAAAAAKAbcHAAByAAAAAAAAAAAAAAABuAcAAHIAAAAAAAAAAAAAAAAAAAABuQcAABUAAAAAAAAAAAAAAAAAAAAAAAAApAEAAP////8BAQoJugcAAAEACgAHWgUAAAABAAAAAgAAAAQaQXBsb3Jpcy5CYXNlLlVJLlZpc3VhbExpbmUDAAAACgoHWwUAAAABAAAAAwAAAAQVU3lzdGVtLkRyYXdpbmcuUG9pbnRGBAAAAAG7BwAAIQAAAKMsBkRK8BxCAbwHAAAhAAAAuV4BRErwHEIBvQcAACEAAACN+gpESvAcQgdcBQAAAAEAAAADAAAABBdBcGxvcmlzLkJhc2UuQW5jaG9yTW9kZQMAAAABvgcAAKAAAAAAAAAAAb8HAACgAAAAAgAAAAHABwAAoAAAAAQAAAABXQUAACUAAAAJ0QMAAAAAAAAAAAAAAV4FAAAmAAAACcEHAAACAAAAAgAAAAFfBQAAKQEAAApYAgAAAcIHAADFAQAAAgAAAAHDBwAAxgEAAAEAAAABxAcAABUAAAAM2A9E7Nj5QYB600EuBbRBAcUHAADIAQAAAAAAAAAAoEAAAcYHAAAhAAAA9iUTRMLtKUIBxwcAAKAAAAAAAAAAAAAAAAAAAAAACcgHAAAAAAAACckHAAAAAAHKBwAAqQAAAAAAAAABywcAAHIAAAAAAABCAABAQQHMBwAAFQAAAIsuD0RGFxVCSEUAQqOLLkESg74/Bs0HAAAFMTEuNyUKCc4HAAAJ0QEAADQDAAD/////AQEKCc8HAAABAAoBAWAFAAAcAAAAAdAHAAAhAAAADBgPRA3vYkIB0QcAACEAAADgMxdE7NjhQQnSBwAACdMHAAAAAAAACgHUBwAAcgAAAAAAAAAAAAAAAdUHAAByAAAAAAAAAAAAAAAAAAAAAdYHAAAVAAAAAAAAAAAAAAAAAAAAAAAAAKQBAAD/////AQEKCdcHAAABAAoAB2EFAAAAAQAAAAIAAAAEGkFwbG9yaXMuQmFzZS5VSS5WaXN1YWxMaW5lAwAAAAoKB2IFAAAAAQAAAAMAAAAEFVN5c3RlbS5EcmF3aW5nLlBvaW50RgQAAAAB2AcAACEAAAD2JRNEwu0pQgHZBwAAIQAAAAxYDkTC7SlCAdoHAAAhAAAA4PMXRMLtKUIHYwUAAAABAAAAAwAAAAQXQXBsb3Jpcy5CYXNlLkFuY2hvck1vZGUDAAAAAdsHAACgAAAAAAAAAAHcBwAAoAAAAAIAAAAB3QcAAKAAAAAEAAAAAWQFAAAlAAAACdEDAAAAAAAAAAAAAAFlBQAAJgAAAAneBwAAAgAAAAIAAAABZgUAACkBAAAKWAIAAAHfBwAAxQEAAAIAAAAB4AcAAMYBAAABAAAAAeEHAAAVAAAAvKxhQkr3k0GAetNBMC2eQAHiBwAAyAEAAAAAAAAAAKBAAAHjBwAAIQAAAK5Fi0LwvKdBAeQHAACgAAAAAAAAAAAAAAAAAAAAAAnlBwAAAAAAAAnmBwAAAAAB5wcAAKkAAAAAAAAAAegHAAByAAAAAADQQQAAQEEB6QcAABUAAABddGFC0UV3Qajn1EGjiy5BEoO+PwbqBwAABDQuNSUKCesHAAAJ0QEAADQDAAD/////AQEKCewHAAABAAoBAWcFAAAcAAAAAe0HAAAhAAAAvKxVQpaC00EB7gcAACEAAAD+tKtClO53QQnvBwAACfAHAAAAAAAACgHxBwAAcgAAAAAAAAAAAAAAAfIHAAByAAAAAAAAAAAAAAAAAAAAAfMHAAAVAAAAAAAAAAAAAAAAAAAAAAAAAKQBAAD/////AQEKCfQHAAABAAoAB2gFAAAAAQAAAAIAAAAEGkFwbG9yaXMuQmFzZS5VSS5WaXN1YWxMaW5lAwAAAAoKB2kFAAAAAQAAAAMAAAAEFVN5c3RlbS5EcmF3aW5nLlBvaW50RgQAAAAB9QcAACEAAACuRYtC8LynQQH2BwAAIQAAALysSULwvKdBAfcHAAAhAAAA/rSxQvC8p0EHagUAAAABAAAAAwAAAAQXQXBsb3Jpcy5CYXNlLkFuY2hvck1vZGUDAAAAAfgHAACgAAAAAAAAAAH5BwAAoAAAAAIAAAAB+gcAAKAAAAAEAAAAAWsFAAAlAAAACdEDAAAAAAAAAAAAAAFsBQAAJgAAAAn7BwAAAgAAAAIAAAABbQUAACkBAAAKWAIAAAH8BwAAxQEAAAIAAAAB/QcAAMYBAAABAAAAAf4HAAAVAAAAyTUgQ0r3k0GAetNBGH5RQQH/BwAAyAEAAAAAAAAAAKBAAAEACAAAIQAAAHFtLUPQVshBAQEIAACgAAAAAAAAAAAAAAAAAAAAAAkCCAAAAAAAAAkDCAAAAAABBAgAAKkAAAAAAAAAAQUIAAByAAAAAADQQQAAQEEBBggAABUAAAAAACBDAACgQajn1EGjiy5BEoO+PwYHCAAABDcuOCUKCQgIAAAJ0QEAADQDAAD/////AQEKCQkIAAABAAoBAW4FAAAcAAAAAQoIAAAhAAAAyTUdQytbCkIBCwgAACEAAAAZpT1DlO53QQkMCAAACQ0IAAAAAAAACgEOCAAAcgAAAAAAAAAAAAAAAQ8IAAByAAAAAAAAAAAAAAAAAAAAARAIAAAVAAAAAAAAAAAAAAAAAAAAAAAAAKQBAAD/////AQEKCREIAAABAAoAB28FAAAAAQAAAAIAAAAEGkFwbG9yaXMuQmFzZS5VSS5WaXN1YWxMaW5lAwAAAAoKB3AFAAAAAQAAAAMAAAAEFVN5c3RlbS5EcmF3aW5nLlBvaW50RgQAAAABEggAACEAAABxbS1D0FbIQQETCAAAIQAAAMk1GkPQVshBARQIAAAhAAAAGaVAQ9BWyEEHcQUAAAABAAAAAwAAAAQXQXBsb3Jpcy5CYXNlLkFuY2hvck1vZGUDAAAAARUIAACgAAAAAAAAAAEWCAAAoAAAAAIAAAABFwgAAKAAAAAEAAAAAXIFAAAlAAAACdEDAAAAAAAAAAAAAAFzBQAAJgAAAAkYCAAAAgAAAAIAAAABdAUAACkBAAAKWAIAAAEZCAAAxQEAAAIAAAABGggAAMYBAAABAAAAARsIAAAVAAAAFhtUQ0r3k0GAetNB6Mp8QAEcCAAAyAEAAAAAAAAAAKBAAAEdCAAAIQAAAL5SYUP4w6NBAR4IAACgAAAAAAAAAAAAAAAAAAAAAAkfCAAAAAAAAAkgCAAAAQABIQgAAKkAAAAAAAAAASIIAAByAAAAAADQQQAAQEEBIwgAABUAAAB00VND0UV3Qajn1EGjiy5BEoO+PwYkCAAABDQuMSUKCSUIAAAJ0QEAADQDAAD/////AQEKCSYIAAABAAoBAXUFAAAcAAAAAScIAAAhAAAAFhtRQ6eQy0EBKAgAACEAAABminFDlO53QQkpCAAACSoIAAAAAAAACgErCAAAcgAAAAAAAAAAAAAAASwIAAByAAAAAAAAAAAAAAAAAAAAAS0IAAAVAAAAAAAAAAAAAAAAAAAAAAAAAKQBAAD/////AQEKCS4IAAABAAoAB3YFAAAAAQAAAAIAAAAEGkFwbG9yaXMuQmFzZS5VSS5WaXN1YWxMaW5lAwAAAAoKB3cFAAAAAQAAAAMAAAAEFVN5c3RlbS5EcmF3aW5nLlBvaW50RgQAAAABLwgAACEAAAC+UmFD+MOjQQEwCAAAIQAAABYbTkP4w6NBATEIAAAhAAAAZop0Q/jDo0EHeAUAAAABAAAAAwAAAAQXQXBsb3Jpcy5CYXNlLkFuY2hvck1vZGUDAAAAATIIAACgAAAAAAAAAAEzCAAAoAAAAAIAAAABNAgAAKAAAAAEAAAAAXkFAAAlAAAACdEDAAAAAAAAAAAAAAF6BQAAJgAAAAk1CAAAAgAAAAIAAAABewUAACkBAAAKWAIAAAE2CAAAxQEAAAIAAAABNwgAAMYBAAABAAAAATgIAAAVAAAAMgCEQ0r3k0GAetNB3IMAQQE5CAAAyAEAAAAAAAAAAKBAAAE6CAAAIQAAAAacikNBGLRBATsIAACgAAAAAAAAAAAAAAAAAAAAAAk8CAAAAAAAAAk9CAAAAAABPggAAKkAAAAAAAAAAT8IAAByAAAAAADQQQAAQEEBQAgAABUAAAB00YNDiy6KQajn1EGjiy5BEoO+PwZBCAAABDUuNyUKCUIIAAAJ0QEAADQDAAD/////AQEKCUMIAAABAAoBAXwFAAAcAAAAAUQIAAAhAAAAMoCCQzg57EEBRQgAACEAAADat5JDlO53QQlGCAAACUcIAAAAAAAACgFICAAAcgAAAAAAAAAAAAAAAUkIAAByAAAAAAAAAAAAAAAAAAAAAUoIAAAVAAAAAAAAAAAAAAAAAAAAAAAAAKQBAAD/////AQEKCUsIAAABAAoAB30FAAAAAQAAAAIAAAAEGkFwbG9yaXMuQmFzZS5VSS5WaXN1YWxMaW5lAwAAAAoKB34FAAAAAQAAAAMAAAAEFVN5c3RlbS5EcmF3aW5nLlBvaW50RgQAAAABTAgAACEAAAAGnIpDQRi0QQFNCAAAIQAAADIAgUNBGLRBAU4IAAAhAAAA2jeUQ0EYtEEHfwUAAAABAAAAAwAAAAQXQXBsb3Jpcy5CYXNlLkFuY2hvck1vZGUDAAAAAU8IAACgAAAAAAAAAAFQCAAAoAAAAAIAAAABUQgAAKAAAAAEAAAAAYAFAAAlAAAACdEDAAAAAAAAAAAAAAGBBQAAJgAAAAlSCAAAAgAAAAIAAAABggUAACkBAAAKWAIAAAFTCAAAxQEAAAIAAAABVAgAAMYBAAABAAAAAVUIAAAVAAAA2PKdQ0r3k0GAetNB6GVhQAFWCAAAyAEAAAAAAAAAAKBAAAFXCAAAIQAAAKyOpEOoDaJBAVgIAACgAAAAAAAAAAAAAAAAAAAAAAlZCAAAAAAAAAlaCAAAAQABWwgAAKkAAAAAAAAAAVwIAAByAAAAAADQQQAAQEEBXQgAABUAAAAuup1DLrpoQajn1EGjiy5BEoO+PwZeCAAABDMuOSUKCV8IAAAJ0QEAADQDAAD/////AQEKCWAIAAABAAoBAYMFAAAcAAAAAWEIAAAhAAAA2HKcQwckyEEBYggAACEAAACAqqxDlO53QQljCAAACWQIAAAAAAAACgFlCAAAcgAAAAAAAAAAAAAAAWYIAAByAAAAAAAAAAAAAAAAAAAAAWcIAAAVAAAAAAAAAAAAAAAAAAAAAAAAAKQBAAD/////AQEKCWgIAAABAAoAB4QFAAAAAQAAAAIAAAAEGkFwbG9yaXMuQmFzZS5VSS5WaXN1YWxMaW5lAwAAAAoKB4UFAAAAAQAAAAMAAAAEFVN5c3RlbS5EcmF3aW5nLlBvaW50RgQAAAABaQgAACEAAACsjqRDqA2iQQFqCAAAIQAAANjymkOoDaJBAWsIAAAhAAAAgCquQ6gNokEHhgUAAAABAAAAAwAAAAQXQXBsb3Jpcy5CYXNlLkFuY2hvck1vZGUDAAAAAWwIAACgAAAAAAAAAAFtCAAAoAAAAAIAAAABbggAAKAAAAAEAAAAAYcFAAAlAAAACdEDAAAAAAAAAAAAAAGIBQAAJgAAAAlvCAAAAgAAAAIAAAABiQUAACkBAAAKWAIAAAFwCAAAxQEAAAIAAAABcQgAAMYBAAABAAAAAXIIAAAVAAAAfuW3Q0r3k0GAetNB+NfJQAFzCAAAyAEAAAAAAAAAAKBAAAF0CAAAIQAAAFKBvkNJMq1BAXUIAACgAAAAAAAAAAAAAAAAAAAAAAl2CAAAAAAAAAl3CAAAAAABeAgAAKkAAAAAAAAAAXkIAAByAAAAAADQQQAAQEEBeggAABUAAADoordDuuiCQajn1EGjiy5BEoO+PwZ7CAAABDUuMCUKCXwIAAAJ0QEAADQDAAD/////AQEKCX0IAAABAAoBAYoFAAAcAAAAAX4IAAAhAAAAfmW2Q0ht3kEBfwgAACEAAAAmncZDlO53QQmACAAACYEIAAAAAAAACgGCCAAAcgAAAAAAAAAAAAAAAYMIAAByAAAAAAAAAAAAAAAAAAAAAYQIAAAVAAAAAAAAAAAAAAAAAAAAAAAAAKQBAAD/////AQEKCYUIAAABAAoAB4sFAAAAAQAAAAIAAAAEGkFwbG9yaXMuQmFzZS5VSS5WaXN1YWxMaW5lAwAAAAoKB4wFAAAAAQAAAAMAAAAEFVN5c3RlbS5EcmF3aW5nLlBvaW50RgQAAAABhggAACEAAABSgb5DSTKtQQGHCAAAIQAAAH7ltENJMq1BAYgIAAAhAAAAJh3IQ0kyrUEHjQUAAAABAAAAAwAAAAQXQXBsb3Jpcy5CYXNlLkFuY2hvck1vZGUDAAAAAYkIAACgAAAAAAAAAAGKCAAAoAAAAAIAAAABiwgAAKAAAAAEAAAAAY4FAAAlAAAACdEDAAAAAAAAAAAAAAGPBQAAJgAAAAmMCAAAAgAAAAIAAAABkAUAACkBAAAKWAIAAAGNCAAAxQEAAAIAAAABjggAAMYBAAABAAAAAY8IAAAVAAAAzMrrQ0r3k0GAetNBqFnPQAGQCAAAyAEAAAAAAAAAAKBAAAGRCAAAIQAAAKBm8kN/4q1BAZIIAACgAAAAAAAAAAAAAAAAAAAAAAmTCAAAAAAAAAmUCAAAAAABlQgAAKkAAAAAAAAAAZYIAAByAAAAAADQQQAAQEEBlwgAABUAAAC66OtDuuiCQajn1EGjiy5BEoO+PwaYCAAABDUuMSUKCZkIAAAJ0QEAADQDAAD/////AQEKCZoIAAABAAoBAZEFAAAcAAAAAZsIAAAhAAAAzErqQ7TN30EBnAgAACEAAAB0gvpDlO53QQmdCAAACZ4IAAAAAAAACgGfCAAAcgAAAAAAAAAAAAAAAaAIAAByAAAAAAAAAAAAAAAAAAAAAaEIAAAVAAAAAAAAAAAAAAAAAAAAAAAAAKQBAAD/////AQEKCaIIAAABAAoAB5IFAAAAAQAAAAIAAAAEGkFwbG9yaXMuQmFzZS5VSS5WaXN1YWxMaW5lAwAAAAoKB5MFAAAAAQAAAAMAAAAEFVN5c3RlbS5EcmF3aW5nLlBvaW50RgQAAAABowgAACEAAACgZvJDf+KtQQGkCAAAIQAAAMzK6EN/4q1BAaUIAAAhAAAAdAL8Q3/irUEHlAUAAAABAAAAAwAAAAQXQXBsb3Jpcy5CYXNlLkFuY2hvck1vZGUDAAAAAaYIAACgAAAAAAAAAAGnCAAAoAAAAAIAAAABqAgAAKAAAAAEAAAAAZUFAAAlAAAACdEDAAAAAAAAAAAAAAGWBQAAJgAAAAmpCAAAAgAAAAIAAAABlwUAACkBAAAKWAIAAAGqCAAAxQEAAAIAAAABqwgAAMYBAAABAAAAAawIAAAVAAAAud4CREr3k0GAetNBfMiDQAGtCAAAyAEAAAAAAAAAAKBAAAGuCAAAIQAAAKMsBkRacKRBAa8IAACgAAAAAAAAAAAAAAAAAAAAAAmwCAAAAAAAAAmxCAAAAQABsggAAKkAAAAAAAAAAbMIAAByAAAAAADQQQAAQEEBtAgAABUAAAC66AJE0UV3Qajn1EGjiy5BEoO+Pwa1CAAABDQuMSUKCbYIAAAJ0QEAADQDAAD/////AQEKCbcIAAABAAoBAZgFAAAcAAAAAbgIAAAhAAAAuR4CRGnpzEEBuQgAACEAAACNOgpElO53QQm6CAAACbsIAAAAAAAACgG8CAAAcgAAAAAAAAAAAAAAAb0IAAByAAAAAAAAAAAAAAAAAAAAAb4IAAAVAAAAAAAAAAAAAAAAAAAAAAAAAKQBAAD/////AQEKCb8IAAABAAoAB5kFAAAAAQAAAAIAAAAEGkFwbG9yaXMuQmFzZS5VSS5WaXN1YWxMaW5lAwAAAAoKB5oFAAAAAQAAAAMAAAAEFVN5c3RlbS5EcmF3aW5nLlBvaW50RgQAAAABwAgAACEAAACjLAZEWnCkQQHBCAAAIQAAALleAURacKRBAcIIAAAhAAAAjfoKRFpwpEEHmwUAAAABAAAAAwAAAAQXQXBsb3Jpcy5CYXNlLkFuY2hvck1vZGUDAAAAAcMIAACgAAAAAAAAAAHECAAAoAAAAAIAAAABxQgAAKAAAAAEAAAAAZwFAAAlAAAACdEDAAAAAAAAAAAAAAGdBQAAJgAAAAnGCAAAAgAAAAIAAAABngUAACkBAAAKWAIAAAHHCAAAxQEAAAIAAAAByAgAAMYBAAABAAAAAckIAAAVAAAADNgPREr3k0GAetNBiIbXQAHKCAAAyAEAAAAAAAAAAKBAAAHLCAAAIQAAAPYlE0Qb6K5BAcwIAACgAAAAAAAAAAAAAAAAAAAAAAnNCAAAAAAAAAnOCAAAAAABzwgAAKkAAAAAAAAAAdAIAAByAAAAAADQQQAAQEEB0QgAABUAAAAX3Q9EuuiCQajn1EGjiy5BEoO+PwbSCAAABDUuMiUKCdMIAAAJ0QEAADQDAAD/////AQEKCdQIAAABAAoBAZ8FAAAcAAAAAdUIAAAhAAAADBgPROzY4UEB1ggAACEAAADgMxdElO53QQnXCAAACdgIAAAAAAAACgHZCAAAcgAAAAAAAAAAAAAAAdoIAAByAAAAAAAAAAAAAAAAAAAAAdsIAAAVAAAAAAAAAAAAAAAAAAAAAAAAAKQBAAD/////AQEKCdwIAAABAAoAB6AFAAAAAQAAAAIAAAAEGkFwbG9yaXMuQmFzZS5VSS5WaXN1YWxMaW5lAwAAAAoKB6EFAAAAAQAAAAMAAAAEFVN5c3RlbS5EcmF3aW5nLlBvaW50RgQAAAAB3QgAACEAAAD2JRNEG+iuQQHeCAAAIQAAAAxYDkQb6K5BAd8IAAAhAAAA4PMXRBvorkEHogUAAAABAAAAAwAAAAQXQXBsb3Jpcy5CYXNlLkFuY2hvck1vZGUDAAAAAeAIAACgAAAAAAAAAAHhCAAAoAAAAAIAAAAB4ggAAKAAAAAEAAAAAaMFAAAlAAAACdEDAAAAAAAAAAAAAAGkBQAAJgAAAAnjCAAAAgAAAAIAAAAB2wUAACMAAAAKCgAAAAAAKEEJdgAAAAl3AAAACeQIAAAAAAnlCAAAAdwFAAB4AAAACgoAAAAAP2l+AAUAAAAAAQHhBQAArQAAAAnmCAAAAQAAAAMAAAAB4gUAAHUAAAAJ5wgAAAoB5QUAAHAAAAAKCgAAAEA/CegIAAAJ6QgAAAEAAAD+////AAAAAAEAAAAAAAAAAAAAAAEAAAAAAAAAAAAAAeYFAABxAAAACgoJ6ggAAAnrCAAAAQAAAP7///8AAAAA/////wEAAeoFAAB1AAAACewIAAAKB/EFAAAAAQAAAAQAAAAEHEFwbG9yaXMuQmFzZS5VSS5WaXN1YWxPYmplY3QDAAAACekEAAAJ6AQAAAoKAfgFAAAjAAAACgoAAAAAAChBCXYAAAAJdwAAAAntCAAAAAAJ7ggAAAH5BQAAeAAAAAoKAAAAAD9pfgAFAAAAAAEB/gUAAK0AAAAJ7wgAAAEAAAADAAAAAf8FAAB1AAAACfAIAAAKAQIGAABwAAAACgoAAABAPwnxCAAACfIIAAABAAAA/v///wAAAAABAAAAAAAAAAAAAAABAAAAAAAAAAAAAAEDBgAAcQAAAAoKCfMIAAAJ9AgAAAEAAAD+////AAAAAP////8BAAEHBgAAdQAAAAn1CAAACgcOBgAAAAEAAAAEAAAABBxBcGxvcmlzLkJhc2UuVUkuVmlzdWFsT2JqZWN0AwAAAAnwBAAACe8EAAAKCgEVBgAAIwAAAAoKAAAAAAAoQQl2AAAACXcAAAAJ9ggAAAAACfcIAAABFgYAAHgAAAAKCgAAAAA/aX4ABQAAAAABARsGAACtAAAACfgIAAABAAAAAwAAAAEcBgAAdQAAAAn5CAAACgEfBgAAcAAAAAoKAAAAQD8J+ggAAAn7CAAAAQAAAP7///8AAAAAAQAAAAAAAAAAAAAAAQAAAAAAAAAAAAABIAYAAHEAAAAKCgn8CAAACf0IAAABAAAA/v///wAAAAD/////AQABJAYAAHUAAAAJ/ggAAAoHKwYAAAABAAAABAAAAAQcQXBsb3Jpcy5CYXNlLlVJLlZpc3VhbE9iamVjdAMAAAAJ9wQAAAn2BAAACgoBMgYAACMAAAAKCgAAAAAAKEEJdgAAAAl3AAAACf8IAAAAAAkACQAAATMGAAB4AAAACgoAAAAAP2l+AAUAAAAAAQE4BgAArQAAAAkBCQAAAQAAAAMAAAABOQYAAHUAAAAJAgkAAAoBPAYAAHAAAAAKCgAAAEA/CQMJAAAJBAkAAAEAAAD+////AAAAAAEAAAAAAAAAAAAAAAEAAAAAAAAAAAAAAT0GAABxAAAACgoJBQkAAAkGCQAAAQAAAP7///8AAAAA/////wEAAUEGAAB1AAAACQcJAAAKB0gGAAAAAQAAAAQAAAAEHEFwbG9yaXMuQmFzZS5VSS5WaXN1YWxPYmplY3QDAAAACf4EAAAJ/QQAAAoKAU8GAAAjAAAACgoAAAAAAChBCXYAAAAJdwAAAAkICQAAAAAJCQkAAAFQBgAAeAAAAAoKAAAAAD9pfgAFAAAAAAEBVQYAAK0AAAAJCgkAAAEAAAADAAAAAVYGAAB1AAAACQsJAAAKAVkGAABwAAAACgoAAABAPwkMCQAACQ0JAAABAAAA/v///wAAAAABAAAAAAAAAAAAAAABAAAAAAAAAAAAAAFaBgAAcQAAAAoKCQ4JAAAJDwkAAAEAAAD+////AAAAAP////8BAAFeBgAAdQAAAAkQCQAACgdlBgAAAAEAAAAEAAAABBxBcGxvcmlzLkJhc2UuVUkuVmlzdWFsT2JqZWN0AwAAAAkFBQAACQQFAAAKCgFsBgAAIwAAAAoKAAAAAAAoQQl2AAAACXcAAAAJEQkAAAAACRIJAAABbQYAAHgAAAAKCgAAAAA/aX4ABQAAAAABAXIGAACtAAAACRMJAAABAAAAAwAAAAFzBgAAdQAAAAkUCQAACgF2BgAAcAAAAAoKAAAAQD8JFQkAAAkWCQAAAQAAAP7///8AAAAAAQAAAAAAAAAAAAAAAQAAAAAAAAAAAAABdwYAAHEAAAAKCgkXCQAACRgJAAABAAAA/v///wAAAAD/////AQABewYAAHUAAAAJGQkAAAoHggYAAAABAAAABAAAAAQcQXBsb3Jpcy5CYXNlLlVJLlZpc3VhbE9iamVjdAMAAAAJDAUAAAkLBQAACgoBiQYAACMAAAAKCgAAAAAAKEEJdgAAAAl3AAAACRoJAAAAAAkbCQAAAYoGAAB4AAAACgoAAAAAP2l+AAUAAAAAAQGPBgAArQAAAAkcCQAAAQAAAAMAAAABkAYAAHUAAAAJHQkAAAoBkwYAAHAAAAAKCgAAAEA/CR4JAAAJHwkAAAEAAAD+////AAAAAAEAAAAAAAAAAAAAAAEAAAAAAAAAAAAAAZQGAABxAAAACgoJIAkAAAkhCQAAAQAAAP7///8AAAAA/////wEAAZgGAAB1AAAACSIJAAAKB58GAAAAAQAAAAQAAAAEHEFwbG9yaXMuQmFzZS5VSS5WaXN1YWxPYmplY3QDAAAACRMFAAAJEgUAAAoKAaYGAAAjAAAACgoAAAAAAChBCXYAAAAJdwAAAAkjCQAAAAAJJAkAAAGnBgAAeAAAAAoKAAAAAD9pfgAFAAAAAAEBrAYAAK0AAAAJJQkAAAEAAAADAAAAAa0GAAB1AAAACSYJAAAKAbAGAABwAAAACgoAAABAPwknCQAACSgJAAABAAAA/v///wAAAAABAAAAAAAAAAAAAAABAAAAAAAAAAAAAAGxBgAAcQAAAAoKCSkJAAAJKgkAAAEAAAD+////AAAAAP////8BAAG1BgAAdQAAAAkrCQAACge8BgAAAAEAAAAEAAAABBxBcGxvcmlzLkJhc2UuVUkuVmlzdWFsT2JqZWN0AwAAAAkaBQAACRkFAAAKCgHDBgAAIwAAAAoKAAAAAAAoQQl2AAAACXcAAAAJLAkAAAAACS0JAAABxAYAAHgAAAAKCgAAAAA/aX4ABQAAAAABAckGAACtAAAACS4JAAABAAAAAwAAAAHKBgAAdQAAAAkvCQAACgHNBgAAcAAAAAoKAAAAQD8JMAkAAAkxCQAAAQAAAP7///8AAAAAAQAAAAAAAAAAAAAAAQAAAAAAAAAAAAABzgYAAHEAAAAKCgkyCQAACTMJAAABAAAA/v///wAAAAD/////AQAB0gYAAHUAAAAJNAkAAAoH2QYAAAABAAAABAAAAAQcQXBsb3Jpcy5CYXNlLlVJLlZpc3VhbE9iamVjdAMAAAAJIQUAAAkgBQAACgoB4AYAACMAAAAKCgAAAAAAKEEJdgAAAAl3AAAACTUJAAAAAAk2CQAAAeEGAAB4AAAACgoAAAAAcoSMAAYAAAAAAQHmBgAArQAAAAk3CQAAAQAAAAMAAAAB5wYAAHUAAAAJOAkAAAoB6gYAAHAAAAAKCgAAAEA/CTkJAAAJOgkAAAEAAAD+////AAAAAAEAAAAAAAAAAAAAAAEAAAAAAAAAAAAAAesGAABxAAAACgoJOwkAAAk8CQAAAQAAAP7///8AAAAA/////wEAAe8GAAB1AAAACT0JAAAKB/YGAAAAAQAAAAQAAAAEHEFwbG9yaXMuQmFzZS5VSS5WaXN1YWxPYmplY3QDAAAACSgFAAAJJwUAAAoKAf0GAAAjAAAACgoAAAAAAChBCXYAAAAJdwAAAAk+CQAAAAAJPwkAAAH+BgAAeAAAAAoKAAAAAHKEjAAGAAAAAAEBAwcAAK0AAAAJQAkAAAEAAAADAAAAAQQHAAB1AAAACUEJAAAKAQcHAABwAAAACgoAAABAPwlCCQAACUMJAAABAAAA/v///wAAAAABAAAAAAAAAAAAAAABAAAAAAAAAAAAAAEIBwAAcQAAAAoKCUQJAAAJRQkAAAEAAAD+////AAAAAP////8BAAEMBwAAdQAAAAlGCQAACgcTBwAAAAEAAAAEAAAABBxBcGxvcmlzLkJhc2UuVUkuVmlzdWFsT2JqZWN0AwAAAAkvBQAACS4FAAAKCgEaBwAAIwAAAAoKAAAAAAAoQQl2AAAACXcAAAAJRwkAAAAACUgJAAABGwcAAHgAAAAKCgAAAAByhIwABgAAAAABASAHAACtAAAACUkJAAABAAAAAwAAAAEhBwAAdQAAAAlKCQAACgEkBwAAcAAAAAoKAAAAQD8JSwkAAAlMCQAAAQAAAP7///8AAAAAAQAAAAAAAAAAAAAAAQAAAAAAAAAAAAABJQcAAHEAAAAKCglNCQAACU4JAAABAAAA/v///wAAAAD/////AQABKQcAAHUAAAAJTwkAAAoHMAcAAAABAAAABAAAAAQcQXBsb3Jpcy5CYXNlLlVJLlZpc3VhbE9iamVjdAMAAAAJNgUAAAk1BQAACgoBNwcAACMAAAAKCgAAAAAAKEEJdgAAAAl3AAAACVAJAAAAAAlRCQAAATgHAAB4AAAACgoAAAAAcoSMAAYAAAAAAQE9BwAArQAAAAlSCQAAAQAAAAMAAAABPgcAAHUAAAAJUwkAAAoBQQcAAHAAAAAKCgAAAEA/CVQJAAAJVQkAAAEAAAD+////AAAAAAEAAAAAAAAAAAAAAAEAAAAAAAAAAAAAAUIHAABxAAAACgoJVgkAAAlXCQAAAQAAAP7///8AAAAA/////wEAAUYHAAB1AAAACVgJAAAKB00HAAAAAQAAAAQAAAAEHEFwbG9yaXMuQmFzZS5VSS5WaXN1YWxPYmplY3QDAAAACT0FAAAJPAUAAAoKAVQHAAAjAAAACgoAAAAAAChBCXYAAAAJdwAAAAlZCQAAAAAJWgkAAAFVBwAAeAAAAAoKAAAAAHKEjAAGAAAAAAEBWgcAAK0AAAAJWwkAAAEAAAADAAAAAVsHAAB1AAAACVwJAAAKAV4HAABwAAAACgoAAABAPwldCQAACV4JAAABAAAA/v///wAAAAABAAAAAAAAAAAAAAABAAAAAAAAAAAAAAFfBwAAcQAAAAoKCV8JAAAJYAkAAAEAAAD+////AAAAAP////8BAAFjBwAAdQAAAAlhCQAACgdqBwAAAAEAAAAEAAAABBxBcGxvcmlzLkJhc2UuVUkuVmlzdWFsT2JqZWN0AwAAAAlEBQAACUMFAAAKCgFxBwAAIwAAAAoKAAAAAAAoQQl2AAAACXcAAAAJYgkAAAAACWMJAAABcgcAAHgAAAAKCgAAAAByhIwABgAAAAABAXcHAACtAAAACWQJAAABAAAAAwAAAAF4BwAAdQAAAAllCQAACgF7BwAAcAAAAAoKAAAAQD8JZgkAAAlnCQAAAQAAAP7///8AAAAAAQAAAAAAAAAAAAAAAQAAAAAAAAAAAAABfAcAAHEAAAAKCgloCQAACWkJAAABAAAA/v///wAAAAD/////AQABgAcAAHUAAAAJagkAAAoHhwcAAAABAAAABAAAAAQcQXBsb3Jpcy5CYXNlLlVJLlZpc3VhbE9iamVjdAMAAAAJSwUAAAlKBQAACgoBjgcAACMAAAAKCgAAAAAAKEEJdgAAAAl3AAAACWsJAAAAAAlsCQAAAY8HAAB4AAAACgoAAAAAcoSMAAYAAAAAAQGUBwAArQAAAAltCQAAAQAAAAMAAAABlQcAAHUAAAAJbgkAAAoBmAcAAHAAAAAKCgAAAEA/CW8JAAAJcAkAAAEAAAD+////AAAAAAEAAAAAAAAAAAAAAAEAAAAAAAAAAAAAAZkHAABxAAAACgoJcQkAAAlyCQAAAQAAAP7///8AAAAA/////wEAAZ0HAAB1AAAACXMJAAAKB6QHAAAAAQAAAAQAAAAEHEFwbG9yaXMuQmFzZS5VSS5WaXN1YWxPYmplY3QDAAAACVIFAAAJUQUAAAoKAasHAAAjAAAACgoAAAAAAChBCXYAAAAJdwAAAAl0CQAAAAAJdQkAAAGsBwAAeAAAAAoKAAAAAHKEjAAGAAAAAAEBsQcAAK0AAAAJdgkAAAEAAAADAAAAAbIHAAB1AAAACXcJAAAKAbUHAABwAAAACgoAAABAPwl4CQAACXkJAAABAAAA/v///wAAAAABAAAAAAAAAAAAAAABAAAAAAAAAAAAAAG2BwAAcQAAAAoKCXoJAAAJewkAAAEAAAD+////AAAAAP////8BAAG6BwAAdQAAAAl8CQAACgfBBwAAAAEAAAAEAAAABBxBcGxvcmlzLkJhc2UuVUkuVmlzdWFsT2JqZWN0AwAAAAlZBQAACVgFAAAKCgHIBwAAIwAAAAoKAAAAAAAoQQl2AAAACXcAAAAJfQkAAAAACX4JAAAByQcAAHgAAAAKCgAAAAByhIwABgAAAAABAc4HAACtAAAACX8JAAABAAAAAwAAAAHPBwAAdQAAAAmACQAACgHSBwAAcAAAAAoKAAAAQD8JgQkAAAmCCQAAAQAAAP7///8AAAAAAQAAAAAAAAAAAAAAAQAAAAAAAAAAAAAB0wcAAHEAAAAKCgmDCQAACYQJAAABAAAA/v///wAAAAD/////AQAB1wcAAHUAAAAJhQkAAAoH3gcAAAABAAAABAAAAAQcQXBsb3Jpcy5CYXNlLlVJLlZpc3VhbE9iamVjdAMAAAAJYAUAAAlfBQAACgoB5QcAACMAAAAKCgAAAAAAKEEJdgAAAAl3AAAACYYJAAAAAAmHCQAAAeYHAAB4AAAACgoAAAAA7SElAAcAAAAAAQHrBwAArQAAAAmICQAAAQAAAAEAAAAB7AcAAHUAAAAJiQkAAAoB7wcAAHAAAAAKCgAAAEA/CYoJAAAJiwkAAAEAAAD+////AAAAAAEAAAAAAAAAAAAAAAEAAAAAAAAAAAAAAfAHAABxAAAACgoJjAkAAAmNCQAAAQAAAP7///8AAAAA/////wEAAfQHAAB1AAAACY4JAAAKB/sHAAAAAQAAAAQAAAAEHEFwbG9yaXMuQmFzZS5VSS5WaXN1YWxPYmplY3QDAAAACWcFAAAJZgUAAAoKAQIIAAAjAAAACgoAAAAAAChBCXYAAAAJdwAAAAmPCQAAAAAJkAkAAAEDCAAAeAAAAAoKAAAAAO0hJQAHAAAAAAEBCAgAAK0AAAAJkQkAAAEAAAADAAAAAQkIAAB1AAAACZIJAAAKAQwIAABwAAAACgoAAABAPwmTCQAACZQJAAABAAAA/v///wAAAAABAAAAAAAAAAAAAAABAAAAAAAAAAAAAAENCAAAcQAAAAoKCZUJAAAJlgkAAAEAAAD+////AAAAAP////8BAAERCAAAdQAAAAmXCQAACgcYCAAAAAEAAAAEAAAABBxBcGxvcmlzLkJhc2UuVUkuVmlzdWFsT2JqZWN0AwAAAAluBQAACW0FAAAKCgEfCAAAIwAAAAoKAAAAAAAoQQl2AAAACXcAAAAJmAkAAAAACZkJAAABIAgAAHgAAAAKCgAAAADtISUABwAAAAAAASUIAACtAAAACZoJAAABAAAAAwAAAAEmCAAAdQAAAAmbCQAACgEpCAAAcAAAAAoKAAAAQD8JnAkAAAmdCQAAAQAAAP7///8AAAAAAQAAAAAAAAAAAAAAAQAAAAAAAAAAAAABKggAAHEAAAAKCgmeCQAACZ8JAAABAAAA/v///wAAAAD/////AQABLggAAHUAAAAJoAkAAAoHNQgAAAABAAAABAAAAAQcQXBsb3Jpcy5CYXNlLlVJLlZpc3VhbE9iamVjdAMAAAAJdQUAAAl0BQAACgoBPAgAACMAAAAKCgAAAAAAKEEJdgAAAAl3AAAACaEJAAAAAAmiCQAAAT0IAAB4AAAACgoAAAAA7SElAAcAAAAAAQFCCAAArQAAAAmjCQAAAQAAAAMAAAABQwgAAHUAAAAJpAkAAAoBRggAAHAAAAAKCgAAAEA/CaUJAAAJpgkAAAEAAAD+////AAAAAAEAAAAAAAAAAAAAAAEAAAAAAAAAAAAAAUcIAABxAAAACgoJpwkAAAmoCQAAAQAAAP7///8AAAAA/////wEAAUsIAAB1AAAACakJAAAKB1IIAAAAAQAAAAQAAAAEHEFwbG9yaXMuQmFzZS5VSS5WaXN1YWxPYmplY3QDAAAACXwFAAAJewUAAAoKAVkIAAAjAAAACgoAAAAAAChBCXYAAAAJdwAAAAmqCQAAAAAJqwkAAAFaCAAAeAAAAAoKAAAAAO0hJQAHAAAAAAABXwgAAK0AAAAJrAkAAAEAAAADAAAAAWAIAAB1AAAACa0JAAAKAWMIAABwAAAACgoAAABAPwmuCQAACa8JAAABAAAA/v///wAAAAABAAAAAAAAAAAAAAABAAAAAAAAAAAAAAFkCAAAcQAAAAoKCbAJAAAJsQkAAAEAAAD+////AAAAAP////8BAAFoCAAAdQAAAAmyCQAACgdvCAAAAAEAAAAEAAAABBxBcGxvcmlzLkJhc2UuVUkuVmlzdWFsT2JqZWN0AwAAAAmDBQAACYIFAAAKCgF2CAAAIwAAAAoKAAAAAAAoQQl2AAAACXcAAAAJswkAAAAACbQJAAABdwgAAHgAAAAKCgAAAADtISUABwAAAAABAXwIAACtAAAACbUJAAABAAAAAwAAAAF9CAAAdQAAAAm2CQAACgGACAAAcAAAAAoKAAAAQD8JtwkAAAm4CQAAAQAAAP7///8AAAAAAQAAAAAAAAAAAAAAAQAAAAAAAAAAAAABgQgAAHEAAAAKCgm5CQAACboJAAABAAAA/v///wAAAAD/////AQABhQgAAHUAAAAJuwkAAAoHjAgAAAABAAAABAAAAAQcQXBsb3Jpcy5CYXNlLlVJLlZpc3VhbE9iamVjdAMAAAAJigUAAAmJBQAACgoBkwgAACMAAAAKCgAAAAAAKEEJdgAAAAl3AAAACbwJAAAAAAm9CQAAAZQIAAB4AAAACgoAAAAA7SElAAcAAAAAAQGZCAAArQAAAAm+CQAAAQAAAAMAAAABmggAAHUAAAAJvwkAAAoBnQgAAHAAAAAKCgAAAEA/CcAJAAAJwQkAAAEAAAD+////AAAAAAEAAAAAAAAAAAAAAAEAAAAAAAAAAAAAAZ4IAABxAAAACgoJwgkAAAnDCQAAAQAAAP7///8AAAAA/////wEAAaIIAAB1AAAACcQJAAAKB6kIAAAAAQAAAAQAAAAEHEFwbG9yaXMuQmFzZS5VSS5WaXN1YWxPYmplY3QDAAAACZEFAAAJkAUAAAoKAbAIAAAjAAAACgoAAAAAAChBCXYAAAAJdwAAAAnFCQAAAAAJxgkAAAGxCAAAeAAAAAoKAAAAAO0hJQAHAAAAAAABtggAAK0AAAAJxwkAAAEAAAADAAAAAbcIAAB1AAAACcgJAAAKAboIAABwAAAACgoAAABAPwnJCQAACcoJAAABAAAA/v///wAAAAABAAAAAAAAAAAAAAABAAAAAAAAAAAAAAG7CAAAcQAAAAoKCcsJAAAJzAkAAAEAAAD+////AAAAAP////8BAAG/CAAAdQAAAAnNCQAACgfGCAAAAAEAAAAEAAAABBxBcGxvcmlzLkJhc2UuVUkuVmlzdWFsT2JqZWN0AwAAAAmYBQAACZcFAAAKCgHNCAAAIwAAAAoKAAAAAAAoQQl2AAAACXcAAAAJzgkAAAAACc8JAAABzggAAHgAAAAKCgAAAADtISUABwAAAAABAdMIAACtAAAACdAJAAABAAAAAwAAAAHUCAAAdQAAAAnRCQAACgHXCAAAcAAAAAoKAAAAQD8J0gkAAAnTCQAAAQAAAP7///8AAAAAAQAAAAAAAAAAAAAAAQAAAAAAAAAAAAAB2AgAAHEAAAAKCgnUCQAACdUJAAABAAAA/v///wAAAAD/////AQAB3AgAAHUAAAAJ1gkAAAoH4wgAAAABAAAABAAAAAQcQXBsb3Jpcy5CYXNlLlVJLlZpc3VhbE9iamVjdAMAAAAJnwUAAAmeBQAACgoB5AgAAHgAAAAKCgAAAAD///8ADgAAAAAAAeUIAAB4AAAACgoAAAAA////AA4AAAAAAQfmCAAAAAEAAAAEAAAABB1BcGxvcmlzLkJhc2UuT2JqZWN0cy5WYXJpYWJsZQMAAAAB1wkAADsEAAABAAAAAAAAAAHYCQAAOwQAAAAAAAAAAAAAAdkJAAA7BAAAAAAAAAAAAAAB2gkAADsEAAAAAAAAAAAAAA/nCAAAAQAAAAhrAgAABegIAAAaQXBsb3Jpcy5CYXNlLk9iamVjdHMuQ29sb3IHAAAAEkRhdGFPYmplY3QrbVBhcmVudBVEYXRhT2JqZWN0K21Db250YWluZXIFbVR5cGUEbVJHQhBtVGhlbWVDb2xvckluZGV4DG1BdXRvVXBkYXRlZAltTW9kaWZpZWQEAgAAAAAAH0FwbG9yaXMuQmFzZS5PYmplY3RzLkxpbmVGb3JtYXQDAAAACAgIAQEDAAAACeUFAAAKAAAAAP///wAOAAAAAAAF6QgAABpBcGxvcmlzLkJhc2UuT2JqZWN0cy5Db2xvcgcAAAASRGF0YU9iamVjdCttUGFyZW50FURhdGFPYmplY3QrbUNvbnRhaW5lcgVtVHlwZQRtUkdCEG1UaGVtZUNvbG9ySW5kZXgMbUF1dG9VcGRhdGVkCW1Nb2RpZmllZAQCAAAAAAAfQXBsb3Jpcy5CYXNlLk9iamVjdHMuTGluZUZvcm1hdAMAAAAICAgBAQMAAAAJ5QUAAAoBAAAAAAAAAP////8AAQHqCAAAeAAAAAoKAAAAAD9pfgAFAAAAAAAB6wgAAHgAAAAKCgEAAAD///8A/////wAAD+wIAAABAAAACFQCAAAB7QgAAHgAAAAKCgAAAAD///8ADgAAAAAAAe4IAAB4AAAACgoAAAAA////AA4AAAAAAQfvCAAAAAEAAAAEAAAABB1BcGxvcmlzLkJhc2UuT2JqZWN0cy5WYXJpYWJsZQMAAAAB2wkAADsEAAABAAAAAAAAAAHcCQAAOwQAAAAAAAAAAAAAAd0JAAA7BAAAAAAAAAAAAAAB3gkAADsEAAAAAAAAAAAAAA/wCAAAAQAAAAhqAgAABfEIAAAaQXBsb3Jpcy5CYXNlLk9iamVjdHMuQ29sb3IHAAAAEkRhdGFPYmplY3QrbVBhcmVudBVEYXRhT2JqZWN0K21Db250YWluZXIFbVR5cGUEbVJHQhBtVGhlbWVDb2xvckluZGV4DG1BdXRvVXBkYXRlZAltTW9kaWZpZWQEAgAAAAAAH0FwbG9yaXMuQmFzZS5PYmplY3RzLkxpbmVGb3JtYXQDAAAACAgIAQEDAAAACQIGAAAKAAAAAP///wAOAAAAAAAF8ggAABpBcGxvcmlzLkJhc2UuT2JqZWN0cy5Db2xvcgcAAAASRGF0YU9iamVjdCttUGFyZW50FURhdGFPYmplY3QrbUNvbnRhaW5lcgVtVHlwZQRtUkdCEG1UaGVtZUNvbG9ySW5kZXgMbUF1dG9VcGRhdGVkCW1Nb2RpZmllZAQCAAAAAAAfQXBsb3Jpcy5CYXNlLk9iamVjdHMuTGluZUZvcm1hdAMAAAAICAgBAQMAAAAJAgYAAAoBAAAAAAAAAP////8AAQHzCAAAeAAAAAoKAAAAAD9pfgAFAAAAAAAB9AgAAHgAAAAKCgEAAAD///8A/////wAAD/UIAAABAAAACFoCAAAB9ggAAHgAAAAKCgAAAAD///8ADgAAAAAAAfcIAAB4AAAACgoAAAAA////AA4AAAAAAQf4CAAAAAEAAAAEAAAABB1BcGxvcmlzLkJhc2UuT2JqZWN0cy5WYXJpYWJsZQMAAAAB3wkAADsEAAABAAAAAAAAAAHgCQAAOwQAAAAAAAAAAAAAAeEJAAA7BAAAAAAAAAAAAAAB4gkAADsEAAAAAAAAAAAAAA/5CAAAAQAAAAhwAgAABfoIAAAaQXBsb3Jpcy5CYXNlLk9iamVjdHMuQ29sb3IHAAAAEkRhdGFPYmplY3QrbVBhcmVudBVEYXRhT2JqZWN0K21Db250YWluZXIFbVR5cGUEbVJHQhBtVGhlbWVDb2xvckluZGV4DG1BdXRvVXBkYXRlZAltTW9kaWZpZWQEAgAAAAAAH0FwbG9yaXMuQmFzZS5PYmplY3RzLkxpbmVGb3JtYXQDAAAACAgIAQEDAAAACR8GAAAKAAAAAP///wAOAAAAAAAF+wgAABpBcGxvcmlzLkJhc2UuT2JqZWN0cy5Db2xvcgcAAAASRGF0YU9iamVjdCttUGFyZW50FURhdGFPYmplY3QrbUNvbnRhaW5lcgVtVHlwZQRtUkdCEG1UaGVtZUNvbG9ySW5kZXgMbUF1dG9VcGRhdGVkCW1Nb2RpZmllZAQCAAAAAAAfQXBsb3Jpcy5CYXNlLk9iamVjdHMuTGluZUZvcm1hdAMAAAAICAgBAQMAAAAJHwYAAAoBAAAAAAAAAP////8AAQH8CAAAeAAAAAoKAAAAAD9pfgAFAAAAAAAB/QgAAHgAAAAKCgEAAAD///8A/////wAAD/4IAAABAAAACFkCAAAB/wgAAHgAAAAKCgAAAAD///8ADgAAAAAAAQAJAAB4AAAACgoAAAAA////AA4AAAAAAQcBCQAAAAEAAAAEAAAABB1BcGxvcmlzLkJhc2UuT2JqZWN0cy5WYXJpYWJsZQMAAAAB4wkAADsEAAABAAAAAAAAAAHkCQAAOwQAAAAAAAAAAAAAAeUJAAA7BAAAAAAAAAAAAAAB5gkAADsEAAAAAAAAAAAAAA8CCQAAAQAAAAhuAgAABQMJAAAaQXBsb3Jpcy5CYXNlLk9iamVjdHMuQ29sb3IHAAAAEkRhdGFPYmplY3QrbVBhcmVudBVEYXRhT2JqZWN0K21Db250YWluZXIFbVR5cGUEbVJHQhBtVGhlbWVDb2xvckluZGV4DG1BdXRvVXBkYXRlZAltTW9kaWZpZWQEAgAAAAAAH0FwbG9yaXMuQmFzZS5PYmplY3RzLkxpbmVGb3JtYXQDAAAACAgIAQEDAAAACTwGAAAKAAAAAP///wAOAAAAAAAFBAkAABpBcGxvcmlzLkJhc2UuT2JqZWN0cy5Db2xvcgcAAAASRGF0YU9iamVjdCttUGFyZW50FURhdGFPYmplY3QrbUNvbnRhaW5lcgVtVHlwZQRtUkdCEG1UaGVtZUNvbG9ySW5kZXgMbUF1dG9VcGRhdGVkCW1Nb2RpZmllZAQCAAAAAAAfQXBsb3Jpcy5CYXNlLk9iamVjdHMuTGluZUZvcm1hdAMAAAAICAgBAQMAAAAJPAYAAAoBAAAAAAAAAP////8AAQEFCQAAeAAAAAoKAAAAAD9pfgAFAAAAAAABBgkAAHgAAAAKCgEAAAD///8A/////wAADwcJAAABAAAACFwCAAABCAkAAHgAAAAKCgAAAAD///8ADgAAAAAAAQkJAAB4AAAACgoAAAAA////AA4AAAAAAQcKCQAAAAEAAAAEAAAABB1BcGxvcmlzLkJhc2UuT2JqZWN0cy5WYXJpYWJsZQMAAAAB5wkAADsEAAABAAAAAAAAAAHoCQAAOwQAAAAAAAAAAAAAAekJAAA7BAAAAAAAAAAAAAAB6gkAADsEAAAAAAAAAAAAAA8LCQAAAQAAAAhvAgAABQwJAAAaQXBsb3Jpcy5CYXNlLk9iamVjdHMuQ29sb3IHAAAAEkRhdGFPYmplY3QrbVBhcmVudBVEYXRhT2JqZWN0K21Db250YWluZXIFbVR5cGUEbVJHQhBtVGhlbWVDb2xvckluZGV4DG1BdXRvVXBkYXRlZAltTW9kaWZpZWQEAgAAAAAAH0FwbG9yaXMuQmFzZS5PYmplY3RzLkxpbmVGb3JtYXQDAAAACAgIAQEDAAAACVkGAAAKAAAAAP///wAOAAAAAAAFDQkAABpBcGxvcmlzLkJhc2UuT2JqZWN0cy5Db2xvcgcAAAASRGF0YU9iamVjdCttUGFyZW50FURhdGFPYmplY3QrbUNvbnRhaW5lcgVtVHlwZQRtUkdCEG1UaGVtZUNvbG9ySW5kZXgMbUF1dG9VcGRhdGVkCW1Nb2RpZmllZAQCAAAAAAAfQXBsb3Jpcy5CYXNlLk9iamVjdHMuTGluZUZvcm1hdAMAAAAICAgBAQMAAAAJWQYAAAoBAAAAAAAAAP////8AAQEOCQAAeAAAAAoKAAAAAD9pfgAFAAAAAAABDwkAAHgAAAAKCgEAAAD///8A/////wAADxAJAAABAAAACFsCAAABEQkAAHgAAAAKCgAAAAD///8ADgAAAAAAARIJAAB4AAAACgoAAAAA////AA4AAAAAAQcTCQAAAAEAAAAEAAAABB1BcGxvcmlzLkJhc2UuT2JqZWN0cy5WYXJpYWJsZQMAAAAB6wkAADsEAAABAAAAAAAAAAHsCQAAOwQAAAAAAAAAAAAAAe0JAAA7BAAAAAAAAAAAAAAB7gkAADsEAAAAAAAAAAAAAA8UCQAAAQAAAAhxAgAABRUJAAAaQXBsb3Jpcy5CYXNlLk9iamVjdHMuQ29sb3IHAAAAEkRhdGFPYmplY3QrbVBhcmVudBVEYXRhT2JqZWN0K21Db250YWluZXIFbVR5cGUEbVJHQhBtVGhlbWVDb2xvckluZGV4DG1BdXRvVXBkYXRlZAltTW9kaWZpZWQEAgAAAAAAH0FwbG9yaXMuQmFzZS5PYmplY3RzLkxpbmVGb3JtYXQDAAAACAgIAQEDAAAACXYGAAAKAAAAAP///wAOAAAAAAAFFgkAABpBcGxvcmlzLkJhc2UuT2JqZWN0cy5Db2xvcgcAAAASRGF0YU9iamVjdCttUGFyZW50FURhdGFPYmplY3QrbUNvbnRhaW5lcgVtVHlwZQRtUkdCEG1UaGVtZUNvbG9ySW5kZXgMbUF1dG9VcGRhdGVkCW1Nb2RpZmllZAQCAAAAAAAfQXBsb3Jpcy5CYXNlLk9iamVjdHMuTGluZUZvcm1hdAMAAAAICAgBAQMAAAAJdgYAAAoBAAAAAAAAAP////8AAQEXCQAAeAAAAAoKAAAAAD9pfgAFAAAAAAABGAkAAHgAAAAKCgEAAAD///8A/////wAADxkJAAABAAAACFgCAAABGgkAAHgAAAAKCgAAAAD///8ADgAAAAAAARsJAAB4AAAACgoAAAAA////AA4AAAAAAQccCQAAAAEAAAAEAAAABB1BcGxvcmlzLkJhc2UuT2JqZWN0cy5WYXJpYWJsZQMAAAAB7wkAADsEAAABAAAAAAAAAAHwCQAAOwQAAAAAAAAAAAAAAfEJAAA7BAAAAAAAAAAAAAAB8gkAADsEAAAAAAAAAAAAAA8dCQAAAQAAAAhyAgAABR4JAAAaQXBsb3Jpcy5CYXNlLk9iamVjdHMuQ29sb3IHAAAAEkRhdGFPYmplY3QrbVBhcmVudBVEYXRhT2JqZWN0K21Db250YWluZXIFbVR5cGUEbVJHQhBtVGhlbWVDb2xvckluZGV4DG1BdXRvVXBkYXRlZAltTW9kaWZpZWQEAgAAAAAAH0FwbG9yaXMuQmFzZS5PYmplY3RzLkxpbmVGb3JtYXQDAAAACAgIAQEDAAAACZMGAAAKAAAAAP///wAOAAAAAAAFHwkAABpBcGxvcmlzLkJhc2UuT2JqZWN0cy5Db2xvcgcAAAASRGF0YU9iamVjdCttUGFyZW50FURhdGFPYmplY3QrbUNvbnRhaW5lcgVtVHlwZQRtUkdCEG1UaGVtZUNvbG9ySW5kZXgMbUF1dG9VcGRhdGVkCW1Nb2RpZmllZAQCAAAAAAAfQXBsb3Jpcy5CYXNlLk9iamVjdHMuTGluZUZvcm1hdAMAAAAICAgBAQMAAAAJkwYAAAoBAAAAAAAAAP////8AAQEgCQAAeAAAAAoKAAAAAD9pfgAFAAAAAAABIQkAAHgAAAAKCgEAAAD///8A/////wAADyIJAAABAAAACFYCAAABIwkAAHgAAAAKCgAAAAD///8ADgAAAAAAASQJAAB4AAAACgoAAAAA////AA4AAAAAAQclCQAAAAEAAAAEAAAABB1BcGxvcmlzLkJhc2UuT2JqZWN0cy5WYXJpYWJsZQMAAAAB8wkAADsEAAABAAAAAAAAAAH0CQAAOwQAAAAAAAAAAAAAAfUJAAA7BAAAAAAAAAAAAAAB9gkAADsEAAAAAAAAAAAAAA8mCQAAAQAAAAhtAgAABScJAAAaQXBsb3Jpcy5CYXNlLk9iamVjdHMuQ29sb3IHAAAAEkRhdGFPYmplY3QrbVBhcmVudBVEYXRhT2JqZWN0K21Db250YWluZXIFbVR5cGUEbVJHQhBtVGhlbWVDb2xvckluZGV4DG1BdXRvVXBkYXRlZAltTW9kaWZpZWQEAgAAAAAAH0FwbG9yaXMuQmFzZS5PYmplY3RzLkxpbmVGb3JtYXQDAAAACAgIAQEDAAAACbAGAAAKAAAAAP///wAOAAAAAAAFKAkAABpBcGxvcmlzLkJhc2UuT2JqZWN0cy5Db2xvcgcAAAASRGF0YU9iamVjdCttUGFyZW50FURhdGFPYmplY3QrbUNvbnRhaW5lcgVtVHlwZQRtUkdCEG1UaGVtZUNvbG9ySW5kZXgMbUF1dG9VcGRhdGVkCW1Nb2RpZmllZAQCAAAAAAAfQXBsb3Jpcy5CYXNlLk9iamVjdHMuTGluZUZvcm1hdAMAAAAICAgBAQMAAAAJsAYAAAoBAAAAAAAAAP////8AAQEpCQAAeAAAAAoKAAAAAD9pfgAFAAAAAAABKgkAAHgAAAAKCgEAAAD///8A/////wAADysJAAABAAAACFUCAAABLAkAAHgAAAAKCgAAAAD///8ADgAAAAAAAS0JAAB4AAAACgoAAAAA////AA4AAAAAAQcuCQAAAAEAAAAEAAAABB1BcGxvcmlzLkJhc2UuT2JqZWN0cy5WYXJpYWJsZQMAAAAB9wkAADsEAAABAAAAAAAAAAH4CQAAOwQAAAAAAAAAAAAAAfkJAAA7BAAAAAAAAAAAAAAB+gkAADsEAAAAAAAAAAAAAA8vCQAAAQAAAAhsAgAABTAJAAAaQXBsb3Jpcy5CYXNlLk9iamVjdHMuQ29sb3IHAAAAEkRhdGFPYmplY3QrbVBhcmVudBVEYXRhT2JqZWN0K21Db250YWluZXIFbVR5cGUEbVJHQhBtVGhlbWVDb2xvckluZGV4DG1BdXRvVXBkYXRlZAltTW9kaWZpZWQEAgAAAAAAH0FwbG9yaXMuQmFzZS5PYmplY3RzLkxpbmVGb3JtYXQDAAAACAgIAQEDAAAACc0GAAAKAAAAAP///wAOAAAAAAAFMQkAABpBcGxvcmlzLkJhc2UuT2JqZWN0cy5Db2xvcgcAAAASRGF0YU9iamVjdCttUGFyZW50FURhdGFPYmplY3QrbUNvbnRhaW5lcgVtVHlwZQRtUkdCEG1UaGVtZUNvbG9ySW5kZXgMbUF1dG9VcGRhdGVkCW1Nb2RpZmllZAQCAAAAAAAfQXBsb3Jpcy5CYXNlLk9iamVjdHMuTGluZUZvcm1hdAMAAAAICAgBAQMAAAAJzQYAAAoBAAAAAAAAAP////8AAQEyCQAAeAAAAAoKAAAAAD9pfgAFAAAAAAABMwkAAHgAAAAKCgEAAAD///8A/////wAADzQJAAABAAAACFcCAAABNQkAAHgAAAAKCgAAAAD///8ADgAAAAAAATYJAAB4AAAACgoAAAAA////AA4AAAAAAQc3CQAAAAEAAAAEAAAABB1BcGxvcmlzLkJhc2UuT2JqZWN0cy5WYXJpYWJsZQMAAAAB+wkAADsEAAABAAAAAAAAAAH8CQAAOwQAAAAAAAAAAAAAAf0JAAA7BAAAAAAAAAAAAAAB/gkAADsEAAAAAAAAAAAAAA84CQAAAQAAAAg1AgAABTkJAAAaQXBsb3Jpcy5CYXNlLk9iamVjdHMuQ29sb3IHAAAAEkRhdGFPYmplY3QrbVBhcmVudBVEYXRhT2JqZWN0K21Db250YWluZXIFbVR5cGUEbVJHQhBtVGhlbWVDb2xvckluZGV4DG1BdXRvVXBkYXRlZAltTW9kaWZpZWQEAgAAAAAAH0FwbG9yaXMuQmFzZS5PYmplY3RzLkxpbmVGb3JtYXQDAAAACAgIAQEDAAAACeoGAAAKAAAAAP///wAOAAAAAAAFOgkAABpBcGxvcmlzLkJhc2UuT2JqZWN0cy5Db2xvcgcAAAASRGF0YU9iamVjdCttUGFyZW50FURhdGFPYmplY3QrbUNvbnRhaW5lcgVtVHlwZQRtUkdCEG1UaGVtZUNvbG9ySW5kZXgMbUF1dG9VcGRhdGVkCW1Nb2RpZmllZAQCAAAAAAAfQXBsb3Jpcy5CYXNlLk9iamVjdHMuTGluZUZvcm1hdAMAAAAICAgBAQMAAAAJ6gYAAAoBAAAAAAAAAP////8AAQE7CQAAeAAAAAoKAAAAAHKEjAAGAAAAAAABPAkAAHgAAAAKCgEAAAD///8A/////wAADz0JAAABAAAACAUCAAABPgkAAHgAAAAKCgAAAAD///8ADgAAAAAAAT8JAAB4AAAACgoAAAAA////AA4AAAAAAQdACQAAAAEAAAAEAAAABB1BcGxvcmlzLkJhc2UuT2JqZWN0cy5WYXJpYWJsZQMAAAAB/wkAADsEAAABAAAAAAAAAAEACgAAOwQAAAAAAAAAAAAAAQEKAAA7BAAAAAAAAAAAAAABAgoAADsEAAAAAAAAAAAAAA9BCQAAAQAAAAgyAgAABUIJAAAaQXBsb3Jpcy5CYXNlLk9iamVjdHMuQ29sb3IHAAAAEkRhdGFPYmplY3QrbVBhcmVudBVEYXRhT2JqZWN0K21Db250YWluZXIFbVR5cGUEbVJHQhBtVGhlbWVDb2xvckluZGV4DG1BdXRvVXBkYXRlZAltTW9kaWZpZWQEAgAAAAAAH0FwbG9yaXMuQmFzZS5PYmplY3RzLkxpbmVGb3JtYXQDAAAACAgIAQEDAAAACQcHAAAKAAAAAP///wAOAAAAAAAFQwkAABpBcGxvcmlzLkJhc2UuT2JqZWN0cy5Db2xvcgcAAAASRGF0YU9iamVjdCttUGFyZW50FURhdGFPYmplY3QrbUNvbnRhaW5lcgVtVHlwZQRtUkdCEG1UaGVtZUNvbG9ySW5kZXgMbUF1dG9VcGRhdGVkCW1Nb2RpZmllZAQCAAAAAAAfQXBsb3Jpcy5CYXNlLk9iamVjdHMuTGluZUZvcm1hdAMAAAAICAgBAQMAAAAJBwcAAAoBAAAAAAAAAP////8AAQFECQAAeAAAAAoKAAAAAHKEjAAGAAAAAAABRQkAAHgAAAAKCgEAAAD///8A/////wAAD0YJAAABAAAACAQCAAABRwkAAHgAAAAKCgAAAAD///8ADgAAAAAAAUgJAAB4AAAACgoAAAAA////AA4AAAAAAQdJCQAAAAEAAAAEAAAABB1BcGxvcmlzLkJhc2UuT2JqZWN0cy5WYXJpYWJsZQMAAAABAwoAADsEAAABAAAAAAAAAAEECgAAOwQAAAAAAAAAAAAAAQUKAAA7BAAAAAAAAAAAAAABBgoAADsEAAAAAAAAAAAAAA9KCQAAAQAAAAg2AgAABUsJAAAaQXBsb3Jpcy5CYXNlLk9iamVjdHMuQ29sb3IHAAAAEkRhdGFPYmplY3QrbVBhcmVudBVEYXRhT2JqZWN0K21Db250YWluZXIFbVR5cGUEbVJHQhBtVGhlbWVDb2xvckluZGV4DG1BdXRvVXBkYXRlZAltTW9kaWZpZWQEAgAAAAAAH0FwbG9yaXMuQmFzZS5PYmplY3RzLkxpbmVGb3JtYXQDAAAACAgIAQEDAAAACSQHAAAKAAAAAP///wAOAAAAAAAFTAkAABpBcGxvcmlzLkJhc2UuT2JqZWN0cy5Db2xvcgcAAAASRGF0YU9iamVjdCttUGFyZW50FURhdGFPYmplY3QrbUNvbnRhaW5lcgVtVHlwZQRtUkdCEG1UaGVtZUNvbG9ySW5kZXgMbUF1dG9VcGRhdGVkCW1Nb2RpZmllZAQCAAAAAAAfQXBsb3Jpcy5CYXNlLk9iamVjdHMuTGluZUZvcm1hdAMAAAAICAgBAQMAAAAJJAcAAAoBAAAAAAAAAP////8AAQFNCQAAeAAAAAoKAAAAAHKEjAAGAAAAAAABTgkAAHgAAAAKCgEAAAD///8A/////wAAD08JAAABAAAACAcCAAABUAkAAHgAAAAKCgAAAAD///8ADgAAAAAAAVEJAAB4AAAACgoAAAAA////AA4AAAAAAQdSCQAAAAEAAAAEAAAABB1BcGxvcmlzLkJhc2UuT2JqZWN0cy5WYXJpYWJsZQMAAAABBwoAADsEAAABAAAAAAAAAAEICgAAOwQAAAAAAAAAAAAAAQkKAAA7BAAAAAAAAAAAAAABCgoAADsEAAAAAAAAAAAAAA9TCQAAAQAAAAg5AgAABVQJAAAaQXBsb3Jpcy5CYXNlLk9iamVjdHMuQ29sb3IHAAAAEkRhdGFPYmplY3QrbVBhcmVudBVEYXRhT2JqZWN0K21Db250YWluZXIFbVR5cGUEbVJHQhBtVGhlbWVDb2xvckluZGV4DG1BdXRvVXBkYXRlZAltTW9kaWZpZWQEAgAAAAAAH0FwbG9yaXMuQmFzZS5PYmplY3RzLkxpbmVGb3JtYXQDAAAACAgIAQEDAAAACUEHAAAKAAAAAP///wAOAAAAAAAFVQkAABpBcGxvcmlzLkJhc2UuT2JqZWN0cy5Db2xvcgcAAAASRGF0YU9iamVjdCttUGFyZW50FURhdGFPYmplY3QrbUNvbnRhaW5lcgVtVHlwZQRtUkdCEG1UaGVtZUNvbG9ySW5kZXgMbUF1dG9VcGRhdGVkCW1Nb2RpZmllZAQCAAAAAAAfQXBsb3Jpcy5CYXNlLk9iamVjdHMuTGluZUZvcm1hdAMAAAAICAgBAQMAAAAJQQcAAAoBAAAAAAAAAP////8AAQFWCQAAeAAAAAoKAAAAAHKEjAAGAAAAAAABVwkAAHgAAAAKCgEAAAD///8A/////wAAD1gJAAABAAAACAYCAAABWQkAAHgAAAAKCgAAAAD///8ADgAAAAAAAVoJAAB4AAAACgoAAAAA////AA4AAAAAAQdbCQAAAAEAAAAEAAAABB1BcGxvcmlzLkJhc2UuT2JqZWN0cy5WYXJpYWJsZQMAAAABCwoAADsEAAABAAAAAAAAAAEMCgAAOwQAAAAAAAAAAAAAAQ0KAAA7BAAAAAAAAAAAAAABDgoAADsEAAAAAAAAAAAAAA9cCQAAAQAAAAg3AgAABV0JAAAaQXBsb3Jpcy5CYXNlLk9iamVjdHMuQ29sb3IHAAAAEkRhdGFPYmplY3QrbVBhcmVudBVEYXRhT2JqZWN0K21Db250YWluZXIFbVR5cGUEbVJHQhBtVGhlbWVDb2xvckluZGV4DG1BdXRvVXBkYXRlZAltTW9kaWZpZWQEAgAAAAAAH0FwbG9yaXMuQmFzZS5PYmplY3RzLkxpbmVGb3JtYXQDAAAACAgIAQEDAAAACV4HAAAKAAAAAP///wAOAAAAAAAFXgkAABpBcGxvcmlzLkJhc2UuT2JqZWN0cy5Db2xvcgcAAAASRGF0YU9iamVjdCttUGFyZW50FURhdGFPYmplY3QrbUNvbnRhaW5lcgVtVHlwZQRtUkdCEG1UaGVtZUNvbG9ySW5kZXgMbUF1dG9VcGRhdGVkCW1Nb2RpZmllZAQCAAAAAAAfQXBsb3Jpcy5CYXNlLk9iamVjdHMuTGluZUZvcm1hdAMAAAAICAgBAQMAAAAJXgcAAAoBAAAAAAAAAP////8AAQFfCQAAeAAAAAoKAAAAAHKEjAAGAAAAAAABYAkAAHgAAAAKCgEAAAD///8A/////wAAD2EJAAABAAAACAMCAAABYgkAAHgAAAAKCgAAAAD///8ADgAAAAAAAWMJAAB4AAAACgoAAAAA////AA4AAAAAAQdkCQAAAAEAAAAEAAAABB1BcGxvcmlzLkJhc2UuT2JqZWN0cy5WYXJpYWJsZQMAAAABDwoAADsEAAABAAAAAAAAAAEQCgAAOwQAAAAAAAAAAAAAAREKAAA7BAAAAAAAAAAAAAABEgoAADsEAAAAAAAAAAAAAA9lCQAAAQAAAAg4AgAABWYJAAAaQXBsb3Jpcy5CYXNlLk9iamVjdHMuQ29sb3IHAAAAEkRhdGFPYmplY3QrbVBhcmVudBVEYXRhT2JqZWN0K21Db250YWluZXIFbVR5cGUEbVJHQhBtVGhlbWVDb2xvckluZGV4DG1BdXRvVXBkYXRlZAltTW9kaWZpZWQEAgAAAAAAH0FwbG9yaXMuQmFzZS5PYmplY3RzLkxpbmVGb3JtYXQDAAAACAgIAQEDAAAACXsHAAAKAAAAAP///wAOAAAAAAAFZwkAABpBcGxvcmlzLkJhc2UuT2JqZWN0cy5Db2xvcgcAAAASRGF0YU9iamVjdCttUGFyZW50FURhdGFPYmplY3QrbUNvbnRhaW5lcgVtVHlwZQRtUkdCEG1UaGVtZUNvbG9ySW5kZXgMbUF1dG9VcGRhdGVkCW1Nb2RpZmllZAQCAAAAAAAfQXBsb3Jpcy5CYXNlLk9iamVjdHMuTGluZUZvcm1hdAMAAAAICAgBAQMAAAAJewcAAAoBAAAAAAAAAP////8AAQFoCQAAeAAAAAoKAAAAAHKEjAAGAAAAAAABaQkAAHgAAAAKCgEAAAD///8A/////wAAD2oJAAABAAAACAACAAABawkAAHgAAAAKCgAAAAD///8ADgAAAAAAAWwJAAB4AAAACgoAAAAA////AA4AAAAAAQdtCQAAAAEAAAAEAAAABB1BcGxvcmlzLkJhc2UuT2JqZWN0cy5WYXJpYWJsZQMAAAABEwoAADsEAAABAAAAAAAAAAEUCgAAOwQAAAAAAAAAAAAAARUKAAA7BAAAAAAAAAAAAAABFgoAADsEAAAAAAAAAAAAAA9uCQAAAQAAAAgtAgAABW8JAAAaQXBsb3Jpcy5CYXNlLk9iamVjdHMuQ29sb3IHAAAAEkRhdGFPYmplY3QrbVBhcmVudBVEYXRhT2JqZWN0K21Db250YWluZXIFbVR5cGUEbVJHQhBtVGhlbWVDb2xvckluZGV4DG1BdXRvVXBkYXRlZAltTW9kaWZpZWQEAgAAAAAAH0FwbG9yaXMuQmFzZS5PYmplY3RzLkxpbmVGb3JtYXQDAAAACAgIAQEDAAAACZgHAAAKAAAAAP///wAOAAAAAAAFcAkAABpBcGxvcmlzLkJhc2UuT2JqZWN0cy5Db2xvcgcAAAASRGF0YU9iamVjdCttUGFyZW50FURhdGFPYmplY3QrbUNvbnRhaW5lcgVtVHlwZQRtUkdCEG1UaGVtZUNvbG9ySW5kZXgMbUF1dG9VcGRhdGVkCW1Nb2RpZmllZAQCAAAAAAAfQXBsb3Jpcy5CYXNlLk9iamVjdHMuTGluZUZvcm1hdAMAAAAICAgBAQMAAAAJmAcAAAoBAAAAAAAAAP////8AAQFxCQAAeAAAAAoKAAAAAHKEjAAGAAAAAAABcgkAAHgAAAAKCgEAAAD///8A/////wAAD3MJAAABAAAACP8BAAABdAkAAHgAAAAKCgAAAAD///8ADgAAAAAAAXUJAAB4AAAACgoAAAAA////AA4AAAAAAQd2CQAAAAEAAAAEAAAABB1BcGxvcmlzLkJhc2UuT2JqZWN0cy5WYXJpYWJsZQMAAAABFwoAADsEAAABAAAAAAAAAAEYCgAAOwQAAAAAAAAAAAAAARkKAAA7BAAAAAAAAAAAAAABGgoAADsEAAAAAAAAAAAAAA93CQAAAQAAAAgqAgAABXgJAAAaQXBsb3Jpcy5CYXNlLk9iamVjdHMuQ29sb3IHAAAAEkRhdGFPYmplY3QrbVBhcmVudBVEYXRhT2JqZWN0K21Db250YWluZXIFbVR5cGUEbVJHQhBtVGhlbWVDb2xvckluZGV4DG1BdXRvVXBkYXRlZAltTW9kaWZpZWQEAgAAAAAAH0FwbG9yaXMuQmFzZS5PYmplY3RzLkxpbmVGb3JtYXQDAAAACAgIAQEDAAAACbUHAAAKAAAAAP///wAOAAAAAAAFeQkAABpBcGxvcmlzLkJhc2UuT2JqZWN0cy5Db2xvcgcAAAASRGF0YU9iamVjdCttUGFyZW50FURhdGFPYmplY3QrbUNvbnRhaW5lcgVtVHlwZQRtUkdCEG1UaGVtZUNvbG9ySW5kZXgMbUF1dG9VcGRhdGVkCW1Nb2RpZmllZAQCAAAAAAAfQXBsb3Jpcy5CYXNlLk9iamVjdHMuTGluZUZvcm1hdAMAAAAICAgBAQMAAAAJtQcAAAoBAAAAAAAAAP////8AAQF6CQAAeAAAAAoKAAAAAHKEjAAGAAAAAAABewkAAHgAAAAKCgEAAAD///8A/////wAAD3wJAAABAAAACAICAAABfQkAAHgAAAAKCgAAAAD///8ADgAAAAAAAX4JAAB4AAAACgoAAAAA////AA4AAAAAAQd/CQAAAAEAAAAEAAAABB1BcGxvcmlzLkJhc2UuT2JqZWN0cy5WYXJpYWJsZQMAAAABGwoAADsEAAABAAAAAAAAAAEcCgAAOwQAAAAAAAAAAAAAAR0KAAA7BAAAAAAAAAAAAAABHgoAADsEAAAAAAAAAAAAAA+ACQAAAQAAAAgxAgAABYEJAAAaQXBsb3Jpcy5CYXNlLk9iamVjdHMuQ29sb3IHAAAAEkRhdGFPYmplY3QrbVBhcmVudBVEYXRhT2JqZWN0K21Db250YWluZXIFbVR5cGUEbVJHQhBtVGhlbWVDb2xvckluZGV4DG1BdXRvVXBkYXRlZAltTW9kaWZpZWQEAgAAAAAAH0FwbG9yaXMuQmFzZS5PYmplY3RzLkxpbmVGb3JtYXQDAAAACAgIAQEDAAAACdIHAAAKAAAAAP///wAOAAAAAAAFggkAABpBcGxvcmlzLkJhc2UuT2JqZWN0cy5Db2xvcgcAAAASRGF0YU9iamVjdCttUGFyZW50FURhdGFPYmplY3QrbUNvbnRhaW5lcgVtVHlwZQRtUkdCEG1UaGVtZUNvbG9ySW5kZXgMbUF1dG9VcGRhdGVkCW1Nb2RpZmllZAQCAAAAAAAfQXBsb3Jpcy5CYXNlLk9iamVjdHMuTGluZUZvcm1hdAMAAAAICAgBAQMAAAAJ0gcAAAoBAAAAAAAAAP////8AAQGDCQAAeAAAAAoKAAAAAHKEjAAGAAAAAAABhAkAAHgAAAAKCgEAAAD///8A/////wAAD4UJAAABAAAACAECAAABhgkAAHgAAAAKCgAAAAD///8ADgAAAAAAAYcJAAB4AAAACgoAAAAA////AA4AAAAAAQeICQAAAAEAAAAEAAAABB1BcGxvcmlzLkJhc2UuT2JqZWN0cy5WYXJpYWJsZQMAAAABHwoAADsEAAABAAAAAAAAAAEgCgAAOwQAAAAAAAAAAAAAASEKAAA7BAAAAAAAAAAAAAABIgoAADsEAAAAAAAAAAAAAA+JCQAAAQAAAAhKAgAABYoJAAAaQXBsb3Jpcy5CYXNlLk9iamVjdHMuQ29sb3IHAAAAEkRhdGFPYmplY3QrbVBhcmVudBVEYXRhT2JqZWN0K21Db250YWluZXIFbVR5cGUEbVJHQhBtVGhlbWVDb2xvckluZGV4DG1BdXRvVXBkYXRlZAltTW9kaWZpZWQEAgAAAAAAH0FwbG9yaXMuQmFzZS5PYmplY3RzLkxpbmVGb3JtYXQDAAAACAgIAQEDAAAACe8HAAAKAAAAAP///wAOAAAAAAAFiwkAABpBcGxvcmlzLkJhc2UuT2JqZWN0cy5Db2xvcgcAAAASRGF0YU9iamVjdCttUGFyZW50FURhdGFPYmplY3QrbUNvbnRhaW5lcgVtVHlwZQRtUkdCEG1UaGVtZUNvbG9ySW5kZXgMbUF1dG9VcGRhdGVkCW1Nb2RpZmllZAQCAAAAAAAfQXBsb3Jpcy5CYXNlLk9iamVjdHMuTGluZUZvcm1hdAMAAAAICAgBAQMAAAAJ7wcAAAoBAAAAAAAAAP////8AAQGMCQAAeAAAAAoKAAAAAO0hJQAHAAAAAAABjQkAAHgAAAAKCgEAAAD///8A/////wAAD44JAAABAAAACBUCAAABjwkAAHgAAAAKCgAAAAD///8ADgAAAAAAAZAJAAB4AAAACgoAAAAA////AA4AAAAAAQeRCQAAAAEAAAAEAAAABB1BcGxvcmlzLkJhc2UuT2JqZWN0cy5WYXJpYWJsZQMAAAABIwoAADsEAAABAAAAAAAAAAEkCgAAOwQAAAAAAAAAAAAAASUKAAA7BAAAAAAAAAAAAAABJgoAADsEAAAAAAAAAAAAAA+SCQAAAQAAAAhJAgAABZMJAAAaQXBsb3Jpcy5CYXNlLk9iamVjdHMuQ29sb3IHAAAAEkRhdGFPYmplY3QrbVBhcmVudBVEYXRhT2JqZWN0K21Db250YWluZXIFbVR5cGUEbVJHQhBtVGhlbWVDb2xvckluZGV4DG1BdXRvVXBkYXRlZAltTW9kaWZpZWQEAgAAAAAAH0FwbG9yaXMuQmFzZS5PYmplY3RzLkxpbmVGb3JtYXQDAAAACAgIAQEDAAAACQwIAAAKAAAAAP///wAOAAAAAAAFlAkAABpBcGxvcmlzLkJhc2UuT2JqZWN0cy5Db2xvcgcAAAASRGF0YU9iamVjdCttUGFyZW50FURhdGFPYmplY3QrbUNvbnRhaW5lcgVtVHlwZQRtUkdCEG1UaGVtZUNvbG9ySW5kZXgMbUF1dG9VcGRhdGVkCW1Nb2RpZmllZAQCAAAAAAAfQXBsb3Jpcy5CYXNlLk9iamVjdHMuTGluZUZvcm1hdAMAAAAICAgBAQMAAAAJDAgAAAoBAAAAAAAAAP////8AAQGVCQAAeAAAAAoKAAAAAO0hJQAHAAAAAAABlgkAAHgAAAAKCgEAAAD///8A/////wAAD5cJAAABAAAACBYCAAABmAkAAHgAAAAKCgAAAAD///8ADgAAAAAAAZkJAAB4AAAACgoAAAAA////AA4AAAAAAQeaCQAAAAEAAAAEAAAABB1BcGxvcmlzLkJhc2UuT2JqZWN0cy5WYXJpYWJsZQMAAAABJwoAADsEAAABAAAAAAAAAAEoCgAAOwQAAAAAAAAAAAAAASkKAAA7BAAAAAAAAAAAAAABKgoAADsEAAAAAAAAAAAAAA+bCQAAAQAAAAhIAgAABZwJAAAaQXBsb3Jpcy5CYXNlLk9iamVjdHMuQ29sb3IHAAAAEkRhdGFPYmplY3QrbVBhcmVudBVEYXRhT2JqZWN0K21Db250YWluZXIFbVR5cGUEbVJHQhBtVGhlbWVDb2xvckluZGV4DG1BdXRvVXBkYXRlZAltTW9kaWZpZWQEAgAAAAAAH0FwbG9yaXMuQmFzZS5PYmplY3RzLkxpbmVGb3JtYXQDAAAACAgIAQEDAAAACSkIAAAKAAAAAP///wAOAAAAAAAFnQkAABpBcGxvcmlzLkJhc2UuT2JqZWN0cy5Db2xvcgcAAAASRGF0YU9iamVjdCttUGFyZW50FURhdGFPYmplY3QrbUNvbnRhaW5lcgVtVHlwZQRtUkdCEG1UaGVtZUNvbG9ySW5kZXgMbUF1dG9VcGRhdGVkCW1Nb2RpZmllZAQCAAAAAAAfQXBsb3Jpcy5CYXNlLk9iamVjdHMuTGluZUZvcm1hdAMAAAAICAgBAQMAAAAJKQgAAAoBAAAAAAAAAP////8AAQGeCQAAeAAAAAoKAAAAAO0hJQAHAAAAAAABnwkAAHgAAAAKCgEAAAD///8A/////wAAD6AJAAABAAAACBcCAAABoQkAAHgAAAAKCgAAAAD///8ADgAAAAAAAaIJAAB4AAAACgoAAAAA////AA4AAAAAAQejCQAAAAEAAAAEAAAABB1BcGxvcmlzLkJhc2UuT2JqZWN0cy5WYXJpYWJsZQMAAAABKwoAADsEAAABAAAAAAAAAAEsCgAAOwQAAAAAAAAAAAAAAS0KAAA7BAAAAAAAAAAAAAABLgoAADsEAAAAAAAAAAAAAA+kCQAAAQAAAAgwAgAABaUJAAAaQXBsb3Jpcy5CYXNlLk9iamVjdHMuQ29sb3IHAAAAEkRhdGFPYmplY3QrbVBhcmVudBVEYXRhT2JqZWN0K21Db250YWluZXIFbVR5cGUEbVJHQhBtVGhlbWVDb2xvckluZGV4DG1BdXRvVXBkYXRlZAltTW9kaWZpZWQEAgAAAAAAH0FwbG9yaXMuQmFzZS5PYmplY3RzLkxpbmVGb3JtYXQDAAAACAgIAQEDAAAACUYIAAAKAAAAAP///wAOAAAAAAAFpgkAABpBcGxvcmlzLkJhc2UuT2JqZWN0cy5Db2xvcgcAAAASRGF0YU9iamVjdCttUGFyZW50FURhdGFPYmplY3QrbUNvbnRhaW5lcgVtVHlwZQRtUkdCEG1UaGVtZUNvbG9ySW5kZXgMbUF1dG9VcGRhdGVkCW1Nb2RpZmllZAQCAAAAAAAfQXBsb3Jpcy5CYXNlLk9iamVjdHMuTGluZUZvcm1hdAMAAAAICAgBAQMAAAAJRggAAAoBAAAAAAAAAP////8AAQGnCQAAeAAAAAoKAAAAAO0hJQAHAAAAAAABqAkAAHgAAAAKCgEAAAD///8A/////wAAD6kJAAABAAAACBQCAAABqgkAAHgAAAAKCgAAAAD///8ADgAAAAAAAasJAAB4AAAACgoAAAAA////AA4AAAAAAQesCQAAAAEAAAAEAAAABB1BcGxvcmlzLkJhc2UuT2JqZWN0cy5WYXJpYWJsZQMAAAABLwoAADsEAAABAAAAAAAAAAEwCgAAOwQAAAAAAAAAAAAAATEKAAA7BAAAAAAAAAAAAAABMgoAADsEAAAAAAAAAAAAAA+tCQAAAQAAAAgrAgAABa4JAAAaQXBsb3Jpcy5CYXNlLk9iamVjdHMuQ29sb3IHAAAAEkRhdGFPYmplY3QrbVBhcmVudBVEYXRhT2JqZWN0K21Db250YWluZXIFbVR5cGUEbVJHQhBtVGhlbWVDb2xvckluZGV4DG1BdXRvVXBkYXRlZAltTW9kaWZpZWQEAgAAAAAAH0FwbG9yaXMuQmFzZS5PYmplY3RzLkxpbmVGb3JtYXQDAAAACAgIAQEDAAAACWMIAAAKAAAAAP///wAOAAAAAAAFrwkAABpBcGxvcmlzLkJhc2UuT2JqZWN0cy5Db2xvcgcAAAASRGF0YU9iamVjdCttUGFyZW50FURhdGFPYmplY3QrbUNvbnRhaW5lcgVtVHlwZQRtUkdCEG1UaGVtZUNvbG9ySW5kZXgMbUF1dG9VcGRhdGVkCW1Nb2RpZmllZAQCAAAAAAAfQXBsb3Jpcy5CYXNlLk9iamVjdHMuTGluZUZvcm1hdAMAAAAICAgBAQMAAAAJYwgAAAoBAAAAAAAAAP////8AAQGwCQAAeAAAAAoKAAAAAO0hJQAHAAAAAAABsQkAAHgAAAAKCgEAAAD///8A/////wAAD7IJAAABAAAACBECAAABswkAAHgAAAAKCgAAAAD///8ADgAAAAAAAbQJAAB4AAAACgoAAAAA////AA4AAAAAAQe1CQAAAAEAAAAEAAAABB1BcGxvcmlzLkJhc2UuT2JqZWN0cy5WYXJpYWJsZQMAAAABMwoAADsEAAABAAAAAAAAAAE0CgAAOwQAAAAAAAAAAAAAATUKAAA7BAAAAAAAAAAAAAABNgoAADsEAAAAAAAAAAAAAA+2CQAAAQAAAAgsAgAABbcJAAAaQXBsb3Jpcy5CYXNlLk9iamVjdHMuQ29sb3IHAAAAEkRhdGFPYmplY3QrbVBhcmVudBVEYXRhT2JqZWN0K21Db250YWluZXIFbVR5cGUEbVJHQhBtVGhlbWVDb2xvckluZGV4DG1BdXRvVXBkYXRlZAltTW9kaWZpZWQEAgAAAAAAH0FwbG9yaXMuQmFzZS5PYmplY3RzLkxpbmVGb3JtYXQDAAAACAgIAQEDAAAACYAIAAAKAAAAAP///wAOAAAAAAAFuAkAABpBcGxvcmlzLkJhc2UuT2JqZWN0cy5Db2xvcgcAAAASRGF0YU9iamVjdCttUGFyZW50FURhdGFPYmplY3QrbUNvbnRhaW5lcgVtVHlwZQRtUkdCEG1UaGVtZUNvbG9ySW5kZXgMbUF1dG9VcGRhdGVkCW1Nb2RpZmllZAQCAAAAAAAfQXBsb3Jpcy5CYXNlLk9iamVjdHMuTGluZUZvcm1hdAMAAAAICAgBAQMAAAAJgAgAAAoBAAAAAAAAAP////8AAQG5CQAAeAAAAAoKAAAAAO0hJQAHAAAAAAABugkAAHgAAAAKCgEAAAD///8A/////wAAD7sJAAABAAAACBICAAABvAkAAHgAAAAKCgAAAAD///8ADgAAAAAAAb0JAAB4AAAACgoAAAAA////AA4AAAAAAQe+CQAAAAEAAAAEAAAABB1BcGxvcmlzLkJhc2UuT2JqZWN0cy5WYXJpYWJsZQMAAAABNwoAADsEAAABAAAAAAAAAAE4CgAAOwQAAAAAAAAAAAAAATkKAAA7BAAAAAAAAAAAAAABOgoAADsEAAAAAAAAAAAAAA+/CQAAAQAAAAg6AgAABcAJAAAaQXBsb3Jpcy5CYXNlLk9iamVjdHMuQ29sb3IHAAAAEkRhdGFPYmplY3QrbVBhcmVudBVEYXRhT2JqZWN0K21Db250YWluZXIFbVR5cGUEbVJHQhBtVGhlbWVDb2xvckluZGV4DG1BdXRvVXBkYXRlZAltTW9kaWZpZWQEAgAAAAAAH0FwbG9yaXMuQmFzZS5PYmplY3RzLkxpbmVGb3JtYXQDAAAACAgIAQEDAAAACZ0IAAAKAAAAAP///wAOAAAAAAAFwQkAABpBcGxvcmlzLkJhc2UuT2JqZWN0cy5Db2xvcgcAAAASRGF0YU9iamVjdCttUGFyZW50FURhdGFPYmplY3QrbUNvbnRhaW5lcgVtVHlwZQRtUkdCEG1UaGVtZUNvbG9ySW5kZXgMbUF1dG9VcGRhdGVkCW1Nb2RpZmllZAQCAAAAAAAfQXBsb3Jpcy5CYXNlLk9iamVjdHMuTGluZUZvcm1hdAMAAAAICAgBAQMAAAAJnQgAAAoBAAAAAAAAAP////8AAQHCCQAAeAAAAAoKAAAAAO0hJQAHAAAAAAABwwkAAHgAAAAKCgEAAAD///8A/////wAAD8QJAAABAAAACBMCAAABxQkAAHgAAAAKCgAAAAD///8ADgAAAAAAAcYJAAB4AAAACgoAAAAA////AA4AAAAAAQfHCQAAAAEAAAAEAAAABB1BcGxvcmlzLkJhc2UuT2JqZWN0cy5WYXJpYWJsZQMAAAABOwoAADsEAAABAAAAAAAAAAE8CgAAOwQAAAAAAAAAAAAAAT0KAAA7BAAAAAAAAAAAAAABPgoAADsEAAAAAAAAAAAAAA/ICQAAAQAAAAgzAgAABckJAAAaQXBsb3Jpcy5CYXNlLk9iamVjdHMuQ29sb3IHAAAAEkRhdGFPYmplY3QrbVBhcmVudBVEYXRhT2JqZWN0K21Db250YWluZXIFbVR5cGUEbVJHQhBtVGhlbWVDb2xvckluZGV4DG1BdXRvVXBkYXRlZAltTW9kaWZpZWQEAgAAAAAAH0FwbG9yaXMuQmFzZS5PYmplY3RzLkxpbmVGb3JtYXQDAAAACAgIAQEDAAAACboIAAAKAAAAAP///wAOAAAAAAAFygkAABpBcGxvcmlzLkJhc2UuT2JqZWN0cy5Db2xvcgcAAAASRGF0YU9iamVjdCttUGFyZW50FURhdGFPYmplY3QrbUNvbnRhaW5lcgVtVHlwZQRtUkdCEG1UaGVtZUNvbG9ySW5kZXgMbUF1dG9VcGRhdGVkCW1Nb2RpZmllZAQCAAAAAAAfQXBsb3Jpcy5CYXNlLk9iamVjdHMuTGluZUZvcm1hdAMAAAAICAgBAQMAAAAJuggAAAoBAAAAAAAAAP////8AAQHLCQAAeAAAAAoKAAAAAO0hJQAHAAAAAAABzAkAAHgAAAAKCgEAAAD///8A/////wAAD80JAAABAAAACBgCAAABzgkAAHgAAAAKCgAAAAD///8ADgAAAAAAAc8JAAB4AAAACgoAAAAA////AA4AAAAAAQfQCQAAAAEAAAAEAAAABB1BcGxvcmlzLkJhc2UuT2JqZWN0cy5WYXJpYWJsZQMAAAABPwoAADsEAAABAAAAAAAAAAFACgAAOwQAAAAAAAAAAAAAAUEKAAA7BAAAAAAAAAAAAAABQgoAADsEAAAAAAAAAAAAAA/RCQAAAQAAAAg0AgAABdIJAAAaQXBsb3Jpcy5CYXNlLk9iamVjdHMuQ29sb3IHAAAAEkRhdGFPYmplY3QrbVBhcmVudBVEYXRhT2JqZWN0K21Db250YWluZXIFbVR5cGUEbVJHQhBtVGhlbWVDb2xvckluZGV4DG1BdXRvVXBkYXRlZAltTW9kaWZpZWQEAgAAAAAAH0FwbG9yaXMuQmFzZS5PYmplY3RzLkxpbmVGb3JtYXQDAAAACAgIAQEDAAAACdcIAAAKAAAAAP///wAOAAAAAAAF0wkAABpBcGxvcmlzLkJhc2UuT2JqZWN0cy5Db2xvcgcAAAASRGF0YU9iamVjdCttUGFyZW50FURhdGFPYmplY3QrbUNvbnRhaW5lcgVtVHlwZQRtUkdCEG1UaGVtZUNvbG9ySW5kZXgMbUF1dG9VcGRhdGVkCW1Nb2RpZmllZAQCAAAAAAAfQXBsb3Jpcy5CYXNlLk9iamVjdHMuTGluZUZvcm1hdAMAAAAICAgBAQMAAAAJ1wgAAAoBAAAAAAAAAP////8AAQHUCQAAeAAAAAoKAAAAAO0hJQAHAAAAAAAB1QkAAHgAAAAKCgEAAAD///8A/////wAAD9YJAAABAAAACBkCAAAL"/>
  <p:tag name="APLORISTAG" val="Mve3Smr0meKyLMINN.511"/>
</p:tagLst>
</file>

<file path=ppt/tags/tag565.xml><?xml version="1.0" encoding="utf-8"?>
<p:tagLst xmlns:a="http://schemas.openxmlformats.org/drawingml/2006/main" xmlns:r="http://schemas.openxmlformats.org/officeDocument/2006/relationships" xmlns:p="http://schemas.openxmlformats.org/presentationml/2006/main">
  <p:tag name="APLORISTAG" val="Mve3Smr0meKyLMINN.514"/>
</p:tagLst>
</file>

<file path=ppt/tags/tag566.xml><?xml version="1.0" encoding="utf-8"?>
<p:tagLst xmlns:a="http://schemas.openxmlformats.org/drawingml/2006/main" xmlns:r="http://schemas.openxmlformats.org/officeDocument/2006/relationships" xmlns:p="http://schemas.openxmlformats.org/presentationml/2006/main">
  <p:tag name="APLORISTAG" val="Mve3Smr0meKyLMINN.603"/>
</p:tagLst>
</file>

<file path=ppt/tags/tag567.xml><?xml version="1.0" encoding="utf-8"?>
<p:tagLst xmlns:a="http://schemas.openxmlformats.org/drawingml/2006/main" xmlns:r="http://schemas.openxmlformats.org/officeDocument/2006/relationships" xmlns:p="http://schemas.openxmlformats.org/presentationml/2006/main">
  <p:tag name="APLORISTAG" val="Mve3Smr0meKyLMINN.644"/>
</p:tagLst>
</file>

<file path=ppt/tags/tag568.xml><?xml version="1.0" encoding="utf-8"?>
<p:tagLst xmlns:a="http://schemas.openxmlformats.org/drawingml/2006/main" xmlns:r="http://schemas.openxmlformats.org/officeDocument/2006/relationships" xmlns:p="http://schemas.openxmlformats.org/presentationml/2006/main">
  <p:tag name="APLORISTAG" val="Mve3Smr0meKyLMINN.645"/>
</p:tagLst>
</file>

<file path=ppt/tags/tag569.xml><?xml version="1.0" encoding="utf-8"?>
<p:tagLst xmlns:a="http://schemas.openxmlformats.org/drawingml/2006/main" xmlns:r="http://schemas.openxmlformats.org/officeDocument/2006/relationships" xmlns:p="http://schemas.openxmlformats.org/presentationml/2006/main">
  <p:tag name="APLORISTAG" val="Mve3Smr0meKyLMINN.596"/>
</p:tagLst>
</file>

<file path=ppt/tags/tag57.xml><?xml version="1.0" encoding="utf-8"?>
<p:tagLst xmlns:a="http://schemas.openxmlformats.org/drawingml/2006/main" xmlns:r="http://schemas.openxmlformats.org/officeDocument/2006/relationships" xmlns:p="http://schemas.openxmlformats.org/presentationml/2006/main">
  <p:tag name="APLORISTAG" val="MMq8K+TY0y1GzdU7X.86"/>
</p:tagLst>
</file>

<file path=ppt/tags/tag570.xml><?xml version="1.0" encoding="utf-8"?>
<p:tagLst xmlns:a="http://schemas.openxmlformats.org/drawingml/2006/main" xmlns:r="http://schemas.openxmlformats.org/officeDocument/2006/relationships" xmlns:p="http://schemas.openxmlformats.org/presentationml/2006/main">
  <p:tag name="APLORISTAG" val="Mve3Smr0meKyLMINN.600"/>
</p:tagLst>
</file>

<file path=ppt/tags/tag571.xml><?xml version="1.0" encoding="utf-8"?>
<p:tagLst xmlns:a="http://schemas.openxmlformats.org/drawingml/2006/main" xmlns:r="http://schemas.openxmlformats.org/officeDocument/2006/relationships" xmlns:p="http://schemas.openxmlformats.org/presentationml/2006/main">
  <p:tag name="APLORISTAG" val="Mve3Smr0meKyLMINN.602"/>
</p:tagLst>
</file>

<file path=ppt/tags/tag572.xml><?xml version="1.0" encoding="utf-8"?>
<p:tagLst xmlns:a="http://schemas.openxmlformats.org/drawingml/2006/main" xmlns:r="http://schemas.openxmlformats.org/officeDocument/2006/relationships" xmlns:p="http://schemas.openxmlformats.org/presentationml/2006/main">
  <p:tag name="APLORISTAG" val="Mve3Smr0meKyLMINN.646"/>
</p:tagLst>
</file>

<file path=ppt/tags/tag573.xml><?xml version="1.0" encoding="utf-8"?>
<p:tagLst xmlns:a="http://schemas.openxmlformats.org/drawingml/2006/main" xmlns:r="http://schemas.openxmlformats.org/officeDocument/2006/relationships" xmlns:p="http://schemas.openxmlformats.org/presentationml/2006/main">
  <p:tag name="APLORISTAG" val="Mve3Smr0meKyLMINN.517"/>
</p:tagLst>
</file>

<file path=ppt/tags/tag574.xml><?xml version="1.0" encoding="utf-8"?>
<p:tagLst xmlns:a="http://schemas.openxmlformats.org/drawingml/2006/main" xmlns:r="http://schemas.openxmlformats.org/officeDocument/2006/relationships" xmlns:p="http://schemas.openxmlformats.org/presentationml/2006/main">
  <p:tag name="APLORISTAG" val="Mve3Smr0meKyLMINN.647"/>
</p:tagLst>
</file>

<file path=ppt/tags/tag575.xml><?xml version="1.0" encoding="utf-8"?>
<p:tagLst xmlns:a="http://schemas.openxmlformats.org/drawingml/2006/main" xmlns:r="http://schemas.openxmlformats.org/officeDocument/2006/relationships" xmlns:p="http://schemas.openxmlformats.org/presentationml/2006/main">
  <p:tag name="APLORISTAG" val="Mve3Smr0meKyLMINN.516"/>
</p:tagLst>
</file>

<file path=ppt/tags/tag576.xml><?xml version="1.0" encoding="utf-8"?>
<p:tagLst xmlns:a="http://schemas.openxmlformats.org/drawingml/2006/main" xmlns:r="http://schemas.openxmlformats.org/officeDocument/2006/relationships" xmlns:p="http://schemas.openxmlformats.org/presentationml/2006/main">
  <p:tag name="APLORISTAG" val="Mve3Smr0meKyLMINN.512"/>
</p:tagLst>
</file>

<file path=ppt/tags/tag577.xml><?xml version="1.0" encoding="utf-8"?>
<p:tagLst xmlns:a="http://schemas.openxmlformats.org/drawingml/2006/main" xmlns:r="http://schemas.openxmlformats.org/officeDocument/2006/relationships" xmlns:p="http://schemas.openxmlformats.org/presentationml/2006/main">
  <p:tag name="APLORISTAG" val="Mve3Smr0meKyLMINN.515"/>
</p:tagLst>
</file>

<file path=ppt/tags/tag578.xml><?xml version="1.0" encoding="utf-8"?>
<p:tagLst xmlns:a="http://schemas.openxmlformats.org/drawingml/2006/main" xmlns:r="http://schemas.openxmlformats.org/officeDocument/2006/relationships" xmlns:p="http://schemas.openxmlformats.org/presentationml/2006/main">
  <p:tag name="APLORISTAG" val="Mve3Smr0meKyLMINN.756"/>
</p:tagLst>
</file>

<file path=ppt/tags/tag579.xml><?xml version="1.0" encoding="utf-8"?>
<p:tagLst xmlns:a="http://schemas.openxmlformats.org/drawingml/2006/main" xmlns:r="http://schemas.openxmlformats.org/officeDocument/2006/relationships" xmlns:p="http://schemas.openxmlformats.org/presentationml/2006/main">
  <p:tag name="APLORISTAG" val="Mve3Smr0meKyLMINN.757"/>
</p:tagLst>
</file>

<file path=ppt/tags/tag58.xml><?xml version="1.0" encoding="utf-8"?>
<p:tagLst xmlns:a="http://schemas.openxmlformats.org/drawingml/2006/main" xmlns:r="http://schemas.openxmlformats.org/officeDocument/2006/relationships" xmlns:p="http://schemas.openxmlformats.org/presentationml/2006/main">
  <p:tag name="APLORISTAG" val="MMq8K+TY0y1GzdU7X.87"/>
</p:tagLst>
</file>

<file path=ppt/tags/tag580.xml><?xml version="1.0" encoding="utf-8"?>
<p:tagLst xmlns:a="http://schemas.openxmlformats.org/drawingml/2006/main" xmlns:r="http://schemas.openxmlformats.org/officeDocument/2006/relationships" xmlns:p="http://schemas.openxmlformats.org/presentationml/2006/main">
  <p:tag name="APLORISTAG" val="Mve3Smr0meKyLMINN.758"/>
</p:tagLst>
</file>

<file path=ppt/tags/tag581.xml><?xml version="1.0" encoding="utf-8"?>
<p:tagLst xmlns:a="http://schemas.openxmlformats.org/drawingml/2006/main" xmlns:r="http://schemas.openxmlformats.org/officeDocument/2006/relationships" xmlns:p="http://schemas.openxmlformats.org/presentationml/2006/main">
  <p:tag name="APLORISTAG" val="Mve3Smr0meKyLMINN.759"/>
</p:tagLst>
</file>

<file path=ppt/tags/tag582.xml><?xml version="1.0" encoding="utf-8"?>
<p:tagLst xmlns:a="http://schemas.openxmlformats.org/drawingml/2006/main" xmlns:r="http://schemas.openxmlformats.org/officeDocument/2006/relationships" xmlns:p="http://schemas.openxmlformats.org/presentationml/2006/main">
  <p:tag name="APLORISTAG" val="Mve3Smr0meKyLMINN.760"/>
</p:tagLst>
</file>

<file path=ppt/tags/tag583.xml><?xml version="1.0" encoding="utf-8"?>
<p:tagLst xmlns:a="http://schemas.openxmlformats.org/drawingml/2006/main" xmlns:r="http://schemas.openxmlformats.org/officeDocument/2006/relationships" xmlns:p="http://schemas.openxmlformats.org/presentationml/2006/main">
  <p:tag name="APLORISTAG" val="Mve3Smr0meKyLMINN.761"/>
</p:tagLst>
</file>

<file path=ppt/tags/tag584.xml><?xml version="1.0" encoding="utf-8"?>
<p:tagLst xmlns:a="http://schemas.openxmlformats.org/drawingml/2006/main" xmlns:r="http://schemas.openxmlformats.org/officeDocument/2006/relationships" xmlns:p="http://schemas.openxmlformats.org/presentationml/2006/main">
  <p:tag name="APLORISTAG" val="Mve3Smr0meKyLMINN.762"/>
</p:tagLst>
</file>

<file path=ppt/tags/tag585.xml><?xml version="1.0" encoding="utf-8"?>
<p:tagLst xmlns:a="http://schemas.openxmlformats.org/drawingml/2006/main" xmlns:r="http://schemas.openxmlformats.org/officeDocument/2006/relationships" xmlns:p="http://schemas.openxmlformats.org/presentationml/2006/main">
  <p:tag name="APLORISTAG" val="Mve3Smr0meKyLMINN.763"/>
</p:tagLst>
</file>

<file path=ppt/tags/tag586.xml><?xml version="1.0" encoding="utf-8"?>
<p:tagLst xmlns:a="http://schemas.openxmlformats.org/drawingml/2006/main" xmlns:r="http://schemas.openxmlformats.org/officeDocument/2006/relationships" xmlns:p="http://schemas.openxmlformats.org/presentationml/2006/main">
  <p:tag name="APLORISTAG" val="Mve3Smr0meKyLMINN.764"/>
</p:tagLst>
</file>

<file path=ppt/tags/tag587.xml><?xml version="1.0" encoding="utf-8"?>
<p:tagLst xmlns:a="http://schemas.openxmlformats.org/drawingml/2006/main" xmlns:r="http://schemas.openxmlformats.org/officeDocument/2006/relationships" xmlns:p="http://schemas.openxmlformats.org/presentationml/2006/main">
  <p:tag name="APLORISTAG" val="Mve3Smr0meKyLMINN.765"/>
</p:tagLst>
</file>

<file path=ppt/tags/tag588.xml><?xml version="1.0" encoding="utf-8"?>
<p:tagLst xmlns:a="http://schemas.openxmlformats.org/drawingml/2006/main" xmlns:r="http://schemas.openxmlformats.org/officeDocument/2006/relationships" xmlns:p="http://schemas.openxmlformats.org/presentationml/2006/main">
  <p:tag name="APLORISTAG" val="Mve3Smr0meKyLMINN.766"/>
</p:tagLst>
</file>

<file path=ppt/tags/tag589.xml><?xml version="1.0" encoding="utf-8"?>
<p:tagLst xmlns:a="http://schemas.openxmlformats.org/drawingml/2006/main" xmlns:r="http://schemas.openxmlformats.org/officeDocument/2006/relationships" xmlns:p="http://schemas.openxmlformats.org/presentationml/2006/main">
  <p:tag name="APLORISTAG" val="Mve3Smr0meKyLMINN.767"/>
</p:tagLst>
</file>

<file path=ppt/tags/tag59.xml><?xml version="1.0" encoding="utf-8"?>
<p:tagLst xmlns:a="http://schemas.openxmlformats.org/drawingml/2006/main" xmlns:r="http://schemas.openxmlformats.org/officeDocument/2006/relationships" xmlns:p="http://schemas.openxmlformats.org/presentationml/2006/main">
  <p:tag name="APLORISTAG" val="MMq8K+TY0y1GzdU7X.3"/>
</p:tagLst>
</file>

<file path=ppt/tags/tag590.xml><?xml version="1.0" encoding="utf-8"?>
<p:tagLst xmlns:a="http://schemas.openxmlformats.org/drawingml/2006/main" xmlns:r="http://schemas.openxmlformats.org/officeDocument/2006/relationships" xmlns:p="http://schemas.openxmlformats.org/presentationml/2006/main">
  <p:tag name="APLORISTAG" val="Mve3Smr0meKyLMINN.768"/>
</p:tagLst>
</file>

<file path=ppt/tags/tag591.xml><?xml version="1.0" encoding="utf-8"?>
<p:tagLst xmlns:a="http://schemas.openxmlformats.org/drawingml/2006/main" xmlns:r="http://schemas.openxmlformats.org/officeDocument/2006/relationships" xmlns:p="http://schemas.openxmlformats.org/presentationml/2006/main">
  <p:tag name="APLORISTAG" val="Mve3Smr0meKyLMINN.43"/>
</p:tagLst>
</file>

<file path=ppt/tags/tag592.xml><?xml version="1.0" encoding="utf-8"?>
<p:tagLst xmlns:a="http://schemas.openxmlformats.org/drawingml/2006/main" xmlns:r="http://schemas.openxmlformats.org/officeDocument/2006/relationships" xmlns:p="http://schemas.openxmlformats.org/presentationml/2006/main">
  <p:tag name="APLORISTAG" val="Mve3Smr0meKyLMINN.36"/>
</p:tagLst>
</file>

<file path=ppt/tags/tag593.xml><?xml version="1.0" encoding="utf-8"?>
<p:tagLst xmlns:a="http://schemas.openxmlformats.org/drawingml/2006/main" xmlns:r="http://schemas.openxmlformats.org/officeDocument/2006/relationships" xmlns:p="http://schemas.openxmlformats.org/presentationml/2006/main">
  <p:tag name="APLORISTAG" val="Mve3Smr0meKyLMINN.38"/>
</p:tagLst>
</file>

<file path=ppt/tags/tag594.xml><?xml version="1.0" encoding="utf-8"?>
<p:tagLst xmlns:a="http://schemas.openxmlformats.org/drawingml/2006/main" xmlns:r="http://schemas.openxmlformats.org/officeDocument/2006/relationships" xmlns:p="http://schemas.openxmlformats.org/presentationml/2006/main">
  <p:tag name="APLORISTAG" val="Mve3Smr0meKyLMINN.35"/>
</p:tagLst>
</file>

<file path=ppt/tags/tag595.xml><?xml version="1.0" encoding="utf-8"?>
<p:tagLst xmlns:a="http://schemas.openxmlformats.org/drawingml/2006/main" xmlns:r="http://schemas.openxmlformats.org/officeDocument/2006/relationships" xmlns:p="http://schemas.openxmlformats.org/presentationml/2006/main">
  <p:tag name="APLORISTAG" val="Mve3Smr0meKyLMINN.37"/>
</p:tagLst>
</file>

<file path=ppt/tags/tag596.xml><?xml version="1.0" encoding="utf-8"?>
<p:tagLst xmlns:a="http://schemas.openxmlformats.org/drawingml/2006/main" xmlns:r="http://schemas.openxmlformats.org/officeDocument/2006/relationships" xmlns:p="http://schemas.openxmlformats.org/presentationml/2006/main">
  <p:tag name="APLORISTAG" val="Mve3Smr0meKyLMINN.40"/>
</p:tagLst>
</file>

<file path=ppt/tags/tag597.xml><?xml version="1.0" encoding="utf-8"?>
<p:tagLst xmlns:a="http://schemas.openxmlformats.org/drawingml/2006/main" xmlns:r="http://schemas.openxmlformats.org/officeDocument/2006/relationships" xmlns:p="http://schemas.openxmlformats.org/presentationml/2006/main">
  <p:tag name="APLORISTAG" val="Mve3Smr0meKyLMINN.39"/>
</p:tagLst>
</file>

<file path=ppt/tags/tag598.xml><?xml version="1.0" encoding="utf-8"?>
<p:tagLst xmlns:a="http://schemas.openxmlformats.org/drawingml/2006/main" xmlns:r="http://schemas.openxmlformats.org/officeDocument/2006/relationships" xmlns:p="http://schemas.openxmlformats.org/presentationml/2006/main">
  <p:tag name="APLORISTAG" val="Mve3Smr0meKyLMINN.41"/>
</p:tagLst>
</file>

<file path=ppt/tags/tag599.xml><?xml version="1.0" encoding="utf-8"?>
<p:tagLst xmlns:a="http://schemas.openxmlformats.org/drawingml/2006/main" xmlns:r="http://schemas.openxmlformats.org/officeDocument/2006/relationships" xmlns:p="http://schemas.openxmlformats.org/presentationml/2006/main">
  <p:tag name="APLORISTAG" val="Mve3Smr0meKyLMINN.45"/>
</p:tagLst>
</file>

<file path=ppt/tags/tag6.xml><?xml version="1.0" encoding="utf-8"?>
<p:tagLst xmlns:a="http://schemas.openxmlformats.org/drawingml/2006/main" xmlns:r="http://schemas.openxmlformats.org/officeDocument/2006/relationships" xmlns:p="http://schemas.openxmlformats.org/presentationml/2006/main">
  <p:tag name="APLORISTAG" val="MX/IjfW661gLV+xOY.174"/>
</p:tagLst>
</file>

<file path=ppt/tags/tag60.xml><?xml version="1.0" encoding="utf-8"?>
<p:tagLst xmlns:a="http://schemas.openxmlformats.org/drawingml/2006/main" xmlns:r="http://schemas.openxmlformats.org/officeDocument/2006/relationships" xmlns:p="http://schemas.openxmlformats.org/presentationml/2006/main">
  <p:tag name="APLORISTAG" val="MMq8K+TY0y1GzdU7X.2"/>
</p:tagLst>
</file>

<file path=ppt/tags/tag600.xml><?xml version="1.0" encoding="utf-8"?>
<p:tagLst xmlns:a="http://schemas.openxmlformats.org/drawingml/2006/main" xmlns:r="http://schemas.openxmlformats.org/officeDocument/2006/relationships" xmlns:p="http://schemas.openxmlformats.org/presentationml/2006/main">
  <p:tag name="APLORISTAG" val="Mve3Smr0meKyLMINN.42"/>
</p:tagLst>
</file>

<file path=ppt/tags/tag601.xml><?xml version="1.0" encoding="utf-8"?>
<p:tagLst xmlns:a="http://schemas.openxmlformats.org/drawingml/2006/main" xmlns:r="http://schemas.openxmlformats.org/officeDocument/2006/relationships" xmlns:p="http://schemas.openxmlformats.org/presentationml/2006/main">
  <p:tag name="APLORISTAG" val="Mve3Smr0meKyLMINN.44"/>
</p:tagLst>
</file>

<file path=ppt/tags/tag602.xml><?xml version="1.0" encoding="utf-8"?>
<p:tagLst xmlns:a="http://schemas.openxmlformats.org/drawingml/2006/main" xmlns:r="http://schemas.openxmlformats.org/officeDocument/2006/relationships" xmlns:p="http://schemas.openxmlformats.org/presentationml/2006/main">
  <p:tag name="APLORISTAG" val="Mve3Smr0meKyLMINN.690"/>
</p:tagLst>
</file>

<file path=ppt/tags/tag603.xml><?xml version="1.0" encoding="utf-8"?>
<p:tagLst xmlns:a="http://schemas.openxmlformats.org/drawingml/2006/main" xmlns:r="http://schemas.openxmlformats.org/officeDocument/2006/relationships" xmlns:p="http://schemas.openxmlformats.org/presentationml/2006/main">
  <p:tag name="APLORISTAG" val="Mve3Smr0meKyLMINN.336"/>
</p:tagLst>
</file>

<file path=ppt/tags/tag604.xml><?xml version="1.0" encoding="utf-8"?>
<p:tagLst xmlns:a="http://schemas.openxmlformats.org/drawingml/2006/main" xmlns:r="http://schemas.openxmlformats.org/officeDocument/2006/relationships" xmlns:p="http://schemas.openxmlformats.org/presentationml/2006/main">
  <p:tag name="APLORISTAG" val="Mve3Smr0meKyLMINN.335"/>
</p:tagLst>
</file>

<file path=ppt/tags/tag605.xml><?xml version="1.0" encoding="utf-8"?>
<p:tagLst xmlns:a="http://schemas.openxmlformats.org/drawingml/2006/main" xmlns:r="http://schemas.openxmlformats.org/officeDocument/2006/relationships" xmlns:p="http://schemas.openxmlformats.org/presentationml/2006/main">
  <p:tag name="APLORISTAG" val="Mve3Smr0meKyLMINN.661"/>
</p:tagLst>
</file>

<file path=ppt/tags/tag606.xml><?xml version="1.0" encoding="utf-8"?>
<p:tagLst xmlns:a="http://schemas.openxmlformats.org/drawingml/2006/main" xmlns:r="http://schemas.openxmlformats.org/officeDocument/2006/relationships" xmlns:p="http://schemas.openxmlformats.org/presentationml/2006/main">
  <p:tag name="APLORISTAG" val="Mve3Smr0meKyLMINN.334"/>
</p:tagLst>
</file>

<file path=ppt/tags/tag607.xml><?xml version="1.0" encoding="utf-8"?>
<p:tagLst xmlns:a="http://schemas.openxmlformats.org/drawingml/2006/main" xmlns:r="http://schemas.openxmlformats.org/officeDocument/2006/relationships" xmlns:p="http://schemas.openxmlformats.org/presentationml/2006/main">
  <p:tag name="APLORISTAG" val="Mve3Smr0meKyLMINN.196"/>
</p:tagLst>
</file>

<file path=ppt/tags/tag608.xml><?xml version="1.0" encoding="utf-8"?>
<p:tagLst xmlns:a="http://schemas.openxmlformats.org/drawingml/2006/main" xmlns:r="http://schemas.openxmlformats.org/officeDocument/2006/relationships" xmlns:p="http://schemas.openxmlformats.org/presentationml/2006/main">
  <p:tag name="APLORISTAG" val="Mve3Smr0meKyLMINN.333"/>
</p:tagLst>
</file>

<file path=ppt/tags/tag609.xml><?xml version="1.0" encoding="utf-8"?>
<p:tagLst xmlns:a="http://schemas.openxmlformats.org/drawingml/2006/main" xmlns:r="http://schemas.openxmlformats.org/officeDocument/2006/relationships" xmlns:p="http://schemas.openxmlformats.org/presentationml/2006/main">
  <p:tag name="APLORISTAG" val="Mve3Smr0meKyLMINN.197"/>
</p:tagLst>
</file>

<file path=ppt/tags/tag61.xml><?xml version="1.0" encoding="utf-8"?>
<p:tagLst xmlns:a="http://schemas.openxmlformats.org/drawingml/2006/main" xmlns:r="http://schemas.openxmlformats.org/officeDocument/2006/relationships" xmlns:p="http://schemas.openxmlformats.org/presentationml/2006/main">
  <p:tag name="APLORISTAG" val="MMq8K+TY0y1GzdU7X.88"/>
</p:tagLst>
</file>

<file path=ppt/tags/tag610.xml><?xml version="1.0" encoding="utf-8"?>
<p:tagLst xmlns:a="http://schemas.openxmlformats.org/drawingml/2006/main" xmlns:r="http://schemas.openxmlformats.org/officeDocument/2006/relationships" xmlns:p="http://schemas.openxmlformats.org/presentationml/2006/main">
  <p:tag name="APLORISTAG" val="Mve3Smr0meKyLMINN.338"/>
</p:tagLst>
</file>

<file path=ppt/tags/tag611.xml><?xml version="1.0" encoding="utf-8"?>
<p:tagLst xmlns:a="http://schemas.openxmlformats.org/drawingml/2006/main" xmlns:r="http://schemas.openxmlformats.org/officeDocument/2006/relationships" xmlns:p="http://schemas.openxmlformats.org/presentationml/2006/main">
  <p:tag name="APLORISTAG" val="Mve3Smr0meKyLMINN.332"/>
</p:tagLst>
</file>

<file path=ppt/tags/tag612.xml><?xml version="1.0" encoding="utf-8"?>
<p:tagLst xmlns:a="http://schemas.openxmlformats.org/drawingml/2006/main" xmlns:r="http://schemas.openxmlformats.org/officeDocument/2006/relationships" xmlns:p="http://schemas.openxmlformats.org/presentationml/2006/main">
  <p:tag name="APLORISTAG" val="Mve3Smr0meKyLMINN.662"/>
</p:tagLst>
</file>

<file path=ppt/tags/tag613.xml><?xml version="1.0" encoding="utf-8"?>
<p:tagLst xmlns:a="http://schemas.openxmlformats.org/drawingml/2006/main" xmlns:r="http://schemas.openxmlformats.org/officeDocument/2006/relationships" xmlns:p="http://schemas.openxmlformats.org/presentationml/2006/main">
  <p:tag name="APLORISTAG" val="Mve3Smr0meKyLMINN.565"/>
</p:tagLst>
</file>

<file path=ppt/tags/tag614.xml><?xml version="1.0" encoding="utf-8"?>
<p:tagLst xmlns:a="http://schemas.openxmlformats.org/drawingml/2006/main" xmlns:r="http://schemas.openxmlformats.org/officeDocument/2006/relationships" xmlns:p="http://schemas.openxmlformats.org/presentationml/2006/main">
  <p:tag name="APLORISTAG" val="Mve3Smr0meKyLMINN.663"/>
</p:tagLst>
</file>

<file path=ppt/tags/tag615.xml><?xml version="1.0" encoding="utf-8"?>
<p:tagLst xmlns:a="http://schemas.openxmlformats.org/drawingml/2006/main" xmlns:r="http://schemas.openxmlformats.org/officeDocument/2006/relationships" xmlns:p="http://schemas.openxmlformats.org/presentationml/2006/main">
  <p:tag name="APLORISTAG" val="Mve3Smr0meKyLMINN.619"/>
</p:tagLst>
</file>

<file path=ppt/tags/tag616.xml><?xml version="1.0" encoding="utf-8"?>
<p:tagLst xmlns:a="http://schemas.openxmlformats.org/drawingml/2006/main" xmlns:r="http://schemas.openxmlformats.org/officeDocument/2006/relationships" xmlns:p="http://schemas.openxmlformats.org/presentationml/2006/main">
  <p:tag name="APLORISTAG" val="Mve3Smr0meKyLMINN.618"/>
</p:tagLst>
</file>

<file path=ppt/tags/tag617.xml><?xml version="1.0" encoding="utf-8"?>
<p:tagLst xmlns:a="http://schemas.openxmlformats.org/drawingml/2006/main" xmlns:r="http://schemas.openxmlformats.org/officeDocument/2006/relationships" xmlns:p="http://schemas.openxmlformats.org/presentationml/2006/main">
  <p:tag name="APLORISTAG" val="Mve3Smr0meKyLMINN.554"/>
</p:tagLst>
</file>

<file path=ppt/tags/tag618.xml><?xml version="1.0" encoding="utf-8"?>
<p:tagLst xmlns:a="http://schemas.openxmlformats.org/drawingml/2006/main" xmlns:r="http://schemas.openxmlformats.org/officeDocument/2006/relationships" xmlns:p="http://schemas.openxmlformats.org/presentationml/2006/main">
  <p:tag name="APLORISTAG" val="Mve3Smr0meKyLMINN.664"/>
</p:tagLst>
</file>

<file path=ppt/tags/tag619.xml><?xml version="1.0" encoding="utf-8"?>
<p:tagLst xmlns:a="http://schemas.openxmlformats.org/drawingml/2006/main" xmlns:r="http://schemas.openxmlformats.org/officeDocument/2006/relationships" xmlns:p="http://schemas.openxmlformats.org/presentationml/2006/main">
  <p:tag name="APLORISTAG" val="Mve3Smr0meKyLMINN.567"/>
</p:tagLst>
</file>

<file path=ppt/tags/tag62.xml><?xml version="1.0" encoding="utf-8"?>
<p:tagLst xmlns:a="http://schemas.openxmlformats.org/drawingml/2006/main" xmlns:r="http://schemas.openxmlformats.org/officeDocument/2006/relationships" xmlns:p="http://schemas.openxmlformats.org/presentationml/2006/main">
  <p:tag name="APLORISTAG" val="MMq8K+TY0y1GzdU7X.8"/>
</p:tagLst>
</file>

<file path=ppt/tags/tag620.xml><?xml version="1.0" encoding="utf-8"?>
<p:tagLst xmlns:a="http://schemas.openxmlformats.org/drawingml/2006/main" xmlns:r="http://schemas.openxmlformats.org/officeDocument/2006/relationships" xmlns:p="http://schemas.openxmlformats.org/presentationml/2006/main">
  <p:tag name="APLORISTAG" val="Mve3Smr0meKyLMINN.665"/>
</p:tagLst>
</file>

<file path=ppt/tags/tag621.xml><?xml version="1.0" encoding="utf-8"?>
<p:tagLst xmlns:a="http://schemas.openxmlformats.org/drawingml/2006/main" xmlns:r="http://schemas.openxmlformats.org/officeDocument/2006/relationships" xmlns:p="http://schemas.openxmlformats.org/presentationml/2006/main">
  <p:tag name="APLORISTAG" val="Mve3Smr0meKyLMINN.562"/>
</p:tagLst>
</file>

<file path=ppt/tags/tag622.xml><?xml version="1.0" encoding="utf-8"?>
<p:tagLst xmlns:a="http://schemas.openxmlformats.org/drawingml/2006/main" xmlns:r="http://schemas.openxmlformats.org/officeDocument/2006/relationships" xmlns:p="http://schemas.openxmlformats.org/presentationml/2006/main">
  <p:tag name="APLORISTAG" val="Mve3Smr0meKyLMINN.557"/>
</p:tagLst>
</file>

<file path=ppt/tags/tag623.xml><?xml version="1.0" encoding="utf-8"?>
<p:tagLst xmlns:a="http://schemas.openxmlformats.org/drawingml/2006/main" xmlns:r="http://schemas.openxmlformats.org/officeDocument/2006/relationships" xmlns:p="http://schemas.openxmlformats.org/presentationml/2006/main">
  <p:tag name="APLORISTAG" val="Mve3Smr0meKyLMINN.568"/>
</p:tagLst>
</file>

<file path=ppt/tags/tag624.xml><?xml version="1.0" encoding="utf-8"?>
<p:tagLst xmlns:a="http://schemas.openxmlformats.org/drawingml/2006/main" xmlns:r="http://schemas.openxmlformats.org/officeDocument/2006/relationships" xmlns:p="http://schemas.openxmlformats.org/presentationml/2006/main">
  <p:tag name="APLORISTAG" val="Mve3Smr0meKyLMINN.666"/>
</p:tagLst>
</file>

<file path=ppt/tags/tag625.xml><?xml version="1.0" encoding="utf-8"?>
<p:tagLst xmlns:a="http://schemas.openxmlformats.org/drawingml/2006/main" xmlns:r="http://schemas.openxmlformats.org/officeDocument/2006/relationships" xmlns:p="http://schemas.openxmlformats.org/presentationml/2006/main">
  <p:tag name="APLORISTAG" val="Mve3Smr0meKyLMINN.667"/>
</p:tagLst>
</file>

<file path=ppt/tags/tag626.xml><?xml version="1.0" encoding="utf-8"?>
<p:tagLst xmlns:a="http://schemas.openxmlformats.org/drawingml/2006/main" xmlns:r="http://schemas.openxmlformats.org/officeDocument/2006/relationships" xmlns:p="http://schemas.openxmlformats.org/presentationml/2006/main">
  <p:tag name="APLORISTAG" val="Mve3Smr0meKyLMINN.668"/>
</p:tagLst>
</file>

<file path=ppt/tags/tag627.xml><?xml version="1.0" encoding="utf-8"?>
<p:tagLst xmlns:a="http://schemas.openxmlformats.org/drawingml/2006/main" xmlns:r="http://schemas.openxmlformats.org/officeDocument/2006/relationships" xmlns:p="http://schemas.openxmlformats.org/presentationml/2006/main">
  <p:tag name="APLORISTAG" val="Mve3Smr0meKyLMINN.669"/>
</p:tagLst>
</file>

<file path=ppt/tags/tag628.xml><?xml version="1.0" encoding="utf-8"?>
<p:tagLst xmlns:a="http://schemas.openxmlformats.org/drawingml/2006/main" xmlns:r="http://schemas.openxmlformats.org/officeDocument/2006/relationships" xmlns:p="http://schemas.openxmlformats.org/presentationml/2006/main">
  <p:tag name="APLORISTAG" val="Mve3Smr0meKyLMINN.670"/>
</p:tagLst>
</file>

<file path=ppt/tags/tag629.xml><?xml version="1.0" encoding="utf-8"?>
<p:tagLst xmlns:a="http://schemas.openxmlformats.org/drawingml/2006/main" xmlns:r="http://schemas.openxmlformats.org/officeDocument/2006/relationships" xmlns:p="http://schemas.openxmlformats.org/presentationml/2006/main">
  <p:tag name="APLORISTAG" val="Mve3Smr0meKyLMINN.671"/>
</p:tagLst>
</file>

<file path=ppt/tags/tag63.xml><?xml version="1.0" encoding="utf-8"?>
<p:tagLst xmlns:a="http://schemas.openxmlformats.org/drawingml/2006/main" xmlns:r="http://schemas.openxmlformats.org/officeDocument/2006/relationships" xmlns:p="http://schemas.openxmlformats.org/presentationml/2006/main">
  <p:tag name="APLORISTAG" val="MMq8K+TY0y1GzdU7X.89"/>
</p:tagLst>
</file>

<file path=ppt/tags/tag630.xml><?xml version="1.0" encoding="utf-8"?>
<p:tagLst xmlns:a="http://schemas.openxmlformats.org/drawingml/2006/main" xmlns:r="http://schemas.openxmlformats.org/officeDocument/2006/relationships" xmlns:p="http://schemas.openxmlformats.org/presentationml/2006/main">
  <p:tag name="APLORISTAG" val="Mve3Smr0meKyLMINN.672"/>
</p:tagLst>
</file>

<file path=ppt/tags/tag631.xml><?xml version="1.0" encoding="utf-8"?>
<p:tagLst xmlns:a="http://schemas.openxmlformats.org/drawingml/2006/main" xmlns:r="http://schemas.openxmlformats.org/officeDocument/2006/relationships" xmlns:p="http://schemas.openxmlformats.org/presentationml/2006/main">
  <p:tag name="APLORISTAG" val="Mve3Smr0meKyLMINN.673"/>
</p:tagLst>
</file>

<file path=ppt/tags/tag632.xml><?xml version="1.0" encoding="utf-8"?>
<p:tagLst xmlns:a="http://schemas.openxmlformats.org/drawingml/2006/main" xmlns:r="http://schemas.openxmlformats.org/officeDocument/2006/relationships" xmlns:p="http://schemas.openxmlformats.org/presentationml/2006/main">
  <p:tag name="APLORISTAG" val="Mve3Smr0meKyLMINN.626"/>
</p:tagLst>
</file>

<file path=ppt/tags/tag633.xml><?xml version="1.0" encoding="utf-8"?>
<p:tagLst xmlns:a="http://schemas.openxmlformats.org/drawingml/2006/main" xmlns:r="http://schemas.openxmlformats.org/officeDocument/2006/relationships" xmlns:p="http://schemas.openxmlformats.org/presentationml/2006/main">
  <p:tag name="APLORISTAG" val="Mve3Smr0meKyLMINN.625"/>
</p:tagLst>
</file>

<file path=ppt/tags/tag634.xml><?xml version="1.0" encoding="utf-8"?>
<p:tagLst xmlns:a="http://schemas.openxmlformats.org/drawingml/2006/main" xmlns:r="http://schemas.openxmlformats.org/officeDocument/2006/relationships" xmlns:p="http://schemas.openxmlformats.org/presentationml/2006/main">
  <p:tag name="APLORISTAG" val="Mve3Smr0meKyLMINN.623"/>
</p:tagLst>
</file>

<file path=ppt/tags/tag635.xml><?xml version="1.0" encoding="utf-8"?>
<p:tagLst xmlns:a="http://schemas.openxmlformats.org/drawingml/2006/main" xmlns:r="http://schemas.openxmlformats.org/officeDocument/2006/relationships" xmlns:p="http://schemas.openxmlformats.org/presentationml/2006/main">
  <p:tag name="APLORISTAG" val="Mve3Smr0meKyLMINN.621"/>
</p:tagLst>
</file>

<file path=ppt/tags/tag636.xml><?xml version="1.0" encoding="utf-8"?>
<p:tagLst xmlns:a="http://schemas.openxmlformats.org/drawingml/2006/main" xmlns:r="http://schemas.openxmlformats.org/officeDocument/2006/relationships" xmlns:p="http://schemas.openxmlformats.org/presentationml/2006/main">
  <p:tag name="APLORISTAG" val="Mve3Smr0meKyLMINN.674"/>
</p:tagLst>
</file>

<file path=ppt/tags/tag637.xml><?xml version="1.0" encoding="utf-8"?>
<p:tagLst xmlns:a="http://schemas.openxmlformats.org/drawingml/2006/main" xmlns:r="http://schemas.openxmlformats.org/officeDocument/2006/relationships" xmlns:p="http://schemas.openxmlformats.org/presentationml/2006/main">
  <p:tag name="APLORISTAG" val="Mve3Smr0meKyLMINN.675"/>
</p:tagLst>
</file>

<file path=ppt/tags/tag638.xml><?xml version="1.0" encoding="utf-8"?>
<p:tagLst xmlns:a="http://schemas.openxmlformats.org/drawingml/2006/main" xmlns:r="http://schemas.openxmlformats.org/officeDocument/2006/relationships" xmlns:p="http://schemas.openxmlformats.org/presentationml/2006/main">
  <p:tag name="APLORISTAG" val="Mve3Smr0meKyLMINN.676"/>
</p:tagLst>
</file>

<file path=ppt/tags/tag639.xml><?xml version="1.0" encoding="utf-8"?>
<p:tagLst xmlns:a="http://schemas.openxmlformats.org/drawingml/2006/main" xmlns:r="http://schemas.openxmlformats.org/officeDocument/2006/relationships" xmlns:p="http://schemas.openxmlformats.org/presentationml/2006/main">
  <p:tag name="APLORISTAG" val="Mve3Smr0meKyLMINN.627"/>
</p:tagLst>
</file>

<file path=ppt/tags/tag64.xml><?xml version="1.0" encoding="utf-8"?>
<p:tagLst xmlns:a="http://schemas.openxmlformats.org/drawingml/2006/main" xmlns:r="http://schemas.openxmlformats.org/officeDocument/2006/relationships" xmlns:p="http://schemas.openxmlformats.org/presentationml/2006/main">
  <p:tag name="APLORISTAG" val="MMq8K+TY0y1GzdU7X.90"/>
</p:tagLst>
</file>

<file path=ppt/tags/tag640.xml><?xml version="1.0" encoding="utf-8"?>
<p:tagLst xmlns:a="http://schemas.openxmlformats.org/drawingml/2006/main" xmlns:r="http://schemas.openxmlformats.org/officeDocument/2006/relationships" xmlns:p="http://schemas.openxmlformats.org/presentationml/2006/main">
  <p:tag name="APLORISTAG" val="Mve3Smr0meKyLMINN.590"/>
</p:tagLst>
</file>

<file path=ppt/tags/tag641.xml><?xml version="1.0" encoding="utf-8"?>
<p:tagLst xmlns:a="http://schemas.openxmlformats.org/drawingml/2006/main" xmlns:r="http://schemas.openxmlformats.org/officeDocument/2006/relationships" xmlns:p="http://schemas.openxmlformats.org/presentationml/2006/main">
  <p:tag name="APLORISTAG" val="Mve3Smr0meKyLMINN.628"/>
</p:tagLst>
</file>

<file path=ppt/tags/tag642.xml><?xml version="1.0" encoding="utf-8"?>
<p:tagLst xmlns:a="http://schemas.openxmlformats.org/drawingml/2006/main" xmlns:r="http://schemas.openxmlformats.org/officeDocument/2006/relationships" xmlns:p="http://schemas.openxmlformats.org/presentationml/2006/main">
  <p:tag name="APLORISTAG" val="Mve3Smr0meKyLMINN.595"/>
</p:tagLst>
</file>

<file path=ppt/tags/tag643.xml><?xml version="1.0" encoding="utf-8"?>
<p:tagLst xmlns:a="http://schemas.openxmlformats.org/drawingml/2006/main" xmlns:r="http://schemas.openxmlformats.org/officeDocument/2006/relationships" xmlns:p="http://schemas.openxmlformats.org/presentationml/2006/main">
  <p:tag name="APLORISTAG" val="MXGj1HVEPCZskwyh5"/>
</p:tagLst>
</file>

<file path=ppt/tags/tag644.xml><?xml version="1.0" encoding="utf-8"?>
<p:tagLst xmlns:a="http://schemas.openxmlformats.org/drawingml/2006/main" xmlns:r="http://schemas.openxmlformats.org/officeDocument/2006/relationships" xmlns:p="http://schemas.openxmlformats.org/presentationml/2006/main">
  <p:tag name="APLORISTAG" val="MXGj1HVEPCZskwyh5.1"/>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WQXBsb3Jpcy5DaGFydC5QaWVDaGFydDEAAAAPbVVudXNlZEVsZW1lbnRzE21VbnVzZWRFbGVtZW50c0xpc3QHbUxlZ2VuZBFtUmV2ZXJzZURpcmVjdGlvbg1tSGFzQ3VzdG9tU3VtEW1QaWVDaGFydEVsZW1lbnRzCm1DdXN0b21TdW0SbU1hZ25pdHVkZVByb3ZpZGVyEG1OdW1iZXJGb3JtYXRBYnMUbU51bWJlckZvcm1hdFBlcmNlbnQMbVN0YXJ0RGVncmVlEW1TaG93SW5zaWRlTGFiZWxzEm1TaG93T3V0c2lkZUxhYmVscwxtQ2VudGVyUG9pbnQHbVJhZGl1cxBDaGFydCttQ2hhcnRBcmVhEkNoYXJ0K21IYXNEYXRhTGluaxFDaGFydCttRGF0YUxpbmtJZBVDaGFydCttQXV0b0RhdGFVcGRhdGUaQ2hhcnQrbUF2YWlsYWJsZVVwZGF0ZUZpbGUTQ2hhcnQrbUxhc3RMaW5rRmlsZQxDaGFydCttU2hlZXQUQ2hhcnQrbVRyYW5zcG9zZURhdGEaQ2hhcnQrbVNlcmlhbGl6ZWREYXRhVGFibGUQQ2hhcnQrbUZpeGVkUm93cxNDaGFydCttRml4ZWRDb2x1bW5zG0NoYXJ0K21GaWxsQ29sb3JTY2hlbWVJbmRleBxDaGFydCttTGluZUZvcm1hdFNjaGVtZUluZGV4HkNoYXJ0K21NYXJrZXJGb3JtYXRTY2hlbWVJbmRleA5DaGFydCttVXBkYXRlZBZDaGFydCttUmVxdWlyZWRBcmVhU2V0E0NoYXJ0K21SZXF1aXJlZEFyZWEPQ29udGFpbmVyK21MZWZ0DkNvbnRhaW5lcittVG9wEENvbnRhaW5lcittV2lkdGgRQ29udGFpbmVyK21IZWlnaHQcQ29udGFpbmVyK21Db250YWluZXJTaGFwZVBvcw1Db250YWluZXIrbUlkEUNvbnRhaW5lcittVHlwZUlkFkNvbnRhaW5lcittRGVmYXVsdEZvbnQdQ29udGFpbmVyK21EZWZhdWx0Rm9udEZhckVhc3QcQ29udGFpbmVyK21EZWZhdWx0VGV4dEZvcm1hdBZDb250YWluZXIrbVRoZW1lQ29sb3JzEkNvbnRhaW5lcittQ2xvbmluZxNDb250YWluZXIrbVBlcnNEYXRhGERhdGFPYmplY3QrbUNoaWxkT2JqZWN0cxJEYXRhT2JqZWN0K21QYXJlbnQVRGF0YU9iamVjdCttQ29udGFpbmVyGURhdGFPYmplY3QrbVZpc3VhbE9iamVjdHMDAwQAAAQCBAQEAAAABAAEAAMAAQEHAAQHBwAAAAAABAAAAAAEAQABAQQEAAIDBAQDqAFTeXN0ZW0uQ29sbGVjdGlvbnMuT2JqZWN0TW9kZWwuQ29sbGVjdGlvbmAxW1tBcGxvcmlzLkNoYXJ0LlBpZUNoYXJ0K1VudXNlZEVsZW1lbnQsIEFwbG9yaXMuQ2hhcnQsIFZlcnNpb249NC4wLjAuMTQ4NiwgQ3VsdHVyZT1uZXV0cmFsLCBQdWJsaWNLZXlUb2tlbj0xNmZjMTNhMjI2YzBlOTUxXV2eAVN5c3RlbS5Db2xsZWN0aW9ucy5HZW5lcmljLkxpc3RgMVtbQXBsb3Jpcy5DaGFydC5QaWVDaGFydCtVbnVzZWRFbGVtZW50LCBBcGxvcmlzLkNoYXJ0LCBWZXJzaW9uPTQuMC4wLjE0ODYsIEN1bHR1cmU9bmV1dHJhbCwgUHVibGljS2V5VG9rZW49MTZmYzEzYTIyNmMwZTk1MV1dHEFwbG9yaXMuQ2hhcnQuUGllQ2hhcnRMZWdlbmQCAAAAAQGhAUFwbG9yaXMuQmFzZS5PYmplY3RzLkRhdGFPYmplY3RDb2xsZWN0aW9uYDFbW0FwbG9yaXMuQ2hhcnQuUGllQ2hhcnRFbGVtZW50LCBBcGxvcmlzLkNoYXJ0LCBWZXJzaW9uPTQuMC4wLjE0ODYsIEN1bHR1cmU9bmV1dHJhbCwgUHVibGljS2V5VG9rZW49MTZmYzEzYTIyNmMwZTk1MV1dAwAAACdBcGxvcmlzLkNoYXJ0LlN0YW5kYXJkTWFnbml0dWRlUHJvdmlkZXICAAAAGkFwbG9yaXMuQ2hhcnQuTnVtYmVyRm9ybWF0AgAAABpBcGxvcmlzLkNoYXJ0Lk51bWJlckZvcm1hdAIAAAALAQEVU3lzdGVtLkRyYXdpbmcuUG9pbnRGBAAAAAsZU3lzdGVtLkRyYXdpbmcuUmVjdGFuZ2xlRgQAAAABC1N5c3RlbS5HdWlkAQIBHEFwbG9yaXMuQ2hhcnQuRGF0YS5EYXRhVGFibGUCAAAACAgICAgBARlTeXN0ZW0uRHJhd2luZy5SZWN0YW5nbGVGBAAAAAsLCwsVU3lzdGVtLkRyYXdpbmcuUG9pbnRGBAAAAAgfQXBsb3Jpcy5CYXNlLk9iamVjdHMuVGV4dEZvcm1hdAMAAAAWU3lzdGVtLkRyYXdpbmcuQ29sb3JbXQQAAAA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KCQUAAAAKAAAJBgAAAAoJBwAAAAkIAAAACQkAAACqApRDAQEFCgAAABVTeXN0ZW0uRHJhd2luZy5Qb2ludEYCAAAAAXgBeQAACwsEAAAA8ReCQ0KILUNCqCJDBQsAAAAZU3lzdGVtLkRyYXdpbmcuUmVjdGFuZ2xlRgQAAAABeAF5BXdpZHRoBmhlaWdodAAAAAALCwsLBAAAAAcAIEEGAC5B4i/6Q0KookMABAwAAAALU3lzdGVtLkd1aWQLAAAAAl9hAl9iAl9jAl9kAl9lAl9mAl9nAl9oAl9pAl9qAl9rAAAAAAAAAAAAAAAIBwcCAgICAgICAgAAAAAAAAAAAAAAAAAAAAAACgoJDQAAAAAKCgkOAAAAAQAAAAAAAAAAAAAAAAABDwAAAAsAAABVFZhDqqqwQqabS0IAACBCzltCQxoAL0PxFwJEQoitQwEQAAAACgAAALfxkUMa4DlDBhEAAAAQWEdqMUhWRVBDWnNrd3loNQAAAAAKCgkSAAAACRMAAAAACgkUAAAACgkBAAAACRUAAAAEBQAAAJ4BU3lzdGVtLkNvbGxlY3Rpb25zLkdlbmVyaWMuTGlzdGAxW1tBcGxvcmlzLkNoYXJ0LlBpZUNoYXJ0K1VudXNlZEVsZW1lbnQsIEFwbG9yaXMuQ2hhcnQsIFZlcnNpb249NC4wLjAuMTQ4NiwgQ3VsdHVyZT1uZXV0cmFsLCBQdWJsaWNLZXlUb2tlbj0xNmZjMTNhMjI2YzBlOTUxXV0DAAAABl9pdGVtcwVfc2l6ZQhfdmVyc2lvbgQAACZBcGxvcmlzLkNoYXJ0LlBpZUNoYXJ0K1VudXNlZEVsZW1lbnRbXQIAAAAICAkWAAAAAAAAAAAAAAAFBgAAAKEBQXBsb3Jpcy5CYXNlLk9iamVjdHMuRGF0YU9iamVjdENvbGxlY3Rpb25gMVtbQXBsb3Jpcy5DaGFydC5QaWVDaGFydE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lBpZUNoYXJ0RWxlbWVudCwgQXBsb3Jpcy5DaGFydCwgVmVyc2lvbj00LjAuMC4xNDg2LCBDdWx0dXJlPW5ldXRyYWwsIFB1YmxpY0tleVRva2VuPTE2ZmMxM2EyMjZjMGU5NTFdXQMAAACXAVN5c3RlbS5Db2xsZWN0aW9ucy5HZW5lcmljLkxpc3RgMVtbQXBsb3Jpcy5DaGFydC5QaWVDaGFydE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FwAAAAkYAAAACQEAAAAJAQAAAAkZAAAABQcAAAAnQXBsb3Jpcy5DaGFydC5TdGFuZGFyZE1hZ25pdHVkZVByb3ZpZGVyBAAAABJtTWFnbml0dWRlQWJzb2x1dGURbU1hZ25pdHVkZVBlcmNlbnQSbUFic29sdXRlVmFyaWFibGVzEW1QZXJjZW50VmFyaWFibGVzAAAHBwgICAgCAAAAAAAAAAAAAAAJGgAAAAkbAAAABQg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BZBcGxvcmlzLkNoYXJ0LlBpZUNoYXJ0AgAAABZBcGxvcmlzLkNoYXJ0LlBpZUNoYXJ0AgAAAAgBCAgBCAgIAgAAAAkBAAAACQEAAAABAAAAAQYcAAAAAS4DAAAABh0AAAABLAYeAAAAAS0GHwAAAAErAQAAAAAKBiAAAAABJQYhAAAACE0vZC95eXl5AAAAAAoAAAAAAAAAAAEJAAAACAAAAAkBAAAACQEAAAAAAAAAAAkcAAAAAwAAAAkdAAAACR4AAAAJHwAAAAEAAAAACgYiAAAAASUJIQAAAAEAAAAKAAAAAAAAAAAPDQAAAGMsAAACUEsDBBQABgAIAAAAIQDQK+LPgwEAAIA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MVd1KwzAUvhd8h5JbWbNNEJF1u3B6qQPnA8TmdA1Lk5CT/b29p9kUHbVzbKA3DW3y/SXk62C0rnSyBI/Kmoz10i5LwORWKjPL2Ov0sXPLEgzCSKGtgYxtANloeHkxmG4cYEJogxkrQ3B3nGNeQiUwtQ4MzRTWVyLQq59xJ/K5mAHvd7s3PLcmgAmdUHOw4WAMhVjokDys6fPWCcFZcr9dV0tlTDinVS4CGeX1LG/ELVtxSyP3zHVsUagcpM0XFVlKCT/2YkXxfxDwoLHFWYPCLnpKyOgeS+XwahfhmfbeKwnJRPjwJCoKytear6yfv1k7T9v3oUFtLw86D0JiCRAqncYxrYQyv9CPi5HHoXdmI3W+SHykj/4/8XH9Rz4CXTDg8Xn6kUSaAweAYaMBz5x2S3pIuRQe5EvwdBfPbuAr9wEfua3qZsDT9/v7XfzgbZOnWpp465Aa08Pxh/DRPDW644gIfFDQ2j2filS3xwvulQ/UfS5BNmjz+P8YvgM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KgRO/ILAQAA1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wWrDMAyG74O9g9F9cZJuZYw6vZRBr1v3ACZR4tDEDpa6LW8/k21pCiW7hF0MkvD/f/yWN9vPthHv6Kl2VkESxSDQ5q6obaXg7fB89wiCWNtCN86igh4JttntzeYFG83hEpm6IxFULCkwzN2TlJQbbDVFrkMbJqXzreZQ+kp2Oj/qCmUax2vppxqQXWiKfaHA74sViEPfBee/tV1Z1jnuXH5q0fIVC/nh/JEMIgdR7StkBWOL5DBZRYEY5HWY+yVhOISEZ5ChlMOZzDE8LMlA3DfhRcc0vus5+/Wi9kZ7LF7Zh3WbUkzbczDJkjDjJpzjGFs/yzH7MOk/w6S/yciLv5h9AQAA//8DAFBLAwQUAAYACAAAACEAIq7nFNMBAAAmAwAADwAAAHhsL3dvcmtib29rLnhtbIxSTW+cMBC9V+p/sHxnbQxsohUQpfuhrlRVkdImZ9eYxQq2kW0KUdX/3gG6263SQy/MjOcx82bm5XejbtF36byypsDximIkjbCVMqcCf/1yiG4x8oGbirfWyAK/So/vyvfv8sG6l2/WviAoYHyBmxC6DSFeNFJzv7KdNJCprdM8QOhOxHdO8so3UgbdEkbpmmiuDF4qbNz/1LB1rYTcWdFracJSxMmWB6DvG9V5XOa1auXTMhHiXfeZa+A9thi13Id9pYKsCpxBaAf514Pruw+9aiHL1pSmmJSXKR8c4n2wW6thCO8flAg9OAWmE2raw5OSg//zwxSi8VmZyg4FTm4oLPb1HDLKIBzm5LOqQgMd43iCLG8fpTo1Ac7BknRuQK46zAuETrNFZp7ucVpqDJea7BEGAN9tFDjuWMUTxTdodoUG/4Jm/0QnV2jwL+hkQpO5OFASvBWwqcnMJFJKKTAR1ojeOTjYFjK/dybH8MmHMgeLeqcK/OMmY8k+2yURyw5JdJ/taRSvExat0wPL0i1jacZ+ntWixzdy0Uo4620dVsJqsigFFCaIHIWcBXe7CK7M9bi5d6I57tCh5Sc44zw1AIHQ9J2ZkbPEy18A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OdldbjWAAAAuAEAACMAAAB4bC93b3Jrc2hlZXRzL19yZWxzL3NoZWV0MS54bWwucmVsc6yQyWoDMQxA74X+g9E91kwOoZR4cgmFXEP6AcLWLHS8YLlp8vd1KIUMBHrpUdvTk7a7i5/VmbNMMRhodQOKg41uCoOB99Pb6gWUFAqO5hjYwJUFdt3z0/bIM5U6JOOURFVKEANjKekVUezInkTHxKFW+pg9lRrmARPZDxoY102zwXzPgG7BVAdnIB9cC+p0TXXz3+zY95PlfbSfnkN5sALPft5n+qrHVSrlgYsBrdH95OSu3uraC/jYaf2fTjb6m64sjH6Tra7/u2ng4t/dNwAAAP//AwBQSwMEFAAGAAgAAAAhABSfCBzaAQAAVQMAABgAAAB4bC93b3Jrc2hlZXRzL3NoZWV0Mi54bWyMk8tu2zAQRfcF+g8E9xYp2bFsw3KQxAgaIEGNPpI1TY0kwiIpkHQto8i/dyRVaQFvvJE4fBzO3Dtc37a6Jr/AeWVNRuOIUwJG2lyZMqM/fzxOFpT4IEwuamsgo2fw9Hbz+dP6ZN3BVwCBIMH4jFYhNCvGvKxACx/ZBgyuFNZpETB0JfONA5H3h3TNEs7nTAtl6EBYuWsYtiiUhK2VRw0mDBAHtQiYv69U40ealtfgtHCHYzORVjeI2KtahXMPpUTL1VNprBP7Gutu45mQI7sPLvBaSWe9LUKEODYkelnzki0ZkjbrXGEFnezEQZHRu5iyzboX51XByf83Jp3We2sP3cJTnlHebWUXex97rXeO7IWHB1u/qTxUaCp6mkMhjnX4N7mIFtOET+Pk5mPxmz19AVVWAY/MsNSu4lV+3oKXKPXfW/tLtyIIzKARJbwIVyrjSQ1FtyVKKXEDox8H2/SzeMvehmD1GFXYCYCO82hKSWFtGAPkQhuefej/5OhURn/PZ5wn6TSe3M3v+eSm+yTzlE/SNInv0we+nHP+Prqj2+us0UIyaCX0rbgYWnGz1u1q9/xKXmyOrqNyXw3ssM5+/PZdiq4ZBv0xTXRhTJZ9PIjNHwAAAP//AwBQSwMEFAAGAAgAAAAhABSfCBzaAQAAVQMAABgAAAB4bC93b3Jrc2hlZXRzL3NoZWV0My54bWyMk8tu2zAQRfcF+g8E9xYp2bFsw3KQxAgaIEGNPpI1TY0kwiIpkHQto8i/dyRVaQFvvJE4fBzO3Dtc37a6Jr/AeWVNRuOIUwJG2lyZMqM/fzxOFpT4IEwuamsgo2fw9Hbz+dP6ZN3BVwCBIMH4jFYhNCvGvKxACx/ZBgyuFNZpETB0JfONA5H3h3TNEs7nTAtl6EBYuWsYtiiUhK2VRw0mDBAHtQiYv69U40ealtfgtHCHYzORVjeI2KtahXMPpUTL1VNprBP7Gutu45mQI7sPLvBaSWe9LUKEODYkelnzki0ZkjbrXGEFnezEQZHRu5iyzboX51XByf83Jp3We2sP3cJTnlHebWUXex97rXeO7IWHB1u/qTxUaCp6mkMhjnX4N7mIFtOET+Pk5mPxmz19AVVWAY/MsNSu4lV+3oKXKPXfW/tLtyIIzKARJbwIVyrjSQ1FtyVKKXEDox8H2/SzeMvehmD1GFXYCYCO82hKSWFtGAPkQhuefej/5OhURn/PZ5wn6TSe3M3v+eSm+yTzlE/SNInv0we+nHP+Prqj2+us0UIyaCX0rbgYWnGz1u1q9/xKXmyOrqNyXw3ssM5+/PZdiq4ZBv0xTXRhTJZ9PIjNHwAAAP//AwBQSwMEFAAGAAgAAAAhAGcjk9v4AgAAtAYAABgAAAB4bC93b3Jrc2hlZXRzL3NoZWV0MS54bWyMVclu2zAQvRfoPxC621q8C5KCOEbQACkaNG1ypinKJiKKKklvKPrvHZKWLNsJEAGWuMy8NzN8HCc3e16iLZWKiSr1wn7gIVoRkbNqlXq/f933ph5SGlc5LkVFU+9AlXeTff2S7IR8U2tKNQKESqXeWus69n1F1pRj1Rc1rWCnEJJjDVO58lUtKc6tEy/9KAjGPses8hxCLD+DIYqCEboQZMNppR2IpCXWEL9as1o1aPv8U3i5xDvItYmnE+LC7bR44fAqPs6IFEoUuk8E911o11nO/NlZnpxcAb1TLI7l26buAXANyS1ZyfTBpushTuKHVSUkXpZwIvtwiEknSnwN//k4ASlLcga1NYJAkhapdxvG86HnZ4k9uRdGd6ozRhovn2lJiaY5CMhDRhhLId6M4QMsBYCorIFBxESzLb2jZQnAQ9DWH8dhCfyWIUtO44bt3krpSaIlVvROlK8s12ugBMnmtMCbUp8Wp/3pIAoGYTRqN3+K3TfKVmsNLkBsyxbnhwVVBJRk4oQUiSiBDt6IM3MfoNh479JybF1gpQ/mAAZHR+cSHV3gu/vQZXzmMmhYxoMpRPaxW2jcfBejLdUCa5wlUuwQiB2CVTU2VzGMIyg6MYu3ZjX1IktoFuZuAXggZwVm2yxI/K3BhR9AtXiQQQcPmcJF0xbX7KbepAMTtjCWee4sRo6iH4bjoPucrM9IoRaXpMNTMmb3nDS6IHUW4yPpaBbOus+ktT4jNTo8Vc5m2iE1u+ekgxbGZeosGtLognTaWjtSp2x3dDVe0e9YrlilUEkLI8M+1FQ6ndqxFrVdBSUvhdaCN7M1NFMKJxr0IelCCN1MQCQlXWFyOLYwJGOWp558yK2A6F4/Kp0l8EUbyVLv73gYBNFkEPZux/OgNzKvaDwJepNJFM4nd8EMju5f02I43IeLXv9uf+GY+HRPqO30U9cBs4Tv46fHF/Rd5HBz4Ob+qOgT1MCOX58JNhfK3kTwhRjN2wbrt/832X8AAAD//wMAUEsDBBQABgAIAAAAIQCPkHsvmAMAABoLAAANAAAAeGwvc3R5bGVzLnhtbLRW227bOBB9X6D/QBDooyPbdVLbkFTUTrQo0C0CxAvsKyVRMlFeBJJO7S7233dIypJyMeKmbR5iXmbOnLmK8Ye94OieasOUTPDkYowRlYUqmawT/PcmG80xMpbIknAlaYIP1OAP6Zs/YmMPnN5tKbUIIKRJ8NbaZhlFpthSQcyFaqiEm0ppQSxsdR2ZRlNSGqckeDQdj68iQZjEAWEpinNABNFfd82oUKIhluWMM3vwWBiJYvmplkqTnAPV/WRGiiO23zyBF6zQyqjKXgBcpKqKFfQpy0W0iAApjeVOZMIaVKidtBCt7giFm08lHF7NMApOr1UJNMYX47c4SuOo1U7jSskeBKQ9t+VXqb7JzF0FZCeVxuY7uiccTiYOo1BcaWQhwADsTyQRNEisCWe5Zk6sIoLxQzieugOfk1ZOMIiQJxQshP+5k2ptLdxtMMVkSfcU3Jo/srYhWyWIE3xiLBriHjF/N//z7fzJOEd3RJpBDDxlA77AXZfeGaTXHaQxFJqlWmZOs11vDg2kQEJPBBgv94J0rclhMr08X8EozkrHol77xOs6T3AGf+ubAJO3F12aoPggJdGAMOwCrRfInbR1836ROdAfseVNQjxzpUuYLcOGCUdpzGllAVWzeut+rWqcDWUtNGIal4zUShIOy+io0S4AtqCc37n580/VYU8hTvtq0IgwyVwhup50S0hQuwx4YQP4D5QWvdL0pBIiTcMPGYB76LAD/H638n73+4+c1VLQocKtVpYW1o/dsU/a0Kvg48C9+avcQ/vqeT/PCk6nHRw+OuUnwYOovQYt8wE7F+sdRsO0PWJ2CqudxU+KAFL7DNoEBz+/7EROdea/W27KDtPd7Vr24W6QXvdNgEEcso22SrPvUCdugheQfhoG7756VHYPiIKvJ6q1dftI4hyiv5ba6UZ6BbW+nn5RFJ8vw/NK5wUK3zRpNnQPDe8rNnIZjFzDQosO5tGDadT1M3If6QR/cRXF4XPf9iTKd4xbJrsOfaxwS7UrmqMGpH2gET4jnQqwKPf9NPQTxbp3kJ+THS8IUUkrsuN2010muF//RUu2E9AfrdQtu1fWQyS4X392Q3ty5aYWxOSzgXcK/KKdZgn+92b1fnF9k01H8/FqPpq9o5ejxeXqenQ5W6+ur7PFeDpe/zd4lv3Eo8w/HqGVJrOl4fB0062zLfm7/izBg02g72cu0IZEHp2ITPeoTf8HAAD//wMAUEsDBBQABgAIAAAAIQC5fHZgnQIAAA0HAAAbAAAAeGwvZHJhd2luZ3Mvdm1sRHJhd2luZzEudm1s7FXLbtswELznKwjm4IsNPZoELS0JCFLk1hbo8xjQEm0xIbmCtJblfH2XlOzEDVoE6KGXCrZM7g53d4YDOBusYfR1nehzvm2d6MpaWdktrC5b6GCNixKs6K3hZxMQ/gSE9VqXSow/xyPDK46ooVRPTSyNUyM2IoqsLL9b8yXM9a3VvDhjGYiulo0ycg9bZL1QA+ZcVRp91qd1ZWVzkmCVRJnzhEe+QHRSocj6sSDuG8V0lfO7IabnDtM45awEaKtOP6qcp8lVHM/DmzOq0VBfj6GujcQ65zaex2ZCjLiTdzyocURqiC08KHYP2nW4N1TcalRtmI/RQL4e27Sy0sphoAsPOUfftgTnVIl+2py3tJpIPWNxpPScTpfE6SVn47nzE47jCLMGOo0anJCrDswW1ZKYWdlutFsYtUaRpEmDyymC0IiUtjtdYS1S7Za10psaRQA9LrSr1CASX6PXnV5po3Eval1Vyi1tB4tdK5tFaC3QH5yxtTamBANtzs/X9KjEEyaJFFqoiK7cIhwk9GC6HUKnT3B/v14/kqyCHQM3irbqym2r6GpHsY4K/6KmA6eOV4DkqxUMbBLHT1xprzcptJAGhR9m5vuxrNL9AeePUVpvnPCazYosomwYK+rFVDRsB3Fj/PW+J2+yT6t7Kv01XOpHwNEoLBvEB+jVD431jTKmC/R89AsZ8mX02pU1tGEkls5Zcjln8dyvLubskjbJnL3LokE8w1Gta+JxS2IWt9J0KuQPkUBuEJ9hV8Q+4RdT7IYcYl2R+PC09tL73ZEVYTMiHfz7W09e/Z0nr96eWjKJj55M0gtaT65MPO7gyvS/K/+NK8mBkysTcuYb+tDXBy+C7578+2pfBgO+9GWw6+t8GdF/YPETAAD//wMAUEsDBBQABgAIAAAAIQD3zkxbzAAAACYBAAAUAAAAeGwvc2hhcmVkU3RyaW5ncy54bWx8j9FKAzEQRd8L/Ycw4KPNKiIiSUoRBEFBaPsBYTPdDWxm1sys2L83Ir6I+HjmnoF73fajTOYdq2QmD1ebDgxSzynT4OF4eLy8AyMaKcWJCT2cUWAb1isnoqb9kngYVed7a6UfsUTZ8IzUkhPXErVhHazMFWOSEVHLZK+77taWmAlMzwuphxswC+W3BR9+ODjJwWm4cFaDs1/wfXh63e33Zr3aJZ619f6dv3DCGhWbcsB+JJ54OJuj/KE+55IV07+mbTvDJwAAAP//AwBQSwMEFAAGAAgAAAAhAPfsR0A2AQAAEg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X0vDMBTF3wW/Q8l7m3abRULbgcoQcSBYUXy7JHdbsPlDEu327c26WSfz8XLO/XHOvdV8q7rkC52XRtekyHKSoOZGSL2uyUu7SK9J4gNoAZ3RWJMdejJvLi8qbhk3Dp+cseiCRJ9EkvaM25psQrCMUs83qMBn0aGjuDJOQYijW1ML/APWSCd5XlKFAQQEoHtgakciOSIFH5H203UDQHCKHSrUwdMiK+ivN6BT/t+FQTlxKhl2NnY6xj1lC34QR/fWy9HY933WT4cYMX9B35aPz0PVVOr9rTiSphKccYcQjGsqejrEw3XgwzLeeCVR3OyaB6MhbEAn98ZFAEpd0XNXJA4FmDpuJjETOzT4kV6nt3ftgjSTvCjTfJbmZVtcsVnJJtP3fYq/gBjs7IvNNwAAAP//AwBQSwMEFAAGAAgAAAAhAKWHi/cYAQAAKQIAABAAAAB4bC9jb21tZW50czEueG1svJHPSsQwEMbvgu8Q5u6m7UFWabIouCB42MP6ALGdbgP5UzLp0vXpndqtB8GrEELmy+T7fknq3eSdOGMiG4OCclOAwNDE1oaTgvfj/m4LgrIJrXExoIILEuz07U3dRO8xZBJsEEhBn/PwKCU1PXpDmzhg4J0uJm8yl+kkaUhoWuoRs3eyKop76Y0NoGsz5j4mWhdS1/JHuua8Wcp6DRUJOwXPJYil7bVVULBPxombEo8DTx/sQ5/ibJyCB+CiiS4mYUOLE/KJbTmLaR9DXpqOpo/ezGJnvHWXRa1mQX47Zn2wKNDhfPN5d0TBpqMPteRgyaFyYZBX7F/IT9X/I79ccVukJtkh80fT37gr+PLea0X6CwAA//8DAFBLAwQUAAYACAAAACEAvyvrnpEBAAA+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0FP4zAQhe9I+x8i36nTFiFUOUYIdsUBRKUW9mycSWPh2pFniFp+PZNEpemye9nbzLynl89jR13vtj5rIaGLoRDTSS4yCDaWLmwK8bz+dX4lMiQTSuNjgELsAcW1/nGmlik2kMgBZhwRsBA1UbOQEm0NW4MTlgMrVUxbQ9ymjYxV5SzcRfu+hUBylueXEnYEoYTyvPkKFEPioqX/DS2j7fjwZb1vGFirm6bxzhriU+pHZ1PEWFH2aKwLFLHOfu4seCXHNsWcK7DvydFe50qOW7WyxsMtf0JXxiMoeRyoezDd+pbGJdSqpUULlmLK0H3wAmciezUIHVghWpOcCcSAnW1o+to3SEn/jukNawBCJdkwDPty7B3X7kLPewMXp8YuYABh4RRx7cgDPlVLk+gvxPMxcc8w8A44q45vOub7Iu2l2b+lgXR8qn5RzPcH0YMLb/jcrOOdIThs/HSoVrVJUPIlHfTjQN3zspPvQm5rEzZQHjzfhe6lvAy/g55eTPJ5zlc/mil5fPj6EwAA//8DAFBLAQItABQABgAIAAAAIQDQK+LPgwEAAIAGAAATAAAAAAAAAAAAAAAAAAAAAABbQ29udGVudF9UeXBlc10ueG1sUEsBAi0AFAAGAAgAAAAhAFB8TsH2AAAATAIAAAsAAAAAAAAAAAAAAAAAvAMAAF9yZWxzLy5yZWxzUEsBAi0AFAAGAAgAAAAhAKgRO/ILAQAA1AMAABoAAAAAAAAAAAAAAAAA4wYAAHhsL19yZWxzL3dvcmtib29rLnhtbC5yZWxzUEsBAi0AFAAGAAgAAAAhACKu5xTTAQAAJgMAAA8AAAAAAAAAAAAAAAAALgkAAHhsL3dvcmtib29rLnhtbFBLAQItABQABgAIAAAAIQD7YqVtlAYAAKcbAAATAAAAAAAAAAAAAAAAAC4LAAB4bC90aGVtZS90aGVtZTEueG1sUEsBAi0AFAAGAAgAAAAhAOdldbjWAAAAuAEAACMAAAAAAAAAAAAAAAAA8xEAAHhsL3dvcmtzaGVldHMvX3JlbHMvc2hlZXQxLnhtbC5yZWxzUEsBAi0AFAAGAAgAAAAhABSfCBzaAQAAVQMAABgAAAAAAAAAAAAAAAAAChMAAHhsL3dvcmtzaGVldHMvc2hlZXQyLnhtbFBLAQItABQABgAIAAAAIQAUnwgc2gEAAFUDAAAYAAAAAAAAAAAAAAAAABoVAAB4bC93b3Jrc2hlZXRzL3NoZWV0My54bWxQSwECLQAUAAYACAAAACEAZyOT2/gCAAC0BgAAGAAAAAAAAAAAAAAAAAAqFwAAeGwvd29ya3NoZWV0cy9zaGVldDEueG1sUEsBAi0AFAAGAAgAAAAhAI+Qey+YAwAAGgsAAA0AAAAAAAAAAAAAAAAAWBoAAHhsL3N0eWxlcy54bWxQSwECLQAUAAYACAAAACEAuXx2YJ0CAAANBwAAGwAAAAAAAAAAAAAAAAAbHgAAeGwvZHJhd2luZ3Mvdm1sRHJhd2luZzEudm1sUEsBAi0AFAAGAAgAAAAhAPfOTFvMAAAAJgEAABQAAAAAAAAAAAAAAAAA8SAAAHhsL3NoYXJlZFN0cmluZ3MueG1sUEsBAi0AFAAGAAgAAAAhAPfsR0A2AQAAEgIAABEAAAAAAAAAAAAAAAAA7yEAAGRvY1Byb3BzL2NvcmUueG1sUEsBAi0AFAAGAAgAAAAhAKWHi/cYAQAAKQIAABAAAAAAAAAAAAAAAAAAXCQAAHhsL2NvbW1lbnRzMS54bWxQSwECLQAUAAYACAAAACEAvyvrnpEBAAA+AwAAEAAAAAAAAAAAAAAAAACiJQAAZG9jUHJvcHMvYXBwLnhtbFBLBQYAAAAADwAPAOQDAABpKAAAAAAPDgAAAAEAAAAIAgAAAAUS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YjAAAABUFyaWFsBiQAAAAGK21uLWVhCSUAAAABAAkmAAAABxMAAAAAAQAAABEAAAAEFFN5c3RlbS5EcmF3aW5nLkNvbG9yBAAAAAUnAAAAFFN5c3RlbS5EcmF3aW5nLkNvbG9yBAAAAAV2YWx1ZQVzdGF0ZQprbm93bkNvbG9yBG5hbWUAAAABCQcHBAAAAAAAAAAAAAAAAAAAAAoBKAAAACcAAAAAAAD//////wIAAAAKASkAAAAnAAAA//////////8CAAAACgEqAAAAJwAAAE5BIv//////AgAAAAoBKwAAACcAAADe3Nv//////wIAAAAKASwAAAAnAAAAfmk///////8CAAAACgEtAAAAJwAAAIyEcv//////AgAAAAoBLgAAACcAAAAlIe3//////wIAAAAKAS8AAAAnAAAANDtG//////8CAAAACgEwAAAAJwAAAHSYw///////AgAAAAoBMQAAACcAAAAelPf//////wIAAAAKATIAAAAnAAAAHpT3//////8CAAAACgEzAAAAJwAAACUh7f//////AgAAAAoBNAAAACcAAAAAAAD//////wIAAAAKATUAAAAnAAAA//////////8CAAAACgE2AAAAJwAAAE5BIv//////AgAAAAoBNwAAACcAAADe3Nv//////wIAAAAKBBQAAACYAVN5c3RlbS5Db2xsZWN0aW9ucy5HZW5lcmljLkxpc3RgMVtbQXBsb3Jpcy5CYXNlLk9iamVjdHMuRGF0YU9iamVjdCwgQXBsb3Jpcy5CYXNlLCBWZXJzaW9uPTQuMC4wLjE0ODYsIEN1bHR1cmU9bmV1dHJhbCwgUHVibGljS2V5VG9rZW49MTZmYzEzYTIyNmMwZTk1MV1dAwAAAAZfaXRlbXMFX3NpemUIX3ZlcnNpb24EAAAhQXBsb3Jpcy5CYXNlLk9iamVjdHMuRGF0YU9iamVjdFtdAwAAAAgICTgAAAADAAAAAwAAAAQVAAAAlQFTeXN0ZW0uQ29sbGVjdGlvbnMuR2VuZXJpYy5MaXN0YDFbW0FwbG9yaXMuQmFzZS5VSS5WaXN1YWxPYmplY3QsIEFwbG9yaXMuQmFzZSwgVmVyc2lvbj00LjAuMC4xNDg2LCBDdWx0dXJlPW5ldXRyYWwsIFB1YmxpY0tleVRva2VuPTE2ZmMxM2EyMjZjMGU5NTFdXQMAAAAGX2l0ZW1zBV9zaXplCF92ZXJzaW9uBAAAHkFwbG9yaXMuQmFzZS5VSS5WaXN1YWxPYmplY3RbXQMAAAAICAk5AAAAAAAAAAAAAAAHFgAAAAABAAAAAAAAAAQkQXBsb3Jpcy5DaGFydC5QaWVDaGFydCtVbnVzZWRFbGVtZW50AgAAAAQXAAAAlwFTeXN0ZW0uQ29sbGVjdGlvbnMuR2VuZXJpYy5MaXN0YDFbW0FwbG9yaXMuQ2hhcnQuUGllQ2hhcnRFbGVtZW50LCBBcGxvcmlzLkNoYXJ0LCBWZXJzaW9uPTQuMC4wLjE0ODYsIEN1bHR1cmU9bmV1dHJhbCwgUHVibGljS2V5VG9rZW49MTZmYzEzYTIyNmMwZTk1MV1dAwAAAAZfaXRlbXMFX3NpemUIX3ZlcnNpb24EAAAfQXBsb3Jpcy5DaGFydC5QaWVDaGFydEVsZW1lbnRbXQIAAAAICAk6AAAAAwAAABYAAAABGAAAABQAAAAJOwAAAAMAAAADAAAAARkAAAAVAAAACTkAAAAAAAAAAAAAAA8aAAAAAAAAAAgPGwAAAAAAAAAIBSUAAAAaQXBsb3Jpcy5CYXNlLk9iamVjdHMuQ29sb3IHAAAAEkRhdGFPYmplY3QrbVBhcmVudBVEYXRhT2JqZWN0K21Db250YWluZXIFbVR5cGUEbVJHQhBtVGhlbWVDb2xvckluZGV4DG1BdXRvVXBkYXRlZAltTW9kaWZpZWQCAgAAAAAACAgIAQEDAAAACgoAAAAAAAAAAA0AAAAAAQEmAAAAJQAAAAoKAQAAAAAAAAD/////AAEHOAAAAAABAAAABAAAAAQfQXBsb3Jpcy5CYXNlLk9iamVjdHMuRGF0YU9iamVjdAMAAAAJCAAAAAkJAAAACQYAAAAKBzkAAAAAAQAAAAAAAAAEHEFwbG9yaXMuQmFzZS5VSS5WaXN1YWxPYmplY3QDAAAABzoAAAAAAQAAAAQAAAAEHUFwbG9yaXMuQ2hhcnQuUGllQ2hhcnRFbGVtZW50AgAAAAk8AAAACT0AAAAJPgAAAAoHOwAAAAABAAAABAAAAAQfQXBsb3Jpcy5CYXNlLk9iamVjdHMuRGF0YU9iamVjdAMAAAAJPAAAAAk9AAAACT4AAAAKBTwAAAAdQXBsb3Jpcy5DaGFydC5QaWVDaGFydEVsZW1lbnQUAAAABm1DaGFydAZtVmFsdWUMbURlc2NyaXB0aW9uD21DZW50ZXJEaXN0YW5jZQ1tU2hvd0luTGVnZW5kDW1PdXRzaWRlTGFiZWwMbUluc2lkZUxhYmVsCm1WaXN1YWxQaWUIbVZpc2libGUJbUV4Y2VsUm93FW1JbnNpZGVMYWJlbFBvc2l0aW9ucxdtSW5zaWRlTGFiZWxBbmNob3JNb2RlcxRtSW5zaWRlTGFiZWxQb3NpdGlvbhZtT3V0c2lkZUxhYmVsUG9zaXRpb25zGG1PdXRzaWRlTGFiZWxBbmNob3JNb2RlcxVtT3V0c2lkZUxhYmVsUG9zaXRpb24YRGF0YU9iamVjdCttQ2hpbGRPYmplY3RzEkRhdGFPYmplY3QrbVBhcmVudBVEYXRhT2JqZWN0K21Db250YWluZXIZRGF0YU9iamVjdCttVmlzdWFsT2JqZWN0cwQCAgAABAQEAAAEBAAEBAADBAQDFkFwbG9yaXMuQ2hhcnQuUGllQ2hhcnQCAAAACwEVQXBsb3Jpcy5CYXNlLlVJLkxhYmVsAwAAABVBcGxvcmlzLkJhc2UuVUkuTGFiZWwDAAAAGUFwbG9yaXMuQmFzZS5VSS5WaXN1YWxQaWUDAAAAAQgXU3lzdGVtLkRyYXdpbmcuUG9pbnRGW10EAAAAGUFwbG9yaXMuQmFzZS5BbmNob3JNb2RlW10DAAAACBdTeXN0ZW0uRHJhd2luZy5Qb2ludEZbXQQAAAAZQXBsb3Jpcy5CYXNlLkFuY2hvck1vZGVbXQMAAAAI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gGGQRWDi2yvT8GPwAAABBJUEFTUyANCkFkb3B0ZXJzAAAAAAEJQAAAAAlBAAAACUIAAAABAgAAAAlDAAAACUQAAAAAAAAACUUAAAAJRgAAAAAAAAAJRwAAAAkBAAAACQEAAAAJSAAAAAE9AAAAPAAAAAkBAAAACAaLbOf7qfHiPwZJAAAAG01vZGVyYXRlIA0KVGVjaG5vbG9neSBVc2VycwAAAAABCUoAAAAJSwAAAAlMAAAAAQMAAAAJTQAAAAlOAAAAAAAAAAlPAAAACVAAAAAAAAAACVEAAAAJAQAAAAkBAAAACVIAAAABPgAAADwAAAAJAQAAAAgG46WbxCCw0j8GUwAAABpMaW1pdGVkIA0KVGVjaG5vbG9neSBVc2VycwAAAAABCVQAAAAJVQAAAAlWAAAAAQQAAAAJVwAAAAlYAAAAAAAAAAlZAAAACVoAAAAAAAAACVsAAAAJAQAAAAkBAAAACVwAAAAFQAAAABxBcGxvcmlzLkNoYXJ0LkNvbm5lY3RlZExhYmVsJA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CAAAAClgCAAAFXQAAACtBcGxvcmlzLkNoYXJ0LkNvbm5lY3RlZExhYmVsK2VDb25uZWN0b3JNb2RlAQAAAAd2YWx1ZV9fAAgCAAAAAAAAAAVeAAAANkFwbG9yaXMuQ2hhcnQuQ29ubmVjdGVkTGFiZWwrZUFuZ2xlZENvbm5lY3RvckRpcmVjdGlvbgEAAAAHdmFsdWVfXwAIAgAAAAAAAAABXwAAAAsAAAD//3////9//wAAAAAAAAAABWAAAAAtQXBsb3Jpcy5DaGFydC5Db25uZWN0ZWRMYWJlbCtlVGFyZ2V0QXJlYVNoYXBlAQAAAAd2YWx1ZV9fAAgCAAAAAAAAAAAAoEAAAWEAAAAKAAAAJDW+Q6kcdEIFYgAAABdBcGxvcmlzLkJhc2UuQW5jaG9yTW9kZQEAAAAHdmFsdWVfXwAIAwAAAAcAAAAAAAAAAAAAAAAJYwAAAAAAAAAJZAAAAAAABWUAAAAqQXBsb3Jpcy5CYXNlLlVJLkxhYmVsK0xpbmVBbGlnbm1lbnRPcHRpb25zAQAAAAd2YWx1ZV9fAAgDAAAAAAAAAAVmAAAAFFN5c3RlbS5EcmF3aW5nLlNpemVGAgAAAAV3aWR0aAZoZWlnaHQAAAsLBAAAAAAAUEIAAGBBAWcAAAALAAAAAAAAAAAAAAAAAAAAAAAAAF662T8JPwAAAAoJaAAAAAZpAAAAADQDAAD/////AAEKCWoAAAABAAoABUEAAAAVQXBsb3Jpcy5CYXNlLlVJLkxhYmVsHAAAAA9tQW5jaG9yUG9zaXRpb24LbUFuY2hvck1vZGUPbUFkZElubmVyTWFyZ2luFm1PZmZzZXREaXJlY3Rpb25BbmNob3IXbU9mZnNldE9ydGhvZ29uYWxBbmNob3ILbVRleHRGb3JtYXQJbVJvdGF0aW9uCm1CYWNrQ29sb3INbVVzZUJhY2tDb2xvcg5tVXNlQmFja2dyb3VuZA5tTGluZUFsaWdubWVudAltVGV4dFNpemUPbUxhYmVsUmVjdGFuZ2xlFW1Jbm5lck1hcmdpbkxlZnRSaWdodAVtVGV4dAptVmFyaWFibGVzDW1WYXJpYWJsZUxpc3QO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AAAAEAAQAAAQEBAABAwMBAAAAAAcCAAADAB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DAAAAAWsAAAAKAAAAFMmfQ0Ht60IBbAAAAGIAAAAAAAAAAAAAIEEAACDBCW0AAAAAAAAACW4AAAABAAFvAAAAZQAAAAAAAAABcAAAAGYAAAAAAGRCAABAQgFxAAAACwAAAFUVmEOqqrBCpptLQgAAIEJeutk/BnIAAAAVSVBBU1MgDQpBZG9wdGVycw0KMTIlCglzAAAABnQAAAACDQo0AwAA/////wEBCgl1AAAAAQAKAAVCAAAAGUFwbG9yaXMuQmFzZS5VSS5WaXN1YWxQaWURAAAADG1DZW50ZXJQb2ludAdtUmFkaXVzDW1TZWdtZW50U3RhcnQLbVNlZ21lbnRFbmQLbUxpbmVGb3JtYXQLbUZpbGxGb3JtYXQ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AAAQEBAAAAAAHAgAAAwAVU3lzdGVtLkRyYXdpbmcuUG9pbnRGBAAAAAsLCx9BcGxvcmlzLkJhc2UuT2JqZWN0cy5MaW5lRm9ybWF0AwAAAB9BcGxvcmlzLkJhc2UuT2JqZWN0cy5GaWxsRm9ybWF0AwAAABlTeXN0ZW0uRHJhd2luZy5SZWN0YW5nbGVGBAAAAAgIAQEIAQEPU3lzdGVtLkludFB0cltdAQMAAAABdgAAAAoAAADxF4JDQogtQ0KoIkOqApRD8uOoQwl3AAAACXgAAAABeQAAAAsAAAAAAAAAAAAAAAAAAAAAAAAA4AEAAP////8BAQoJegAAAAEACgAHQwAAAAABAAAAAgAAAAQVU3lzdGVtLkRyYXdpbmcuUG9pbnRGBAAAAAF7AAAACgAAABTJn0NB7etCAXwAAAAKAAAAldW7Q3LwgkIHRAAAAAABAAAAAgAAAAQXQXBsb3Jpcy5CYXNlLkFuY2hvck1vZGUDAAAAAX0AAABiAAAAAAAAAAF+AAAAYgAAAAYAAAAHRQAAAAABAAAAAQAAAAQVU3lzdGVtLkRyYXdpbmcuUG9pbnRGBAAAAAF/AAAACgAAACQ1vkOpHHRCB0YAAAAAAQAAAAEAAAAEF0FwbG9yaXMuQmFzZS5BbmNob3JNb2RlAwAAAAGAAAAAYgAAAAcAAAABRwAAABQAAAAJgQAAAAAAAAAAAAAAAUgAAAAVAAAACYIAAAADAAAAAwAAAAFKAAAAQAAAAApYAgAAAYMAAABdAAAAAAAAAAGEAAAAXgAAAAAAAAABhQAAAAsAAAD//3////9//wAAAAAAAAAAAYYAAABgAAAAAAAAAAAAoEAAAYcAAAAKAAAARjaKQ4mxqEMBiAAAAGIAAAADAAAAAAAAAAAAAAAACYkAAAAAAAAACYoAAAAAAAGLAAAAZQAAAAAAAAABjAAAAGYAAAAAAFxCAABgQQGNAAAACwAAAAAAAAAAAAAAAAAAAAAAAABeutk/CUkAAAAKCY4AAAAJaQAAADQDAAD/////AAEKCY8AAAABAAoAAUsAAABBAAAAAZAAAAAKAAAAfBqGQ+l2fkMBkQAAAGIAAAAAAAAAAAAAAAAAAAAACZIAAAAAAAAACZMAAAAAAAGUAAAAZQAAAAAAAAABlQAAAGYAAAAAAOhCAABAQgGWAAAACwAAAFVVWkOqKmpDJyPIQgAAIEJeutk/BpcAAAAgTW9kZXJhdGUgDQpUZWNobm9sb2d5IFVzZXJzDQo1OSUKCZgAAAAGmQAAAAINCjQDAAD/////AQEKCZoAAAABAAoAAUwAAABCAAAAAZsAAAAKAAAA8ReCQ0KILUNCqCJD8uOoQ5zmPkMJnAAAAAmdAAAAAZ4AAAALAAAAAAAAAAAAAAAAAAAAAAAAAOABAAD/////AQEKCZ8AAAABAAoAB00AAAAAAQAAAAIAAAAEFVN5c3RlbS5EcmF3aW5nLlBvaW50RgQAAAABoAAAAAoAAAB8GoZD6XZ+QwGhAAAACgAAAM1giUNCR6BDB04AAAAAAQAAAAIAAAAEF0FwbG9yaXMuQmFzZS5BbmNob3JNb2RlAwAAAAGiAAAAYgAAAAAAAAABowAAAGIAAAABAAAAB08AAAAAAQAAAAEAAAAEFVN5c3RlbS5EcmF3aW5nLlBvaW50RgQAAAABpAAAAAoAAABGNopDibGoQwdQAAAAAAEAAAABAAAABBdBcGxvcmlzLkJhc2UuQW5jaG9yTW9kZQMAAAABpQAAAGIAAAADAAAAAVEAAAAUAAAACYEAAAAAAAAAAAAAAAFSAAAAFQAAAAmmAAAAAwAAAAkAAAABVAAAAEAAAAAKWAIAAAGnAAAAXQAAAAAAAAABqAAAAF4AAAAAAAAAAakAAAALAAAA//9/////f/8AAAAAAAAAAAGqAAAAYAAAAAAAAAAAAKBAAAGrAAAACgAAAIqeMEOPp8ZAAawAAABiAAAACAAAAAAAAAAAAAAAAAmtAAAAAAAAAAmuAAAAAAABrwAAAGUAAAAAAAAAAbAAAABmAAAAAAAoQgAAYEEBsQAAAAsAAAAAAAAAAAAAAAAAAAAAAAAAXrrZPwlTAAAACgmyAAAACWkAAAA0AwAA/////wABCgmzAAAAAQAKAAFVAAAAQQAAAAG0AAAACgAAAD/ZX0Pvi8lCAbUAAABiAAAAAAAAAAAAAAAAAAAAAAm2AAAAAAAAAAm3AAAAAQABuAAAAGUAAAAAAAAAAbkAAABmAAAAAADoQgAAQEIBugAAAAsAAACqKi5DqqqhQicjyEIAACBCXrrZPwa7AAAAH0xpbWl0ZWQgDQpUZWNobm9sb2d5IFVzZXJzDQoyOSUKCbwAAAAGvQAAAAINCjQDAAD/////AQEKCb4AAAABAAoAAVYAAABCAAAAAb8AAAAKAAAA8ReCQ0KILUNCqCJDnOY+Q6oClEMJwAAAAAnBAAAAAcIAAAALAAAAAAAAAAAAAAAAAAAAAAAAAOABAAD/////AQEKCcMAAAABAAoAB1cAAAAAAQAAAAIAAAAEFVN5c3RlbS5EcmF3aW5nLlBvaW50RgQAAAABxAAAAAoAAAA/2V9D74vJQgHFAAAACgAAAGBnPEPObe5BB1gAAAAAAQAAAAIAAAAEF0FwbG9yaXMuQmFzZS5BbmNob3JNb2RlAwAAAAHGAAAAYgAAAAAAAAABxwAAAGIAAAAFAAAAB1kAAAAAAQAAAAEAAAAEFVN5c3RlbS5EcmF3aW5nLlBvaW50RgQAAAAByAAAAAoAAACKnjBDj6fGQAdaAAAAAAEAAAABAAAABBdBcGxvcmlzLkJhc2UuQW5jaG9yTW9kZQMAAAAByQAAAGIAAAAIAAAAAVsAAAAUAAAACYEAAAAAAAAAAAAAAAFcAAAAFQAAAAnKAAAAAwAAAAkAAAAFYw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QaWVDaGFydEVsZW1lbnQCAAAAAQEBCxpBcGxvcmlzLkJhc2UuT2JqZWN0cy5Db2xvcgMAAAABARpBcGxvcmlzLkJhc2UuT2JqZWN0cy5Db2xvcgMAAAADAAAACTwAAAAKAAAAAABAQQkjAAAACSQAAAAJywAAAAEACcwAAAABZAAAACUAAAAKCgEAAAAAAAAA/////wABBGgAAACWAVN5c3RlbS5Db2xsZWN0aW9ucy5HZW5lcmljLkxpc3RgMVtbQXBsb3Jpcy5CYXNlLk9iamVjdHMuVmFyaWFibGUsIEFwbG9yaXMuQmFzZSwgVmVyc2lvbj00LjAuMC4xNDg2LCBDdWx0dXJlPW5ldXRyYWwsIFB1YmxpY0tleVRva2VuPTE2ZmMxM2EyMjZjMGU5NTFdXQMAAAAGX2l0ZW1zBV9zaXplCF92ZXJzaW9uBAAAH0FwbG9yaXMuQmFzZS5PYmplY3RzLlZhcmlhYmxlW10DAAAACAgJzQAAAAEAAAABAAAABWoAAAAfQXBsb3Jpcy5CYXNlLk9iamVjdHMuUGVyc0lkRGF0YQIAAAADbUlkC21DdXN0b21EYXRhBwIIAwAAAAnOAAAACgFtAAAAEgAAAAoKAAAAAABAQQkjAAAACSQAAAAJzwAAAAAACdAAAAABbgAAACUAAAAKCgAAAAA/aX4ABQAAAAAAAXMAAABoAAAACdEAAAACAAAABwAAAAF1AAAAagAAAAnSAAAACgV3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EA/CdMAAAAJ1AAAAAEAAAD+////AAAAAAEAAAAAAAAAAAAAAAEAAAAAAAAAAAAABXg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1QAAAAnWAAAAAQAAAP7///8AAAAA/////wAAAXoAAABqAAAACdcAAAAKB4EAAAAAAQAAAAAAAAAEH0FwbG9yaXMuQmFzZS5PYmplY3RzLkRhdGFPYmplY3QDAAAAB4IAAAAAAQAAAAQAAAAEHEFwbG9yaXMuQmFzZS5VSS5WaXN1YWxPYmplY3QDAAAACUIAAAAJQQAAAAlAAAAACgWJ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lBpZUNoYXJ0RWxlbWVudAIAAAABAQELGkFwbG9yaXMuQmFzZS5PYmplY3RzLkNvbG9yAwAAAAEBGkFwbG9yaXMuQmFzZS5PYmplY3RzLkNvbG9yAwAAAAMAAAAJPQAAAAoAAAAAAEBBCSMAAAAJJAAAAAnYAAAAAQAJ2QAAAAGKAAAAJQAAAAoKAQAAAAAAAAD/////AAEBjgAAAGgAAAAJ2gAAAAEAAAADAAAAAY8AAABqAAAACdsAAAAKAZIAAAASAAAACgoAAAAAAEBBCSMAAAAJJAAAAAncAAAAAAAJ3QAAAAGTAAAAJQAAAAoKAAAAAHKEjAAGAAAAAAEBmAAAAGgAAAAJ3gAAAAIAAAAJAAAAAZoAAABqAAAACd8AAAAKAZwAAAB3AAAACgoAAABAPwngAAAACeEAAAABAAAA/v///wAAAAABAAAAAAAAAAAAAAABAAAAAAAAAAAAAAGdAAAAeAAAAAoKCeIAAAAJ4wAAAAEAAAD+////AAAAAP////8AAAGfAAAAagAAAAnkAAAACgemAAAAAAEAAAAEAAAABBxBcGxvcmlzLkJhc2UuVUkuVmlzdWFsT2JqZWN0AwAAAAlMAAAACUsAAAAJSgAAAAoFrQ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QaWVDaGFydEVsZW1lbnQCAAAAAQEBCxpBcGxvcmlzLkJhc2UuT2JqZWN0cy5Db2xvcgMAAAABARpBcGxvcmlzLkJhc2UuT2JqZWN0cy5Db2xvcgMAAAADAAAACT4AAAAKAAAAAABAQQkjAAAACSQAAAAJ5QAAAAEACeYAAAABrgAAACUAAAAKCgEAAAAAAAAA/////wABAbIAAABoAAAACecAAAABAAAAAwAAAAGzAAAAagAAAAnoAAAACgG2AAAAEgAAAAoKAAAAAABAQQkjAAAACSQAAAAJ6QAAAAAACeoAAAABtwAAACUAAAAKCgAAAADtISUABwAAAAAAAbwAAABoAAAACesAAAACAAAACQAAAAG+AAAAagAAAAnsAAAACgHAAAAAdwAAAAoKAAAAQD8J7QAAAAnuAAAAAQAAAP7///8AAAAAAQAAAAAAAAAAAAAAAQAAAAAAAAAAAAABwQAAAHgAAAAKCgnvAAAACfAAAAABAAAA/v///wAAAAD/////AQABwwAAAGoAAAAJ8QAAAAoHygAAAAABAAAABAAAAAQcQXBsb3Jpcy5CYXNlLlVJLlZpc3VhbE9iamVjdAMAAAAJVgAAAAlVAAAACVQAAAAKAcsAAAAlAAAACgoAAAAAAAAAAA0AAAAAAQHMAAAAJQAAAAoKAQAAAAAAAAD/////AAEHzQAAAAABAAAABAAAAAQdQXBsb3Jpcy5CYXNlLk9iamVjdHMuVmFyaWFibGUDAAAABfIAAAAdQXBsb3Jpcy5CYXNlLk9iamVjdHMuVmFyaWFibGUCAAAABk51bWJlcghQb3NpdGlvbgAACAgDAAAAAwAAAAAAAAAB8wAAAPIAAAAAAAAAAAAAAAH0AAAA8gAAAAAAAAAAAAAAAfUAAADyAAAAAAAAAAAAAAAPzgAAAAEAAAAIAAAAAAHPAAAAJQAAAAoKAAAAAP///wAOAAAAAAAB0AAAACUAAAAKCgAAAAD///8ADgAAAAABB9EAAAAAAQAAAAQAAAAEHUFwbG9yaXMuQmFzZS5PYmplY3RzLlZhcmlhYmxlAwAAAAH2AAAA8gAAAAMAAAAAAAAAAfcAAADyAAAAAgAAAAIAAAAB+AAAAPIAAAAAAAAAAAAAAAH5AAAA8gAAAAAAAAAAAAAAD9IAAAABAAAACAUAAAAF0wAAABpBcGxvcmlzLkJhc2UuT2JqZWN0cy5Db2xvcgcAAAASRGF0YU9iamVjdCttUGFyZW50FURhdGFPYmplY3QrbUNvbnRhaW5lcgVtVHlwZQRtUkdCEG1UaGVtZUNvbG9ySW5kZXgMbUF1dG9VcGRhdGVkCW1Nb2RpZmllZAQCAAAAAAAfQXBsb3Jpcy5CYXNlLk9iamVjdHMuTGluZUZvcm1hdAMAAAAICAgBAQMAAAAJdwAAAAoAAAAA////AA4AAAAAAAXUAAAAGkFwbG9yaXMuQmFzZS5PYmplY3RzLkNvbG9yBwAAABJEYXRhT2JqZWN0K21QYXJlbnQVRGF0YU9iamVjdCttQ29udGFpbmVyBW1UeXBlBG1SR0IQbVRoZW1lQ29sb3JJbmRleAxtQXV0b1VwZGF0ZWQJbU1vZGlmaWVkBAIAAAAAAB9BcGxvcmlzLkJhc2UuT2JqZWN0cy5MaW5lRm9ybWF0AwAAAAgICAEBAwAAAAl3AAAACgEAAAAAAAAA/////wABAdUAAAAlAAAACgoAAAAAP2l+AAUAAAAAAAHWAAAAJQAAAAoKAQAAAP///wD/////AAAP1wAAAAEAAAAIAwAAAAHYAAAAJQAAAAoKAAAAAAAAAAANAAAAAAEB2QAAACUAAAAKCgEAAAAAAAAA/////wABB9oAAAAAAQAAAAQAAAAEHUFwbG9yaXMuQmFzZS5PYmplY3RzLlZhcmlhYmxlAwAAAAH6AAAA8gAAAAMAAAAAAAAAAfsAAADyAAAAAAAAAAAAAAAB/AAAAPIAAAAAAAAAAAAAAAH9AAAA8gAAAAAAAAAAAAAAD9sAAAABAAAACAAAAAAB3AAAACUAAAAKCgAAAAD///8ADgAAAAAAAd0AAAAlAAAACgoAAAAA////AA4AAAAAAQfeAAAAAAEAAAAEAAAABB1BcGxvcmlzLkJhc2UuT2JqZWN0cy5WYXJpYWJsZQMAAAAB/gAAAPIAAAADAAAAAAAAAAH/AAAA8gAAAAIAAAACAAAAAQABAADyAAAAAAAAAAAAAAABAQEAAPIAAAAAAAAAAAAAAA/fAAAAAQAAAAgGAAAABeAAAAAaQXBsb3Jpcy5CYXNlLk9iamVjdHMuQ29sb3IHAAAAEkRhdGFPYmplY3QrbVBhcmVudBVEYXRhT2JqZWN0K21Db250YWluZXIFbVR5cGUEbVJHQhBtVGhlbWVDb2xvckluZGV4DG1BdXRvVXBkYXRlZAltTW9kaWZpZWQEAgAAAAAAH0FwbG9yaXMuQmFzZS5PYmplY3RzLkxpbmVGb3JtYXQDAAAACAgIAQEDAAAACZwAAAAKAAAAAP///wAOAAAAAAAF4QAAABpBcGxvcmlzLkJhc2UuT2JqZWN0cy5Db2xvcgcAAAASRGF0YU9iamVjdCttUGFyZW50FURhdGFPYmplY3QrbUNvbnRhaW5lcgVtVHlwZQRtUkdCEG1UaGVtZUNvbG9ySW5kZXgMbUF1dG9VcGRhdGVkCW1Nb2RpZmllZAQCAAAAAAAfQXBsb3Jpcy5CYXNlLk9iamVjdHMuTGluZUZvcm1hdAMAAAAICAgBAQMAAAAJnAAAAAoBAAAAAAAAAP////8AAQHiAAAAJQAAAAoKAAAAAHKEjAAGAAAAAAAB4wAAACUAAAAKCgEAAAD///8A/////wAAD+QAAAABAAAACAEAAAAB5QAAACUAAAAKCgAAAAAAAAAADQAAAAABAeYAAAAlAAAACgoBAAAAAAAAAP////8AAQfnAAAAAAEAAAAEAAAABB1BcGxvcmlzLkJhc2UuT2JqZWN0cy5WYXJpYWJsZQMAAAABAgEAAPIAAAADAAAAAAAAAAEDAQAA8gAAAAAAAAAAAAAAAQQBAADyAAAAAAAAAAAAAAABBQEAAPIAAAAAAAAAAAAAAA/oAAAAAQAAAAgAAAAAAekAAAAlAAAACgoAAAAA////AA4AAAAAAAHqAAAAJQAAAAoKAAAAAP///wAOAAAAAAEH6wAAAAABAAAABAAAAAQdQXBsb3Jpcy5CYXNlLk9iamVjdHMuVmFyaWFibGUDAAAAAQYBAADyAAAAAwAAAAAAAAABBwEAAPIAAAACAAAAAgAAAAEIAQAA8gAAAAAAAAAAAAAAAQkBAADyAAAAAAAAAAAAAAAP7AAAAAEAAAAIBAAAAAXtAAAAGkFwbG9yaXMuQmFzZS5PYmplY3RzLkNvbG9yBwAAABJEYXRhT2JqZWN0K21QYXJlbnQVRGF0YU9iamVjdCttQ29udGFpbmVyBW1UeXBlBG1SR0IQbVRoZW1lQ29sb3JJbmRleAxtQXV0b1VwZGF0ZWQJbU1vZGlmaWVkBAIAAAAAAB9BcGxvcmlzLkJhc2UuT2JqZWN0cy5MaW5lRm9ybWF0AwAAAAgICAEBAwAAAAnAAAAACgAAAAD///8ADgAAAAAABe4AAAAaQXBsb3Jpcy5CYXNlLk9iamVjdHMuQ29sb3IHAAAAEkRhdGFPYmplY3QrbVBhcmVudBVEYXRhT2JqZWN0K21Db250YWluZXIFbVR5cGUEbVJHQhBtVGhlbWVDb2xvckluZGV4DG1BdXRvVXBkYXRlZAltTW9kaWZpZWQEAgAAAAAAH0FwbG9yaXMuQmFzZS5PYmplY3RzLkxpbmVGb3JtYXQDAAAACAgIAQEDAAAACcAAAAAKAQAAAAAAAAD/////AAEB7wAAACUAAAAKCgAAAADtISUABwAAAAAAAfAAAAAlAAAACgoBAAAA////AP////8AAA/xAAAAAQAAAAgCAAAACw=="/>
</p:tagLst>
</file>

<file path=ppt/tags/tag645.xml><?xml version="1.0" encoding="utf-8"?>
<p:tagLst xmlns:a="http://schemas.openxmlformats.org/drawingml/2006/main" xmlns:r="http://schemas.openxmlformats.org/officeDocument/2006/relationships" xmlns:p="http://schemas.openxmlformats.org/presentationml/2006/main">
  <p:tag name="APLORISTAG" val="MXGj1HVEPCZskwyh5.2"/>
</p:tagLst>
</file>

<file path=ppt/tags/tag646.xml><?xml version="1.0" encoding="utf-8"?>
<p:tagLst xmlns:a="http://schemas.openxmlformats.org/drawingml/2006/main" xmlns:r="http://schemas.openxmlformats.org/officeDocument/2006/relationships" xmlns:p="http://schemas.openxmlformats.org/presentationml/2006/main">
  <p:tag name="APLORISTAG" val="MXGj1HVEPCZskwyh5.3"/>
</p:tagLst>
</file>

<file path=ppt/tags/tag647.xml><?xml version="1.0" encoding="utf-8"?>
<p:tagLst xmlns:a="http://schemas.openxmlformats.org/drawingml/2006/main" xmlns:r="http://schemas.openxmlformats.org/officeDocument/2006/relationships" xmlns:p="http://schemas.openxmlformats.org/presentationml/2006/main">
  <p:tag name="APLORISTAG" val="MXGj1HVEPCZskwyh5.4"/>
</p:tagLst>
</file>

<file path=ppt/tags/tag648.xml><?xml version="1.0" encoding="utf-8"?>
<p:tagLst xmlns:a="http://schemas.openxmlformats.org/drawingml/2006/main" xmlns:r="http://schemas.openxmlformats.org/officeDocument/2006/relationships" xmlns:p="http://schemas.openxmlformats.org/presentationml/2006/main">
  <p:tag name="APLORISTAG" val="MXGj1HVEPCZskwyh5.5"/>
</p:tagLst>
</file>

<file path=ppt/tags/tag649.xml><?xml version="1.0" encoding="utf-8"?>
<p:tagLst xmlns:a="http://schemas.openxmlformats.org/drawingml/2006/main" xmlns:r="http://schemas.openxmlformats.org/officeDocument/2006/relationships" xmlns:p="http://schemas.openxmlformats.org/presentationml/2006/main">
  <p:tag name="APLORISTAG" val="MXGj1HVEPCZskwyh5.6"/>
</p:tagLst>
</file>

<file path=ppt/tags/tag65.xml><?xml version="1.0" encoding="utf-8"?>
<p:tagLst xmlns:a="http://schemas.openxmlformats.org/drawingml/2006/main" xmlns:r="http://schemas.openxmlformats.org/officeDocument/2006/relationships" xmlns:p="http://schemas.openxmlformats.org/presentationml/2006/main">
  <p:tag name="APLORISTAG" val="MMq8K+TY0y1GzdU7X.91"/>
</p:tagLst>
</file>

<file path=ppt/tags/tag650.xml><?xml version="1.0" encoding="utf-8"?>
<p:tagLst xmlns:a="http://schemas.openxmlformats.org/drawingml/2006/main" xmlns:r="http://schemas.openxmlformats.org/officeDocument/2006/relationships" xmlns:p="http://schemas.openxmlformats.org/presentationml/2006/main">
  <p:tag name="APLORISTAG" val="MJ7EVawjTvgzTt/Fh"/>
</p:tagLst>
</file>

<file path=ppt/tags/tag651.xml><?xml version="1.0" encoding="utf-8"?>
<p:tagLst xmlns:a="http://schemas.openxmlformats.org/drawingml/2006/main" xmlns:r="http://schemas.openxmlformats.org/officeDocument/2006/relationships" xmlns:p="http://schemas.openxmlformats.org/presentationml/2006/main">
  <p:tag name="APLORISTAG" val="MJ7EVawjTvgzTt/Fh.978"/>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EFFQAAABlTeXN0ZW0uRHJhd2luZy5SZWN0YW5nbGVGBAAAAAF4AXkFd2lkdGgGaGVpZ2h0AAAAAAsLCwsEAAAAeHJAQdYAqkNM+xxE0EXzQQEWAAAAFQAAAP//f////3////9/////f/8AAAAAAAUXAAAALEFwbG9yaXMuQ2hhcnQuQXhpc0JyZWFrK0F4aXNCcmVha0Rpc3BsYXlNb2RlAQAAAAd2YWx1ZV9fAAgCAAAAAQAAAAEBAQoKCRgAAAAKCgAAAAAACRkAAAAKCRoAAAAAAAAACgUbAAAAGUFwbG9yaXMuQ2hhcnQuT3JpZW50YXRpb24BAAAAB3ZhbHVlX18ACAIAAAABAAAACRwAAAABHQAAABUAAACeHFBCuBQmQkz7EkQ/PoZDAAQeAAAAC1N5c3RlbS5HdWlkCwAAAAJfYQJfYgJfYwJfZAJfZQJfZgJfZwJfaAJfaQJfagJfawAAAAAAAAAAAAAACAcHAgICAgICAgIAAAAAAAAAAAAAAAAAAAAAAAoKCR8AAAAACgoKAQAAAAAAAAD/////AAABIAAAABUAAADRRXdDLrqdQ6RtuEPA6NJBllwKQowfCkMx7SREMzW+QwUhAAAAFVN5c3RlbS5EcmF3aW5nLlBvaW50RgIAAAABeAF5AAALCwQAAAACEsxDRCSfQwYiAAAAEEo3RVZhd2pUdmd6VHQvRmg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nhxQQtYAm0MBLwAAACEAAAAW/R9E1gCbQwkwAAAACTEAAAAJMgAAAAkzAAAAAAAAAAAAAAAAAAAACTQAAAAAAAAAAAAJNQAAAAkBAAAACQEAAAAJNgAAAAEHAAAABgAAAAkBAAAAATcAAAAnAAAAAAAAAM3MTD8AAAAIAQAJAQAAAAk4AAAACTkAAAABAAAAAAAAAAABAAAAAAAA8D8BmpmZmZmZuT8AAAAgQQEBCToAAAAKCTsAAAAJPAAAAAk9AAAAAT4AAAAhAAAAnhxQQtYAm0MBPwAAACEAAACeHFBCuBQmQg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C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ABZAAAABUAAAAbg6BDAAAoQUcXpENIFwFCCWUAAAAD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BQAAAAgBAAAAAgAAAAMAAAAEAAAABQAAAAUc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bgAAACEAAACeHFBCuBQmQgFvAAAAIQAAABb9H0TWAJtDCXAAAAAJcQAAAAAAAAAKBXIAAAAUU3lzdGVtLkRyYXdpbmcuU2l6ZUYCAAAABXdpZHRoBmhlaWdodAAACwsEAAAAAAAAAAAAAAABcwAAAHIAAAAAAAAAAAAAAAAAAAABdAAAABUAAAAAAAAAAAAAAAAAAAAAAAAAFAAAAP////8BAQoJdQAAAAEACgAPHwAAANU5AAACUEsDBBQABgAIAAAAIQBJEqz3jAEAAHg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d1OwjAUvjfxHZbemq3AhTGGwQXopZKID1DbA1vo2qan/L29ZwOMkrlJWOLNmq39/s52zobjXaGjDXjMrUlZP+mxCIy0KjfLlL3Pn+MHFmEQRgltDaRsD8jGo9ub4XzvACNCG0xZFoJ75BxlBoXAxDowtLOwvhCBbv2SOyFXYgl80Ovdc2lNABPiUHKw0XAKC7HWIXra0eODE4KzaHI4V0qlTDincykCGeXlLq/FbRpxG6POzMV2scglKCvXBVlKCD/1YkvxfxHwoLHBWY3CMXpCyMo9ZrnDu2OEV6q9zxVEM+HDiygoKN9pvrV+9WHtKmmuQ43aWR50HoTCDCAUOqnWpBC5+YN+dRh5tfQ7NlLmq4gv9DH4Jx+BPmzg1fX6UlQ0LcEx7DVgx2kPpG3KmfCg3oKnHujcwHfuFh/SFmVH4vX1/tkDJ942eaHlJKNO6fgdyBNvkz6No5m3DmlSerjcwGnilOjYERH4kEPjzPlSpDF7ueDZ0IFyjitQNdq8+m+MPgE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ABBmPgJAQAAz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zWrDMBCE74W+g9h7LdttQymRc2gp5NqmDyDktWViS0a7/fHbVyTUcSC4F9PjzqKZj5G03nx3rfjEQI13CrIkBYHO+LJxtYL33cvNAwhi7UrdeocKBiTYFNdX61dsNcdDZJueRHRxpMAy949SkrHYaUp8jy5uKh86zXEMtey12esaZZ6mKxmmHlCceYptqSBsy1sQu6GPyX97+6pqDD5789Gh4wsRkiMXRkMdamQFh/EoZkkEBXmZ4W5JBuKhjSWOEMd5Lv5+0XirA5ZvHOINTymm8hzMakkYo1vzZHXjTnWM0hxEtiTElw97soh8ghglkofN7OvI/xkm/21Gnv3B4gcAAP//AwBQSwMEFAAGAAgAAAAhACprnTDOAQAA/wIAAA8AAAB4bC93b3JrYm9vay54bWyMUstu2zAQvBfoPxC826QoyQkMS4HrB2qgKIKgTc4sRVtE+BBIqlJQ9N+7kqrEbS89kctdzu7MzuauNxp9lz4oZwucLClG0gpXKXsp8Ncvx8UtRiFyW3HtrCzwiwz4rnz/btM5//zNuWcEADYUuI6xWRMSRC0ND0vXSAuZs/OGRwj9hYTGS16FWspoNGGUrojhyuIJYe3/B8Odz0rIvROtkTZOIF5qHmH8UKsm4HJzVlo+TowQb5rP3MDcvcZI8xAPlYqyKnAOoevkHw++bT60SkOWrSjNMClfWd57xNvods4AiRDulYgtXApMh6pBh0clu/D2YQhR/6Rs5boCpzcUhH2ZQ0YZhN2YfFJVrKFjkgwl09tHqS51hHWwNBsbkKsOo4DQaTyRHdltG+28CnseOaxrUPgELBKM/FrBxZ+qZJjz+ssD79Bf9elVPRvqydxLcC1AguEYgTNKKaALZ0XrPWxiB5nfYsg+fgqx3MCJWq8K/OMmZ+kh36cLlh/TxTY/0EWyStlilR1Znu0Yy3L2c7aB6f/xgVHCu+DOcSmcIZMFwDqCyF7I0Um3k5PKjenXWy/q0x4dNb/AfiYeMAuwmScjs3fLXwAAAP//AwBQSwMEFAAGAAgAAAAhAHmRCrJnCQAA/ZMAAA0AAAB4bC9zdHlsZXMueG1s7F1Zb+NGEn5fIP+B4CCPNtkUKZGGpCCeiTYBssEAdoC8UhIlEcNDIKkZO4v971vVJMXDGh7q9ngQlB9sHtXV1V9XVVcfLs5/egoD5bOXpH4cLVR2q6uKF23irR/tF+qfj6sbW1XSzI22bhBH3kJ99lL1p+UP/5qn2XPgPRw8L1OARZQu1EOWHe80Ld0cvNBNb+OjF8GbXZyEbga3yV5Lj4nnblMsFAaaoetTLXT9SM053IWbIUxCN/l0Ot5s4vDoZv7aD/zsmfNSlXBz99s+ihN3HYCoT8x0NyVvfvOCfehvkjiNd9ktsNPi3c7feC+ldDRHA07LeXQKV2GWKpv4FGUL1Tg/UvI3v20BwqmpKnmj38dbEEO/1X9UtbJwg9JqUr57905HSq2oZznfxVFVHYO+4c24+xTFX6IVvoP6QAgkW87Tv5XPbgBPGDLZxEGcKBn0BcjAn0Ru6OUU793AXyc+ku3c0A+e88cGPuDdV9CFPoDJJcpryH+vkaqoy8G3eVV+tPWePEDAbtX26B7i0EXCF5Vpdb4lz9eW/1ST/1JdvA9kgdVXWQsrsZ65hGCyXy/U1UqHn9UKO6Fq2b/9IFAe3CjFx71dUTDKWUlghBLpLayHSvQKbagh32UCHKYUVBmwazgCfLCcg0vKvCRaIbLF9ePzESwwAu+Zw8zpeqj3ifvMDKtWQOMVLufrONmCty5dEFp//mg5D7xdBh2Z+PsD/s3iI/xex1kGrm053/ruPo7cAC61skRxAc3ZeEHwgB79r13Fe4bcn3Y1lwUeCC0W/RxeQlOKy5xjfgM1NAo5VSHjq4UU93gMnlfAnLPO74B/dXfPW17d/xz4+yj06gU+JnHmbTI+lHHNashRE/7rcrSFp0Iw4pX9XXT9VehNerr+j1O49pIVjxaqTkZDqu5kqgCO0pf1N1fFby0P4QMupcP6CB/CR8Tlk/6Q/pD+vN54SvZF9kX2RfYFEyY+eaP4meYXXfE8zb+6xwvCh/ARGU9Jf0h/SH9eLx4j+yL7Ivsi+3qr+Q75H/I/5H/I/5D/yc8j0Ppztz8kfAgfkfGC9If0h/Tn9eKNqw5VUSGRI2mEHqFXnGQtgKBBjgY5kUGOPIqIRyHrI+sTsT7SH9If0p/Xm6KQfZF9kX2Rfb3VlgP5H/I/5H/I/5D/ybc86QhItz8kfAgfkfGC9If0h/Tn9eINsi+yL7Ivsq+3iue/N//zne8e0vJLt7smfAgfkeGM9If0h/Tn9cIhsi+yL7IvcfvS6slC89ShtayhBmZF/lreTYj0d19Juvi0u5w9FIsUh8oGlC7SiPKskTy1roAkTV75XU1/MDmqW+YgVQ5x4v8NcmIC5g0kJfXyvMlPuxYYRXrovhyqSg4Hu5hMp3yaZ0s93xWN/gcLqnxJ3OOj9wQ5Ynnnai/gHaMtJXDNTEXlU1ngjpIZE4L32EehlaBqCMIlHS2zpJZvB+ksJg9Wv72sw2XDvMVd3f3W0EEO/czfoPlD4uU3QPKqXi88VX+/synPVZ+7rcFQj7csoVZUXdDlgWsuYvZm5tYlYAPr6VARvy3WfdYIX414U0dWqcIwa2xgjgnLB3nhbsw7khn31lD67u4aLnn/QR6V54jn2eVfuNRxSLydnLWs8oPRFB7Tu3ADpRkbp7Z7t60xtTb2xr5lTwi3scs11Xxnr0BAUMviX4o3SD15MHLRxXxX4XNDTD4rgnlQ7VsKrS8pnKdNCn6+Aj7KEQdB/MXbKr/CFyKSwI8+wfdd+CwIv/SyPvlB5kc4KQI1OPjbrYcf6EGjHcEIthTkMIK9EjmMYECTwwiGGCmMDFlgw8xXkkSywDZkgW3IAnsiC+yJLLAnssCeyAJ7IgtsUxbYpiywTVlgm7LANmWBbckC25IFtiULbEsW2JYssKeywJ7KAhu/+iZlOJrKAnsqC+yZLLBnssCeyQLbgT0hKb3mwJqIFEZMlyUS0+XJBAslkloHsawcTvDlPlmcpCHOpCHOpCHOpCFuSEPckIY4fCNPkhYY0hA3pCE+kYb4RBriE2mIT6QhPpGGuCkNcVMa4qY0xE1piJvSEJcWpTJpYSqTFqcyaYEqkxap8iU0OWOwtFiVSQtW2cho9cXaW1OxIYbuXHp7UbwVlowv33Qb48s3ncX48k0XMb68IH6tIGN0/a3QYnx5QfxaYcT4+gXxa4UMo+tvBQrjywvi1woKxtcviF8rABhdf2vYH19eEL/WED++fkH8rGYANbp+S9D/WYL4WYL+zxLEbyqI31QQPzznUQsORvffVBC/qSB+8M1yIflngvg5zTWu0fg5zaWt0eWZLigA04UlaK5gXtEEKCKig6y1fzpeAiYKIhMFkYmCyERBbO2LjgextR96BQNREFv7n1dIIApia79zvAStfc4rGIiC2NrXvEICURBb+5jjJWjtX17BQBTE1n7lFRKIgigaWDHRyIqJhlZMNLZiosEVE42u+OE6oaFNNL5iIwOsP+IkdIPyYFJzJ1C/dBjpo5fgCbKyRDMcsy6VSLPnwGOmObMnzDCYiS4vPwc1iBwjtpzcGMIdA6yc3BxAPsVxOCefDiFHZ5mT20PIZ2fyyQDyGe7l5NxnXeS2Y1uObeq4OVKQdyJZ0Bu4dlLQdza2pMe5XkE/RB7DruTpRKfgb+LZjIK/M6C9oEAlvX1RNUtFK/hbekV/8Vxdmx7XJnJ57E5VA/4zANPGpcic3unDk9PbZ9V0+vBBekc/82dweeFgYK0BvADuTxYC9XUYp8fopaDv6wBOjzsVOT3T+xCdWczi7jAvYHcaACKK9NCvRQV2L6JIj9vyBf/eBgC9gROHgr7TOxTyGJWF2b2AIn+MZHL+Tm+HIT2OuYU8fRaM+BiVxtm9GoT0lUU6nf0FqjZ1bMfCZfpcHgbnnTo0riwAYpwLDKlhqp9dHIiHNVT/bQhHa7dPu/OhWl5/5q4D7wEHkNpzZevt3FOQPZ5fLtTq+j/e1j+FMMYUVB/9z3HGWSzU6vp3f3/IwPmDBPD/Zr+nGf+rnBJ/of73l/uZ8+GXlXFj6/f2jTnxrBvHuv9wY5nv7z98WDm6ob//HzQ8DKL07omZC/WQZcc7TUs3By9009vQ3yRxGu+y200cavFu5288LT0mnrtND56XhYFm6LqjOVro+hH+QyUz79IAqJKisYXwD9WzhVq7ycXn+IH4gGLZCI37hAesZPl/AA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biard5gIAAC9HwAAGAAAAHhsL3dvcmtzaGVldHMvc2hlZXQyLnhtbIxZWW/jyBF+D5D/QBB5mA0gic2bhK3F8NAtZLCzxzMtUbYwkqiQtMeTIP891c2rq0hL80LL9VVVV9fFavbDr+/nk/KW5sUxuzyqbKypSnrZZfvj5flR/eP32chVlaJMLvvklF3SR/VHWqi/Tv/+t4fvWf6teEnTUgENl+JRfSnLqz+ZFLuX9JwU4+yaXgA5ZPk5KeHf/HlSXPM02Quh82mia5o9OSfHi1pp8POf0ZEdDsddGmW713N6KSsleXpKSrC/eDlei0bbefcz6s5J/u31Otpl5yuoeDqejuUPoVRVzjt/+XzJ8uTpBPt+Z2aya3SLf3rqz8ddnhXZoRyDukllaH/P3sSbgKbpw/4IO+BuV/L08Kh+Zv5W19XJ9EE46M9j+r2Qfitldt2khzJMTydgNlSFB+Apy75xzuX+UdVAZ5Ge0h13hZLAn7e04o50BkH8t1iG/4Y1Ju0i8u9mwZkI2pdceUqKNMxOfx335QtkByTHPj0kr6fyt+z7Ij0+v5RANcEt3Dv+/keUFjsICzem2UiUlMn0Ic++KxBfbsc14dnCfGaAwTtO/czJj6rNZQQhqAiOqoCqAtjepkx/mLyBrbuaJWxYGpmIEmJKmFUEr11mTgkLSlhSwooS1pSwoYRtRWCV38ERrTf0YW9wMvJGRfCEHzTiBhljGItkjLgvljEDy81kzMTYXMYsjC1kzMbYUsYcjK1kzMXYWsY8jG1kjBHHbCtwwOtQOnIOKjyHdbfNRQ4/qtD12tQjrgsqDk/iIA4M73JEdzniuxyzuxzzuxyLuxzLuxyruxzruxybuxzbimMgntB+5Hg2PYWTcRxJhgQVBzQ13l9sGkOEGkQ2QqhJCiHGKEnpGUItUrRzhDKH5PwCwS5BlwhlOinCFYZtsqk1gj3ikA1CmUbgbQ3r4M3D9Osf20+B6W/MXx4mB+5ez+2KfiL3QAtHj1Yjh3EUSUMKKo46isSoEIGkjiMEduaJN1CMQCI5QyBZc45ARiK0wChJjSVGiewKoQZZd41QGvoNRsmGtjUqgica30uSp3u1mky2lr+FblccxYwhQmv5G6sJLbO6kKDQ2gOhNfkS1Uufwzi0pIyCiqMOrU58FWKUlFGEUBqFGKG0uGcYJb6aI5RppMYWCLbIlpYIlWpCuGSFUKaRPa0RbJGFNwi1Cbqt0V6Eq6jCEAUtUFoQBRLmMLnDihqVAslhHEiyeFBx1IEklRYikLSkCIFEbYxAUg6zW+AcgTQ7FgilEUQg2csKgaR81wjsakaEfoNAsua2Bm8GrysPFDt+fJMmbtpfOYxjR7YUVBxNEZJiCBFKRCMEMhKg+CY6u4nOEUo74QKhjFTREqPEqtVNdI1Qko4bBPbm0Rq9FcMPOynvvjeCyGEcxC4ZRHYFFccHL0kE0gK8Bca3wNktcI5AklQLBBKDlrfAFQJJia0RSLJig0Cypnj7wZH1Zuw6GVR/4HMUu+btJ+j8QNycX4OaYrSUsEeJepS4R5n1KPOaIj4uYOP40VRKrNa4+sjamhLA3M1zTDaOUqIeT9yjzHqUeU0ZMI6f4IaMq092knEVBU4I7ZmNdpsQgldtQOIhCRIN8ZBWHA/wdJEXxTZrWZrQzmvKwB75qWZoj/VpR9oRWSWAzyd8Q8ySB+5FO3BbGrE8bATsVmBp+qtWQHdJP4v6Amt5pGceEYixwBbc25v9aw9VtnfZNK9FBzzEzxVDHqrPG6CpDTp54Qb8yxR3kdnuOLD8RTu4SnOrMCvs8y8tf9Xxkz4V9fnX8mBski4cY/4tBEj458O2D7Ed3ns9rst7p++bQAjjzdv+wmmmdsMg2R/2BZa2v2oFdI0IRH2Bte1vWgFmkB4b9wW2tr9tBWy7CyBuU3x4HcqBeqhFfiCLBqxmkpLA9Rde4wfGyNQS9gWWrr9qBehpIerzr11/0/JT/XGff+vCAas1yO78jL3AJ4jGC7zqRdJ+ZvVgIbXDioK8QsacsJZCPN26QnM0xEOaSjzE07UFbD9/xQ7YX795pTrutbqaxRF1DJ1v8g/oNXX1aGOLMdtipu1pnqs7Tu9LDpPFe6fbkHl+JFjgfMvUKfRJrF53PQdS09Fs5mqGaZJ8qWRBVFgnq+dHK/F+f5tqY+a5lsssW9Ndw3Ydr+fI2kj+IfIw/QRaRwHzfvkn08Abok2MDDY2NNvzNNdlpuV6H5WLLo8cXaIIMlgkx7wrOBHyoOHp7UXcHQDsR4IFdgbDEDRY7irIG2GgNjYszTa97tllQtVgP1TPXSV6P3eVYYC/demJP/tWFnzk8E4LZIXrGt0Ta4kbW4TD5bCJrQLsx3AdI756wEXFJ1h1BPvHARlDEOBLWPN0ugpCma/LY5YUkHrKkgPSa+NCdmizdUQYRITrAQdCh4OuzyPSvFm0sel5uqXbzHJN0zJNehgKP1RfKRTfBSAiGkRVdwzL1G1Ng+1iX1YWDBmJtDAPKsC0TdfRPRPKlfSkuLGlFxGuRcwKb9ORAdaYhuPZDmOW5jmse8lin/PY9buNCClYinxOXxkN00dVoIPP69SAaMIbhvscfFJXgcMME/bZPsg+ww/V831avI+LhuHqnm5LD+rzaqAdbjudFs2wLdfqHlhLleLgj5s+t7Wx50Drah/dIFT5vLpNrG76rslzuk3y5+OlUE5wYQkfDccODCx5dVtY/QOXmbCoqjxlZZmdxc8XuBpO4TIQ+rmqHLKsbP4Bf3CdX9Py9apk+RHuF8Vt76N6zfIyT46lqrwA/T8ZAKfoyisBEgwyBByo8rvt8rjrA6A2fS83RSn+Kq85yP3XNjUN8pyNPtuBNrL4Q7cdbeQ4OgucUPMg/f/X3AKf33/uCvic7Cbp+y4VV95udeU9fTi/+182fyrbbA+3y9Cx/3VJv8A2xe+/voLB4idYCbJgI38KYyftxfv0/wAAAP//AwBQSwMEFAAGAAgAAAAhAPtipW2UBgAApxsAABMAAAB4bC90aGVtZS90aGVtZTEueG1s7FlPb9s2FL8P2HcgdG9tJ7YbB3WK2LGbrU0bxG6HHmmZllhTokDSSX0b2uOAAcO6YZcBu+0wbCvQArt0nyZbh60D+hX2SEqyGMtL0gYb1tWHRCJ/fP/f4yN19dqDiKFDIiTlcdurXa56iMQ+H9M4aHt3hv1LGx6SCsdjzHhM2t6cSO/a1vvvXcWbKiQRQbA+lpu47YVKJZuVivRhGMvLPCExzE24iLCCVxFUxgIfAd2IVdaq1WYlwjT2UIwjIHt7MqE+QUNN0tvKiPcYvMZK6gGfiYEmTZwVBjue1jRCzmWXCXSIWdsDPmN+NCQPlIcYlgom2l7V/LzK1tUK3kwXMbVibWFd3/zSdemC8XTN8BTBKGda69dbV3Zy+gbA1DKu1+t1e7WcngFg3wdNrSxFmvX+Rq2T0SyA7OMy7W61Ua27+AL99SWZW51Op9FKZbFEDcg+1pfwG9VmfXvNwRuQxTeW8PXOdrfbdPAGZPHNJXz/SqtZd/EGFDIaT5fQ2qH9fko9h0w42y2FbwB8o5rCFyiIhjy6NIsJj9WqWIvwfS76ANBAhhWNkZonZIJ9iOIujkaCYs0AbxJcmLFDvlwa0ryQ9AVNVNv7MMGQEQt6r55//+r5U/Tq+ZPjh8+OH/50/OjR8cMfLS1n4S6Og+LCl99+9ufXH6M/nn7z8vEX5XhZxP/6wye//Px5ORAyaCHRiy+f/PbsyYuvPv39u8cl8G2BR0X4kEZEolvkCB3wCHQzhnElJyNxvhXDEFNnBQ6Bdgnpngod4K05ZmW4DnGNd1dA8SgDXp/dd2QdhGKmaAnnG2HkAPc4Zx0uSg1wQ/MqWHg4i4Ny5mJWxB1gfFjGu4tjx7W9WQJVMwtKx/bdkDhi7jMcKxyQmCik5/iUkBLt7lHq2HWP+oJLPlHoHkUdTEtNMqQjJ5AWi3ZpBH6Zl+kMrnZss3cXdTgr03qHHLpISAjMSoQfEuaY8TqeKRyVkRziiBUNfhOrsEzIwVz4RVxPKvB0QBhHvTGRsmzNbQH6Fpx+A0O9KnX7HptHLlIoOi2jeRNzXkTu8Gk3xFFShh3QOCxiP5BTCFGM9rkqg+9xN0P0O/gBxyvdfZcSx92nF4I7NHBEWgSInpmJEl9eJ9yJ38GcTTAxVQZKulOpIxr/XdlmFOq25fCubLe9bdjEypJn90SxXoX7D5boHTyL9wlkxfIW9a5Cv6vQ3ltfoVfl8sXX5UUphiqtGxLba5vOO1rZeE8oYwM1Z+SmNL23hA1o3IdBvc4cOkl+EEtCeNSZDAwcXCCwWYMEVx9RFQ5CnEDfXvM0kUCmpAOJEi7hvGiGS2lrPPT+yp42G/ocYiuHxGqPj+3wuh7Ojhs5GSNVYM60GaN1TeCszNavpERBt9dhVtNCnZlbzYhmiqLDLVdZm9icy8HkuWowmFsTOhsE/RBYuQnHfs0azjuYkbG2u/VR5hbjhYt0kQzxmKQ+0nov+6hmnJTFypIiWg8bDPrseIrVCtxamuwbcDuLk4rs6ivYZd57Ey9lEbzwElA7mY4sLiYni9FR22s11hoe8nHS9iZwVIbHKAGvS91MYhbAfZOvhA37U5PZZPnCm61MMTcJanD7Ye2+pLBTBxIh1Q6WoQ0NM5WGAIs1Jyv/WgPMelEKlFSjs0mxvgHB8K9JAXZ0XUsmE+KrorMLI9p29jUtpXymiBiE4yM0YjNxgMH9OlRBnzGVcONhKoJ+ges5bW0z5RbnNOmKl2IGZ8cxS0KclludolkmW7gpSLkM5q0gHuhWKrtR7vyqmJS/IFWKYfw/U0XvJ3AFsT7WHvDhdlhgpDOl7XGhQg5VKAmp3xfQOJjaAdECV7wwDUEFd9TmvyCH+r/NOUvDpDWcJNUBDZCgsB+pUBCyD2XJRN8pxGrp3mVJspSQiaiCuDKxYo/IIWFDXQObem/3UAihbqpJWgYM7mT8ue9pBo0C3eQU882pZPnea3Pgn+58bDKDUm4dNg1NZv9cxLw9WOyqdr1Znu29RUX0xKLNqmdZAcwKW0ErTfvXFOGcW62tWEsarzUy4cCLyxrDYN4QJXCRhPQf2P+o8Jn94KE31CE/gNqK4PuFJgZhA1F9yTYeSBdIOziCxskO2mDSpKxp09ZJWy3brC+40835njC2luws/j6nsfPmzGXn5OJFGju1sGNrO7bS1ODZkykKQ5PsIGMcY76UFT9m8dF9cPQOfDaYMSVNMMGnKoGhhx6YPIDktxzN0q2/AAAA//8DAFBLAwQUAAYACAAAACEA0nsAwn0EAADQCgAAGAAAAHhsL3dvcmtzaGVldHMvc2hlZXQxLnhtbIxW246rNhR9r9R/QLwHfAdHSY4ml1FHOkcdddpznh1wEjSAU3AmmVb9925DQgKZVvPCxV5ee63t7cvky6nIvTdd1Zkppz4OkO/pMjFpVm6n/h+/P45i36utKlOVm1JP/Xdd+19mP/80OZrqtd5pbT1gKOupv7N2Pw7DOtnpQtWB2esSejamKpSF32ob1vtKq7QZVOQhQUiEhcpKv2UYV5/hMJtNluilSQ6FLm1LUulcWdBf77J9fWE7pZ/iSyt1BK8XPTcSl21Px4fZnb4iSypTm40NElOErbR7lzKUPZ9Fckf0QbIKVb0e9iMg3oO5dZZn9r2x63tFMn7alqZS6xxm5ISZSm5Uqnv6z+sEptkkzSC3riC8Sm+m/gMer7gfzibNzH3P9LG++fasWr/oXCdWp1BAvucKY23MqwM+QRMCxroBOEaV2OxNL3SeT/0Vgdr6s4kBnxAg7CLcfl+iPTal9Fx5a1Xrhcl/ZKndQUgo2VRv1CG318Y4iClBFBPedf5mjr/obLuzMIRBvlzaxun7UtcJVJLTCQoSk0M4eHpF5tYDJFudWlttNCICIRgSjri2724CALTWtX3MHLPvJYfamuIi7kza0oHfhg7ex5ZOBrTTeaX7Hwp6poD3haITAm2fFAL+GyFg4sxym7CzENrTLi6pEDSG4f89DDcz2Saymc+lsmo2qczRgxUJCar3yu0XeAzR3WwwAhWSuM4H1zv1CcwotNfQ/DbDk/ANqiE5Q+YtBJ4dAvURixYBGjsEjvqQ5QeQuA9ZtRCQeGWRHSQEN50lV8VXSxcrrnVohXYEjd15i8GyMYoCLBHGNI6huBAXiJE+fDGAE4koByyJuKRS8AH7cghHKBYswhzejEk+YG8WI8xKKyYKOEEEsBghAqoIXo2uA3r2oeo+sO9ah/ZZ38+8xXT2iYyJdCEJ4XHMhOjDFwM4FZSQGAlGZBQhxHkfvhzCMecYY4aimEGM+OqmmYvVAI5jzqUgEY0jSQSS1/LomYcq+8C8awXzt0WKB/LmLaYzD9q4ZAI2LEIhcjQ0P4BTJhjmAhIG9hGhg1WyHMBZTAVhmDGCIgShBqWyGsAjKmHSeSRg7jmNoit7z7zbAu8L37UOzQ/czFvM2fwIBZRgFqOIQMKJlJIOKmXRx/NAIEgWhVmksFKiOLotzmY6l/0RKCCxWyaQLCxjgbAYRIADzqm+KhKCghBGOGSCUsGvDtoUtEdVu7Xt1VZ/U9U2K2sv1xvYMFAQ+V7VHjbNtzX7phXCrI2F8+Hyt4MbkYatD3Lgextj7OUHDiPH+6LtYe+ZKoMzqrnkTP29qWylMgu7J7T/ZaAjX+4zt5FKJgVkEFY+XOlsltx3AG2utyp5P19vvGqcpVO/ekqbfVuf7Nfazibw9g4VcP4Nhx2CZYBHD2KORtw9iIjQKIoInkcLJAVC/1yuHwWclYN74Id3j0IloT4lurkFxu3taDYpTuPnr9+9byaFUxXOgF9L/QwpaL5/vICZ5tPdE0Be+2zEht1ddPYvAAAA//8DAFBLAwQUAAYACAAAACEAlQ0Cz2sBAAAsAwAAFAAAAHhsL3NoYXJlZFN0cmluZ3MueG1sjFLbSsQwEH1f2H8Y8qRgbRXxRttFFFHQZWFXfA7NuA0mmZpM1f17s64ipN4ecy4zJ8MpJ6/WwDP6oMlVYm+3EICuIaXdshJ3i8vsWEBg6ZQ05LASKwxiUo9HZQgM0etCJVrm7jTPQ9OilWGXOnSReSBvJcenX+ah8yhVaBHZmny/KA5zK7UT0FDvuBIHBwJ6p596PN8A+4Woy6DrkusFsTRlznWZr4ENOEeDDcfMKXEXEOgBFti0jgwtV6ngfUEK3muFm4zQB9wBaUyM5vFPHYNBGS8Rb/MvgyOXfTf4RlvNqOIcs1pHSBdPCfjHL107Rhf088B1Swq95AH+sS1dckUvYPQjxgjSI6yoBybw2JC16BRwi9B5Un3Dk9R7gexlw+QDbBXZ4XbKz2RYJ4zsUXY8ZD1Z4thC2DrJ9ooBP53N04HXs7P5HMajM0Xd2pnyn38fj766ALEdQ+XHNX4T5rHt9RsAAAD//wMAUEsDBBQABgAIAAAAIQA6QAkEWgIAAHcEAAAbAAAAeGwvZHJhd2luZ3Mvdm1sRHJhd2luZzEudm1sjFRNb9swDL3vVwjqIZcY/mjXg2obKDr0tg1Y93EsFEuJ1UqiYTGO018/ynbTZgOGGYhDkU8k3yPhcnSW0c8HMVR833sRmlY7GRJnmh4CbDFpwInBWf5hAcK/gLDdmkaL+e90ZfyPK3ps9FsRR+20iJ1IUyebn84+TH396A2vP7ASRGhlp608wh7ZIPSIFdfKYIzGsFFOdmcBpiTKiuc8jQnSswx1OcwJ8dhpZlTFH8eMnkcssoKzBqBXwbzoihf5dZatpzdnlKOjuhFDVTuJbcVdts7sgphxZ+9s1HOLVBB7eNbsCYwPeLSU3BnU/dQfo4ZiPrbrpTLa40QXniuOsWwD3usGY7cV78laSL1jcaL0nk7Is+Kas/nexRnHuYVVB8GgAS/kJoDdo74hZk72O+MTq7coivyqw5vFg9CJgo4Ho7AVeR7tVptdG3FkvyTGKz2KPGYZTDAbYw0eRWuU0v7GBUgOveySqbjAeHHFtsbaBiz0Fb/Y0qPzSJlE0uhAEWG5R3gVMYJpPoQu3uBxwlFBEk3BgYGfZduEZt9rGu4s10njP/T04PVpCEibtYGRLfLEjpWJipNGibQoYjOrWI+VygyvuHiNwmbnRVRtVZcpRae20kEsSafjKO5sHPAn2k72dfNEqb9PY/0COK8KK0fxGQb9y2B7p60NE73ofaCV/Nt765sW+qkllq/Zx6s1y9asWDMyLmf7skxH8Q5HuW6Jxz2JWd9LG/QUf/VM5EbxDQ51FgPRWHx3tCPO10V0L3aUPp5OrAhbEulpg0kH+trUvwEAAP//AwBQSwMEFAAGAAgAAAAhAGEF0tw2AQAAEg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X0vDMBTF3wW/Q8l7m2abQ0PbgcoQcSA4UXy7JHdbsPlDEu327c3qrJP5eDnn/jjn3mq21W32iT4oa2rCipJkaISVyqxr8ryc55ckCxGMhNYarMkOA5k152eVcFxYj4/eOvRRYcgSyQQuXE02MTpOaRAb1BCK5DBJXFmvIabRr6kD8Q5rpKOynFKNESREoHtg7gYiOSClGJDuw7c9QAqKLWo0MVBWMPrrjeh1+HehV46cWsWdS50OcY/ZUnyLg3sb1GDsuq7oxn2MlJ/R18XDU181V2Z/K4GkqaTgwiNE65uKHg/pcC2EuEg3XimU17vm3hqIGzDZnfUJgMpU9NSViH0Brg+bWcrEvxv8SC/jm9vlnDSjkk3zcpKX0yW74JMxZ1dv+xR/ASnYyRebLwAAAP//AwBQSwMEFAAGAAgAAAAhAKTCKZr/AAAAdAEAABAAAAB4bC9jb21tZW50czEueG1sVJDNasMwEITvhb6D2Huzdg4lLZZyKKQUeughfQDVXscC/RitEpw+fdd1XCgIofk0mlnU7Kfg1YUyuxQ11JsKFMU2dS6eNHweDw87UFxs7KxPkTRciWFv7u+aNoVAsbCSgMgahlLGZ0RuBwqWN2mkKDd9ysEWkfmEPGayHQ9EJXjcVtUjBusimMaey5Ayrwc0Df6hW8+742LWUpWp1/BSg1psb52GSnIKTWLKsj5k+5Ic/lYX6zU8gYg2+ZSVix1NJC929QzzIcWymI52SMHOsLfB+etCtzPA38RiXnM6j6ojbrMbi/wZNyiVKHW4tONtYAH/Rl8Vmx8AAAD//wMAUEsDBBQABgAIAAAAIQA/byhtjgEAACo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QW/bMAyF7wP2HwTdG7lZMQyBrKJoN/SwYsGSdmdOpmOhiiSIrJfs10+OkcbpDgN2I/menz5T0te7rRc9ZnIx1PJyVkmBwcbGhU0tH9dfLj5JQQyhAR8D1nKPJK/N+3d6mWPCzA5JlIhAteyY00Ipsh1ugWZFDkVpY94ClzZvVGxbZ/Eu2pctBlbzqvqocMcYGmwu0mugHBMXPf9vaBPtwEdP630qwEbfpOSdBS5/aR6czZFiy+IBrAscqROfdxa9VlObLpwrtC/Z8d5UWk1bvbLg8bYcYVrwhFqdBvoeYVjfElwmo3te9Gg5ZkHud1ngXIqfQDiA1bKH7CBwARxsY3OofSLO5kfMz9QhMmlVDOPwUE6909pdmfnBUIpz4xAwghThHHHt2CN9a5eQ+V/EB4aRd8S5ST5mR3fAMIV8xf0Ov8Rb8YzlzelfXXimx7SO5SM8bvd8qFcdZGzKhRz100Dfl8VmP4TcdhA22Bw9fwvDq3gan765vJpVH6pyzZOZVqdHbv4AAAD//wMAUEsDBBQABgAIAAAAIQDMm4zeCAEAAD4DAAAQAAAAeGwvY2FsY0NoYWluLnhtbGTSwU6EMBAG4LuJ79DMfbeU1XU1lE3a4o2bPkADdSGBQigx+vY2xkXtf+Rj+s90oDh/jAN7d0voJy9J7DNizjdT2/uLpNeX592JWFitb+0weSfp0wU6l7c3RWOHRne29ywm+CCpW9f5ifPQdG60YT/Nzsc3b9My2jU+Lhce5sXZNnTOrePA8yw78jEGUFk0bJFU5bF5L+lAbIijEN9c/Piv5KmIx0TUlnY9pUEMiMrTXhrEgKg8nUeDGBANMxsQBVKJuJ/vLV3vZUA0iAKp44f9F1OnG6zEMS0BeEgqKnGfiIEUAzUaajTU1GlwJe6gVSoaahS0UtBKwan6TzDf/vzyCwAA//8DAFBLAQItABQABgAIAAAAIQBJEqz3jAEAAHgGAAATAAAAAAAAAAAAAAAAAAAAAABbQ29udGVudF9UeXBlc10ueG1sUEsBAi0AFAAGAAgAAAAhAFB8TsH2AAAATAIAAAsAAAAAAAAAAAAAAAAAxQMAAF9yZWxzLy5yZWxzUEsBAi0AFAAGAAgAAAAhAABBmPgJAQAAzAMAABoAAAAAAAAAAAAAAAAA7AYAAHhsL19yZWxzL3dvcmtib29rLnhtbC5yZWxzUEsBAi0AFAAGAAgAAAAhACprnTDOAQAA/wIAAA8AAAAAAAAAAAAAAAAANQkAAHhsL3dvcmtib29rLnhtbFBLAQItABQABgAIAAAAIQB5kQqyZwkAAP2TAAANAAAAAAAAAAAAAAAAADALAAB4bC9zdHlsZXMueG1sUEsBAi0AFAAGAAgAAAAhAOdldbjWAAAAuAEAACMAAAAAAAAAAAAAAAAAwhQAAHhsL3dvcmtzaGVldHMvX3JlbHMvc2hlZXQxLnhtbC5yZWxzUEsBAi0AFAAGAAgAAAAhAG4mq3eYCAAAvR8AABgAAAAAAAAAAAAAAAAA2RUAAHhsL3dvcmtzaGVldHMvc2hlZXQyLnhtbFBLAQItABQABgAIAAAAIQD7YqVtlAYAAKcbAAATAAAAAAAAAAAAAAAAAKceAAB4bC90aGVtZS90aGVtZTEueG1sUEsBAi0AFAAGAAgAAAAhANJ7AMJ9BAAA0AoAABgAAAAAAAAAAAAAAAAAbCUAAHhsL3dvcmtzaGVldHMvc2hlZXQxLnhtbFBLAQItABQABgAIAAAAIQCVDQLPawEAACwDAAAUAAAAAAAAAAAAAAAAAB8qAAB4bC9zaGFyZWRTdHJpbmdzLnhtbFBLAQItABQABgAIAAAAIQA6QAkEWgIAAHcEAAAbAAAAAAAAAAAAAAAAALwrAAB4bC9kcmF3aW5ncy92bWxEcmF3aW5nMS52bWxQSwECLQAUAAYACAAAACEAYQXS3DYBAAASAgAAEQAAAAAAAAAAAAAAAABPLgAAZG9jUHJvcHMvY29yZS54bWxQSwECLQAUAAYACAAAACEApMIpmv8AAAB0AQAAEAAAAAAAAAAAAAAAAAC8MAAAeGwvY29tbWVudHMxLnhtbFBLAQItABQABgAIAAAAIQA/byhtjgEAACoDAAAQAAAAAAAAAAAAAAAAAOkxAABkb2NQcm9wcy9hcHAueG1sUEsBAi0AFAAGAAgAAAAhAMybjN4IAQAAPgMAABAAAAAAAAAAAAAAAAAArTQAAHhsL2NhbGNDaGFpbi54bWxQSwUGAAAAAA8ADwDcAwAA4zUAAAAABSM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YAAAAFQXJpYWwGdwAAAAYrbW4tZWEJeAAAAAEACXkAAAAHJAAAAAABAAAAEQAAAAQUU3lzdGVtLkRyYXdpbmcuQ29sb3IEAAAABXoAAAAUU3lzdGVtLkRyYXdpbmcuQ29sb3IEAAAABXZhbHVlBXN0YXRlCmtub3duQ29sb3IEbmFtZQAAAAEJBwcEAAAAAAAAAAAAAAAAAAAACgF7AAAAegAAAAAAAP//////AgAAAAoBfAAAAHoAAAD//////////wIAAAAKAX0AAAB6AAAATkEi//////8CAAAACgF+AAAAegAAAN7c2///////AgAAAAoBfwAAAHoAAAB+aT///////wIAAAAKAYAAAAB6AAAAjIRy//////8CAAAACgGBAAAAegAAACUh7f//////AgAAAAoBggAAAHoAAAA0O0b//////wIAAAAKAYMAAAB6AAAAdJjD//////8CAAAACgGEAAAAegAAAB6U9///////AgAAAAoBhQAAAHoAAAAelPf//////wIAAAAKAYYAAAB6AAAAJSHt//////8CAAAACgGHAAAAegAAAAAAAP//////AgAAAAoBiAAAAHoAAAD//////////wIAAAAKAYkAAAB6AAAATkEi//////8CAAAACgGKAAAAegAAAN7c2///////AgAAAAoEJQAAAJgBU3lzdGVtLkNvbGxlY3Rpb25zLkdlbmVyaWMuTGlzdGAxW1tBcGxvcmlzLkJhc2UuT2JqZWN0cy5EYXRhT2JqZWN0LCBBcGxvcmlzLkJhc2UsIFZlcnNpb249NC4wLjAuMTQ4NiwgQ3VsdHVyZT1uZXV0cmFsLCBQdWJsaWNLZXlUb2tlbj0xNmZjMTNhMjI2YzBlOTUxXV0DAAAABl9pdGVtcwVfc2l6ZQhfdmVyc2lvbgQAACFBcGxvcmlzLkJhc2UuT2JqZWN0cy5EYXRhT2JqZWN0W10DAAAACAgJiwAAAA0AAAATAAAABCYAAACVAVN5c3RlbS5Db2xsZWN0aW9ucy5HZW5lcmljLkxpc3RgMVtbQXBsb3Jpcy5CYXNlLlVJLlZpc3VhbE9iamVjdCwgQXBsb3Jpcy5CYXNlLCBWZXJzaW9uPTQuMC4wLjE0ODYsIEN1bHR1cmU9bmV1dHJhbCwgUHVibGljS2V5VG9rZW49MTZmYzEzYTIyNmMwZTk1MV1dAwAAAAZfaXRlbXMFX3NpemUIX3ZlcnNpb24EAAAeQXBsb3Jpcy5CYXNlLlVJLlZpc3VhbE9iamVjdFtdAwAAAAgICYwAAAABAAAAAQAAAAUoAAAAmwFBcGxvcmlzLkJhc2UuT2JqZWN0cy5EYXRhT2JqZWN0Q29sbGVjdGlvbmAxW1tBcGxvcmlzLkNoYXJ0LlZhbHVl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C4wLjE0ODYsIEN1bHR1cmU9bmV1dHJhbCwgUHVibGljS2V5VG9rZW49MTZmYzEzYTIyNmMwZTk1MV1dAwAAAJEBU3lzdGVtLkNvbGxlY3Rpb25zLkdlbmVyaWMuTGlzdGAxW1tBcGxvcmlzLkNoYXJ0LlZhbHVl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NAAAACY4AAAAJBgAAAAkBAAAACY8AAAAFKQAAAJsBQXBsb3Jpcy5CYXNlLk9iamVjdHMuRGF0YU9iamVjdENvbGxlY3Rpb25gMVtbQXBsb3Jpcy5DaGFydC5BeGlzQnJlYWs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AuMC4xNDg2LCBDdWx0dXJlPW5ldXRyYWwsIFB1YmxpY0tleVRva2VuPTE2ZmMxM2EyMjZjMGU5NTFdXQMAAACRAVN5c3RlbS5Db2xsZWN0aW9ucy5HZW5lcmljLkxpc3RgMVtbQXBsb3Jpcy5DaGFydC5BeGlzQnJlYW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kAAAAAmRAAAACQYAAAAJAQAAAAmSAAAABS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gAAAADAAAACWkAAAAJagAAAAlrAAAAAQAAAAAKCglsAAAAAAAAAAoAAAAAAA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L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aAAAAAMAAAAJaQAAAAlqAAAACWsAAAABAAAAAAoGkwAAAAElCWwAAAABAAAACgAAAAAAAAAABS0AAACaAUFwbG9yaXMuQmFzZS5PYmplY3RzLkRhdGFPYmplY3RDb2xsZWN0aW9uYDFbW0FwbG9yaXMuQ2hhcnQuVGlja01hcms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C4wLjE0ODYsIEN1bHR1cmU9bmV1dHJhbCwgUHVibGljS2V5VG9rZW49MTZmYzEzYTIyNmMwZTk1MV1dAwAAAJABU3lzdGVtLkNvbGxlY3Rpb25zLkdlbmVyaWMuTGlzdGAxW1tBcGxvcmlzLkNoYXJ0LlRpY2tNYXJ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QAAAAJlQAAAAkGAAAACQEAAAAJlgAAAAUw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cAAAAhAAAAnhxQQtYAm0MBmAAAACEAAAAW/R9E1gCbQwmZAAAAuAEAAP////8BAQoJmgAAAAEACgAHMQAAAAABAAAABQAAAAQVU3lzdGVtLkRyYXdpbmcuUG9pbnRGBAAAAAGbAAAAIQAAABa9IETWAJtDAZwAAAAhAAAAnhxQQmKvqkMBnQAAACEAAADg/qxDYq+qQwGeAAAAIQAAABb9H0Rir6pDAZ8AAAAhAAAAFr0gRNaAnUMHMgAAAAABAAAABQAAAAQXQXBsb3Jpcy5CYXNlLkFuY2hvck1vZGUDAAAABaAAAAAXQXBsb3Jpcy5CYXNlLkFuY2hvck1vZGUBAAAAB3ZhbHVlX18ACAMAAAAEAAAAAaEAAACgAAAABQAAAAGiAAAAoAAAAAMAAAABowAAAKAAAAAGAAAAAaQAAACgAAAABQAAAA8zAAAABQAAAAEAAAAAAQU0AAAAFUFwbG9yaXMuQmFzZS5VSS5MYWJlbBwAAAAPbUFuY2hvclBvc2l0aW9uC21BbmNob3JNb2RlD21BZGRJbm5lck1hcmdpbhZtT2Zmc2V0RGlyZWN0aW9uQW5jaG9yF21PZmZzZXRPcnRob2dvbmFsQW5jaG9yC21UZXh0Rm9ybWF0CW1Sb3RhdGlvbgptQmFja0NvbG9yDW1Vc2VCYWNrQ29sb3IObVVzZ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EBAQAAQMDAQAAAAAHAgAAAwA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wAAAAGlAAAAIQAAABa9IETWAJtDAaYAAACgAAAABAAAAAAAAAAAAAAAAAmnAAAAAAAAAAmoAAAAAAAFqQAAACpBcGxvcmlzLkJhc2UuVUkuTGFiZWwrTGluZUFsaWdubWVudE9wdGlvbnMBAAAAB3ZhbHVlX18ACAMAAAAAAAAAAaoAAAByAAAAAAAAAAAAAAABqwAAABUAAAAAAAAAAAAAAAAAAAAAAAAAAAAAAAasAAAADUNhdGVnb3J5IGF4aXMKCa0AAAAJrAAAAOQCAAD/////AAEKCa4AAAABAAoAATUAAAAlAAAACa8AAAAGAAAABgAAAAE2AAAAJgAAAAmwAAAAAgAAAAIAAAABOAAAACgAAAAKCbEAAAAJsgAAAAkHAAAACQEAAAAJswAAAAE5AAAAKQAAAAoJtAAAAAm1AAAACQcAAAAJAQAAAAm2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gAAAADAAAACWkAAAAJagAAAAlrAAAAAQAAAAAKCZMAAAAJbAAAAAAAAAAKAAAAAAA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aAAAAAMAAAAJaQAAAAlqAAAACWsAAAABAAAAAAoGtwAAAAElCWwAAAAAAAAACgAAAAAAAAAABT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EAAAABCWgAAAADAAAACWkAAAAJagAAAAlrAAAAAQAAAAAKCZMAAAAJbAAAAAEAAAAKAAAAAAAAAAABPQAAAC0AAAAKCbgAAAAJuQAAAAkHAAAACQEAAAAJugAAAAFAAAAAMAAAAAG7AAAAIQAAAJ4cUELWAJtDAbwAAAAhAAAAnhxQQrgUJkIJvQAAALgBAAD/////AQEKCb4AAAABAAoAB0EAAAAAAQAAAAUAAAAEFVN5c3RlbS5EcmF3aW5nLlBvaW50RgQAAAABvwAAACEAAACeHFBCW6AMQgHAAAAAIQAAADA7bUHWAJtDAcEAAAAhAAAAMDttQW3DL0MBwgAAACEAAAAwO21BuBQmQgHDAAAAIQAAADA7bUFboAxCB0IAAAAAAQAAAAUAAAAEF0FwbG9yaXMuQmFzZS5BbmNob3JNb2RlAwAAAAHEAAAAoAAAAAEAAAABxQAAAKAAAAAIAAAAAcYAAACgAAAAAgAAAAHHAAAAoAAAAAYAAAAByAAAAKAAAAAHAAAAD0MAAAAFAAAAAQAAAAABAUQAAAA0AAAAAckAAAAhAAAAnhxQQlugDEIBygAAAKAAAAABAAAAAAAAAAAAAAAACcsAAAAAAAAACcwAAAAAAAHNAAAAqQAAAAAAAAABzgAAAHIAAAAAAAAAAAAAAAHPAAAAFQAAAAAAAAAAAAAAAAAAAAAAAAAAAAAABtAAAAAKVmFsdWUgYXhpcwoJ0QAAAAnQAAAA5AIAAP////8AAQoJ0gAAAAEACgABRQAAACUAAAAJ0wAAAAcAAAAHAAAAAUYAAAAmAAAACdQAAAACAAAAAgAAAAdHAAAAAAEAAAAEAAAABC5BcGxvcmlzLkNoYXJ0LkNvbHVtbk9yaWVudGVkQ2hhcnQrVW51c2VkU2VyaWVzAgAAAAXVAAAALkFwbG9yaXMuQ2hhcnQuQ29sdW1uT3JpZW50ZWRDaGFydCtVbnVzZWRTZXJpZXMDAAAACEV4Y2VsUm93A1JvdwtEZXNjcmlwdGlvbgAEAggaQXBsb3Jpcy5DaGFydC5EYXRhLkRhdGFSb3cCAAAAAgAAAAAAAAAKCgHWAAAA1QAAAAAAAAAKCgHXAAAA1QAAAAAAAAAKCgHYAAAA1QAAAAAAAAAKCgRIAAAAlwFTeXN0ZW0uQ29sbGVjdGlvbnMuR2VuZXJpYy5MaXN0YDFbW0FwbG9yaXMuQ2hhcnQuQ2hhcnREYXRhU2VyaWVzLCBBcGxvcmlzLkNoYXJ0LCBWZXJzaW9uPTQuMC4wLjE0ODYsIEN1bHR1cmU9bmV1dHJhbCwgUHVibGljS2V5VG9rZW49MTZmYzEzYTIyNmMwZTk1MV1dAwAAAAZfaXRlbXMFX3NpemUIX3ZlcnNpb24EAAAfQXBsb3Jpcy5DaGFydC5DaGFydERhdGFTZXJpZXNbXQIAAAAICAnZAAAAAwAAAIMBAAABSQAAACUAAAAJ2gAAAAMAAACdAAAAAUoAAAAmAAAACdsAAAAAAAAAAAAAAARLAAAAnAFTeXN0ZW0uQ29sbGVjdGlvbnMuR2VuZXJpYy5MaXN0YDFbW0FwbG9yaXMuQ2hhcnQuQW5ub3RhdGlvbkRhdGFTZXJpZXMsIEFwbG9yaXMuQ2hhcnQsIFZlcnNpb249NC4wLjAuMTQ4NiwgQ3VsdHVyZT1uZXV0cmFsLCBQdWJsaWNLZXlUb2tlbj0xNmZjMTNhMjI2YzBlOTUxXV0DAAAABl9pdGVtcwVfc2l6ZQhfdmVyc2lvbgQAACRBcGxvcmlzLkNoYXJ0LkFubm90YXRpb25EYXRhU2VyaWVzW10CAAAACAgJ3AAAAAEAAAADAAAAAUwAAAAlAAAACd0AAAABAAAAAwAAAAFNAAAAJgAAAAnbAAAAAAAAAAAAAAAETgAAAJcBU3lzdGVtLkNvbGxlY3Rpb25zLkdlbmVyaWMuTGlzdGAxW1tBcGxvcmlzLkNoYXJ0LkFubm90YXRpb25Hcm91cCwgQXBsb3Jpcy5DaGFydCwgVmVyc2lvbj00LjAuMC4xNDg2LCBDdWx0dXJlPW5ldXRyYWwsIFB1YmxpY0tleVRva2VuPTE2ZmMxM2EyMjZjMGU5NTFdXQMAAAAGX2l0ZW1zBV9zaXplCF92ZXJzaW9uBAAAH0FwbG9yaXMuQ2hhcnQuQW5ub3RhdGlvbkdyb3VwW10CAAAACAgJ3gAAAAAAAAAAAAAAAU8AAAAlAAAACd8AAAAAAAAAAAAAAAFQAAAAJgAAAAnbAAAAAAAAAAAAAAAEUQAAAJYBU3lzdGVtLkNvbGxlY3Rpb25zLkdlbmVyaWMuTGlzdGAxW1tBcGxvcmlzLkNoYXJ0LkNoYXJ0RGF0YUdyb3VwLCBBcGxvcmlzLkNoYXJ0LCBWZXJzaW9uPTQuMC4wLjE0ODYsIEN1bHR1cmU9bmV1dHJhbCwgUHVibGljS2V5VG9rZW49MTZmYzEzYTIyNmMwZTk1MV1dAwAAAAZfaXRlbXMFX3NpemUIX3ZlcnNpb24EAAAeQXBsb3Jpcy5DaGFydC5DaGFydERhdGFHcm91cFtdAgAAAAgICeAAAAAEAAAALAAAAAFSAAAAJQAAAAnhAAAABAAAABwAAAABUwAAACYAAAAJ2wAAAAAAAAAAAAAABFQAAACQAVN5c3RlbS5Db2xsZWN0aW9ucy5HZW5lcmljLkxpc3RgMVtbQXBsb3Jpcy5DaGFydC5EZWx0YUJhciwgQXBsb3Jpcy5DaGFydCwgVmVyc2lvbj00LjAuMC4xNDg2LCBDdWx0dXJlPW5ldXRyYWwsIFB1YmxpY0tleVRva2VuPTE2ZmMxM2EyMjZjMGU5NTFdXQMAAAAGX2l0ZW1zBV9zaXplCF92ZXJzaW9uBAAAGEFwbG9yaXMuQ2hhcnQuRGVsdGFCYXJbXQIAAAAICAniAAAAAAAAAAAAAAABVQAAACUAAAAJ3wAAAAAAAAAAAAAAAVYAAAAmAAAACdsAAAAAAAAAAAAAAARXAAAAkwFTeXN0ZW0uQ29sbGVjdGlvbnMuR2VuZXJpYy5MaXN0YDFbW0FwbG9yaXMuQ2hhcnQuRGVsdGFCcmlkZ2UsIEFwbG9yaXMuQ2hhcnQsIFZlcnNpb249NC4wLjAuMTQ4NiwgQ3VsdHVyZT1uZXV0cmFsLCBQdWJsaWNLZXlUb2tlbj0xNmZjMTNhMjI2YzBlOTUxXV0DAAAABl9pdGVtcwVfc2l6ZQhfdmVyc2lvbgQAABtBcGxvcmlzLkNoYXJ0LkRlbHRhQnJpZGdlW10CAAAACAgJ4wAAAAAAAAAAAAAAAVgAAAAlAAAACd8AAAAAAAAAAAAAAAFZAAAAJgAAAAnbAAAAAAAAAAAAAAAEWgAAAJMBU3lzdGVtLkNvbGxlY3Rpb25zLkdlbmVyaWMuTGlzdGAxW1tBcGxvcmlzLkNoYXJ0Lkdyb3d0aEFycm93LCBBcGxvcmlzLkNoYXJ0LCBWZXJzaW9uPTQuMC4wLjE0ODYsIEN1bHR1cmU9bmV1dHJhbCwgUHVibGljS2V5VG9rZW49MTZmYzEzYTIyNmMwZTk1MV1dAwAAAAZfaXRlbXMFX3NpemUIX3ZlcnNpb24EAAAbQXBsb3Jpcy5DaGFydC5Hcm93dGhBcnJvd1tdAgAAAAgICeQAAAAAAAAAAAAAAAFbAAAAJQAAAAnfAAAAAAAAAAAAAAABXAAAACYAAAAJ2wAAAAAAAAAAAAAABF0AAACaAVN5c3RlbS5Db2xsZWN0aW9ucy5HZW5lcmljLkxpc3RgMVtbQXBsb3Jpcy5DaGFydC5XYXRlcmZhbGxDb25uZWN0b3IsIEFwbG9yaXMuQ2hhcnQsIFZlcnNpb249NC4wLjAuMTQ4NiwgQ3VsdHVyZT1uZXV0cmFsLCBQdWJsaWNLZXlUb2tlbj0xNmZjMTNhMjI2YzBlOTUxXV0DAAAABl9pdGVtcwVfc2l6ZQhfdmVyc2lvbgQAACJBcGxvcmlzLkNoYXJ0LldhdGVyZmFsbENvbm5lY3RvcltdAgAAAAgICeUAAAAAAAAAAAAAAAFeAAAAJQAAAAnfAAAAAAAAAAAAAAABXwAAACYAAAAJ2wAAAAAAAAAAAAAABGAAAACYAVN5c3RlbS5Db2xsZWN0aW9ucy5HZW5lcmljLkxpc3RgMVtbQXBsb3Jpcy5DaGFydC5FbGVtZW50Q29ubmVjdG9yLCBBcGxvcmlzLkNoYXJ0LCBWZXJzaW9uPTQuMC4wLjE0ODYsIEN1bHR1cmU9bmV1dHJhbCwgUHVibGljS2V5VG9rZW49MTZmYzEzYTIyNmMwZTk1MV1dAwAAAAZfaXRlbXMFX3NpemUIX3ZlcnNpb24EAAAgQXBsb3Jpcy5DaGFydC5FbGVtZW50Q29ubmVjdG9yW10CAAAACAgJ5gAAAAAAAAAAAAAAAWEAAAAlAAAACd8AAAAAAAAAAAAAAAFiAAAAJgAAAAnbAAAAAAAAAAAAAAAFYwAAAK0BQXBsb3Jpcy5CYXNlLk9iamVjdHMuRGF0YU9iamVjdENvbGxlY3Rpb25gMVtbQXBsb3Jpcy5DaGFydC5Db2x1bW5PcmllbnRlZExlZ2VuZE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rAUFwbG9yaXMuQmFzZS5PYmplY3RzLlNvcnRhYmxlQ29sbGVjdGlvbmAxW1tBcGxvcmlzLkNoYXJ0LkNvbHVtbk9yaWVudGVkTGVnZW5kRWxlbWVudCwgQXBsb3Jpcy5DaGFydCwgVmVyc2lvbj00LjAuMC4xNDg2LCBDdWx0dXJlPW5ldXRyYWwsIFB1YmxpY0tleVRva2VuPTE2ZmMxM2EyMjZjMGU5NTFdXQMAAACjAVN5c3RlbS5Db2xsZWN0aW9ucy5HZW5lcmljLkxpc3RgMVtbQXBsb3Jpcy5DaGFydC5Db2x1bW5PcmllbnRlZExlZ2VuZE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5wAAAAnoAAAACRQAAAAJAQAAAAnpAAAAAWUAAAAcAAAAAeoAAAAhAAAAG4OgQwAAKEEB6wAAACEAAAAxTSJESBcrQgnsAAAACe0AAAAAAAAACgHuAAAAcgAAAAAAAAAAAAAAAe8AAAByAAAAAAAAAAAAAAAAAAAAAfAAAAAVAAAAAAAAAAAAAAAAAAAAAAAAAKQBAAD/////AQEKCfEAAAABAAoAAWYAAAAlAAAACfIAAAABAAAAAQAAAAFnAAAAJgAAAAnzAAAAAQAAAAEAAAAFcA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n0AAAACfUAAAABAAAA/v///wEAAAABAAAAAQAAAAEAAAABAAAAAQAAAAAAAQVx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fYAAAAJ9wAAAAEAAAAAAAAAAAAAAAAAAAAAAQV1AAAAH0FwbG9yaXMuQmFzZS5PYmplY3RzLlBlcnNJZERhdGECAAAAA21JZAttQ3VzdG9tRGF0YQcCCAMAAAAJ+AAAAAoFeAAAABpBcGxvcmlzLkJhc2UuT2JqZWN0cy5Db2xvcgcAAAASRGF0YU9iamVjdCttUGFyZW50FURhdGFPYmplY3QrbUNvbnRhaW5lcgVtVHlwZQRtUkdCEG1UaGVtZUNvbG9ySW5kZXgMbUF1dG9VcGRhdGVkCW1Nb2RpZmllZAICAAAAAAAICAgBAQMAAAAKCgAAAAAAAAAADQAAAAABAXkAAAB4AAAACgoBAAAAAAAAAP////8AAQeLAAAAAAEAAAAQAAAABB9BcGxvcmlzLkJhc2UuT2JqZWN0cy5EYXRhT2JqZWN0AwAAAAkJAAAACQoAAAAJCwAAAAkMAAAACRAAAAAJEQAAAAkNAAAACQ4AAAAJDwAAAAkHAAAACQYAAAAJGAAAAAkUAAAADQMHjAAAAAABAAAABAAAAAQcQXBsb3Jpcy5CYXNlLlVJLlZpc3VhbE9iamVjdAMAAAAJHAAAAA0DBI0AAACRAVN5c3RlbS5Db2xsZWN0aW9ucy5HZW5lcmljLkxpc3RgMVtbQXBsb3Jpcy5DaGFydC5WYWx1ZUxpbmUsIEFwbG9yaXMuQ2hhcnQsIFZlcnNpb249NC4wLjAuMTQ4NiwgQ3VsdHVyZT1uZXV0cmFsLCBQdWJsaWNLZXlUb2tlbj0xNmZjMTNhMjI2YzBlOTUxXV0DAAAABl9pdGVtcwVfc2l6ZQhfdmVyc2lvbgQAABlBcGxvcmlzLkNoYXJ0LlZhbHVlTGluZVtdAgAAAAgICfkAAAAAAAAAAAAAAAGOAAAAJQAAAAnfAAAAAAAAAAAAAAABjwAAACYAAAAJ2wAAAAAAAAAAAAAABJAAAACRAVN5c3RlbS5Db2xsZWN0aW9ucy5HZW5lcmljLkxpc3RgMVtbQXBsb3Jpcy5DaGFydC5BeGlzQnJlYWssIEFwbG9yaXMuQ2hhcnQsIFZlcnNpb249NC4wLjAuMTQ4NiwgQ3VsdHVyZT1uZXV0cmFsLCBQdWJsaWNLZXlUb2tlbj0xNmZjMTNhMjI2YzBlOTUxXV0DAAAABl9pdGVtcwVfc2l6ZQhfdmVyc2lvbgQAABlBcGxvcmlzLkNoYXJ0LkF4aXNCcmVha1tdAgAAAAgICfoAAAAAAAAAAAAAAAGRAAAAJQAAAAnfAAAAAAAAAAAAAAABkgAAACYAAAAJ2wAAAAAAAAAAAAAABJQAAACQAVN5c3RlbS5Db2xsZWN0aW9ucy5HZW5lcmljLkxpc3RgMVtbQXBsb3Jpcy5DaGFydC5UaWNrTWFyaywgQXBsb3Jpcy5DaGFydCwgVmVyc2lvbj00LjAuMC4xNDg2LCBDdWx0dXJlPW5ldXRyYWwsIFB1YmxpY0tleVRva2VuPTE2ZmMxM2EyMjZjMGU5NTFdXQMAAAAGX2l0ZW1zBV9zaXplCF92ZXJzaW9uBAAAGEFwbG9yaXMuQ2hhcnQuVGlja01hcmtbXQIAAAAICAn7AAAAAAAAAAAAAAABlQAAACUAAAAJ3wAAAAAAAAAAAAAAAZYAAAAmAAAACdsAAAAAAAAAAAAAAAGZAAAAcAAAAAoKAAAAQD8J/AAAAAn9AAAAAQAAAP7///8AAAAAAQAAAAAAAAAAAAAAAQAAAAAAAAAAAAABmgAAAHUAAAAJ/gAAAAoFpw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gAAAAoAAAAAAEBBCXYAAAAJdwAAAAn/AAAAAQAJAAEAAAGoAAAAeAAAAAoKAQAAAAAAAAD/////AAEErQAAAJYBU3lzdGVtLkNvbGxlY3Rpb25zLkdlbmVyaWMuTGlzdGAxW1tBcGxvcmlzLkJhc2UuT2JqZWN0cy5WYXJpYWJsZSwgQXBsb3Jpcy5CYXNlLCBWZXJzaW9uPTQuMC4wLjE0ODYsIEN1bHR1cmU9bmV1dHJhbCwgUHVibGljS2V5VG9rZW49MTZmYzEzYTIyNmMwZTk1MV1dAwAAAAZfaXRlbXMFX3NpemUIX3ZlcnNpb24EAAAfQXBsb3Jpcy5CYXNlLk9iamVjdHMuVmFyaWFibGVbXQMAAAAICAkBAQAAAAAAAAAAAAABrgAAAHUAAAAJAgEAAAoHrwAAAAABAAAACAAAAAQfQXBsb3Jpcy5CYXNlLk9iamVjdHMuRGF0YU9iamVjdAMAAAAJKgAAAAkrAAAACSwAAAAJLQAAAAkoAAAACSkAAAAKCgewAAAAAAEAAAAEAAAABBxBcGxvcmlzLkJhc2UuVUkuVmlzdWFsT2JqZWN0AwAAAAkwAAAACTQAAAAKCgGxAAAAjQAAAAn5AAAAAAAAAAAAAAABsgAAACUAAAAJ3wAAAAAAAAAAAAAAAbMAAAAmAAAACdsAAAAAAAAAAAAAAAG0AAAAkAAAAAn6AAAAAAAAAAAAAAABtQAAACUAAAAJ3wAAAAAAAAAAAAAAAbYAAAAmAAAACdsAAAAAAAAAAAAAAAG4AAAAlAAAAAkDAQAACwAAAEUAAAABuQAAACUAAAAJBAEAAAsAAABFAAAAAboAAAAmAAAACdsAAAAAAAAAAAAAAAG9AAAAcAAAAAoKAAAAQD8JBQEAAAkGAQAAAQAAAP7///8AAAAAAQAAAAAAAAAAAAAAAQAAAAAAAAAAAAABvgAAAHUAAAAJBwEAAAoFyw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wAAAAoAAAAAAEBBCXYAAAAJdwAAAAkIAQAAAQAJCQEAAAHMAAAAeAAAAAoKAQAAAAAAAAD/////AAEB0QAAAK0AAAAJAQEAAAAAAAAAAAAAAdIAAAB1AAAACQoBAAAKB9MAAAAAAQAAAAgAAAAEH0FwbG9yaXMuQmFzZS5PYmplY3RzLkRhdGFPYmplY3QDAAAACToAAAAJOwAAAAk8AAAACT0AAAAJOAAAAAk5AAAACQsBAAAKB9QAAAAAAQAAAAQAAAAEHEFwbG9yaXMuQmFzZS5VSS5WaXN1YWxPYmplY3QDAAAACUAAAAAJRAAAAAoKB9kAAAAAAQAAACAAAAAEHUFwbG9yaXMuQ2hhcnQuQ2hhcnREYXRhU2VyaWVzAgAAAAkMAQAACQ0BAAAJDgEAAA0dB9oAAAAAAQAAACAAAAAEH0FwbG9yaXMuQmFzZS5PYmplY3RzLkRhdGFPYmplY3QDAAAACQ0BAAAJDgEAAAkMAQAADR0H2wAAAAABAAAAAAAAAAQcQXBsb3Jpcy5CYXNlLlVJLlZpc3VhbE9iamVjdAMAAAAH3AAAAAABAAAABAAAAAQiQXBsb3Jpcy5DaGFydC5Bbm5vdGF0aW9uRGF0YVNlcmllcwIAAAAJDwEAAA0DB90AAAAAAQAAAAQAAAAEH0FwbG9yaXMuQmFzZS5PYmplY3RzLkRhdGFPYmplY3QDAAAACQ8BAAANAwfeAAAAAAEAAAAAAAAABB1BcGxvcmlzLkNoYXJ0LkFubm90YXRpb25Hcm91cAIAAAAH3wAAAAABAAAAAAAAAAQfQXBsb3Jpcy5CYXNlLk9iamVjdHMuRGF0YU9iamVjdAMAAAAH4AAAAAABAAAAEAAAAAQcQXBsb3Jpcy5DaGFydC5DaGFydERhdGFHcm91cAIAAAAJEAEAAAkRAQAACRIBAAAJEwEAAA0MB+EAAAAAAQAAABAAAAAEH0FwbG9yaXMuQmFzZS5PYmplY3RzLkRhdGFPYmplY3QDAAAACRABAAAJEgEAAAkRAQAACRMBAAANDAfiAAAAAAEAAAAAAAAABBZBcGxvcmlzLkNoYXJ0LkRlbHRhQmFyAgAAAAfjAAAAAAEAAAAAAAAABBlBcGxvcmlzLkNoYXJ0LkRlbHRhQnJpZGdlAgAAAAfkAAAAAAEAAAAAAAAABBlBcGxvcmlzLkNoYXJ0Lkdyb3d0aEFycm93AgAAAAflAAAAAAEAAAAAAAAABCBBcGxvcmlzLkNoYXJ0LldhdGVyZmFsbENvbm5lY3RvcgIAAAAH5gAAAAABAAAAAAAAAAQeQXBsb3Jpcy5DaGFydC5FbGVtZW50Q29ubmVjdG9yAgAAAATnAAAAowFTeXN0ZW0uQ29sbGVjdGlvbnMuR2VuZXJpYy5MaXN0YDFbW0FwbG9yaXMuQ2hhcnQuQ29sdW1uT3JpZW50ZWRMZWdlbmRFbGVtZW50LCBBcGxvcmlzLkNoYXJ0LCBWZXJzaW9uPTQuMC4wLjE0ODYsIEN1bHR1cmU9bmV1dHJhbCwgUHVibGljS2V5VG9rZW49MTZmYzEzYTIyNmMwZTk1MV1dAwAAAAZfaXRlbXMFX3NpemUIX3ZlcnNpb24EAAArQXBsb3Jpcy5DaGFydC5Db2x1bW5PcmllbnRlZExlZ2VuZEVsZW1lbnRbXQIAAAAICAkUAQAAAwAAABUAAAAB6AAAACUAAAAJFQEAAAMAAAALAAAAAekAAAAmAAAACRYBAAAAAAAAAAAAAAHsAAAAcAAAAAoKAAAAAAAJFwEAAAkYAQAAAQAAAP7///8BAAAAAQAAAAEAAAABAAAAAQAAAAEAAAAAAAEB7QAAAHEAAAAKCgkZAQAACRoBAAABAAAAAAAAAAAAAAAAAAAAAAEB8QAAAHUAAAAJGwEAAAoH8gAAAAABAAAABAAAAAQfQXBsb3Jpcy5CYXNlLk9iamVjdHMuRGF0YU9iamVjdAMAAAAJYwAAAA0DB/MAAAAAAQAAAAQAAAAEHEFwbG9yaXMuQmFzZS5VSS5WaXN1YWxPYmplY3QDAAAACWUAAAANAwH0AAAAeAAAAAoKAAAAAAAAAAANAAAAAAEB9QAAAHgAAAAKCgEAAAAAAAAA/////wABAfYAAAB4AAAACgoBAAAA////AP////8AAQH3AAAAeAAAAAoKAQAAAAAAAAD/////AAEP+AAAAAEAAAAIAAAAAAf5AAAAAAEAAAAAAAAABBdBcGxvcmlzLkNoYXJ0LlZhbHVlTGluZQIAAAAH+gAAAAABAAAAAAAAAAQXQXBsb3Jpcy5DaGFydC5BeGlzQnJlYWsCAAAAB/sAAAAAAQAAAAAAAAAEFkFwbG9yaXMuQ2hhcnQuVGlja01hcmsCAAAABfwAAAAaQXBsb3Jpcy5CYXNlLk9iamVjdHMuQ29sb3IHAAAAEkRhdGFPYmplY3QrbVBhcmVudBVEYXRhT2JqZWN0K21Db250YWluZXIFbVR5cGUEbVJHQhBtVGhlbWVDb2xvckluZGV4DG1BdXRvVXBkYXRlZAltTW9kaWZpZWQEAgAAAAAAH0FwbG9yaXMuQmFzZS5PYmplY3RzLkxpbmVGb3JtYXQDAAAACAgIAQEDAAAACZkAAAAKAAAAAAAAAAANAAAAAAAF/QAAABpBcGxvcmlzLkJhc2UuT2JqZWN0cy5Db2xvcgcAAAASRGF0YU9iamVjdCttUGFyZW50FURhdGFPYmplY3QrbUNvbnRhaW5lcgVtVHlwZQRtUkdCEG1UaGVtZUNvbG9ySW5kZXgMbUF1dG9VcGRhdGVkCW1Nb2RpZmllZAQCAAAAAAAfQXBsb3Jpcy5CYXNlLk9iamVjdHMuTGluZUZvcm1hdAMAAAAICAgBAQMAAAAJmQAAAAoBAAAAAAAAAP////8AAQ/+AAAAAQAAAAgLBAAAAf8AAAB4AAAACgoAAAAAAAAAAA0AAAAAAQEAAQAAeAAAAAoKAQAAAAAAAAD/////AAEHAQEAAAABAAAAAAAAAAQdQXBsb3Jpcy5CYXNlLk9iamVjdHMuVmFyaWFibGUDAAAADwIBAAABAAAACAAAAAAHAwEAAAABAAAAEAAAAAQWQXBsb3Jpcy5DaGFydC5UaWNrTWFyawIAAAAJHAEAAAkdAQAACR4BAAAJHwEAAAkgAQAACSEBAAAJIgEAAAkjAQAACSQBAAAJJQEAAAkmAQAADQUHBAEAAAABAAAAEAAAAAQfQXBsb3Jpcy5CYXNlLk9iamVjdHMuRGF0YU9iamVjdAMAAAAJHAEAAAkdAQAACR4BAAAJHwEAAAkgAQAACSEBAAAJIgEAAAkjAQAACSQBAAAJJQEAAAkmAQAADQUFBQEAABpBcGxvcmlzLkJhc2UuT2JqZWN0cy5Db2xvcgcAAAASRGF0YU9iamVjdCttUGFyZW50FURhdGFPYmplY3QrbUNvbnRhaW5lcgVtVHlwZQRtUkdCEG1UaGVtZUNvbG9ySW5kZXgMbUF1dG9VcGRhdGVkCW1Nb2RpZmllZAQCAAAAAAAfQXBsb3Jpcy5CYXNlLk9iamVjdHMuTGluZUZvcm1hdAMAAAAICAgBAQMAAAAJvQAAAAoAAAAAAAAAAA0AAAAAAAUGAQAAGkFwbG9yaXMuQmFzZS5PYmplY3RzLkNvbG9yBwAAABJEYXRhT2JqZWN0K21QYXJlbnQVRGF0YU9iamVjdCttQ29udGFpbmVyBW1UeXBlBG1SR0IQbVRoZW1lQ29sb3JJbmRleAxtQXV0b1VwZGF0ZWQJbU1vZGlmaWVkBAIAAAAAAB9BcGxvcmlzLkJhc2UuT2JqZWN0cy5MaW5lRm9ybWF0AwAAAAgICAEBAwAAAAm9AAAACgEAAAAAAAAA/////wABDwcBAAABAAAACAoEAAABCAEAAHgAAAAKCgAAAAAAAAAADQAAAAABAQkBAAB4AAAACgoBAAAAAAAAAP////8AAQ8KAQAAAQAAAAgAAAAABQsB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gAAAADAAAACWkAAAAJagAAAAlrAAAAAQAAAAAKCZMAAAAJbAAAAAEAAAAKAAAAAAAAAAAFDAE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AuMC4xNDg2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AScBAAATAAAAAAAAAAIAAAD/////CQcAAAAJKAEAAAYpAQAAEERldHJhY3RvcnMgKDAtNikKCgAAAAAAAAAAAAAAAAoKAAkqAQAACSsBAAAJLAEAAAAAAAAAAAAAAAAAAAAAAAAAAAktAQAACQEAAAAJAQAAAAkuAQAAAQ0BAAAMAQAACQEAAAABLwEAABMAAAAAAAAAAwAAAP////8JBwAAAAkwAQAABjEBAAAOUGFzc2l2ZXMgKDctOCkKCgAAAAAAAAAAAAAAAAoKAAkyAQAACTMBAAAJNAEAAAAAAAAAAQAAAAAAAAAAAAAAAAk1AQAACQEAAAAJAQAAAAk2AQAAAQ4BAAAMAQAACQEAAAABNwEAABMAAAAAAAAABAAAAP////8JBwAAAAk4AQAABjkBAAAQUHJvbW90ZXJzICg5LTEwKQoKAAAAAAAAAAAAAAAACgoACToBAAAJOwEAAAk8AQAAAAAAAAACAAAAAAAAAAAAAAAACT0BAAAJAQAAAAkBAAAACT4BAAAFDwEAACJBcGxvcmlzLkNoYXJ0LkFubm90YXRpb25EYXRhU2VyaWVzDwAAAA9tTGFiZWxQb3NpdGlvbnMGbUNoYXJ0CW1FeGNlbFJvdwZtSW5kZXgGbUxhYmVsE21Bbm5vdGF0aW9uRWxlbWVudHMSbVNlcmllc0Rlc2NyaXB0aW9uEG1OdW1iZXJGb3JtYXRBYnMUbU51bWJlckZvcm1hdFBlcmNlbnQSbU1hZ25pdHVkZVByb3ZpZGVyCm1Sb3dDZW50ZXIYRGF0YU9iamVjdCttQ2hpbGRPYmplY3RzEkRhdGFPYmplY3QrbVBhcmVudBVEYXRhT2JqZWN0K21Db250YWluZXIZRGF0YU9iamVjdCttVmlzdWFsT2JqZWN0cwQEAAAEBAIEBAQAAwQEAxdTeXN0ZW0uRHJhd2luZy5Qb2ludEZbXQQAAAAhQXBsb3Jpcy5DaGFydC5Db2x1bW5PcmllbnRlZENoYXJ0AgAAAAgIFUFwbG9yaXMuQmFzZS5VSS5MYWJlbAMAAACjAUFwbG9yaXMuQmFzZS5PYmplY3RzLkRhdGFPYmplY3RDb2xsZWN0aW9uYDFbW0FwbG9yaXMuQ2hhcnQuQW5ub3RhdGlvbkVsZW1lbnQsIEFwbG9yaXMuQ2hhcnQsIFZlcnNpb249NC4wLjAuMTQ4NiwgQ3VsdHVyZT1uZXV0cmFsLCBQdWJsaWNLZXlUb2tlbj0xNmZjMTNhMjI2YzBlOTUxXV0DAAAAGkFwbG9yaXMuQ2hhcnQuTnVtYmVyRm9ybWF0AgAAABpBcGxvcmlzLkNoYXJ0Lk51bWJlckZvcm1hdAIAAAAnQXBsb3Jpcy5DaGFydC5TdGFuZGFyZE1hZ25pdHVkZVByb3ZpZGVyAgAAAAu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oJAQAAAAUAAAAAAAAACT8BAAAJQAEAAAZBAQAAA05QUwlCAQAACglDAQAABJuxQwlEAQAACQEAAAAJAQAAAAlFAQAABRAB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GRgEAAAVUb3RhbAAFRwEAAB5BcGxvcmlzLkNoYXJ0LkNoYXJ0R3JvdXBBbmNob3IBAAAAB3ZhbHVlX18ACAIAAAAAAAAACgAAAAABAAAAAQAAAAlIAQAACUkBAAAJSgEAAAoJBwAAAAlLAQAACQEAAAAJAQAAAAlMAQAAAREBAAAQAQAACQEAAAAGTQEAABBJUEFTUyANCkFkb3B0ZXJzAAFOAQAARwEAAAAAAAAKAAAAAAEAAAABAAAACU8BAAAJUAEAAAlRAQAACgkHAAAACVIBAAAJAQAAAAkBAAAACVMBAAABEgEAABABAAAJAQAAAAZUAQAAGk1vZGVyYXRlDQpUZWNobm9sb2d5IFVzZXJzAAFVAQAARwEAAAAAAAAKAAAAAAEAAAABAAAACVYBAAAJVwEAAAlYAQAACgkHAAAACVkBAAAJAQAAAAkBAAAACVoBAAABEwEAABABAAAJAQAAAAZbAQAAGUxpbWl0ZWQNClRlY2hub2xvZ3kgVXNlcnMAAVwBAABHAQAAAAAAAAoAAAAAAQAAAAEAAAAJXQEAAAleAQAACV8BAAAKCQcAAAAJYAEAAAkBAAAACQEAAAAJYQEAAAcUAQAAAAEAAAAIAAAABClBcGxvcmlzLkNoYXJ0LkNvbHVtbk9yaWVudGVkTGVnZW5kRWxlbWVudAIAAAAJYgEAAAljAQAACWQBAAANBQcVAQAAAAEAAAAIAAAABB9BcGxvcmlzLkJhc2UuT2JqZWN0cy5EYXRhT2JqZWN0AwAAAAlkAQAACWMBAAAJYgEAAA0FBxYBAAAAAQAAAAAAAAAEHEFwbG9yaXMuQmFzZS5VSS5WaXN1YWxPYmplY3QDAAAAARcBAAB4AAAACgoAAAAAAAAAAA0AAAAAAQEYAQAAeAAAAAoKAQAAAAAAAAD/////AAEBGQEAAHgAAAAKCgEAAAD///8A/////wABARoBAAB4AAAACgoBAAAAAAAAAP////8AAQ8bAQAAAQAAAAgAAAAABRwBAAAWQXBsb3Jpcy5DaGFydC5UaWNrTWFyaw0AAAALbVZpc3VhbExpbmUJbUdyaWRMaW5lBm1MYWJlbAVtQXhpcwhtVmlzaWJsZQltUG9zaXRpb24LbVN0YXJ0UG9pbnQJbUVuZFBvaW50DG1IYXNHcmlkTGluZRhEYXRhT2JqZWN0K21DaGlsZE9iamVjdHMSRGF0YU9iamVjdCttUGFyZW50FURhdGFPYmplY3QrbUNvbnRhaW5lchlEYXRhT2JqZWN0K21WaXN1YWxPYmplY3RzBAQEBAAABAQAAwQEAxpBcGxvcmlzLkJhc2UuVUkuVmlzdWFsTGluZQMAAAAaQXBsb3Jpcy5CYXNlLlVJLlZpc3VhbExpbmUDAAAAFUFwbG9yaXMuQmFzZS5VSS5MYWJlbAMAAAASQXBsb3Jpcy5DaGFydC5BeGlzAgAAAAEGFVN5c3RlbS5EcmF3aW5nLlBvaW50RgQAAAAVU3lzdGVtLkRyYXdpbmcuUG9pbnRG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llAQAACglmAQAACQcAAAABAAAAAAAAAAABZwEAACEAAACeHFBC1gCbQwFoAQAAIQAAAJ4cQELWAJtDAAlpAQAACQcAAAAJAQAAAAlqAQAAAR0BAAAcAQAACWsBAAAKCWwBAAAJBwAAAAGamZmZmZm5PwFtAQAAIQAAAJ4cUEI2lI1DAW4BAAAhAAAAnhxAQjaUjUMACW8BAAAJBwAAAAkBAAAACXABAAABHgEAABwBAAAJcQEAAAoJcgEAAAkHAAAAAZqZmZmZmck/AXMBAAAhAAAAnhxQQpYngEMBdAEAACEAAACeHEBClieAQwAJdQEAAAkHAAAACQEAAAAJdgEAAAEfAQAAHAEAAAl3AQAACgl4AQAACQcAAAABMzMzMzMz0z8BeQEAACEAAACeHFBC7XVlQwF6AQAAIQAAAJ4cQELtdWVDAAl7AQAACQcAAAAJAQAAAAl8AQAAASABAAAcAQAACX0BAAAKCX4BAAAJBwAAAAGamZmZmZnZPwF/AQAAIQAAAJ4cUEKtnEpDAYABAAAhAAAAnhxAQq2cSkMACYEBAAAJBwAAAAkBAAAACYIBAAABIQEAABwBAAAJgwEAAAoJhAEAAAkHAAAAAQAAAAAAAOA/AYUBAAAhAAAAnhxQQm3DL0MBhgEAACEAAACeHEBCbcMvQwAJhwEAAAkHAAAACQEAAAAJiAEAAAEiAQAAHAEAAAmJAQAACgmKAQAACQcAAAABMzMzMzMz4z8BiwEAACEAAACeHFBCLeoUQwGMAQAAIQAAAJ4cQEIt6hRDAAmNAQAACQcAAAAJAQAAAAmOAQAAASMBAAAcAQAACY8BAAAKCZABAAAJBwAAAAFmZmZmZmbmPwGRAQAAIQAAAJ4cUELbIfRCAZIBAAAhAAAAnhxAQtsh9EIACZMBAAAJBwAAAAkBAAAACZQBAAABJAEAABwBAAAJlQEAAAoJlgEAAAkHAAAAAZqZmZmZmek/AZcBAAAhAAAAnhxQQltvvkIBmAEAACEAAACeHEBCW2++QgAJmQEAAAkHAAAACQEAAAAJmgEAAAElAQAAHAEAAAmbAQAACgmcAQAACQcAAAABzczMzMzM7D8BnQEAACEAAACeHFBC3LyIQgGeAQAAIQAAAJ4cQELcvIhCAAmfAQAACQcAAAAJAQAAAAmgAQAAASYBAAAcAQAACaEBAAAKCaIBAAAJBwAAAAEAAAAAAADwPwGjAQAAIQAAAJ4cUEK4FCZCAaQBAAAhAAAAnhxAQrgUJkIACaUBAAAJBwAAAAkBAAAACaYBAAAFKAEAAKIBQXBsb3Jpcy5CYXNlLk9iamVjdHMuRGF0YU9iamVjdENvbGxlY3Rpb25gMVtbQXBsb3Jpcy5DaGFydC5DaGFydERhdGF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C4wLjE0ODYsIEN1bHR1cmU9bmV1dHJhbCwgUHVibGljS2V5VG9rZW49MTZmYzEzYTIyNmMwZTk1MV1dAwAAAJgBU3lzdGVtLkNvbGxlY3Rpb25zLkdlbmVyaWMuTGlzdGAxW1tBcGxvcmlzLkNoYXJ0LkNoYXJ0RGF0YU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pwEAAAmoAQAACQwBAAAJAQAAAAmpAQAABSoBAAAcQXBsb3Jpcy5DaGFydC5Db25uZWN0ZWRMYWJlbCQAAAAObUNvbm5lY3RvckxpbmUQbVpPcmRlckNvbm5lY3Rvcg5tQ29ubmVjdG9yTW9kZRltQW5nbGVkQ29ubmVjdG9yRGlyZWN0aW9uEG1Db25uZWN0b3JUYXJnZXQZbUNvbm5lY3RvclRhcmdldEFyZWFTaGFwZRptQ29ubmVjdG9yRGlzcGxheVRocmVzaG9sZBNtQ29ubmVjdEFuY2hvclBvaW5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QEAAAABAAE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gAAAApYAgAABaoBAAArQXBsb3Jpcy5DaGFydC5Db25uZWN0ZWRMYWJlbCtlQ29ubmVjdG9yTW9kZQEAAAAHdmFsdWVfXwAIAgAAAAEAAAAFqwEAADZBcGxvcmlzLkNoYXJ0LkNvbm5lY3RlZExhYmVsK2VBbmdsZWRDb25uZWN0b3JEaXJlY3Rpb24BAAAAB3ZhbHVlX18ACAIAAAAAAAAAAawBAAAVAAAACuICRLgUMkIguqtCTA1jQQWtAQAALUFwbG9yaXMuQ2hhcnQuQ29ubmVjdGVkTGFiZWwrZVRhcmdldEFyZWFTaGFwZQEAAAAHdmFsdWVfXwAIAgAAAAAAAAAAABBBAQGuAQAAIQAAAE5ZGkRidk5CAa8BAACgAAAABAAAAAAAAAAAAAAAAAmwAQAAAAAAAAmxAQAAAAABsgEAAKkAAAAAAAAAAbMBAAByAAAAAAAAAAAAAAABtAEAABUAAAAAAAAAAAAAAAAAAAAAAAAAAAAAAAkpAQAACgm1AQAABrYBAAAAIAMAAP////8AAQoJtwEAAAEACgAHKwEAAAABAAAAAgAAAAQVU3lzdGVtLkRyYXdpbmcuUG9pbnRGBAAAAAG4AQAAIQAAAE5ZGkRidk5CAbkBAAAhAAAAnhw8QlwVhkIHLAEAAAABAAAAAgAAAAQXQXBsb3Jpcy5CYXNlLkFuY2hvck1vZGUDAAAAAboBAACgAAAABAAAAAG7AQAAoAAAAAIAAAABLQEAACUAAAAJvAEAAAEAAAABAAAAAS4BAAAmAAAACb0BAAABAAAAAQAAAAEwAQAAKAEAAAoJvgEAAAm/AQAACQ0BAAAJAQAAAAnAAQAAATIBAAAqAQAAClgCAAABwQEAAKoBAAABAAAAAcIBAACrAQAAAAAAAAHDAQAAFQAAAAriAkQGbIFCILqrQvtRL0IBxAEAAK0BAAAAAAAAAAAQQQEBxQEAACEAAABOWRpEhECtQgHGAQAAoAAAAAQAAAAAAAAAAAAAAAAJxwEAAAAAAAAJyAEAAAAAAckBAACpAAAAAAAAAAHKAQAAcgAAAAAAAAAAAAAAAcsBAAAVAAAAAAAAAAAAAAAAAAAAAAAAAAAAAAAJMQEAAAoJzAEAAAm2AQAAIAMAAP////8AAQoJzQEAAAEACgAHMwEAAAABAAAAAgAAAAQVU3lzdGVtLkRyYXdpbmcuUG9pbnRGBAAAAAHOAQAAIQAAAE5ZGkSEQK1CAc8BAAAhAAAAnhw8QlebBEMHNAEAAAABAAAAAgAAAAQXQXBsb3Jpcy5CYXNlLkFuY2hvck1vZGUDAAAAAdABAACgAAAABAAAAAHRAQAAoAAAAAIAAAABNQEAACUAAAAJ0gEAAAEAAAABAAAAATYBAAAmAAAACdMBAAABAAAAAQAAAAE4AQAAKAEAAAoJ1AEAAAnVAQAACQ4BAAAJAQAAAAnWAQAAAToBAAAqAQAAClgCAAAB1wEAAKoBAAABAAAAAdgBAACrAQAAAAAAAAHZAQAAFQAAAAriAkQDFeVCILqrQip3QEMB2gEAAK0BAAAAAAAAAAAQQQEB2wEAACEAAABOWRpEF8ZSQwHcAQAAoAAAAAQAAAAAAAAAAAAAAAAJ3QEAAAAAAAAJ3gEAAAAAAd8BAACpAAAAAAAAAAHgAQAAcgAAAAAAAAAAAAAAAeEBAAAVAAAAAAAAAAAAAAAAAAAAAAAAAAAAAAAJOQEAAAoJ4gEAAAm2AQAAIAMAAP////8AAQoJ4wEAAAEACgAHOwEAAAABAAAAAgAAAAQVU3lzdGVtLkRyYXdpbmcuUG9pbnRGBAAAAAHkAQAAIQAAAE5ZGkQXxlJDAeUBAAAhAAAAnhw8QhZUcUMHPAEAAAABAAAAAgAAAAQXQXBsb3Jpcy5CYXNlLkFuY2hvck1vZGUDAAAAAeYBAACgAAAABAAAAAHnAQAAoAAAAAIAAAABPQEAACUAAAAJ6AEAAAEAAAABAAAAAT4BAAAmAAAACekBAAABAAAAAQAAAAE/AQAANAAAAAHqAQAAIQAAAHhyQEEEm7FDAesBAACgAAAABAAAAAAAAAAAAAAAAAnsAQAAAAAAAAntAQAAAAAB7gEAAKkAAAAAAAAAAe8BAAByAAAAAADYQQAAYEEB8AEAABUAAAAAACBBo4uuQ2OU30HooktBXrrZPwlBAQAACgnxAQAACbYBAAAgAwAA/////wEBCgnyAQAAAQAKAAVAAQAAowFBcGxvcmlzLkJhc2UuT2JqZWN0cy5EYXRhT2JqZWN0Q29sbGVjdGlvbmAxW1tBcGxvcmlzLkNoYXJ0LkFubm90YXRpb25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oQFBcGxvcmlzLkJhc2UuT2JqZWN0cy5Tb3J0YWJsZUNvbGxlY3Rpb25gMVtbQXBsb3Jpcy5DaGFydC5Bbm5vdGF0aW9uRWxlbWVudCwgQXBsb3Jpcy5DaGFydCwgVmVyc2lvbj00LjAuMC4xNDg2LCBDdWx0dXJlPW5ldXRyYWwsIFB1YmxpY0tleVRva2VuPTE2ZmMxM2EyMjZjMGU5NTFdXQMAAACZAVN5c3RlbS5Db2xsZWN0aW9ucy5HZW5lcmljLkxpc3RgMVtbQXBsb3Jpcy5DaGFydC5Bbm5vdGF0aW9u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nzAQAACfQBAAAJDwEAAAkBAAAACfUBAAAFQg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IkFwbG9yaXMuQ2hhcnQuQW5ub3RhdGlvbkRhdGFTZXJpZXMCAAAAIUFwbG9yaXMuQ2hhcnQuQ29sdW1uT3JpZW50ZWRDaGFydAIAAAAIAQgIAQgICAIAAAAJDwEAAAkBAAAAAAAAAAEG9gEAAAEuAwAAAAb3AQAAASwG+AEAAAEtBvkBAAABKwEAAAAACgb6AQAAASUG+wEAAAhNL2QveXl5eQAAAAAKAAAAAAAAAAAFQwEAACdBcGxvcmlzLkNoYXJ0LlN0YW5kYXJkTWFnbml0dWRlUHJvdmlkZXIEAAAAEm1NYWduaXR1ZGVBYnNvbHV0ZRFtTWFnbml0dWRlUGVyY2VudBJtQWJzb2x1dGVWYXJpYWJsZXMRbVBlcmNlbnRWYXJpYWJsZXMAAAcHCAgICAIAAAAAAAAAAAAAAAn8AQAACf0BAAABRAEAACUAAAAJ/gEAAAIAAAACAAAAAUUBAAAmAAAACf8BAAABAAAAAQAAAA9IAQAAAQAAAAgAAAAAB0kBAAAAAQAAAAEAAAAEFUFwbG9yaXMuQmFzZS5VSS5MYWJlbAMAAAAJAAIAAAFKAQAANAAAAAEBAgAAIQAAAJsJ+0LWgJ1DAQICAACgAAAAAwAAAAAAAAAAAAAAAAkDAgAAAAAAAAkEAgAAAAABBQIAAKkAAAAAAAAAAQYCAAByAAAAAADoQQAAYEEBBwIAABUAAAB00d1CLrqdQwUg7kHooktBXrrZPwlGAQAACgkIAgAACbYBAAAgAwAA/////wEBCgkJAgAAAQAKAAFLAQAAJQAAAAnfAAAAAAAAAAAAAAABTAEAACYAAAAJCgIAAAIAAAAMAAAAD08BAAABAAAACAAAAAAHUAEAAAABAAAAAQAAAAQVQXBsb3Jpcy5CYXNlLlVJLkxhYmVsAwAAAAkLAgAAAVEBAAA0AAAAAQwCAAAhAAAADUCIQ9aAnUMBDQIAAKAAAAADAAAAAAAAAAAAAAAACQ4CAAAAAAAACQ8CAAAAAAEQAgAAqQAAAAAAAAABEQIAAHIAAAAAAFBCAADoQQESAgAAFQAAANFFd0Muup1D67JKQrro0kFeutk/CU0BAAAKCRMCAAAJtgEAACADAAD/////AQEKCRQCAAABAAoAAVIBAAAlAAAACRUCAAAAAAAAAAAAAAFTAQAAJgAAAAkWAgAAAgAAAAQAAAAPVgEAAAEAAAAIAAAAAAdXAQAAAAEAAAABAAAABBVBcGxvcmlzLkJhc2UuVUkuTGFiZWwDAAAACRcCAAABWAEAADQAAAABGAIAACEAAACzvdFD1oCdQwEZAgAAoAAAAAMAAAAAAAAAAAAAAAAJGgIAAAAAAAAJGwIAAAAAARwCAACpAAAAAAAAAAEdAgAAcgAAAAAA1EIAAOhBAR4CAAAVAAAAAAC5Qy66nUMCiMdCuujSQV662T8JVAEAAAoJHwIAAAm2AQAAIAMAAP////8BAQoJIAIAAAEACgABWQEAACUAAAAJIQIAAAAAAAAAAAAAAVoBAAAmAAAACSICAAACAAAABAAAAA9dAQAAAQAAAAgAAAAAB14BAAAAAQAAAAEAAAAEFUFwbG9yaXMuQmFzZS5VSS5MYWJlbAMAAAAJIwIAAAFfAQAANAAAAAEkAgAAIQAAAKydDUTWgJ1DASUCAACgAAAAAwAAAAAAAAAAAAAAAAkmAgAAAAAAAAknAgAAAAABKAIAAKkAAAAAAAAAASkCAAByAAAAAADUQgAA6EEBKgIAABUAAABGFwFELrqdQwKIx0K66NJBXrrZPwlbAQAACgkrAgAACbYBAAAgAwAA/////wEBCgksAgAAAQAKAAFgAQAAJQAAAAktAgAAAAAAAAAAAAABYQEAACYAAAAJLgIAAAIAAAACAAAABWIBAAApQXBsb3Jpcy5DaGFydC5Db2x1bW5PcmllbnRlZExlZ2VuZEVsZW1lbnQNAAAAB21MZWdlbmQLbURhdGFTZXJpZXMUTGVnZW5kRWxlbWVudCttTGFiZWwYTGVnZW5kRWxlbWVudCttUmVjdGFuZ2xlE0xlZ2VuZEVsZW1lbnQrbUxpbmUVTGVnZW5kRWxlbWVudCttQ2lyY2xlFUxlZ2VuZEVsZW1lbnQrbU1hcmtlchRMZWdlbmRFbGVtZW50K21JbmRleB1MZWdlbmRFbGVtZW50K21MYWJlbFBvc2l0aW9ucxhEYXRhT2JqZWN0K21DaGlsZE9iamVjdHMSRGF0YU9iamVjdCttUGFyZW50FURhdGFPYmplY3QrbUNvbnRhaW5lchlEYXRhT2JqZWN0K21WaXN1YWxPYmplY3RzBAQEBAQEBAAEAwQEAyJBcGxvcmlzLkNoYXJ0LkNvbHVtbk9yaWVudGVkTGVnZW5kAgAAAB1BcGxvcmlzLkNoYXJ0LkNoYXJ0RGF0YVNlcmllcwIAAAAVQXBsb3Jpcy5CYXNlLlVJLkxhYmVsAwAAABpBcGxvcmlzLkJhc2UuVUkuVmlzdWFsUmVjdAMAAAAaQXBsb3Jpcy5CYXNlLlVJLlZpc3VhbExpbmUDAAAAHUFwbG9yaXMuQmFzZS5VSS5WaXN1YWxFbGxpcHNlAwAAABpBcGxvcmlzLkNoYXJ0LlZpc3VhbE1hcmtlcgIAAAAIF1N5c3RlbS5EcmF3aW5nLlBvaW50RltdBA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RQAAAAJDgEAAAkvAgAACTACAAAKCgoAAAAACTECAAAJMgIAAAkUAAAACQEAAAAJMwIAAAFjAQAAYgEAAAkUAAAACQ0BAAAJNAIAAAk1AgAACgoKAQAAAAk2AgAACTcCAAAJFAAAAAkBAAAACTgCAAABZAEAAGIBAAAJFAAAAAkMAQAACTkCAAAJOgIAAAoKCgIAAAAKCTsCAAAJFAAAAAkBAAAACTwCAAABZQEAADAAAAABPQIAACEAAACeHFBC1gCbQwE+AgAAIQAAAJ4cQELWAJtDCT8CAADMAQAA/////wEBCglAAgAAAQAKAAFmAQAANAAAAAFBAgAAIQAAAJ4cOkLWAJtDAUICAACgAAAAAgAAAAAAAAAAAAAAAAlDAgAAAAAAAAlEAgAAAAABRQIAAKkAAAAAAAAAAUYCAAByAAAAAACYQQAAYEEBRwIAABUAAACLLtpBdNGXQ9hlpUHooktBXrrZPwZIAgAAAjAlCglJAgAACbYBAADQAgAA/////wEBCglKAgAAAQAKAAFpAQAAJQAAAAnfAAAAAAAAAAAAAAABagEAACYAAAAJSwIAAAIAAAACAAAAAWsBAAAwAAAAAUwCAAAhAAAAnhxQQjaUjUMBTQIAACEAAACeHEBCNpSNQwlOAgAAzAEAAP////8BAQoJTwIAAAEACgABbAEAADQAAAABUAIAACEAAACeHDpCNpSNQwFRAgAAoAAAAAIAAAAAAAAAAAAAAAAJUgIAAAAAAAAJUwIAAAAAAVQCAACpAAAAAAAAAAFVAgAAcgAAAAAA0EEAAGBBAVYCAAAVAAAA0UWnQYsuikOSTthB6KJLQV662T8GVwIAAAMxMCUKCVgCAAAJtgEAANACAAD/////AQEKCVkCAAABAAoAAW8BAAAlAAAACd8AAAAAAAAAAAAAAAFwAQAAJgAAAAlaAgAAAgAAAAIAAAABcQEAADAAAAABWwIAACEAAACeHFBClieAQwFcAgAAIQAAAJ4cQEKWJ4BDCV0CAADMAQAA/////wEBCgleAgAAAQAKAAFyAQAANAAAAAFfAgAAIQAAAJ4cOkKWJ4BDAWACAACgAAAAAgAAAAAAAAAAAAAAAAlhAgAAAAAAAAliAgAAAAABYwIAAKkAAAAAAAAAAWQCAAByAAAAAADQQQAAYEEBZQIAABUAAADRRadBAAB6Q5JO2EHooktBXrrZPwZmAgAAAzIwJQoJZwIAAAm2AQAA0AIAAP////8BAQoJaAIAAAEACgABdQEAACUAAAAJ3wAAAAAAAAAAAAAAAXYBAAAmAAAACWkCAAACAAAAAgAAAAF3AQAAMAAAAAFqAgAAIQAAAJ4cUELtdWVDAWsCAAAhAAAAnhxAQu11ZUMJbAIAAMwBAAD/////AQEKCW0CAAABAAoAAXgBAAA0AAAAAW4CAAAhAAAAnhw6Qu11ZUMBbwIAAKAAAAACAAAAAAAAAAAAAAAACXACAAAAAAAACXECAAAAAAFyAgAAqQAAAAAAAAABcwIAAHIAAAAAANBBAABgQQF0AgAAFQAAANFFp0Euul5Dkk7YQeiiS0Feutk/BnUCAAADMzAlCgl2AgAACbYBAADQAgAA/////wEBCgl3AgAAAQAKAAF7AQAAJQAAAAnfAAAAAAAAAAAAAAABfAEAACYAAAAJeAIAAAIAAAACAAAAAX0BAAAwAAAAAXkCAAAhAAAAnhxQQq2cSkMBegIAACEAAACeHEBCrZxKQwl7AgAAzAEAAP////8BAQoJfAIAAAEACgABfgEAADQAAAABfQIAACEAAACeHDpCrZxKQwF+AgAAoAAAAAIAAAAAAAAAAAAAAAAJfwIAAAAAAAAJgAIAAAAAAYECAACpAAAAAAAAAAGCAgAAcgAAAAAA0EEAAGBBAYMCAAAVAAAA0UWnQRddREOSTthB6KJLQV662T8GhAIAAAM0MCUKCYUCAAAJtgEAANACAAD/////AQEKCYYCAAABAAoAAYEBAAAlAAAACd8AAAAAAAAAAAAAAAGCAQAAJgAAAAmHAgAAAgAAAAIAAAABgwEAADAAAAABiAIAACEAAACeHFBCbcMvQwGJAgAAIQAAAJ4cQEJtwy9DCYoCAADMAQAA/////wEBCgmLAgAAAQAKAAGEAQAANAAAAAGMAgAAIQAAAJ4cOkJtwy9DAY0CAACgAAAAAgAAAAAAAAAAAAAAAAmOAgAAAAAAAAmPAgAAAAABkAIAAKkAAAAAAAAAAZECAAByAAAAAADQQQAAYEEBkgIAABUAAADRRadBRhcpQ5JO2EHooktBXrrZPwaTAgAAAzUwJQoJlAIAAAm2AQAA0AIAAP////8BAQoJlQIAAAEACgABhwEAACUAAAAJlgIAAAAAAAAAAAAAAYgBAAAmAAAACZcCAAACAAAAAgAAAAGJAQAAMAAAAAGYAgAAIQAAAJ4cUEIt6hRDAZkCAAAhAAAAnhxAQi3qFEMJmgIAAMwBAAD/////AQEKCZsCAAABAAoAAYoBAAA0AAAAAZwCAAAhAAAAnhw6Qi3qFEMBnQIAAKAAAAACAAAAAAAAAAAAAAAACZ4CAAAAAAAACZ8CAAAAAAGgAgAAqQAAAAAAAAABoQIAAHIAAAAAANBBAABgQQGiAgAAFQAAANFFp0Euug5Dkk7YQeiiS0Feutk/BqMCAAADNjAlCgmkAgAACbYBAADQAgAA/////wEBCgmlAgAAAQAKAAGNAQAAJQAAAAmWAgAAAAAAAAAAAAABjgEAACYAAAAJpgIAAAIAAAACAAAAAY8BAAAwAAAAAacCAAAhAAAAnhxQQtsh9EIBqAIAACEAAACeHEBC2yH0QgmpAgAAzAEAAP////8BAQoJqgIAAAEACgABkAEAADQAAAABqwIAACEAAACeHDpC2yH0QgGsAgAAoAAAAAIAAAAAAAAAAAAAAAAJrQIAAAAAAAAJrgIAAAAAAa8CAACpAAAAAAAAAAGwAgAAcgAAAAAA0EEAAGBBAbECAAAVAAAA0UWnQbro5kKSTthB6KJLQV662T8GsgIAAAM3MCUKCbMCAAAJtgEAANACAAD/////AQEKCbQCAAABAAoAAZMBAAAlAAAACZYCAAAAAAAAAAAAAAGUAQAAJgAAAAm1AgAAAgAAAAIAAAABlQEAADAAAAABtgIAACEAAACeHFBCW2++QgG3AgAAIQAAAJ4cQEJbb75CCbgCAADMAQAA/////wEBCgm5AgAAAQAKAAGWAQAANAAAAAG6AgAAIQAAAJ4cOkJbb75CAbsCAACgAAAAAgAAAAAAAAAAAAAAAAm8AgAAAAAAAAm9AgAAAAABvgIAAKkAAAAAAAAAAb8CAAByAAAAAADQQQAAYEEBwAIAABUAAADRRadBiy6yQpJO2EHooktBXrrZPwbBAgAAAzgwJQoJwgIAAAm2AQAA0AIAAP////8BAQoJwwIAAAEACgABmQEAACUAAAAJlgIAAAAAAAAAAAAAAZoBAAAmAAAACcQCAAACAAAAAgAAAAGbAQAAMAAAAAHFAgAAIQAAAJ4cUELcvIhCAcYCAAAhAAAAnhxAQty8iEIJxwIAAMwBAAD/////AQEKCcgCAAABAAoAAZwBAAA0AAAAAckCAAAhAAAAnhw6Qty8iEIBygIAAKAAAAACAAAAAAAAAAAAAAAACcsCAAAAAAAACcwCAAAAAAHNAgAAqQAAAAAAAAABzgIAAHIAAAAAANBBAABgQQHPAgAAFQAAANFFp0HRRXdCkk7YQeiiS0Feutk/BtACAAADOTAlCgnRAgAACbYBAADQAgAA/////wEBCgnSAgAAAQAKAAGfAQAAJQAAAAmWAgAAAAAAAAAAAAABoAEAACYAAAAJ0wIAAAIAAAACAAAAAaEBAAAwAAAAAdQCAAAhAAAAnhxQQrgUJkIB1QIAACEAAACeHEBCuBQmQgnWAgAAzAEAAP////8BAQoJ1wIAAAEACgABogEAADQAAAAB2AIAACEAAACeHDpCuBQmQgHZAgAAoAAAAAIAAAAAAAAAAAAAAAAJ2gIAAAAAAAAJ2wIAAAAAAdwCAACpAAAAAAAAAAHdAgAAcgAAAAAABEIAAGBBAd4CAAAVAAAALrpoQXTRDUKlmwVC6KJLQV662T8G3wIAAAQxMDAlCgngAgAACbYBAADQAgAA/////wEBCgnhAgAAAQAKAAGlAQAAJQAAAAmWAgAAAAAAAAAAAAABpgEAACYAAAAJ4gIAAAIAAAACAAAABKcBAACYAVN5c3RlbS5Db2xsZWN0aW9ucy5HZW5lcmljLkxpc3RgMVtbQXBsb3Jpcy5DaGFydC5DaGFydERhdGFFbGVtZW50LCBBcGxvcmlzLkNoYXJ0LCBWZXJzaW9uPTQuMC4wLjE0ODYsIEN1bHR1cmU9bmV1dHJhbCwgUHVibGljS2V5VG9rZW49MTZmYzEzYTIyNmMwZTk1MV1dAwAAAAZfaXRlbXMFX3NpemUIX3ZlcnNpb24EAAAgQXBsb3Jpcy5DaGFydC5DaGFydERhdGFFbGVtZW50W10CAAAACAgJ4wIAAAQAAAAEAAAAAagBAAAlAAAACeQCAAAEAAAABAAAAAGpAQAAJgAAAAnlAgAAAAAAAAAAAAAFsA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wBAAAKAAAAAABAQQl2AAAACXcAAAAJ5gIAAAEACecCAAABsQEAAHgAAAAKCgEAAAAAAAAA/////wABAbUBAACtAAAACegCAAABAAAAAQAAAAG3AQAAdQAAAAnpAgAACge8AQAAAAEAAAAEAAAABB9BcGxvcmlzLkJhc2UuT2JqZWN0cy5EYXRhT2JqZWN0AwAAAAkoAQAADQMHvQEAAAABAAAABAAAAAQcQXBsb3Jpcy5CYXNlLlVJLlZpc3VhbE9iamVjdAMAAAAJKgEAAA0DAb4BAACnAQAACeoCAAAEAAAABAAAAAG/AQAAJQAAAAnrAgAABAAAAAQAAAABwAEAACYAAAAJ5QIAAAAAAAAAAAAABcc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NAQAACgAAAAAAQEEJdgAAAAl3AAAACewCAAABAAntAgAAAcgBAAB4AAAACgoBAAAAAAAAAP////8AAQHMAQAArQAAAAnuAgAAAQAAAAEAAAABzQEAAHUAAAAJ7wIAAAoH0gEAAAABAAAABAAAAAQfQXBsb3Jpcy5CYXNlLk9iamVjdHMuRGF0YU9iamVjdAMAAAAJMAEAAA0DB9MBAAAAAQAAAAQAAAAEHEFwbG9yaXMuQmFzZS5VSS5WaXN1YWxPYmplY3QDAAAACTIBAAANAwHUAQAApwEAAAnwAgAABAAAAAQAAAAB1QEAACUAAAAJ8QIAAAQAAAAEAAAAAdYBAAAmAAAACeUCAAAAAAAAAAAAAAXd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DgEAAAoAAAAAAEBBCXYAAAAJdwAAAAnyAgAAAQAJ8wIAAAHeAQAAeAAAAAoKAQAAAAAAAAD/////AAEB4gEAAK0AAAAJ9AIAAAEAAAABAAAAAeMBAAB1AAAACfUCAAAKB+gBAAAAAQAAAAQAAAAEH0FwbG9yaXMuQmFzZS5PYmplY3RzLkRhdGFPYmplY3QDAAAACTgBAAANAwfpAQAAAAEAAAAEAAAABBxBcGxvcmlzLkJhc2UuVUkuVmlzdWFsT2JqZWN0AwAAAAk6AQAADQMB7AEAACMAAAAKCgAAAAAAQEEJdgAAAAl3AAAACfYCAAAAAAn3AgAAAe0BAAB4AAAACgoBAAAAAAAAAP////8AAQHxAQAArQAAAAn4AgAAAQAAAAEAAAAB8gEAAHUAAAAJ+QIAAAoE8wEAAJkBU3lzdGVtLkNvbGxlY3Rpb25zLkdlbmVyaWMuTGlzdGAxW1tBcGxvcmlzLkNoYXJ0LkFubm90YXRpb25FbGVtZW50LCBBcGxvcmlzLkNoYXJ0LCBWZXJzaW9uPTQuMC4wLjE0ODYsIEN1bHR1cmU9bmV1dHJhbCwgUHVibGljS2V5VG9rZW49MTZmYzEzYTIyNmMwZTk1MV1dAwAAAAZfaXRlbXMFX3NpemUIX3ZlcnNpb24EAAAhQXBsb3Jpcy5DaGFydC5Bbm5vdGF0aW9uRWxlbWVudFtdAgAAAAgICfoCAAAEAAAABAAAAAH0AQAAJQAAAAn7AgAABAAAAAQAAAAB9QEAACYAAAAJ/AIAAAAAAAAAAAAAD/wBAAAAAAAACA/9AQAAAAAAAAgH/gEAAAABAAAABAAAAAQfQXBsb3Jpcy5CYXNlLk9iamVjdHMuRGF0YU9iamVjdAMAAAAJQgEAAAlAAQAACgoH/wEAAAABAAAABAAAAAQcQXBsb3Jpcy5CYXNlLlVJLlZpc3VhbE9iamVjdAMAAAAJPwEAAA0DAQACAAA0AAAAAf0CAAAhAAAAmwn7QrgUGkIB/gIAAKAAAAABAAAAAAAAAAAAAAAACf8CAAAAAAAACQADAAAAAAEBAwAAqQAAAAAAAAABAgMAAHIAAAAAABxCAABAQQEDAwAAFQAAAAAAAAAAAAAAAAAAAAAAAAASg74/BgQDAAAEMTAwJQoJBQMAAAm2AQAANAMAAP////8AAQoJBgMAAAEACgABAwIAACMAAAAKCgAAAAAAQEEJdgAAAAl3AAAACQcDAAAAAAkIAwAAAQQCAAB4AAAACgoAAAAA////AA4AAAAAAQEIAgAArQAAAAkJAwAAAQAAAAEAAAABCQIAAHUAAAAJCgMAAAoHCgIAAAABAAAABAAAAAQcQXBsb3Jpcy5CYXNlLlVJLlZpc3VhbE9iamVjdAMAAAAJSgEAAAkAAgAACgoBCwIAADQAAAABCwMAACEAAAANQIhDuBQaQgEMAwAAoAAAAAEAAAAAAAAAAAAAAAAJDQMAAAAAAAAJDgMAAAAAAQ8DAACpAAAAAAAAAAEQAwAAcgAAAAAAHEIAAEBBAREDAAAVAAAAAAAAAAAAAAAAAAAAAAAAABKDvj8GEgMAAAQxMDAlCgkTAwAACbYBAAA0AwAA/////wABCgkUAwAAAQAKAAEOAgAAIwAAAAoKAAAAAABAQQl2AAAACXcAAAAJFQMAAAAACRYDAAABDwIAAHgAAAAKCgAAAAD///8ADgAAAAABARMCAACtAAAACRcDAAABAAAAAQAAAAEUAgAAdQAAAAkYAwAACgcVAgAAAAEAAAAAAAAABB9BcGxvcmlzLkJhc2UuT2JqZWN0cy5EYXRhT2JqZWN0AwAAAAcWAgAAAAEAAAAEAAAABBxBcGxvcmlzLkJhc2UuVUkuVmlzdWFsT2JqZWN0AwAAAAlRAQAACQsCAAAKCgEXAgAANAAAAAEZAwAAIQAAALO90UO4FBpCARoDAACgAAAAAQAAAAAAAAAAAAAAAAkbAwAAAAAAAAkcAwAAAAABHQMAAKkAAAAAAAAAAR4DAAByAAAAAAAcQgAAQEEBHwMAABUAAAAAAAAAAAAAAAAAAAAAAAAAEoO+PwYgAwAABDEwMCUKCSEDAAAJtgEAADQDAAD/////AAEKCSIDAAABAAoAARoCAAAjAAAACgoAAAAAAEBBCXYAAAAJdwAAAAkjAwAAAAAJJAMAAAEbAgAAeAAAAAoKAAAAAP///wAOAAAAAAEBHwIAAK0AAAAJJQMAAAEAAAABAAAAASACAAB1AAAACSYDAAAKByECAAAAAQAAAAAAAAAEH0FwbG9yaXMuQmFzZS5PYmplY3RzLkRhdGFPYmplY3QDAAAAByICAAAAAQAAAAQAAAAEHEFwbG9yaXMuQmFzZS5VSS5WaXN1YWxPYmplY3QDAAAACVgBAAAJFwIAAAoKASMCAAA0AAAAAScDAAAhAAAArJ0NRLgUGkIBKAMAAKAAAAABAAAAAAAAAAAAAAAACSkDAAAAAAAACSoDAAAAAAErAwAAqQAAAAAAAAABLAMAAHIAAAAAAAAAAAAAAAEtAwAAFQAAAAAAAAAAAAAAAAAAAAAAAAAAAAAABi4DAAAEMTAwJQoJLwMAAAm2AQAANAMAAP////8AAQoJMAMAAAEACgABJgIAACMAAAAKCgAAAAAAQEEJdgAAAAl3AAAACTEDAAAAAAkyAwAAAScCAAB4AAAACgoAAAAA////AA4AAAAAAQErAgAArQAAAAkzAwAAAQAAAAEAAAABLAIAAHUAAAAJNAMAAAoHLQIAAAABAAAAAAAAAAQfQXBsb3Jpcy5CYXNlLk9iamVjdHMuRGF0YU9iamVjdAMAAAAHLgIAAAABAAAABAAAAAQcQXBsb3Jpcy5CYXNlLlVJLlZpc3VhbE9iamVjdAMAAAAJXwEAAAkjAgAACgoBLwIAADQAAAABNQMAACEAAAAHFatDAAB4QQE2AwAAoAAAAAUAAAAAAAAAAAAAAAAJNwMAAAAAAAAJOAMAAAAAATkDAACpAAAAAAAAAAE6AwAAcgAAAAAAxkIAAGBBATsDAAAVAAAAXXSqQ9FFd0HTzbpC6KJLQV662T8JOQEAAAoJPAMAAAm2AQAAhAMAAP////8BAQoJPQMAAAEACgABMAIAABwAAAABPgMAACEAAAAbA6NDAAB4QQE/AwAAIQAAAAeVqUO4HuVBCUADAAAJQQMAAAAAAAAKAUIDAAByAAAAAAAAAAAAAAABQwMAAHIAAAAAAAAAAAAAAAAAAAABRAMAABUAAAAAAAAAAAAAAAAAAAAAAAAAmAMAAP////8BAQoJRQMAAAEACgAHMQIAAAABAAAAAwAAAAQVU3lzdGVtLkRyYXdpbmcuUG9pbnRGBAAAAAFGAwAAIQAAADq4EUSji4ZCAUcDAAAhAAAAOrgRRAAAcEEBSAMAACEAAAA6uBFELroJQgEyAgAAJQAAAAlJAwAAAAAAAAAAAAABMwIAACYAAAAJSgMAAAIAAAACAAAAATQCAAA0AAAAAUsDAAAhAAAA+j3kQwAAeEEBTAMAAKAAAAAFAAAAAAAAAAAAAAAACU0DAAAAAAAACU4DAAAAAAFPAwAAqQAAAAAAAAABUAMAAHIAAAAAAKhCAABgQQFRAwAAFQAAANFF40PRRXdBAoifQuiiS0Feutk/CTEBAAAKCVIDAAAJtgEAAIQDAAD/////AQEKCVMDAAABAAoAATUCAAAcAAAAAVQDAAAhAAAADizcQwAAeEEBVQMAACEAAAD6veJDuB7lQQlWAwAACVcDAAAAAAAACgFYAwAAcgAAAAAAAAAAAAAAAVkDAAByAAAAAAAAAAAAAAAAAAAAAVoDAAAVAAAAAAAAAAAAAAAAAAAAAAAAAJgDAAD/////AQEKCVsDAAABAAoABzYCAAAAAQAAAAMAAAAEFVN5c3RlbS5EcmF3aW5nLlBvaW50RgQAAAABXAMAACEAAAA6uBFEo4uGQgFdAwAAIQAAADq4EUQAAHBBAV4DAAAhAAAAOrgRRC66CUIBNwIAACUAAAAJSQMAAAAAAAAAAAAAATgCAAAmAAAACV8DAAACAAAAAgAAAAE5AgAANAAAAAFgAwAAIQAAALxKC0QAAHhBAWEDAACgAAAABQAAAAAAAAAAAAAAAAliAwAAAAAAAAljAwAAAAABZAMAAKkAAAAAAAAAAWUDAAByAAAAAAC4QgAAYEEBZgMAABUAAAAX3QpE0UV3QaQTrkLooktBXrrZPwkpAQAACglnAwAACbYBAACEAwAA/////wEBCgloAwAAAQAKAAE6AgAAHAAAAAFpAwAAIQAAAMZBB0QAAHhBAWoDAAAhAAAAvIoKRLge5UEJawMAAAlsAwAAAAAAAAoBbQMAAHIAAAAAAAAAAAAAAAFuAwAAcgAAAAAAAAAAAAAAAAAAAAFvAwAAFQAAAAAAAAAAAAAAAAAAAAAAAACYAwAA/////wEBCglwAwAAAQAKAAE7AgAAJQAAAAlJAwAAAAAAAAAAAAABPAIAACYAAAAJcQMAAAIAAAACAAAAAT8CAABwAAAACgoAAABAPwlyAwAACXMDAAABAAAA/v///wAAAAABAAAAAAAAAAAAAAABAAAAAAAAAAAAAAFAAgAAdQAAAAl0AwAACgFDAgAAIwAAAAoKAAAAAABAQQl2AAAACXcAAAAJdQMAAAAACXYDAAABRAIAAHgAAAAKCgAAAAD///8ADgAAAAABAUkCAACtAAAACXcDAAABAAAAAQAAAAFKAgAAdQAAAAl4AwAACgdLAgAAAAEAAAAEAAAABBxBcGxvcmlzLkJhc2UuVUkuVmlzdWFsT2JqZWN0AwAAAAllAQAACWYBAAAKCgFOAgAAcAAAAAoKAAAAQD8JeQMAAAl6AwAAAQAAAP7///8AAAAAAQAAAAAAAAAAAAAAAQAAAAAAAAAAAAABTwIAAHUAAAAJewMAAAoBUgIAACMAAAAKCgAAAAAAQEEJdgAAAAl3AAAACXwDAAAAAAl9AwAAAVMCAAB4AAAACgoAAAAA////AA4AAAAAAQFYAgAArQAAAAl+AwAAAQAAAAMAAAABWQIAAHUAAAAJfwMAAAoHWgIAAAABAAAABAAAAAQcQXBsb3Jpcy5CYXNlLlVJLlZpc3VhbE9iamVjdAMAAAAJawEAAAlsAQAACgoBXQIAAHAAAAAKCgAAAEA/CYADAAAJgQMAAAEAAAD+////AAAAAAEAAAAAAAAAAAAAAAEAAAAAAAAAAAAAAV4CAAB1AAAACYIDAAAKAWECAAAjAAAACgoAAAAAAEBBCXYAAAAJdwAAAAmDAwAAAAAJhAMAAAFiAgAAeAAAAAoKAAAAAP///wAOAAAAAAEBZwIAAK0AAAAJhQMAAAEAAAADAAAAAWgCAAB1AAAACYYDAAAKB2kCAAAAAQAAAAQAAAAEHEFwbG9yaXMuQmFzZS5VSS5WaXN1YWxPYmplY3QDAAAACXEBAAAJcgEAAAoKAWwCAABwAAAACgoAAABAPwmHAwAACYgDAAABAAAA/v///wAAAAABAAAAAAAAAAAAAAABAAAAAAAAAAAAAAFtAgAAdQAAAAmJAwAACgFwAgAAIwAAAAoKAAAAAABAQQl2AAAACXcAAAAJigMAAAAACYsDAAABcQIAAHgAAAAKCgAAAAD///8ADgAAAAABAXYCAACtAAAACYwDAAABAAAAAwAAAAF3AgAAdQAAAAmNAwAACgd4AgAAAAEAAAAEAAAABBxBcGxvcmlzLkJhc2UuVUkuVmlzdWFsT2JqZWN0AwAAAAl3AQAACXgBAAAKCgF7AgAAcAAAAAoKAAAAQD8JjgMAAAmPAwAAAQAAAP7///8AAAAAAQAAAAAAAAAAAAAAAQAAAAAAAAAAAAABfAIAAHUAAAAJkAMAAAoBfwIAACMAAAAKCgAAAAAAQEEJdgAAAAl3AAAACZEDAAAAAAmSAwAAAYACAAB4AAAACgoAAAAA////AA4AAAAAAQGFAgAArQAAAAmTAwAAAQAAAAMAAAABhgIAAHUAAAAJlAMAAAoHhwIAAAABAAAABAAAAAQcQXBsb3Jpcy5CYXNlLlVJLlZpc3VhbE9iamVjdAMAAAAJfQEAAAl+AQAACgoBigIAAHAAAAAKCgAAAEA/CZUDAAAJlgMAAAEAAAD+////AAAAAAEAAAAAAAAAAAAAAAEAAAAAAAAAAAAAAYsCAAB1AAAACZcDAAAKAY4CAAAjAAAACgoAAAAAAEBBCXYAAAAJdwAAAAmYAwAAAAAJmQMAAAGPAgAAeAAAAAoKAAAAAP///wAOAAAAAAEBlAIAAK0AAAAJmgMAAAEAAAADAAAAAZUCAAB1AAAACZsDAAAKB5YCAAAAAQAAAAAAAAAEH0FwbG9yaXMuQmFzZS5PYmplY3RzLkRhdGFPYmplY3QDAAAAB5cCAAAAAQAAAAQAAAAEHEFwbG9yaXMuQmFzZS5VSS5WaXN1YWxPYmplY3QDAAAACYMBAAAJhAEAAAoKAZoCAABwAAAACgoAAABAPwmcAwAACZ0DAAABAAAA/v///wAAAAABAAAAAAAAAAAAAAABAAAAAAAAAAAAAAGbAgAAdQAAAAmeAwAACgGeAgAAIwAAAAoKAAAAAABAQQl2AAAACXcAAAAJnwMAAAAACaADAAABnwIAAHgAAAAKCgAAAAD///8ADgAAAAABAaQCAACtAAAACaEDAAABAAAAAwAAAAGlAgAAdQAAAAmiAwAACgemAgAAAAEAAAAEAAAABBxBcGxvcmlzLkJhc2UuVUkuVmlzdWFsT2JqZWN0AwAAAAmJAQAACYoBAAAKCgGpAgAAcAAAAAoKAAAAQD8JowMAAAmkAwAAAQAAAP7///8AAAAAAQAAAAAAAAAAAAAAAQAAAAAAAAAAAAABqgIAAHUAAAAJpQMAAAoBrQIAACMAAAAKCgAAAAAAQEEJdgAAAAl3AAAACaYDAAAAAAmnAwAAAa4CAAB4AAAACgoAAAAA////AA4AAAAAAQGzAgAArQAAAAmoAwAAAQAAAAMAAAABtAIAAHUAAAAJqQMAAAoHtQIAAAABAAAABAAAAAQcQXBsb3Jpcy5CYXNlLlVJLlZpc3VhbE9iamVjdAMAAAAJjwEAAAmQAQAACgoBuAIAAHAAAAAKCgAAAEA/CaoDAAAJqwMAAAEAAAD+////AAAAAAEAAAAAAAAAAAAAAAEAAAAAAAAAAAAAAbkCAAB1AAAACawDAAAKAbwCAAAjAAAACgoAAAAAAEBBCXYAAAAJdwAAAAmtAwAAAAAJrgMAAAG9AgAAeAAAAAoKAAAAAP///wAOAAAAAAEBwgIAAK0AAAAJrwMAAAEAAAADAAAAAcMCAAB1AAAACbADAAAKB8QCAAAAAQAAAAQAAAAEHEFwbG9yaXMuQmFzZS5VSS5WaXN1YWxPYmplY3QDAAAACZUBAAAJlgEAAAoKAccCAABwAAAACgoAAABAPwmxAwAACbIDAAABAAAA/v///wAAAAABAAAAAAAAAAAAAAABAAAAAAAAAAAAAAHIAgAAdQAAAAmzAwAACgHLAgAAIwAAAAoKAAAAAABAQQl2AAAACXcAAAAJtAMAAAAACbUDAAABzAIAAHgAAAAKCgAAAAD///8ADgAAAAABAdECAACtAAAACbYDAAABAAAAAwAAAAHSAgAAdQAAAAm3AwAACgfTAgAAAAEAAAAEAAAABBxBcGxvcmlzLkJhc2UuVUkuVmlzdWFsT2JqZWN0AwAAAAmbAQAACZwBAAAKCgHWAgAAcAAAAAoKAAAAQD8JuAMAAAm5AwAAAQAAAP7///8AAAAAAQAAAAAAAAAAAAAAAQAAAAAAAAAAAAAB1wIAAHUAAAAJugMAAAoB2gIAACMAAAAKCgAAAAAAQEEJdgAAAAl3AAAACbsDAAAAAAm8AwAAAdsCAAB4AAAACgoAAAAA////AA4AAAAAAQHgAgAArQAAAAm9AwAAAQAAAAMAAAAB4QIAAHUAAAAJvgMAAAoH4gIAAAABAAAABAAAAAQcQXBsb3Jpcy5CYXNlLlVJLlZpc3VhbE9iamVjdAMAAAAJoQEAAAmiAQAACgoH4wIAAAABAAAABAAAAAQeQXBsb3Jpcy5DaGFydC5DaGFydERhdGFFbGVtZW50AgAAAAm/AwAACcADAAAJwQMAAAnCAwAAB+QCAAAAAQAAAAQAAAAEH0FwbG9yaXMuQmFzZS5PYmplY3RzLkRhdGFPYmplY3QDAAAACb8DAAAJwAMAAAnBAwAACcIDAAAH5QIAAAABAAAAAAAAAAQcQXBsb3Jpcy5CYXNlLlVJLlZpc3VhbE9iamVjdAMAAAAB5gIAAHgAAAAKCgAAAAAAAAAADQAAAAABAecCAAB4AAAACgoBAAAAAAAAAP////8AAQfoAgAAAAEAAAAEAAAABB1BcGxvcmlzLkJhc2UuT2JqZWN0cy5WYXJpYWJsZQMAAAAFwwMAAB1BcGxvcmlzLkJhc2UuT2JqZWN0cy5WYXJpYWJsZQIAAAAGTnVtYmVyCFBvc2l0aW9uAAAICAMAAAABAAAAAAAAAAHEAwAAwwMAAAAAAAAAAAAAAcUDAADDAwAAAAAAAAAAAAABxgMAAMMDAAAAAAAAAAAAAA/pAgAAAQAAAAgAAAAAB+oCAAAAAQAAAAQAAAAEHkFwbG9yaXMuQ2hhcnQuQ2hhcnREYXRhRWxlbWVudAIAAAAJxwMAAAnIAwAACckDAAAJygMAAAfrAgAAAAEAAAAEAAAABB9BcGxvcmlzLkJhc2UuT2JqZWN0cy5EYXRhT2JqZWN0AwAAAAnHAwAACcgDAAAJyQMAAAnKAwAAAewCAAB4AAAACgoAAAAAAAAAAA0AAAAAAQHtAgAAeAAAAAoKAQAAAAAAAAD/////AAEH7gIAAAABAAAABAAAAAQdQXBsb3Jpcy5CYXNlLk9iamVjdHMuVmFyaWFibGUDAAAAAcsDAADDAwAAAQAAAAAAAAABzAMAAMMDAAAAAAAAAAAAAAHNAwAAwwMAAAAAAAAAAAAAAc4DAADDAwAAAAAAAAAAAAAP7wIAAAEAAAAIAAAAAAfwAgAAAAEAAAAEAAAABB5BcGxvcmlzLkNoYXJ0LkNoYXJ0RGF0YUVsZW1lbnQCAAAACc8DAAAJ0AMAAAnRAwAACdIDAAAH8QIAAAABAAAABAAAAAQfQXBsb3Jpcy5CYXNlLk9iamVjdHMuRGF0YU9iamVjdAMAAAAJzwMAAAnQAwAACdEDAAAJ0gMAAAHyAgAAeAAAAAoKAAAAAAAAAAANAAAAAAEB8wIAAHgAAAAKCgEAAAAAAAAA/////wABB/QCAAAAAQAAAAQAAAAEHUFwbG9yaXMuQmFzZS5PYmplY3RzLlZhcmlhYmxlAwAAAAHTAwAAwwMAAAEAAAAAAAAAAdQDAADDAwAAAAAAAAAAAAAB1QMAAMMDAAAAAAAAAAAAAAHWAwAAwwMAAAAAAAAAAAAAD/UCAAABAAAACAAAAAAB9gIAAHgAAAAKCgAAAAAAAAAADQAAAAAAAfcCAAB4AAAACgoBAAAAAAAAAP////8AAQf4AgAAAAEAAAAEAAAABB1BcGxvcmlzLkJhc2UuT2JqZWN0cy5WYXJpYWJsZQMAAAAB1wMAAMMDAAABAAAAAAAAAAHYAwAAwwMAAAAAAAAAAAAAAdkDAADDAwAAAAAAAAAAAAAB2gMAAMMDAAAAAAAAAAAAAA/5AgAAAQAAAAjAAwAAB/oCAAAAAQAAAAQAAAAEH0FwbG9yaXMuQ2hhcnQuQW5ub3RhdGlvbkVsZW1lbnQCAAAACdsDAAAJ3AMAAAndAwAACd4DAAAH+wIAAAABAAAABAAAAAQfQXBsb3Jpcy5CYXNlLk9iamVjdHMuRGF0YU9iamVjdAMAAAAJ2wMAAAncAwAACd0DAAAJ3gMAAAf8AgAAAAEAAAAAAAAABBxBcGxvcmlzLkJhc2UuVUkuVmlzdWFsT2JqZWN0AwAAAAX/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QAQAACgAAAAAAQEEJdgAAAAl3AAAACd8DAAABAAngAwAAAQADAAB4AAAACgoAAAAA////AA4AAAAAAQEFAwAArQAAAAnhAwAAAQAAAAEAAAABBgMAAHUAAAAJ4gMAAAoBBwMAAHgAAAAKCgAAAAAAAAAADQAAAAAAAQgDAAB4AAAACgoAAAAAAAAAAA0AAAAAAQcJAwAAAAEAAAAEAAAABB1BcGxvcmlzLkJhc2UuT2JqZWN0cy5WYXJpYWJsZQMAAAAB4wMAAMMDAAABAAAAAAAAAAHkAwAAwwMAAAAAAAAAAAAAAeUDAADDAwAAAAAAAAAAAAAB5gMAAMMDAAAAAAAAAAAAAA8KAwAAAQAAAAhSAQAABQ0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REBAAAKAAAAAABAQQl2AAAACXcAAAAJ5wMAAAEACegDAAABDgMAAHgAAAAKCgAAAAD///8ADgAAAAABARMDAACtAAAACekDAAABAAAAAwAAAAEUAwAAdQAAAAnqAwAACgEVAwAAeAAAAAoKAAAAAAAAAAANAAAAAAABFgMAAHgAAAAKCgAAAAAAAAAADQAAAAABBxcDAAAAAQAAAAQAAAAEHUFwbG9yaXMuQmFzZS5PYmplY3RzLlZhcmlhYmxlAwAAAAHrAwAAwwMAAAEAAAAAAAAAAewDAADDAwAAAAAAAAAAAAAB7QMAAMMDAAAAAAAAAAAAAAHuAwAAwwMAAAAAAAAAAAAADxgDAAABAAAACE0BAAAFGw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EgEAAAoAAAAAAEBBCXYAAAAJdwAAAAnvAwAAAQAJ8AMAAAEcAwAAeAAAAAoKAAAAAP///wAOAAAAAAEBIQMAAK0AAAAJ8QMAAAEAAAADAAAAASIDAAB1AAAACfIDAAAKASMDAAB4AAAACgoAAAAAAAAAAA0AAAAAAAEkAwAAeAAAAAoKAAAAAAAAAAANAAAAAAEHJQMAAAABAAAABAAAAAQdQXBsb3Jpcy5CYXNlLk9iamVjdHMuVmFyaWFibGUDAAAAAfMDAADDAwAAAQAAAAAAAAAB9AMAAMMDAAAAAAAAAAAAAAH1AwAAwwMAAAAAAAAAAAAAAfYDAADDAwAAAAAAAAAAAAAPJgMAAAEAAAAIxQAAAAUp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TAQAACgAAAAAAQEEJdgAAAAl3AAAACfcDAAABAAn4AwAAASoDAAB4AAAACgoBAAAAAAAAAP////8AAQEvAwAArQAAAAn5AwAAAQAAAAMAAAABMAMAAHUAAAAJ+gMAAAoBMQMAAHgAAAAKCgAAAAAAAAAADQAAAAAAATIDAAB4AAAACgoAAAAAAAAAAA0AAAAAAQczAwAAAAEAAAAEAAAABB1BcGxvcmlzLkJhc2UuT2JqZWN0cy5WYXJpYWJsZQMAAAAB+wMAAMMDAAABAAAAAAAAAAH8AwAAwwMAAAAAAAAAAAAAAf0DAADDAwAAAAAAAAAAAAAB/gMAAMMDAAAAAAAAAAAAAA80AwAAAQAAAAgcAwAAATcDAAAjAAAACgoAAAAAAEBBCXYAAAAJdwAAAAn/AwAAAAAJAAQAAAE4AwAAeAAAAAoKAQAAAAAAAAD/////AAEBPAMAAK0AAAAJAQQAAAEAAAABAAAAAT0DAAB1AAAACQIEAAAKAUADAABwAAAACgoAAABAPwkDBAAACQQEAAABAAAA/v///wAAAAABAAAAAAAAAAAAAAABAAAAAAAAAAAAAAFBAwAAcQAAAAoKCQUEAAAJBgQAAAEAAAD+////AAAAAP////8AAAFFAwAAdQAAAAkHBAAACgdJAwAAAAEAAAAAAAAABB9BcGxvcmlzLkJhc2UuT2JqZWN0cy5EYXRhT2JqZWN0AwAAAAdKAwAAAAEAAAAEAAAABBxBcGxvcmlzLkJhc2UuVUkuVmlzdWFsT2JqZWN0AwAAAAkvAgAACTACAAAKCgFNAwAAIwAAAAoKAAAAAABAQQl2AAAACXcAAAAJCAQAAAAACQkEAAABTgMAAHgAAAAKCgEAAAAAAAAA/////wABAVIDAACtAAAACQoEAAABAAAAAQAAAAFTAwAAdQAAAAkLBAAACgFWAwAAcAAAAAoKAAAAQD8JDAQAAAkNBAAAAQAAAP7///8AAAAAAQAAAAAAAAAAAAAAAQAAAAAAAAAAAAABVwMAAHEAAAAKCgkOBAAACQ8EAAABAAAA/v///wAAAAD/////AAABWwMAAHUAAAAJEAQAAAoHXwMAAAABAAAABAAAAAQcQXBsb3Jpcy5CYXNlLlVJLlZpc3VhbE9iamVjdAMAAAAJNAIAAAk1AgAACgoBYgMAACMAAAAKCgAAAAAAQEEJdgAAAAl3AAAACREEAAAAAAkSBAAAAWMDAAB4AAAACgoBAAAAAAAAAP////8AAQFnAwAArQAAAAkTBAAAAQAAAAEAAAABaAMAAHUAAAAJFAQAAAoBawMAAHAAAAAKCgAAAEA/CRUEAAAJFgQAAAEAAAD+////AAAAAAEAAAAAAAAAAAAAAAEAAAAAAAAAAAAAAWwDAABxAAAACgoJFwQAAAkYBAAAAQAAAP7///8AAAAA/////wAAAXADAAB1AAAACRkEAAAKB3EDAAAAAQAAAAQAAAAEHEFwbG9yaXMuQmFzZS5VSS5WaXN1YWxPYmplY3QDAAAACTkCAAAJOgIAAAoKAXIDAAB4AAAACgoAAAAAAAAAAA0AAAAAAAVzAwAAGkFwbG9yaXMuQmFzZS5PYmplY3RzLkNvbG9yBwAAABJEYXRhT2JqZWN0K21QYXJlbnQVRGF0YU9iamVjdCttQ29udGFpbmVyBW1UeXBlBG1SR0IQbVRoZW1lQ29sb3JJbmRleAxtQXV0b1VwZGF0ZWQJbU1vZGlmaWVkBAIAAAAAAB9BcGxvcmlzLkJhc2UuT2JqZWN0cy5MaW5lRm9ybWF0AwAAAAgICAEBAwAAAAk/AgAACgEAAAAAAAAA/////wABD3QDAAABAAAACBYEAAABdQMAAHgAAAAKCgAAAAAAAAAADQAAAAAAAXYDAAB4AAAACgoAAAAAAAAAAA0AAAAAAQd3AwAAAAEAAAAEAAAABB1BcGxvcmlzLkJhc2UuT2JqZWN0cy5WYXJpYWJsZQMAAAABGgQAAMMDAAABAAAAAAAAAAEbBAAAwwMAAAAAAAAAAAAAARwEAADDAwAAAAAAAAAAAAABHQQAAMMDAAAAAAAAAAAAAA94AwAAAQAAAAgmAAAAAXkDAAB4AAAACgoAAAAAAAAAAA0AAAAAAAV6AwAAGkFwbG9yaXMuQmFzZS5PYmplY3RzLkNvbG9yBwAAABJEYXRhT2JqZWN0K21QYXJlbnQVRGF0YU9iamVjdCttQ29udGFpbmVyBW1UeXBlBG1SR0IQbVRoZW1lQ29sb3JJbmRleAxtQXV0b1VwZGF0ZWQJbU1vZGlmaWVkBAIAAAAAAB9BcGxvcmlzLkJhc2UuT2JqZWN0cy5MaW5lRm9ybWF0AwAAAAgICAEBAwAAAAlOAgAACgEAAAAAAAAA/////wABD3sDAAABAAAACAwEAAABfAMAAHgAAAAKCgAAAAAAAAAADQAAAAAAAX0DAAB4AAAACgoAAAAAAAAAAA0AAAAAAQd+AwAAAAEAAAAEAAAABB1BcGxvcmlzLkJhc2UuT2JqZWN0cy5WYXJpYWJsZQMAAAABHgQAAMMDAAABAAAAAAAAAAEfBAAAwwMAAAAAAAAAAAAAASAEAADDAwAAAAAAAAAAAAABIQQAAMMDAAAAAAAAAAAAAA9/AwAAAQAAAAgjAAAAAYADAAB4AAAACgoAAAAAAAAAAA0AAAAAAAWBAwAAGkFwbG9yaXMuQmFzZS5PYmplY3RzLkNvbG9yBwAAABJEYXRhT2JqZWN0K21QYXJlbnQVRGF0YU9iamVjdCttQ29udGFpbmVyBW1UeXBlBG1SR0IQbVRoZW1lQ29sb3JJbmRleAxtQXV0b1VwZGF0ZWQJbU1vZGlmaWVkBAIAAAAAAB9BcGxvcmlzLkJhc2UuT2JqZWN0cy5MaW5lRm9ybWF0AwAAAAgICAEBAwAAAAldAgAACgEAAAAAAAAA/////wABD4IDAAABAAAACBAEAAABgwMAAHgAAAAKCgAAAAAAAAAADQAAAAAAAYQDAAB4AAAACgoAAAAAAAAAAA0AAAAAAQeFAwAAAAEAAAAEAAAABB1BcGxvcmlzLkJhc2UuT2JqZWN0cy5WYXJpYWJsZQMAAAABIgQAAMMDAAABAAAAAAAAAAEjBAAAwwMAAAAAAAAAAAAAASQEAADDAwAAAAAAAAAAAAABJQQAAMMDAAAAAAAAAAAAAA+GAwAAAQAAAAgrAAAAAYcDAAB4AAAACgoAAAAAAAAAAA0AAAAAAAWIAwAAGkFwbG9yaXMuQmFzZS5PYmplY3RzLkNvbG9yBwAAABJEYXRhT2JqZWN0K21QYXJlbnQVRGF0YU9iamVjdCttQ29udGFpbmVyBW1UeXBlBG1SR0IQbVRoZW1lQ29sb3JJbmRleAxtQXV0b1VwZGF0ZWQJbU1vZGlmaWVkBAIAAAAAAB9BcGxvcmlzLkJhc2UuT2JqZWN0cy5MaW5lRm9ybWF0AwAAAAgICAEBAwAAAAlsAgAACgEAAAAAAAAA/////wABD4kDAAABAAAACA0EAAABigMAAHgAAAAKCgAAAAAAAAAADQAAAAAAAYsDAAB4AAAACgoAAAAAAAAAAA0AAAAAAQeMAwAAAAEAAAAEAAAABB1BcGxvcmlzLkJhc2UuT2JqZWN0cy5WYXJpYWJsZQMAAAABJgQAAMMDAAABAAAAAAAAAAEnBAAAwwMAAAAAAAAAAAAAASgEAADDAwAAAAAAAAAAAAABKQQAAMMDAAAAAAAAAAAAAA+NAwAAAQAAAAgqAAAAAY4DAAB4AAAACgoAAAAAAAAAAA0AAAAAAAWPAwAAGkFwbG9yaXMuQmFzZS5PYmplY3RzLkNvbG9yBwAAABJEYXRhT2JqZWN0K21QYXJlbnQVRGF0YU9iamVjdCttQ29udGFpbmVyBW1UeXBlBG1SR0IQbVRoZW1lQ29sb3JJbmRleAxtQXV0b1VwZGF0ZWQJbU1vZGlmaWVkBAIAAAAAAB9BcGxvcmlzLkJhc2UuT2JqZWN0cy5MaW5lRm9ybWF0AwAAAAgICAEBAwAAAAl7AgAACgEAAAAAAAAA/////wABD5ADAAABAAAACA8EAAABkQMAAHgAAAAKCgAAAAAAAAAADQAAAAAAAZIDAAB4AAAACgoAAAAAAAAAAA0AAAAAAQeTAwAAAAEAAAAEAAAABB1BcGxvcmlzLkJhc2UuT2JqZWN0cy5WYXJpYWJsZQMAAAABKgQAAMMDAAABAAAAAAAAAAErBAAAwwMAAAAAAAAAAAAAASwEAADDAwAAAAAAAAAAAAABLQQAAMMDAAAAAAAAAAAAAA+UAwAAAQAAAAgnAAAAAZUDAAB4AAAACgoAAAAAAAAAAA0AAAAAAAWWAwAAGkFwbG9yaXMuQmFzZS5PYmplY3RzLkNvbG9yBwAAABJEYXRhT2JqZWN0K21QYXJlbnQVRGF0YU9iamVjdCttQ29udGFpbmVyBW1UeXBlBG1SR0IQbVRoZW1lQ29sb3JJbmRleAxtQXV0b1VwZGF0ZWQJbU1vZGlmaWVkBAIAAAAAAB9BcGxvcmlzLkJhc2UuT2JqZWN0cy5MaW5lRm9ybWF0AwAAAAgICAEBAwAAAAmKAgAACgEAAAAAAAAA/////wABD5cDAAABAAAACBMEAAABmAMAAHgAAAAKCgAAAAAAAAAADQAAAAAAAZkDAAB4AAAACgoAAAAAAAAAAA0AAAAAAQeaAwAAAAEAAAAEAAAABB1BcGxvcmlzLkJhc2UuT2JqZWN0cy5WYXJpYWJsZQMAAAABLgQAAMMDAAABAAAAAAAAAAEvBAAAwwMAAAAAAAAAAAAAATAEAADDAwAAAAAAAAAAAAABMQQAAMMDAAAAAAAAAAAAAA+bAwAAAQAAAAjvAwAAAZwDAAB4AAAACgoAAAAAAAAAAA0AAAAAAAWdAwAAGkFwbG9yaXMuQmFzZS5PYmplY3RzLkNvbG9yBwAAABJEYXRhT2JqZWN0K21QYXJlbnQVRGF0YU9iamVjdCttQ29udGFpbmVyBW1UeXBlBG1SR0IQbVRoZW1lQ29sb3JJbmRleAxtQXV0b1VwZGF0ZWQJbU1vZGlmaWVkBAIAAAAAAB9BcGxvcmlzLkJhc2UuT2JqZWN0cy5MaW5lRm9ybWF0AwAAAAgICAEBAwAAAAmaAgAACgEAAAAAAAAA/////wABD54DAAABAAAACA4EAAABnwMAAHgAAAAKCgAAAAAAAAAADQAAAAAAAaADAAB4AAAACgoAAAAAAAAAAA0AAAAAAQehAwAAAAEAAAAEAAAABB1BcGxvcmlzLkJhc2UuT2JqZWN0cy5WYXJpYWJsZQMAAAABMgQAAMMDAAABAAAAAAAAAAEzBAAAwwMAAAAAAAAAAAAAATQEAADDAwAAAAAAAAAAAAABNQQAAMMDAAAAAAAAAAAAAA+iAwAAAQAAAAjsAwAAAaMDAAB4AAAACgoAAAAAAAAAAA0AAAAAAAWkAwAAGkFwbG9yaXMuQmFzZS5PYmplY3RzLkNvbG9yBwAAABJEYXRhT2JqZWN0K21QYXJlbnQVRGF0YU9iamVjdCttQ29udGFpbmVyBW1UeXBlBG1SR0IQbVRoZW1lQ29sb3JJbmRleAxtQXV0b1VwZGF0ZWQJbU1vZGlmaWVkBAIAAAAAAB9BcGxvcmlzLkJhc2UuT2JqZWN0cy5MaW5lRm9ybWF0AwAAAAgICAEBAwAAAAmpAgAACgEAAAAAAAAA/////wABD6UDAAABAAAACBEEAAABpgMAAHgAAAAKCgAAAAAAAAAADQAAAAAAAacDAAB4AAAACgoAAAAAAAAAAA0AAAAAAQeoAwAAAAEAAAAEAAAABB1BcGxvcmlzLkJhc2UuT2JqZWN0cy5WYXJpYWJsZQMAAAABNgQAAMMDAAABAAAAAAAAAAE3BAAAwwMAAAAAAAAAAAAAATgEAADDAwAAAAAAAAAAAAABOQQAAMMDAAAAAAAAAAAAAA+pAwAAAQAAAAjrAwAAAaoDAAB4AAAACgoAAAAAAAAAAA0AAAAAAAWrAwAAGkFwbG9yaXMuQmFzZS5PYmplY3RzLkNvbG9yBwAAABJEYXRhT2JqZWN0K21QYXJlbnQVRGF0YU9iamVjdCttQ29udGFpbmVyBW1UeXBlBG1SR0IQbVRoZW1lQ29sb3JJbmRleAxtQXV0b1VwZGF0ZWQJbU1vZGlmaWVkBAIAAAAAAB9BcGxvcmlzLkJhc2UuT2JqZWN0cy5MaW5lRm9ybWF0AwAAAAgICAEBAwAAAAm4AgAACgEAAAAAAAAA/////wABD6wDAAABAAAACBUEAAABrQMAAHgAAAAKCgAAAAAAAAAADQAAAAAAAa4DAAB4AAAACgoAAAAAAAAAAA0AAAAAAQevAwAAAAEAAAAEAAAABB1BcGxvcmlzLkJhc2UuT2JqZWN0cy5WYXJpYWJsZQMAAAABOgQAAMMDAAABAAAAAAAAAAE7BAAAwwMAAAAAAAAAAAAAATwEAADDAwAAAAAAAAAAAAABPQQAAMMDAAAAAAAAAAAAAA+wAwAAAQAAAAjtAwAAAbEDAAB4AAAACgoAAAAAAAAAAA0AAAAAAAWyAwAAGkFwbG9yaXMuQmFzZS5PYmplY3RzLkNvbG9yBwAAABJEYXRhT2JqZWN0K21QYXJlbnQVRGF0YU9iamVjdCttQ29udGFpbmVyBW1UeXBlBG1SR0IQbVRoZW1lQ29sb3JJbmRleAxtQXV0b1VwZGF0ZWQJbU1vZGlmaWVkBAIAAAAAAB9BcGxvcmlzLkJhc2UuT2JqZWN0cy5MaW5lRm9ybWF0AwAAAAgICAEBAwAAAAnHAgAACgEAAAAAAAAA/////wABD7MDAAABAAAACBQEAAABtAMAAHgAAAAKCgAAAAAAAAAADQAAAAAAAbUDAAB4AAAACgoAAAAAAAAAAA0AAAAAAQe2AwAAAAEAAAAEAAAABB1BcGxvcmlzLkJhc2UuT2JqZWN0cy5WYXJpYWJsZQMAAAABPgQAAMMDAAABAAAAAAAAAAE/BAAAwwMAAAAAAAAAAAAAAUAEAADDAwAAAAAAAAAAAAABQQQAAMMDAAAAAAAAAAAAAA+3AwAAAQAAAAjuAwAAAbgDAAB4AAAACgoAAAAAAAAAAA0AAAAAAAW5AwAAGkFwbG9yaXMuQmFzZS5PYmplY3RzLkNvbG9yBwAAABJEYXRhT2JqZWN0K21QYXJlbnQVRGF0YU9iamVjdCttQ29udGFpbmVyBW1UeXBlBG1SR0IQbVRoZW1lQ29sb3JJbmRleAxtQXV0b1VwZGF0ZWQJbU1vZGlmaWVkBAIAAAAAAB9BcGxvcmlzLkJhc2UuT2JqZWN0cy5MaW5lRm9ybWF0AwAAAAgICAEBAwAAAAnWAgAACgEAAAAAAAAA/////wABD7oDAAABAAAACBIEAAABuwMAAHgAAAAKCgAAAAAAAAAADQAAAAAAAbwDAAB4AAAACgoAAAAAAAAAAA0AAAAAAQe9AwAAAAEAAAAEAAAABB1BcGxvcmlzLkJhc2UuT2JqZWN0cy5WYXJpYWJsZQMAAAABQgQAAMMDAAABAAAAAAAAAAFDBAAAwwMAAAAAAAAAAAAAAUQEAADDAwAAAAAAAAAAAAABRQQAAMMDAAAAAAAAAAAAAA++AwAAAQAAAAjwAwAABb8DAAAeQXBsb3Jpcy5DaGFydC5DaGFydERhdGFFbGVtZW50EQAAAAZtTGFiZWwKbVJlY3RhbmdsZQVtTGluZQ5tQ3Jvc3NiYXJMaW5lcwdtTWFya2VyB21TZXJpZXMGbVZhbHVlB21WYWx1ZTILbUdyb3VwSW5kZXgPbUxhYmVsUG9zaXRpb25zEW1MYWJlbEFuY2hvck1vZGVzDm1MYWJlbFBvc2l0aW9uIG1TZWxmVHJpZ2dlcmVkTWFya2VyRm9ybWF0VXBkYXRlGERhdGFPYmplY3QrbUNoaWxkT2JqZWN0cxJEYXRhT2JqZWN0K21QYXJlbnQVRGF0YU9iamVjdCttQ29udGFpbmVyGURhdGFPYmplY3QrbVZpc3VhbE9iamVjdHMEBAQEBAQCAgAEBAAAAwQEAxxBcGxvcmlzLkNoYXJ0LkNvbm5lY3RlZExhYmVsAgAAABpBcGxvcmlzLkJhc2UuVUkuVmlzdWFsUmVjdAMAAAAaQXBsb3Jpcy5CYXNlLlVJLlZpc3VhbExpbmUDAAAAHEFwbG9yaXMuQmFzZS5VSS5WaXN1YWxMaW5lW10DAAAAGkFwbG9yaXMuQ2hhcnQuVmlzdWFsTWFya2VyAgAAAB1BcGxvcmlzLkNoYXJ0LkNoYXJ0RGF0YVNlcmllcwIAAAAIF1N5c3RlbS5EcmF3aW5nLlBvaW50RltdBAAAABlBcGxvcmlzLkJhc2UuQW5jaG9yTW9kZVtdAwAAAAg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RgQAAAlHBAAACglIBAAACgkMAQAACAZmFvvdplXIPwoAAAAACUkEAAAJSgQAAAAAAAAACUsEAAAJDAEAAAkBAAAACUwEAAABwAMAAL8DAAAJTQQAAAlOBAAACglPBAAACgkMAQAACAYfm3JkMpXSPwoBAAAACVAEAAAJUQQAAAAAAAAACVIEAAAJDAEAAAkBAAAACVMEAAABwQMAAL8DAAAJVAQAAAlVBAAACglWBAAACgkMAQAACAbx2fBa77XJPwoCAAAACVcEAAAJWAQAAAAAAAAACVkEAAAJDAEAAAkBAAAACVoEAAABwgMAAL8DAAAJWwQAAAlcBAAACgldBAAACgkMAQAACAZe7US3ckCzPwoDAAAACV4EAAAJXwQAAAAAAAAACWAEAAAJDAEAAAkBAAAACWEEAAABxwMAAL8DAAAJYgQAAAljBAAACglkBAAACgkNAQAACAagJ5w8NRfTPwoAAAAACWUEAAAJZgQAAAAAAAAACWcEAAAJDQEAAAkBAAAACWgEAAAByAMAAL8DAAAJaQQAAAlqBAAACglrBAAACgkNAQAACAb7eEnsID/XPwoBAAAACWwEAAAJbQQAAAAAAAAACW4EAAAJDQEAAAkBAAAACW8EAAAByQMAAL8DAAAJcAQAAAlxBAAACglyBAAACgkNAQAACAaKW8yjVTHUPwoCAAAACXMEAAAJdAQAAAAAAAAACXUEAAAJDQEAAAkBAAAACXYEAAABygMAAL8DAAAJdwQAAAl4BAAACgl5BAAACgkNAQAACAbCEkljnsHHPwoDAAAACXoEAAAJewQAAAAAAAAACXwEAAAJDQEAAAkBAAAACX0EAAABzwMAAL8DAAAJfgQAAAl/BAAACgmABAAACgkOAQAACAbCJjOq+17gPwoAAAAACYEEAAAJggQAAAAAAAAACYMEAAAJDgEAAAkBAAAACYQEAAAB0AMAAL8DAAAJhQQAAAmGBAAACgmHBAAACgkOAQAACAbb60OvrCvWPwoBAAAACYgEAAAJiQQAAAAAAAAACYoEAAAJDgEAAAkBAAAACYsEAAAB0QMAAL8DAAAJjAQAAAmNBAAACgmOBAAACgkOAQAACAaqN7uusvPePwoCAAAACY8EAAAJkAQAAAAAAAAACZEEAAAJDgEAAAkBAAAACZIEAAAB0gMAAL8DAAAJkwQAAAmUBAAACgmVBAAACgkOAQAACAaiHUUQiqfnPwoDAAAACZYEAAAJlwQAAAAAAAAACZgEAAAJDgEAAAkBAAAACZkEAAAF2wMAAB9BcGxvcmlzLkNoYXJ0LkFubm90YXRpb25FbGVtZW50CAAAAAZtTGFiZWwGbVZhbHVlC21Hcm91cEluZGV4C21EYXRhU2VyaWVzGERhdGFPYmplY3QrbUNoaWxkT2JqZWN0cxJEYXRhT2JqZWN0K21QYXJlbnQVRGF0YU9iamVjdCttQ29udGFpbmVyGURhdGFPYmplY3QrbVZpc3VhbE9iamVjdHMEAgAEAwQEAxVBcGxvcmlzLkJhc2UuVUkuTGFiZWwDAAAACCJBcGxvcmlzLkNoYXJ0LkFubm90YXRpb25EYXRhU2VyaWVzAg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ZoEAAAIBlHCaOUjk9S/AAAAAAkPAQAACZsEAAAJDwEAAAkBAAAACZwEAAAB3AMAANsDAAAJnQQAAAgG4IWKVtKzrL8BAAAACQ8BAAAJngQAAAkPAQAACQEAAAAJnwQAAAHdAwAA2wMAAAmgBAAACAayykIBuxjSvwIAAAAJDwEAAAmhBAAACQ8BAAAJAQAAAAmiBAAAAd4DAADbAwAACaMEAAAIBvZ/XLl7P+W/AwAAAAkPAQAACaQEAAAJDwEAAAkBAAAACaUEAAAB3wMAAHgAAAAKCgAAAAAAAAAADQAAAAABAeADAAB4AAAACgoBAAAAAAAAAP////8AAQfhAwAAAAEAAAAEAAAABB1BcGxvcmlzLkJhc2UuT2JqZWN0cy5WYXJpYWJsZQMAAAABpgQAAMMDAAABAAAAAAAAAAGnBAAAwwMAAAAAAAAAAAAAAagEAADDAwAAAAAAAAAAAAABqQQAAMMDAAAAAAAAAAAAAA/iAwAAAQAAAAgAAAAAAecDAAB4AAAACgoAAAAAAAAAAA0AAAAAAQHoAwAAeAAAAAoKAQAAAAAAAAD/////AAEH6QMAAAABAAAABAAAAAQdQXBsb3Jpcy5CYXNlLk9iamVjdHMuVmFyaWFibGUDAAAAAaoEAADDAwAAAQAAAAAAAAABqwQAAMMDAAAAAAAAAAAAAAGsBAAAwwMAAAAAAAAAAAAAAa0EAADDAwAAAAAAAAAAAAAP6gMAAAEAAAAIAAAAAAHvAwAAeAAAAAoKAAAAAAAAAAANAAAAAAEB8AMAAHgAAAAKCgEAAAAAAAAA/////wABB/EDAAAAAQAAAAQAAAAEHUFwbG9yaXMuQmFzZS5PYmplY3RzLlZhcmlhYmxlAwAAAAGuBAAAwwMAAAEAAAAAAAAAAa8EAADDAwAAAAAAAAAAAAABsAQAAMMDAAAAAAAAAAAAAAGxBAAAwwMAAAAAAAAAAAAAD/IDAAABAAAACAAAAAAB9wMAAHgAAAAKCgAAAAAAAAAADQAAAAABAfgDAAB4AAAACgoBAAAAAAAAAP////8AAQf5AwAAAAEAAAAEAAAABB1BcGxvcmlzLkJhc2UuT2JqZWN0cy5WYXJpYWJsZQMAAAABsgQAAMMDAAABAAAAAAAAAAGzBAAAwwMAAAAAAAAAAAAAAbQEAADDAwAAAAAAAAAAAAABtQQAAMMDAAAAAAAAAAAAAA/6AwAAAQAAAAgAAAAAAf8DAAB4AAAACgoAAAAAAAAAAA0AAAAAAAEABAAAeAAAAAoKAQAAAAAAAAD/////AAEHAQQAAAABAAAABAAAAAQdQXBsb3Jpcy5CYXNlLk9iamVjdHMuVmFyaWFibGUDAAAAAbYEAADDAwAAAQAAAAAAAAABtwQAAMMDAAAAAAAAAAAAAAG4BAAAwwMAAAAAAAAAAAAAAbkEAADDAwAAAAAAAAAAAAAPAgQAAAEAAAAIegMAAAEDBAAAeAAAAAoKAAAAAP///wAOAAAAAAAFBAQAABpBcGxvcmlzLkJhc2UuT2JqZWN0cy5Db2xvcgcAAAASRGF0YU9iamVjdCttUGFyZW50FURhdGFPYmplY3QrbUNvbnRhaW5lcgVtVHlwZQRtUkdCEG1UaGVtZUNvbG9ySW5kZXgMbUF1dG9VcGRhdGVkCW1Nb2RpZmllZAQCAAAAAAAfQXBsb3Jpcy5CYXNlLk9iamVjdHMuTGluZUZvcm1hdAMAAAAICAgBAQMAAAAJQAMAAAoBAAAAAAAAAP////8AAQEFBAAAeAAAAAoKAQAAAAUpbgD/////AAABBgQAAHgAAAAKCgEAAAD///8A/////wAADwcEAAABAAAACHwDAAABCAQAAHgAAAAKCgAAAAAAAAAADQAAAAAAAQkEAAB4AAAACgoBAAAAAAAAAP////8AAQcKBAAAAAEAAAAEAAAABB1BcGxvcmlzLkJhc2UuT2JqZWN0cy5WYXJpYWJsZQMAAAABugQAAMMDAAABAAAAAAAAAAG7BAAAwwMAAAAAAAAAAAAAAbwEAADDAwAAAAAAAAAAAAABvQQAAMMDAAAAAAAAAAAAAA8LBAAAAQAAAAh5AwAAAQwEAAB4AAAACgoAAAAA////AA4AAAAAAAUNBAAAGkFwbG9yaXMuQmFzZS5PYmplY3RzLkNvbG9yBwAAABJEYXRhT2JqZWN0K21QYXJlbnQVRGF0YU9iamVjdCttQ29udGFpbmVyBW1UeXBlBG1SR0IQbVRoZW1lQ29sb3JJbmRleAxtQXV0b1VwZGF0ZWQJbU1vZGlmaWVkBAIAAAAAAB9BcGxvcmlzLkJhc2UuT2JqZWN0cy5MaW5lRm9ybWF0AwAAAAgICAEBAwAAAAlWAwAACgEAAAAAAAAA/////wABAQ4EAAB4AAAACgoBAAAARXXUAP////8AAAEPBAAAeAAAAAoKAQAAAP///wD/////AAAPEAQAAAEAAAAIfgMAAAERBAAAeAAAAAoKAAAAAAAAAAANAAAAAAABEgQAAHgAAAAKCgEAAAAAAAAA/////wABBxMEAAAAAQAAAAQAAAAEHUFwbG9yaXMuQmFzZS5PYmplY3RzLlZhcmlhYmxlAwAAAAG+BAAAwwMAAAEAAAAAAAAAAb8EAADDAwAAAAAAAAAAAAABwAQAAMMDAAAAAAAAAAAAAAHBBAAAwwMAAAAAAAAAAAAADxQEAAABAAAACHsDAAABFQQAAHgAAAAKCgAAAAD///8ADgAAAAAABRYEAAAaQXBsb3Jpcy5CYXNlLk9iamVjdHMuQ29sb3IHAAAAEkRhdGFPYmplY3QrbVBhcmVudBVEYXRhT2JqZWN0K21Db250YWluZXIFbVR5cGUEbVJHQhBtVGhlbWVDb2xvckluZGV4DG1BdXRvVXBkYXRlZAltTW9kaWZpZWQEAgAAAAAAH0FwbG9yaXMuQmFzZS5PYmplY3RzLkxpbmVGb3JtYXQDAAAACAgIAQEDAAAACWsDAAAKAQAAAAAAAAD/////AAEBFwQAAHgAAAAKCgAAAADtISUABwAAAAAAARgEAAB4AAAACgoBAAAA////AP////8AAA8ZBAAAAQAAAAh9AwAAAUYEAAAqAQAAClgCAAABwgQAAKoBAAACAAAAAcMEAACrAQAAAQAAAAHEBAAAFQAAAIwspUK4FDJCHrqrQgIsNEIBxQQAAK0BAAAAAAAAAACgQAABxgQAACEAAACbCftCXBWGQgHHBAAAoAAAAAAAAAAAAAAAAAAAAAAJyAQAAAAAAAAJyQQAAAAAAcoEAACpAAAAAAAAAAHLBAAAcgAAAAAA0EEAAGBBAcwEAAAVAAAA6KLfQuiic0KSTthB6KJLQV662T8GzQQAAAMxOSUKCc4EAAAJtgEAADQDAAD/////AQEKCc8EAAABAAoAAUcEAAAcAAAAAdAEAAAhAAAAjCyfQl0guUIB0QQAACEAAABVcytDuBQmQgnSBAAACdMEAAAAAAAACgHUBAAAcgAAAAAAAAAAAAAAAdUEAAByAAAAAAAAAAAAAAAAAAAAAdYEAAAVAAAAAAAAAAAAAAAAAAAAAAAAAKQBAAD/////AQEKCdcEAAABAAoAB0gEAAAAAQAAAAIAAAAEGkFwbG9yaXMuQmFzZS5VSS5WaXN1YWxMaW5lAwAAAAoKB0kEAAAAAQAAAAMAAAAEFVN5c3RlbS5EcmF3aW5nLlBvaW50RgQAAAAB2AQAACEAAACbCftCXBWGQgHZBAAAIQAAAIwsmUJcFYZCAdoEAAAhAAAAVXMuQ1wVhkIHSgQAAAABAAAAAwAAAAQXQXBsb3Jpcy5CYXNlLkFuY2hvck1vZGUDAAAAAdsEAACgAAAAAAAAAAHcBAAAoAAAAAIAAAAB3QQAAKAAAAAEAAAAAUsEAAAlAAAACd4EAAAAAAAAAAAAAAFMBAAAJgAAAAnfBAAAAgAAAAYAAAABTQQAACoBAAAKWAIAAAHgBAAAqgEAAAIAAAAB4QQAAKsBAAABAAAAAeIEAAAVAAAAkpFlQ7gUMkIguqtC0emPQgHjBAAArQEAAAAAAAAAAKBAAAHkBAAAIQAAAA1AiENE/6BCAeUEAACgAAAAAAAAAAAAAAAAAAAAAAnmBAAAAAAAAAnnBAAAAAAB6AQAAKkAAAAAAAAAAekEAAByAAAAAADQQQAAYEEB6gQAABUAAACji4FDRheVQpJO2EHooktBXrrZPwbrBAAAAzI5JQoJ7AQAAAm2AQAANAMAAP////8BAQoJ7QQAAAEACgABTgQAABwAAAAB7gQAACEAAACSkWJDLfTuQgHvBAAAIQAAAFE3n0O4FCZCCfAEAAAJ8QQAAAAAAAAKAfIEAAByAAAAAAAAAAAAAAAB8wQAAHIAAAAAAAAAAAAAAAAAAAAB9AQAABUAAAAAAAAAAAAAAAAAAAAAAAAApAEAAP////8BAQoJ9QQAAAEACgAHTwQAAAABAAAAAgAAAAQaQXBsb3Jpcy5CYXNlLlVJLlZpc3VhbExpbmUDAAAACgoHUAQAAAABAAAAAwAAAAQVU3lzdGVtLkRyYXdpbmcuUG9pbnRGBAAAAAH2BAAAIQAAAA1AiENE/6BCAfcEAAAhAAAAkpFfQ0T/oEIB+AQAACEAAABRt6BDRP+gQgdRBAAAAAEAAAADAAAABBdBcGxvcmlzLkJhc2UuQW5jaG9yTW9kZQMAAAAB+QQAAKAAAAAAAAAAAfoEAACgAAAAAgAAAAH7BAAAoAAAAAQAAAABUgQAACUAAAAJ3gQAAAAAAAAAAAAAAVMEAAAmAAAACfwEAAACAAAABgAAAAFUBAAAKgEAAApYAgAAAf0EAACqAQAAAgAAAAH+BAAAqwEAAAEAAAAB/wQAABUAAABvRrxDuBQyQiC6q0K6tz9CAQAFAACtAQAAAAAAAAAAoEAAAQEFAAAhAAAAs73RQ0r4iEIBAgUAAKAAAAAAAAAAAAAAAAAAAAAACQMFAAAAAAAACQQFAAAAAAEFBQAAqQAAAAAAAAABBgUAAHIAAAAAANBBAABgQQEHBQAAFQAAAIsuy0PRRXdCkk7YQeiiS0Feutk/BggFAAADMjAlCgkJBQAACbYBAAA0AwAA/////wEBCgkKBQAAAQAKAAFVBAAAHAAAAAELBQAAIQAAAG/GukM55r5CAQwFAAAhAAAA97ToQ7gUJkIJDQUAAAkOBQAAAAAAAAoBDwUAAHIAAAAAAAAAAAAAAAEQBQAAcgAAAAAAAAAAAAAAAAAAAAERBQAAFQAAAAAAAAAAAAAAAAAAAAAAAACkAQAA/////wEBCgkSBQAAAQAKAAdWBAAAAAEAAAACAAAABBpBcGxvcmlzLkJhc2UuVUkuVmlzdWFsTGluZQMAAAAKCgdXBAAAAAEAAAADAAAABBVTeXN0ZW0uRHJhd2luZy5Qb2ludEYEAAAAARMFAAAhAAAAs73RQ0r4iEIBFAUAACEAAABvRrlDSviIQgEVBQAAIQAAAPc06kNK+IhCB1gEAAAAAQAAAAMAAAAEF0FwbG9yaXMuQmFzZS5BbmNob3JNb2RlAwAAAAEWBQAAoAAAAAAAAAABFwUAAKAAAAACAAAAARgFAACgAAAABAAAAAFZBAAAJQAAAAneBAAAAAAAAAAAAAABWgQAACYAAAAJGQUAAAIAAAAGAAAAAVsEAAAqAQAAClgCAAABGgUAAKoBAAACAAAAARsFAACrAQAAAQAAAAEcBQAAFQAAAAriAkS4FDJCILqrQkwNY0EBHQUAAK0BAAAAAAAAAACgQAABHgUAACEAAACsnQ1EYnZOQgEfBQAAoAAAAAAAAAAAAAAAAAAAAAAJIAUAAAAAAAAJIQUAAAAAASIFAACpAAAAAAAAAAEjBQAAcgAAAAAAmEEAAGBBASQFAAAVAAAARhcLRHTRNULYZaVB6KJLQV662T8GJQUAAAI4JQoJJgUAAAm2AQAANAMAAP////8BAQoJJwUAAAEACgABXAQAABwAAAABKAUAACEAAAAKIgJEC9h2QgEpBQAAIQAAAE4ZGUS4FCZCCSoFAAAJKwUAAAAAAAAKASwFAAByAAAAAAAAAAAAAAABLQUAAHIAAAAAAAAAAAAAAAAAAAABLgUAABUAAAAAAAAAAAAAAAAAAAAAAAAApAEAAP////8BAQoJLwUAAAEACgAHXQQAAAABAAAAAgAAAAQaQXBsb3Jpcy5CYXNlLlVJLlZpc3VhbExpbmUDAAAACgoHXgQAAAABAAAAAwAAAAQVU3lzdGVtLkRyYXdpbmcuUG9pbnRGBAAAAAEwBQAAIQAAAKydDURidk5CATEFAAAhAAAACmIBRGJ2TkIBMgUAACEAAABO2RlEYnZOQgdfBAAAAAEAAAADAAAABBdBcGxvcmlzLkJhc2UuQW5jaG9yTW9kZQMAAAABMwUAAKAAAAAAAAAAATQFAACgAAAAAgAAAAE1BQAAoAAAAAQAAAABYAQAACUAAAAJ3gQAAAAAAAAAAAAAAWEEAAAmAAAACTYFAAACAAAABgAAAAFiBAAAKgEAAApYAgAAATcFAACqAQAAAgAAAAE4BQAAqwEAAAEAAAABOQUAABUAAACMLKVCXSC/Qh66q0KjLJRCAToFAACtAQAAAAAAAAAAoEAAATsFAAAhAAAAmwn7QlebBEMBPAUAAKAAAAAAAAAAAAAAAAAAAAAACT0FAAAAAAAACT4FAAAAAAE/BQAAqQAAAAAAAAABQAUAAHIAAAAAANBBAABgQQFBBQAAFQAAAOii30IuuvxCkk7YQeiiS0Feutk/BkIFAAADMzAlCglDBQAACbYBAAA0AwAA/////wEBCglEBQAAAQAKAAFjBAAAHAAAAAFFBQAAIQAAAIwsn0KApixDAUYFAAAhAAAAVXMrQ10guUIJRwUAAAlIBQAAAAAAAAoBSQUAAHIAAAAAAAAAAAAAAAFKBQAAcgAAAAAAAAAAAAAAAAAAAAFLBQAAFQAAAAAAAAAAAAAAAAAAAAAAAACkAQAA/////wEBCglMBQAAAQAKAAdkBAAAAAEAAAACAAAABBpBcGxvcmlzLkJhc2UuVUkuVmlzdWFsTGluZQMAAAAKCgdlBAAAAAEAAAADAAAABBVTeXN0ZW0uRHJhd2luZy5Qb2ludEYEAAAAAU0FAAAhAAAAmwn7QlebBEMBTgUAACEAAACMLJlCV5sEQwFPBQAAIQAAAFVzLkNXmwRDB2YEAAAAAQAAAAMAAAAEF0FwbG9yaXMuQmFzZS5BbmNob3JNb2RlAwAAAAFQBQAAoAAAAAAAAAABUQUAAKAAAAACAAAAAVIFAACgAAAABAAAAAFnBAAAJQAAAAneBAAAAAAAAAAAAAABaAQAACYAAAAJUwUAAAIAAAAGAAAAAWkEAAAqAQAAClgCAAABVAUAAKoBAAACAAAAAVUFAACrAQAAAQAAAAFWBQAAFQAAAJKRZUMt9PRCILqrQiULt0IBVwUAAK0BAAAAAAAAAACgQAABWAUAACEAAAANQIhD4DwoQwFZBQAAoAAAAAAAAAAAAAAAAAAAAAAJWgUAAAAAAAAJWwUAAAAAAVwFAACpAAAAAAAAAAFdBQAAcgAAAAAA0EEAAGBBAV4FAAAVAAAAo4uBQ3TRIUOSTthB6KJLQV662T8GXwUAAAMzNiUKCWAFAAAJtgEAADQDAAD/////AQEKCWEFAAABAAoAAWoEAAAcAAAAAWIFAAAhAAAAkpFiQ6n/WEMBYwUAACEAAABRN59DLfTuQglkBQAACWUFAAAAAAAACgFmBQAAcgAAAAAAAAAAAAAAAWcFAAByAAAAAAAAAAAAAAAAAAAAAWgFAAAVAAAAAAAAAAAAAAAAAAAAAAAAAKQBAAD/////AQEKCWkFAAABAAoAB2sEAAAAAQAAAAIAAAAEGkFwbG9yaXMuQmFzZS5VSS5WaXN1YWxMaW5lAwAAAAoKB2wEAAAAAQAAAAMAAAAEFVN5c3RlbS5EcmF3aW5nLlBvaW50RgQAAAABagUAACEAAAANQIhD4DwoQwFrBQAAIQAAAJKRX0PgPChDAWwFAAAhAAAAUbegQ+A8KEMHbQQAAAABAAAAAwAAAAQXQXBsb3Jpcy5CYXNlLkFuY2hvck1vZGUDAAAAAW0FAACgAAAAAAAAAAFuBQAAoAAAAAIAAAABbwUAAKAAAAAEAAAAAW4EAAAlAAAACd4EAAAAAAAAAAAAAAFvBAAAJgAAAAlwBQAAAgAAAAYAAAABcAQAACoBAAAKWAIAAAFxBQAAqgEAAAIAAAABcgUAAKsBAAABAAAAAXMFAAAVAAAAb0a8QznmxEIguqtCvWudQgF0BQAArQEAAAAAAAAAAKBAAAF1BQAAIQAAALO90UMMzglDAXYFAACgAAAAAAAAAAAAAAAAAAAAAAl3BQAAAAAAAAl4BQAAAAABeQUAAKkAAAAAAAAAAXoFAAByAAAAAADQQQAAYEEBewUAABUAAACLLstDdNEDQ5JO2EHooktBXrrZPwZ8BQAAAzMyJQoJfQUAAAm2AQAANAMAAP////8BAQoJfgUAAAEACgABcQQAABwAAAABfwUAACEAAABvxrpD+yg0QwGABQAAIQAAAPe06EM55r5CCYEFAAAJggUAAAAAAAAKAYMFAAByAAAAAAAAAAAAAAABhAUAAHIAAAAAAAAAAAAAAAAAAAABhQUAABUAAAAAAAAAAAAAAAAAAAAAAAAApAEAAP////8BAQoJhgUAAAEACgAHcgQAAAABAAAAAgAAAAQaQXBsb3Jpcy5CYXNlLlVJLlZpc3VhbExpbmUDAAAACgoHcwQAAAABAAAAAwAAAAQVU3lzdGVtLkRyYXdpbmcuUG9pbnRGBAAAAAGHBQAAIQAAALO90UMMzglDAYgFAAAhAAAAb0a5QwzOCUMBiQUAACEAAAD3NOpDDM4JQwd0BAAAAAEAAAADAAAABBdBcGxvcmlzLkJhc2UuQW5jaG9yTW9kZQMAAAABigUAAKAAAAAAAAAAAYsFAACgAAAAAgAAAAGMBQAAoAAAAAQAAAABdQQAACUAAAAJ3gQAAAAAAAAAAAAAAXYEAAAmAAAACY0FAAACAAAABgAAAAF3BAAAKgEAAApYAgAAAY4FAACqAQAAAgAAAAGPBQAAqwEAAAEAAAABkAUAABUAAAAK4gJEBmyBQiC6q0L7US9CAZEFAACtAQAAAAAAAAAAoEAAAZIFAAAhAAAArJ0NRIRArUIBkwUAAKAAAAAAAAAAAAAAAAAAAAAACZQFAAAAAAAACZUFAAAAAAGWBQAAqQAAAAAAAAABlwUAAHIAAAAAANBBAABgQQGYBQAAFQAAAIsuCkQAAKBCkk7YQeiiS0Feutk/BpkFAAADMTklCgmaBQAACbYBAAA0AwAA/////wEBCgmbBQAAAQAKAAF4BAAAHAAAAAGcBQAAIQAAAAoiAkQDFd9CAZ0FAAAhAAAAThkZRAvYdkIJngUAAAmfBQAAAAAAAAoBoAUAAHIAAAAAAAAAAAAAAAGhBQAAcgAAAAAAAAAAAAAAAAAAAAGiBQAAFQAAAAAAAAAAAAAAAAAAAAAAAACkAQAA/////wEBCgmjBQAAAQAKAAd5BAAAAAEAAAACAAAABBpBcGxvcmlzLkJhc2UuVUkuVmlzdWFsTGluZQMAAAAKCgd6BAAAAAEAAAADAAAABBVTeXN0ZW0uRHJhd2luZy5Qb2ludEYEAAAAAaQFAAAhAAAArJ0NRIRArUIBpQUAACEAAAAKYgFEhECtQgGmBQAAIQAAAE7ZGUSEQK1CB3sEAAAAAQAAAAMAAAAEF0FwbG9yaXMuQmFzZS5BbmNob3JNb2RlAwAAAAGnBQAAoAAAAAAAAAABqAUAAKAAAAACAAAAAakFAACgAAAABAAAAAF8BAAAJQAAAAneBAAAAAAAAAAAAAABfQQAACYAAAAJqgUAAAIAAAAGAAAAAX4EAAAqAQAAClgCAAABqwUAAKoBAAACAAAAAawFAACrAQAAAQAAAAGtBQAAFQAAAIwspUKApi9DHrqrQixbA0MBrgUAAK0BAAAAAAAAAACgQAABrwUAACEAAACbCftCFlRxQwGwBQAAoAAAAAAAAAAAAAAAAAAAAAAJsQUAAAAAAAAJsgUAAAAAAbMFAACpAAAAAAAAAAG0BQAAcgAAAAAA0EEAAGBBAbUFAAAVAAAA6KLfQqOLakOSTthB6KJLQV662T8GtgUAAAM1MSUKCbcFAAAJtgEAADQDAAD/////AQEKCbgFAAABAAoAAX8EAAAcAAAAAbkFAAAhAAAAjCyfQtYAm0MBugUAACEAAABVcytDgKYsQwm7BQAACbwFAAAAAAAACgG9BQAAcgAAAAAAAAAAAAAAAb4FAAByAAAAAAAAAAAAAAAAAAAAAb8FAAAVAAAAAAAAAAAAAAAAAAAAAAAAAKQBAAD/////AQEKCcAFAAABAAoAB4AEAAAAAQAAAAIAAAAEGkFwbG9yaXMuQmFzZS5VSS5WaXN1YWxMaW5lAwAAAAoKB4EEAAAAAQAAAAMAAAAEFVN5c3RlbS5EcmF3aW5nLlBvaW50RgQAAAABwQUAACEAAACbCftCFlRxQwHCBQAAIQAAAIwsmUIWVHFDAcMFAAAhAAAAVXMuQxZUcUMHggQAAAABAAAAAwAAAAQXQXBsb3Jpcy5CYXNlLkFuY2hvck1vZGUDAAAAAcQFAACgAAAAAAAAAAHFBQAAoAAAAAIAAAABxgUAAKAAAAAEAAAAAYMEAAAlAAAACd4EAAAAAAAAAAAAAAGEBAAAJgAAAAnHBQAAAgAAAAYAAAABhQQAACoBAAAKWAIAAAHIBQAAqgEAAAIAAAAByQUAAKsBAAABAAAAAcoFAAAVAAAAkpFlQ6n/W0MguqtCBgSuQgHLBQAArQEAAAAAAAAAAKBAAAHMBQAAIQAAAA1AiENVwINDAc0FAACgAAAAAAAAAAAAAAAAAAAAAAnOBQAAAAAAAAnPBQAAAAAB0AUAAKkAAAAAAAAAAdEFAAByAAAAAADQQQAAYEEB0gUAABUAAACji4FD6aKAQ5JO2EHooktBXrrZPwbTBQAAAzM1JQoJ1AUAAAm2AQAANAMAAP////8BAQoJ1QUAAAEACgABhgQAABwAAAAB1gUAACEAAACSkWJD1gCbQwHXBQAAIQAAAFE3n0Op/1hDCdgFAAAJ2QUAAAAAAAAKAdoFAAByAAAAAAAAAAAAAAAB2wUAAHIAAAAAAAAAAAAAAAAAAAAB3AUAABUAAAAAAAAAAAAAAAAAAAAAAAAApAEAAP////8BAQoJ3QUAAAEACgAHhwQAAAABAAAAAgAAAAQaQXBsb3Jpcy5CYXNlLlVJLlZpc3VhbExpbmUDAAAACgoHiAQAAAABAAAAAwAAAAQVU3lzdGVtLkRyYXdpbmcuUG9pbnRGBAAAAAHeBQAAIQAAAA1AiENVwINDAd8FAAAhAAAAkpFfQ1XAg0MB4AUAACEAAABRt6BDVcCDQweJBAAAAAEAAAADAAAABBdBcGxvcmlzLkJhc2UuQW5jaG9yTW9kZQMAAAAB4QUAAKAAAAAAAAAAAeIFAACgAAAAAgAAAAHjBQAAoAAAAAQAAAABigQAACUAAAAJ3gQAAAAAAAAAAAAAAYsEAAAmAAAACeQFAAACAAAABgAAAAGMBAAAKgEAAApYAgAAAeUFAACqAQAAAgAAAAHmBQAAqwEAAAEAAAAB5wUAABUAAABvRrxD+yg3QyC6q0JisfdCAegFAACtAQAAAAAAAAAAoEAAAekFAAAhAAAAs73RQ1QVdUMB6gUAAKAAAAAAAAAAAAAAAAAAAAAACesFAAAAAAAACewFAAAAAAHtBQAAqQAAAAAAAAAB7gUAAHIAAAAAANBBAABgQQHvBQAAFQAAAIsuy0NFF29Dkk7YQeiiS0Feutk/BvAFAAADNDglCgnxBQAACbYBAAA0AwAA/////wEBCgnyBQAAAQAKAAGNBAAAHAAAAAHzBQAAIQAAAG/GukPWAJtDAfQFAAAhAAAA97ToQ/soNEMJ9QUAAAn2BQAAAAAAAAoB9wUAAHIAAAAAAAAAAAAAAAH4BQAAcgAAAAAAAAAAAAAAAAAAAAH5BQAAFQAAAAAAAAAAAAAAAAAAAAAAAACkAQAA/////wEBCgn6BQAAAQAKAAeOBAAAAAEAAAACAAAABBpBcGxvcmlzLkJhc2UuVUkuVmlzdWFsTGluZQMAAAAKCgePBAAAAAEAAAADAAAABBVTeXN0ZW0uRHJhd2luZy5Qb2ludEYEAAAAAfsFAAAhAAAAs73RQ1QVdUMB/AUAACEAAABvRrlDVBV1QwH9BQAAIQAAAPc06kNUFXVDB5AEAAAAAQAAAAMAAAAEF0FwbG9yaXMuQmFzZS5BbmNob3JNb2RlAwAAAAH+BQAAoAAAAAAAAAAB/wUAAKAAAAACAAAAAQAGAACgAAAABAAAAAGRBAAAJQAAAAneBAAAAAAAAAAAAAABkgQAACYAAAAJAQYAAAIAAAAGAAAAAZMEAAAqAQAAClgCAAABAgYAAKoBAAACAAAAAQMGAACrAQAAAQAAAAEEBgAAFQAAAAriAkQDFeVCILqrQip3QEMBBQYAAK0BAAAAAAAAAACgQAABBgYAACEAAACsnQ1EF8ZSQwEHBgAAoAAAAAAAAAAAAAAAAAAAAAAJCAYAAAAAAAAJCQYAAAAAAQoGAACpAAAAAAAAAAELBgAAcgAAAAAA0EEAAGBBAQwGAAAVAAAAiy4KRKOLTEOSTthB6KJLQV662T8GDQYAAAM3NCUKCQ4GAAAJtgEAADQDAAD/////AQEKCQ8GAAABAAoAAZQEAAAcAAAAARAGAAAhAAAACiICRNYAm0MBEQYAACEAAABOGRlEAxXfQgkSBgAACRMGAAAAAAAACgEUBgAAcgAAAAAAAAAAAAAAARUGAAByAAAAAAAAAAAAAAAAAAAAARYGAAAVAAAAAAAAAAAAAAAAAAAAAAAAAKQBAAD/////AQEKCRcGAAABAAoAB5UEAAAAAQAAAAIAAAAEGkFwbG9yaXMuQmFzZS5VSS5WaXN1YWxMaW5lAwAAAAoKB5YEAAAAAQAAAAMAAAAEFVN5c3RlbS5EcmF3aW5nLlBvaW50RgQAAAABGAYAACEAAACsnQ1EF8ZSQwEZBgAAIQAAAApiAUQXxlJDARoGAAAhAAAATtkZRBfGUkMHlwQAAAABAAAAAwAAAAQXQXBsb3Jpcy5CYXNlLkFuY2hvck1vZGUDAAAAARsGAACgAAAAAAAAAAEcBgAAoAAAAAIAAAABHQYAAKAAAAAEAAAAAZgEAAAlAAAACd4EAAAAAAAAAAAAAAGZBAAAJgAAAAkeBgAAAgAAAAYAAAABmgQAADQAAAABHwYAACEAAACbCftCBJuxQwEgBgAAoAAAAAAAAAAAAAAAAAAAAAAJIQYAAAAAAAAJIgYAAAAAASMGAACpAAAAAAAAAAEkBgAAcgAAAAAA8EEAAGBBASUGAAAVAAAAAADcQqOLrkPXZfVB6KJLQV662T8GJgYAAAQtMzIlCgknBgAACbYBAAA0AwAA/////wEBCgkoBgAAAQAKAAGbBAAAJQAAAAkpBgAAAAAAAAAAAAABnAQAACYAAAAJKgYAAAEAAAABAAAAAZ0EAAA0AAAAASsGAAAhAAAADUCIQwSbsUMBLAYAAKAAAAAAAAAAAAAAAAAAAAAACS0GAAAAAAAACS4GAAAAAAEvBgAAqQAAAAAAAAABMAYAAHIAAAAAALhBAABgQQExBgAAFQAAAAAAgkOji65DHX3CQeiiS0Feutk/BjIGAAADLTYlCgkzBgAACbYBAAA0AwAA/////wEBCgk0BgAAAQAKAAGeBAAAJQAAAAkpBgAAAAAAAAAAAAABnwQAACYAAAAJNQYAAAEAAAABAAAAAaAEAAA0AAAAATYGAAAhAAAAs73RQwSbsUMBNwYAAKAAAAAAAAAAAAAAAAAAAAAACTgGAAAAAAAACTkGAAAAAAE6BgAAqQAAAAAAAAABOwYAAHIAAAAAAPBBAABgQQE8BgAAFQAAANFFykOji65D12X1QeiiS0Feutk/Bj0GAAAELTI4JQoJPgYAAAm2AQAANAMAAP////8BAQoJPwYAAAEACgABoQQAACUAAAAJKQYAAAAAAAAAAAAAAaIEAAAmAAAACUAGAAABAAAAAQAAAAGjBAAANAAAAAFBBgAAIQAAAKydDUQEm7FDAUIGAACgAAAAAAAAAAAAAAAAAAAAAAlDBgAAAAAAAAlEBgAAAAABRQYAAKkAAAAAAAAAAUYGAAByAAAAAADwQQAAYEEBRwYAABUAAAAuuglEo4uuQ9dl9UHooktBXrrZPwZIBgAABC02NiUKCUkGAAAJtgEAADQDAAD/////AQEKCUoGAAABAAoAAaQEAAAlAAAACSkGAAAAAAAAAAAAAAGlBAAAJgAAAAlLBgAAAQAAAAEAAAAByAQAACMAAAAKCgAAAAAAQEEJdgAAAAl3AAAACUwGAAAAAAlNBgAAAckEAAB4AAAACgoBAAAABSluAP////8AAQHOBAAArQAAAAlOBgAAAQAAAAMAAAABzwQAAHUAAAAJTwYAAAoB0gQAAHAAAAAKCgAAAEA/CVAGAAAJUQYAAAEAAAD+////AAAAAAEAAAAAAAAAAAAAAAEAAAAAAAAAAAAAAdMEAABxAAAACgoJUgYAAAlTBgAAAQAAAP7///8AAAAA/////wAAAdcEAAB1AAAACVQGAAAKB94EAAAAAQAAAAAAAAAEH0FwbG9yaXMuQmFzZS5PYmplY3RzLkRhdGFPYmplY3QDAAAAB98EAAAAAQAAAAQAAAAEHEFwbG9yaXMuQmFzZS5VSS5WaXN1YWxPYmplY3QDAAAACUcEAAAJRgQAAAoKAeYEAAAjAAAACgoAAAAAAEBBCXYAAAAJdwAAAAlVBgAAAAAJVgYAAAHnBAAAeAAAAAoKAQAAAAUpbgD/////AAEB7AQAAK0AAAAJVwYAAAEAAAADAAAAAe0EAAB1AAAACVgGAAAKAfAEAABwAAAACgoAAABAPwlZBgAACVoGAAABAAAA/v///wAAAAABAAAAAAAAAAAAAAABAAAAAAAAAAAAAAHxBAAAcQAAAAoKCVsGAAAJXAYAAAEAAAD+////AAAAAP////8AAAH1BAAAdQAAAAldBgAACgf8BAAAAAEAAAAEAAAABBxBcGxvcmlzLkJhc2UuVUkuVmlzdWFsT2JqZWN0AwAAAAlOBAAACU0EAAAKCgEDBQAAIwAAAAoKAAAAAABAQQl2AAAACXcAAAAJXgYAAAAACV8GAAABBAUAAHgAAAAKCgEAAAAFKW4A/////wABAQkFAACtAAAACWAGAAABAAAAAwAAAAEKBQAAdQAAAAlhBgAACgENBQAAcAAAAAoKAAAAQD8JYgYAAAljBgAAAQAAAP7///8AAAAAAQAAAAAAAAAAAAAAAQAAAAAAAAAAAAABDgUAAHEAAAAKCglkBgAACWUGAAABAAAA/v///wAAAAD/////AAABEgUAAHUAAAAJZgYAAAoHGQUAAAABAAAABAAAAAQcQXBsb3Jpcy5CYXNlLlVJLlZpc3VhbE9iamVjdAMAAAAJVQQAAAlUBAAACgoBIAUAACMAAAAKCgAAAAAAQEEJdgAAAAl3AAAACWcGAAAAAAloBgAAASEFAAB4AAAACgoBAAAABSluAP////8AAQEmBQAArQAAAAlpBgAAAQAAAAMAAAABJwUAAHUAAAAJagYAAAoBKgUAAHAAAAAKCgAAAEA/CWsGAAAJbAYAAAEAAAD+////AAAAAAEAAAAAAAAAAAAAAAEAAAAAAAAAAAAAASsFAABxAAAACgoJbQYAAAluBgAAAQAAAP7///8AAAAA/////wAAAS8FAAB1AAAACW8GAAAKBzYFAAAAAQAAAAQAAAAEHEFwbG9yaXMuQmFzZS5VSS5WaXN1YWxPYmplY3QDAAAACVwEAAAJWwQAAAoKAT0FAAAjAAAACgoAAAAAAEBBCXYAAAAJdwAAAAlwBgAAAAAJcQYAAAE+BQAAeAAAAAoKAQAAAEV11AD/////AAEBQwUAAK0AAAAJcgYAAAEAAAADAAAAAUQFAAB1AAAACXMGAAAKAUcFAABwAAAACgoAAABAPwl0BgAACXUGAAABAAAA/v///wAAAAABAAAAAAAAAAAAAAABAAAAAAAAAAAAAAFIBQAAcQAAAAoKCXYGAAAJdwYAAAEAAAD+////AAAAAP////8AAAFMBQAAdQAAAAl4BgAACgdTBQAAAAEAAAAEAAAABBxBcGxvcmlzLkJhc2UuVUkuVmlzdWFsT2JqZWN0AwAAAAljBAAACWIEAAAKCgFaBQAAIwAAAAoKAAAAAABAQQl2AAAACXcAAAAJeQYAAAAACXoGAAABWwUAAHgAAAAKCgEAAABFddQA/////wABAWAFAACtAAAACXsGAAABAAAAAwAAAAFhBQAAdQAAAAl8BgAACgFkBQAAcAAAAAoKAAAAQD8JfQYAAAl+BgAAAQAAAP7///8AAAAAAQAAAAAAAAAAAAAAAQAAAAAAAAAAAAABZQUAAHEAAAAKCgl/BgAACYAGAAABAAAA/v///wAAAAD/////AAABaQUAAHUAAAAJgQYAAAoHcAUAAAABAAAABAAAAAQcQXBsb3Jpcy5CYXNlLlVJLlZpc3VhbE9iamVjdAMAAAAJagQAAAlpBAAACgoBdwUAACMAAAAKCgAAAAAAQEEJdgAAAAl3AAAACYIGAAAAAAmDBgAAAXgFAAB4AAAACgoBAAAARXXUAP////8AAQF9BQAArQAAAAmEBgAAAQAAAAMAAAABfgUAAHUAAAAJhQYAAAoBgQUAAHAAAAAKCgAAAEA/CYYGAAAJhwYAAAEAAAD+////AAAAAAEAAAAAAAAAAAAAAAEAAAAAAAAAAAAAAYIFAABxAAAACgoJiAYAAAmJBgAAAQAAAP7///8AAAAA/////wAAAYYFAAB1AAAACYoGAAAKB40FAAAAAQAAAAQAAAAEHEFwbG9yaXMuQmFzZS5VSS5WaXN1YWxPYmplY3QDAAAACXEEAAAJcAQAAAoKAZQFAAAjAAAACgoAAAAAAEBBCXYAAAAJdwAAAAmLBgAAAAAJjAYAAAGVBQAAeAAAAAoKAQAAAEV11AD/////AAEBmgUAAK0AAAAJjQYAAAEAAAADAAAAAZsFAAB1AAAACY4GAAAKAZ4FAABwAAAACgoAAABAPwmPBgAACZAGAAABAAAA/v///wAAAAABAAAAAAAAAAAAAAABAAAAAAAAAAAAAAGfBQAAcQAAAAoKCZEGAAAJkgYAAAEAAAD+////AAAAAP////8AAAGjBQAAdQAAAAmTBgAACgeqBQAAAAEAAAAEAAAABBxBcGxvcmlzLkJhc2UuVUkuVmlzdWFsT2JqZWN0AwAAAAl4BAAACXcEAAAKCgGxBQAAIwAAAAoKAAAAAABAQQl2AAAACXcAAAAJlAYAAAAACZUGAAABsgUAAHgAAAAKCgAAAADtISUABwAAAAABAbcFAACtAAAACZYGAAABAAAAAQAAAAG4BQAAdQAAAAmXBgAACgG7BQAAcAAAAAoKAAAAQD8JmAYAAAmZBgAAAQAAAP7///8AAAAAAQAAAAAAAAAAAAAAAQAAAAAAAAAAAAABvAUAAHEAAAAKCgmaBgAACZsGAAABAAAA/v///wAAAAD/////AAABwAUAAHUAAAAJnAYAAAoHxwUAAAABAAAABAAAAAQcQXBsb3Jpcy5CYXNlLlVJLlZpc3VhbE9iamVjdAMAAAAJfwQAAAl+BAAACgoBzgUAACMAAAAKCgAAAAAAQEEJdgAAAAl3AAAACZ0GAAAAAAmeBgAAAc8FAAB4AAAACgoAAAAA7SElAAcAAAAAAQHUBQAArQAAAAmfBgAAAQAAAAMAAAAB1QUAAHUAAAAJoAYAAAoB2AUAAHAAAAAKCgAAAEA/CaEGAAAJogYAAAEAAAD+////AAAAAAEAAAAAAAAAAAAAAAEAAAAAAAAAAAAAAdkFAABxAAAACgoJowYAAAmkBgAAAQAAAP7///8AAAAA/////wAAAd0FAAB1AAAACaUGAAAKB+QFAAAAAQAAAAQAAAAEHEFwbG9yaXMuQmFzZS5VSS5WaXN1YWxPYmplY3QDAAAACYYEAAAJhQQAAAoKAesFAAAjAAAACgoAAAAAAEBBCXYAAAAJdwAAAAmmBgAAAAAJpwYAAAHsBQAAeAAAAAoKAAAAAO0hJQAHAAAAAAEB8QUAAK0AAAAJqAYAAAEAAAADAAAAAfIFAAB1AAAACakGAAAKAfUFAABwAAAACgoAAABAPwmqBgAACasGAAABAAAA/v///wAAAAABAAAAAAAAAAAAAAABAAAAAAAAAAAAAAH2BQAAcQAAAAoKCawGAAAJrQYAAAEAAAD+////AAAAAP////8AAAH6BQAAdQAAAAmuBgAACgcBBgAAAAEAAAAEAAAABBxBcGxvcmlzLkJhc2UuVUkuVmlzdWFsT2JqZWN0AwAAAAmNBAAACYwEAAAKCgEIBgAAIwAAAAoKAAAAAABAQQl2AAAACXcAAAAJrwYAAAAACbAGAAABCQYAAHgAAAAKCgAAAADtISUABwAAAAABAQ4GAACtAAAACbEGAAABAAAAAwAAAAEPBgAAdQAAAAmyBgAACgESBgAAcAAAAAoKAAAAQD8JswYAAAm0BgAAAQAAAP7///8AAAAAAQAAAAAAAAAAAAAAAQAAAAAAAAAAAAABEwYAAHEAAAAKCgm1BgAACbYGAAABAAAA/v///wAAAAD/////AAABFwYAAHUAAAAJtwYAAAoHHgYAAAABAAAABAAAAAQcQXBsb3Jpcy5CYXNlLlVJLlZpc3VhbE9iamVjdAMAAAAJlAQAAAmTBAAACgoBIQYAACMAAAAKCgAAAAAAQEEJdgAAAAl3AAAACbgGAAAAAAm5BgAAASIGAAB4AAAACgoBAAAAAAAAAP////8AAQEnBgAArQAAAAm6BgAAAQAAAAEAAAABKAYAAHUAAAAJuwYAAAoHKQYAAAABAAAAAAAAAAQfQXBsb3Jpcy5CYXNlLk9iamVjdHMuRGF0YU9iamVjdAMAAAAHKgYAAAABAAAABAAAAAQcQXBsb3Jpcy5CYXNlLlVJLlZpc3VhbE9iamVjdAMAAAAJmgQAAA0DAS0GAAAjAAAACgoAAAAAAEBBCXYAAAAJdwAAAAm8BgAAAAAJvQYAAAEuBgAAeAAAAAoKAQAAAAAAAAD/////AAEBMwYAAK0AAAAJvgYAAAEAAAADAAAAATQGAAB1AAAACb8GAAAKBzUGAAAAAQAAAAQAAAAEHEFwbG9yaXMuQmFzZS5VSS5WaXN1YWxPYmplY3QDAAAACZ0EAAANAwE4BgAAIwAAAAoKAAAAAABAQQl2AAAACXcAAAAJwAYAAAAACcEGAAABOQYAAHgAAAAKCgEAAAAAAAAA/////wABAT4GAACtAAAACcIGAAABAAAAAwAAAAE/BgAAdQAAAAnDBgAACgdABgAAAAEAAAAEAAAABBxBcGxvcmlzLkJhc2UuVUkuVmlzdWFsT2JqZWN0AwAAAAmgBAAADQMBQwYAACMAAAAKCgAAAAAAQEEJdgAAAAl3AAAACcQGAAAAAAnFBgAAAUQGAAB4AAAACgoBAAAAAAAAAP////8AAQFJBgAArQAAAAnGBgAAAQAAAAMAAAABSgYAAHUAAAAJxwYAAAoHSwYAAAABAAAABAAAAAQcQXBsb3Jpcy5CYXNlLlVJLlZpc3VhbE9iamVjdAMAAAAJowQAAA0DAUwGAAB4AAAACgoAAAAA////AA4AAAAAAAFNBgAAeAAAAAoKAAAAAP///wAOAAAAAAEHTgYAAAABAAAABAAAAAQdQXBsb3Jpcy5CYXNlLk9iamVjdHMuVmFyaWFibGUDAAAAAcgGAADDAwAAAQAAAAAAAAAByQYAAMMDAAAAAAAAAAAAAAHKBgAAwwMAAAAAAAAAAAAAAcsGAADDAwAAAAAAAAAAAAAPTwYAAAEAAAAI9QMAAAVQBgAAGkFwbG9yaXMuQmFzZS5PYmplY3RzLkNvbG9yBwAAABJEYXRhT2JqZWN0K21QYXJlbnQVRGF0YU9iamVjdCttQ29udGFpbmVyBW1UeXBlBG1SR0IQbVRoZW1lQ29sb3JJbmRleAxtQXV0b1VwZGF0ZWQJbU1vZGlmaWVkBAIAAAAAAB9BcGxvcmlzLkJhc2UuT2JqZWN0cy5MaW5lRm9ybWF0AwAAAAgICAEBAwAAAAnSBAAACgAAAAD///8ADgAAAAAABVEGAAAaQXBsb3Jpcy5CYXNlLk9iamVjdHMuQ29sb3IHAAAAEkRhdGFPYmplY3QrbVBhcmVudBVEYXRhT2JqZWN0K21Db250YWluZXIFbVR5cGUEbVJHQhBtVGhlbWVDb2xvckluZGV4DG1BdXRvVXBkYXRlZAltTW9kaWZpZWQEAgAAAAAAH0FwbG9yaXMuQmFzZS5PYmplY3RzLkxpbmVGb3JtYXQDAAAACAgIAQEDAAAACdIEAAAKAQAAAAAAAAD/////AAEBUgYAAHgAAAAKCgEAAAAFKW4A/////wAAAVMGAAB4AAAACgoBAAAA////AP////8AAA9UBgAAAQAAAAjYAwAAAVUGAAB4AAAACgoAAAAA////AA4AAAAAAAFWBgAAeAAAAAoKAAAAAP///wAOAAAAAAEHVwYAAAABAAAABAAAAAQdQXBsb3Jpcy5CYXNlLk9iamVjdHMuVmFyaWFibGUDAAAAAcwGAADDAwAAAQAAAAAAAAABzQYAAMMDAAAAAAAAAAAAAAHOBgAAwwMAAAAAAAAAAAAAAc8GAADDAwAAAAAAAAAAAAAPWAYAAAEAAAAI9AMAAAVZBgAAGkFwbG9yaXMuQmFzZS5PYmplY3RzLkNvbG9yBwAAABJEYXRhT2JqZWN0K21QYXJlbnQVRGF0YU9iamVjdCttQ29udGFpbmVyBW1UeXBlBG1SR0IQbVRoZW1lQ29sb3JJbmRleAxtQXV0b1VwZGF0ZWQJbU1vZGlmaWVkBAIAAAAAAB9BcGxvcmlzLkJhc2UuT2JqZWN0cy5MaW5lRm9ybWF0AwAAAAgICAEBAwAAAAnwBAAACgAAAAD///8ADgAAAAAABVoGAAAaQXBsb3Jpcy5CYXNlLk9iamVjdHMuQ29sb3IHAAAAEkRhdGFPYmplY3QrbVBhcmVudBVEYXRhT2JqZWN0K21Db250YWluZXIFbVR5cGUEbVJHQhBtVGhlbWVDb2xvckluZGV4DG1BdXRvVXBkYXRlZAltTW9kaWZpZWQEAgAAAAAAH0FwbG9yaXMuQmFzZS5PYmplY3RzLkxpbmVGb3JtYXQDAAAACAgIAQEDAAAACfAEAAAKAQAAAAAAAAD/////AAEBWwYAAHgAAAAKCgEAAAAFKW4A/////wAAAVwGAAB4AAAACgoBAAAA////AP////8AAA9dBgAAAQAAAAjZAwAAAV4GAAB4AAAACgoAAAAA////AA4AAAAAAAFfBgAAeAAAAAoKAAAAAP///wAOAAAAAAEHYAYAAAABAAAABAAAAAQdQXBsb3Jpcy5CYXNlLk9iamVjdHMuVmFyaWFibGUDAAAAAdAGAADDAwAAAQAAAAAAAAAB0QYAAMMDAAAAAAAAAAAAAAHSBgAAwwMAAAAAAAAAAAAAAdMGAADDAwAAAAAAAAAAAAAPYQYAAAEAAAAI/AMAAAViBgAAGkFwbG9yaXMuQmFzZS5PYmplY3RzLkNvbG9yBwAAABJEYXRhT2JqZWN0K21QYXJlbnQVRGF0YU9iamVjdCttQ29udGFpbmVyBW1UeXBlBG1SR0IQbVRoZW1lQ29sb3JJbmRleAxtQXV0b1VwZGF0ZWQJbU1vZGlmaWVkBAIAAAAAAB9BcGxvcmlzLkJhc2UuT2JqZWN0cy5MaW5lRm9ybWF0AwAAAAgICAEBAwAAAAkNBQAACgAAAAD///8ADgAAAAAABWMGAAAaQXBsb3Jpcy5CYXNlLk9iamVjdHMuQ29sb3IHAAAAEkRhdGFPYmplY3QrbVBhcmVudBVEYXRhT2JqZWN0K21Db250YWluZXIFbVR5cGUEbVJHQhBtVGhlbWVDb2xvckluZGV4DG1BdXRvVXBkYXRlZAltTW9kaWZpZWQEAgAAAAAAH0FwbG9yaXMuQmFzZS5PYmplY3RzLkxpbmVGb3JtYXQDAAAACAgIAQEDAAAACQ0FAAAKAQAAAAAAAAD/////AAEBZAYAAHgAAAAKCgEAAAAFKW4A/////wAAAWUGAAB4AAAACgoBAAAA////AP////8AAA9mBgAAAQAAAAjWAwAAAWcGAAB4AAAACgoAAAAA////AA4AAAAAAAFoBgAAeAAAAAoKAAAAAP///wAOAAAAAAEHaQYAAAABAAAABAAAAAQdQXBsb3Jpcy5CYXNlLk9iamVjdHMuVmFyaWFibGUDAAAAAdQGAADDAwAAAQAAAAAAAAAB1QYAAMMDAAAAAAAAAAAAAAHWBgAAwwMAAAAAAAAAAAAAAdcGAADDAwAAAAAAAAAAAAAPagYAAAEAAAAI+wMAAAVrBgAAGkFwbG9yaXMuQmFzZS5PYmplY3RzLkNvbG9yBwAAABJEYXRhT2JqZWN0K21QYXJlbnQVRGF0YU9iamVjdCttQ29udGFpbmVyBW1UeXBlBG1SR0IQbVRoZW1lQ29sb3JJbmRleAxtQXV0b1VwZGF0ZWQJbU1vZGlmaWVkBAIAAAAAAB9BcGxvcmlzLkJhc2UuT2JqZWN0cy5MaW5lRm9ybWF0AwAAAAgICAEBAwAAAAkqBQAACgAAAAD///8ADgAAAAAABWwGAAAaQXBsb3Jpcy5CYXNlLk9iamVjdHMuQ29sb3IHAAAAEkRhdGFPYmplY3QrbVBhcmVudBVEYXRhT2JqZWN0K21Db250YWluZXIFbVR5cGUEbVJHQhBtVGhlbWVDb2xvckluZGV4DG1BdXRvVXBkYXRlZAltTW9kaWZpZWQEAgAAAAAAH0FwbG9yaXMuQmFzZS5PYmplY3RzLkxpbmVGb3JtYXQDAAAACAgIAQEDAAAACSoFAAAKAQAAAAAAAAD/////AAEBbQYAAHgAAAAKCgEAAAAFKW4A/////wAAAW4GAAB4AAAACgoBAAAA////AP////8AAA9vBgAAAQAAAAjXAwAAAXAGAAB4AAAACgoAAAAA////AA4AAAAAAAFxBgAAeAAAAAoKAAAAAP///wAOAAAAAAEHcgYAAAABAAAABAAAAAQdQXBsb3Jpcy5CYXNlLk9iamVjdHMuVmFyaWFibGUDAAAAAdgGAADDAwAAAQAAAAAAAAAB2QYAAMMDAAAAAAAAAAAAAAHaBgAAwwMAAAAAAAAAAAAAAdsGAADDAwAAAAAAAAAAAAAPcwYAAAEAAAAI9wMAAAV0BgAAGkFwbG9yaXMuQmFzZS5PYmplY3RzLkNvbG9yBwAAABJEYXRhT2JqZWN0K21QYXJlbnQVRGF0YU9iamVjdCttQ29udGFpbmVyBW1UeXBlBG1SR0IQbVRoZW1lQ29sb3JJbmRleAxtQXV0b1VwZGF0ZWQJbU1vZGlmaWVkBAIAAAAAAB9BcGxvcmlzLkJhc2UuT2JqZWN0cy5MaW5lRm9ybWF0AwAAAAgICAEBAwAAAAlHBQAACgAAAAD///8ADgAAAAAABXUGAAAaQXBsb3Jpcy5CYXNlLk9iamVjdHMuQ29sb3IHAAAAEkRhdGFPYmplY3QrbVBhcmVudBVEYXRhT2JqZWN0K21Db250YWluZXIFbVR5cGUEbVJHQhBtVGhlbWVDb2xvckluZGV4DG1BdXRvVXBkYXRlZAltTW9kaWZpZWQEAgAAAAAAH0FwbG9yaXMuQmFzZS5PYmplY3RzLkxpbmVGb3JtYXQDAAAACAgIAQEDAAAACUcFAAAKAQAAAAAAAAD/////AAEBdgYAAHgAAAAKCgEAAABFddQA/////wAAAXcGAAB4AAAACgoBAAAA////AP////8AAA94BgAAAQAAAAjcAwAAAXkGAAB4AAAACgoAAAAA////AA4AAAAAAAF6BgAAeAAAAAoKAAAAAP///wAOAAAAAAEHewYAAAABAAAABAAAAAQdQXBsb3Jpcy5CYXNlLk9iamVjdHMuVmFyaWFibGUDAAAAAdwGAADDAwAAAQAAAAAAAAAB3QYAAMMDAAAAAAAAAAAAAAHeBgAAwwMAAAAAAAAAAAAAAd8GAADDAwAAAAAAAAAAAAAPfAYAAAEAAAAI9gMAAAV9BgAAGkFwbG9yaXMuQmFzZS5PYmplY3RzLkNvbG9yBwAAABJEYXRhT2JqZWN0K21QYXJlbnQVRGF0YU9iamVjdCttQ29udGFpbmVyBW1UeXBlBG1SR0IQbVRoZW1lQ29sb3JJbmRleAxtQXV0b1VwZGF0ZWQJbU1vZGlmaWVkBAIAAAAAAB9BcGxvcmlzLkJhc2UuT2JqZWN0cy5MaW5lRm9ybWF0AwAAAAgICAEBAwAAAAlkBQAACgAAAAD///8ADgAAAAAABX4GAAAaQXBsb3Jpcy5CYXNlLk9iamVjdHMuQ29sb3IHAAAAEkRhdGFPYmplY3QrbVBhcmVudBVEYXRhT2JqZWN0K21Db250YWluZXIFbVR5cGUEbVJHQhBtVGhlbWVDb2xvckluZGV4DG1BdXRvVXBkYXRlZAltTW9kaWZpZWQEAgAAAAAAH0FwbG9yaXMuQmFzZS5PYmplY3RzLkxpbmVGb3JtYXQDAAAACAgIAQEDAAAACWQFAAAKAQAAAAAAAAD/////AAEBfwYAAHgAAAAKCgEAAABFddQA/////wAAAYAGAAB4AAAACgoBAAAA////AP////8AAA+BBgAAAQAAAAjaAwAAAYIGAAB4AAAACgoAAAAA////AA4AAAAAAAGDBgAAeAAAAAoKAAAAAP///wAOAAAAAAEHhAYAAAABAAAABAAAAAQdQXBsb3Jpcy5CYXNlLk9iamVjdHMuVmFyaWFibGUDAAAAAeAGAADDAwAAAQAAAAAAAAAB4QYAAMMDAAAAAAAAAAAAAAHiBgAAwwMAAAAAAAAAAAAAAeMGAADDAwAAAAAAAAAAAAAPhQYAAAEAAAAI+AMAAAWGBgAAGkFwbG9yaXMuQmFzZS5PYmplY3RzLkNvbG9yBwAAABJEYXRhT2JqZWN0K21QYXJlbnQVRGF0YU9iamVjdCttQ29udGFpbmVyBW1UeXBlBG1SR0IQbVRoZW1lQ29sb3JJbmRleAxtQXV0b1VwZGF0ZWQJbU1vZGlmaWVkBAIAAAAAAB9BcGxvcmlzLkJhc2UuT2JqZWN0cy5MaW5lRm9ybWF0AwAAAAgICAEBAwAAAAmBBQAACgAAAAD///8ADgAAAAAABYcGAAAaQXBsb3Jpcy5CYXNlLk9iamVjdHMuQ29sb3IHAAAAEkRhdGFPYmplY3QrbVBhcmVudBVEYXRhT2JqZWN0K21Db250YWluZXIFbVR5cGUEbVJHQhBtVGhlbWVDb2xvckluZGV4DG1BdXRvVXBkYXRlZAltTW9kaWZpZWQEAgAAAAAAH0FwbG9yaXMuQmFzZS5PYmplY3RzLkxpbmVGb3JtYXQDAAAACAgIAQEDAAAACYEFAAAKAQAAAAAAAAD/////AAEBiAYAAHgAAAAKCgEAAABFddQA/////wAAAYkGAAB4AAAACgoBAAAA////AP////8AAA+KBgAAAQAAAAjbAwAAAYsGAAB4AAAACgoAAAAA////AA4AAAAAAAGMBgAAeAAAAAoKAAAAAP///wAOAAAAAAEHjQYAAAABAAAABAAAAAQdQXBsb3Jpcy5CYXNlLk9iamVjdHMuVmFyaWFibGUDAAAAAeQGAADDAwAAAQAAAAAAAAAB5QYAAMMDAAAAAAAAAAAAAAHmBgAAwwMAAAAAAAAAAAAAAecGAADDAwAAAAAAAAAAAAAPjgYAAAEAAAAI+gMAAAWPBgAAGkFwbG9yaXMuQmFzZS5PYmplY3RzLkNvbG9yBwAAABJEYXRhT2JqZWN0K21QYXJlbnQVRGF0YU9iamVjdCttQ29udGFpbmVyBW1UeXBlBG1SR0IQbVRoZW1lQ29sb3JJbmRleAxtQXV0b1VwZGF0ZWQJbU1vZGlmaWVkBAIAAAAAAB9BcGxvcmlzLkJhc2UuT2JqZWN0cy5MaW5lRm9ybWF0AwAAAAgICAEBAwAAAAmeBQAACgAAAAD///8ADgAAAAAABZAGAAAaQXBsb3Jpcy5CYXNlLk9iamVjdHMuQ29sb3IHAAAAEkRhdGFPYmplY3QrbVBhcmVudBVEYXRhT2JqZWN0K21Db250YWluZXIFbVR5cGUEbVJHQhBtVGhlbWVDb2xvckluZGV4DG1BdXRvVXBkYXRlZAltTW9kaWZpZWQEAgAAAAAAH0FwbG9yaXMuQmFzZS5PYmplY3RzLkxpbmVGb3JtYXQDAAAACAgIAQEDAAAACZ4FAAAKAQAAAAAAAAD/////AAEBkQYAAHgAAAAKCgEAAABFddQA/////wAAAZIGAAB4AAAACgoBAAAA////AP////8AAA+TBgAAAQAAAAjdAwAAAZQGAAB4AAAACgoAAAAA////AA4AAAAAAAGVBgAAeAAAAAoKAAAAAP///wAOAAAAAAEHlgYAAAABAAAABAAAAAQdQXBsb3Jpcy5CYXNlLk9iamVjdHMuVmFyaWFibGUDAAAAAegGAADDAwAAAQAAAAAAAAAB6QYAAMMDAAAAAAAAAAAAAAHqBgAAwwMAAAAAAAAAAAAAAesGAADDAwAAAAAAAAAAAAAPlwYAAAEAAAAI+QMAAAWYBgAAGkFwbG9yaXMuQmFzZS5PYmplY3RzLkNvbG9yBwAAABJEYXRhT2JqZWN0K21QYXJlbnQVRGF0YU9iamVjdCttQ29udGFpbmVyBW1UeXBlBG1SR0IQbVRoZW1lQ29sb3JJbmRleAxtQXV0b1VwZGF0ZWQJbU1vZGlmaWVkBAIAAAAAAB9BcGxvcmlzLkJhc2UuT2JqZWN0cy5MaW5lRm9ybWF0AwAAAAgICAEBAwAAAAm7BQAACgAAAAD///8ADgAAAAAABZkGAAAaQXBsb3Jpcy5CYXNlLk9iamVjdHMuQ29sb3IHAAAAEkRhdGFPYmplY3QrbVBhcmVudBVEYXRhT2JqZWN0K21Db250YWluZXIFbVR5cGUEbVJHQhBtVGhlbWVDb2xvckluZGV4DG1BdXRvVXBkYXRlZAltTW9kaWZpZWQEAgAAAAAAH0FwbG9yaXMuQmFzZS5PYmplY3RzLkxpbmVGb3JtYXQDAAAACAgIAQEDAAAACbsFAAAKAQAAAAAAAAD/////AAEBmgYAAHgAAAAKCgAAAADtISUABwAAAAAAAZsGAAB4AAAACgoBAAAA////AP////8AAA+cBgAAAQAAAAjUAwAAAZ0GAAB4AAAACgoAAAAA////AA4AAAAAAAGeBgAAeAAAAAoKAAAAAP///wAOAAAAAAEHnwYAAAABAAAABAAAAAQdQXBsb3Jpcy5CYXNlLk9iamVjdHMuVmFyaWFibGUDAAAAAewGAADDAwAAAQAAAAAAAAAB7QYAAMMDAAAAAAAAAAAAAAHuBgAAwwMAAAAAAAAAAAAAAe8GAADDAwAAAAAAAAAAAAAPoAYAAAEAAAAI8gMAAAWhBgAAGkFwbG9yaXMuQmFzZS5PYmplY3RzLkNvbG9yBwAAABJEYXRhT2JqZWN0K21QYXJlbnQVRGF0YU9iamVjdCttQ29udGFpbmVyBW1UeXBlBG1SR0IQbVRoZW1lQ29sb3JJbmRleAxtQXV0b1VwZGF0ZWQJbU1vZGlmaWVkBAIAAAAAAB9BcGxvcmlzLkJhc2UuT2JqZWN0cy5MaW5lRm9ybWF0AwAAAAgICAEBAwAAAAnYBQAACgAAAAD///8ADgAAAAAABaIGAAAaQXBsb3Jpcy5CYXNlLk9iamVjdHMuQ29sb3IHAAAAEkRhdGFPYmplY3QrbVBhcmVudBVEYXRhT2JqZWN0K21Db250YWluZXIFbVR5cGUEbVJHQhBtVGhlbWVDb2xvckluZGV4DG1BdXRvVXBkYXRlZAltTW9kaWZpZWQEAgAAAAAAH0FwbG9yaXMuQmFzZS5PYmplY3RzLkxpbmVGb3JtYXQDAAAACAgIAQEDAAAACdgFAAAKAQAAAAAAAAD/////AAEBowYAAHgAAAAKCgAAAADtISUABwAAAAAAAaQGAAB4AAAACgoBAAAA////AP////8AAA+lBgAAAQAAAAjVAwAAAaYGAAB4AAAACgoAAAAA////AA4AAAAAAAGnBgAAeAAAAAoKAAAAAP///wAOAAAAAAEHqAYAAAABAAAABAAAAAQdQXBsb3Jpcy5CYXNlLk9iamVjdHMuVmFyaWFibGUDAAAAAfAGAADDAwAAAQAAAAAAAAAB8QYAAMMDAAAAAAAAAAAAAAHyBgAAwwMAAAAAAAAAAAAAAfMGAADDAwAAAAAAAAAAAAAPqQYAAAEAAAAI8QMAAAWqBgAAGkFwbG9yaXMuQmFzZS5PYmplY3RzLkNvbG9yBwAAABJEYXRhT2JqZWN0K21QYXJlbnQVRGF0YU9iamVjdCttQ29udGFpbmVyBW1UeXBlBG1SR0IQbVRoZW1lQ29sb3JJbmRleAxtQXV0b1VwZGF0ZWQJbU1vZGlmaWVkBAIAAAAAAB9BcGxvcmlzLkJhc2UuT2JqZWN0cy5MaW5lRm9ybWF0AwAAAAgICAEBAwAAAAn1BQAACgAAAAD///8ADgAAAAAABasGAAAaQXBsb3Jpcy5CYXNlLk9iamVjdHMuQ29sb3IHAAAAEkRhdGFPYmplY3QrbVBhcmVudBVEYXRhT2JqZWN0K21Db250YWluZXIFbVR5cGUEbVJHQhBtVGhlbWVDb2xvckluZGV4DG1BdXRvVXBkYXRlZAltTW9kaWZpZWQEAgAAAAAAH0FwbG9yaXMuQmFzZS5PYmplY3RzLkxpbmVGb3JtYXQDAAAACAgIAQEDAAAACfUFAAAKAQAAAAAAAAD/////AAEBrAYAAHgAAAAKCgAAAADtISUABwAAAAAAAa0GAAB4AAAACgoBAAAA////AP////8AAA+uBgAAAQAAAAjSAwAAAa8GAAB4AAAACgoAAAAA////AA4AAAAAAAGwBgAAeAAAAAoKAAAAAP///wAOAAAAAAEHsQYAAAABAAAABAAAAAQdQXBsb3Jpcy5CYXNlLk9iamVjdHMuVmFyaWFibGUDAAAAAfQGAADDAwAAAQAAAAAAAAAB9QYAAMMDAAAAAAAAAAAAAAH2BgAAwwMAAAAAAAAAAAAAAfcGAADDAwAAAAAAAAAAAAAPsgYAAAEAAAAI8wMAAAWzBgAAGkFwbG9yaXMuQmFzZS5PYmplY3RzLkNvbG9yBwAAABJEYXRhT2JqZWN0K21QYXJlbnQVRGF0YU9iamVjdCttQ29udGFpbmVyBW1UeXBlBG1SR0IQbVRoZW1lQ29sb3JJbmRleAxtQXV0b1VwZGF0ZWQJbU1vZGlmaWVkBAIAAAAAAB9BcGxvcmlzLkJhc2UuT2JqZWN0cy5MaW5lRm9ybWF0AwAAAAgICAEBAwAAAAkSBgAACgAAAAD///8ADgAAAAAABbQGAAAaQXBsb3Jpcy5CYXNlLk9iamVjdHMuQ29sb3IHAAAAEkRhdGFPYmplY3QrbVBhcmVudBVEYXRhT2JqZWN0K21Db250YWluZXIFbVR5cGUEbVJHQhBtVGhlbWVDb2xvckluZGV4DG1BdXRvVXBkYXRlZAltTW9kaWZpZWQEAgAAAAAAH0FwbG9yaXMuQmFzZS5PYmplY3RzLkxpbmVGb3JtYXQDAAAACAgIAQEDAAAACRIGAAAKAQAAAAAAAAD/////AAEBtQYAAHgAAAAKCgAAAADtISUABwAAAAAAAbYGAAB4AAAACgoBAAAA////AP////8AAA+3BgAAAQAAAAjTAwAAAbgGAAB4AAAACgoAAAAAAAAAAA0AAAAAAAG5BgAAeAAAAAoKAQAAAAAAAAD/////AAEHugYAAAABAAAABAAAAAQdQXBsb3Jpcy5CYXNlLk9iamVjdHMuVmFyaWFibGUDAAAAAfgGAADDAwAAAQAAAAAAAAAB+QYAAMMDAAAAAAAAAAAAAAH6BgAAwwMAAAAAAAAAAAAAAfsGAADDAwAAAAAAAAAAAAAPuwYAAAEAAAAIwgMAAAG8BgAAeAAAAAoKAAAAAAAAAAANAAAAAAABvQYAAHgAAAAKCgEAAAAAAAAA/////wABB74GAAAAAQAAAAQAAAAEHUFwbG9yaXMuQmFzZS5PYmplY3RzLlZhcmlhYmxlAwAAAAH8BgAAwwMAAAEAAAAAAAAAAf0GAADDAwAAAAAAAAAAAAAB/gYAAMMDAAAAAAAAAAAAAAH/BgAAwwMAAAAAAAAAAAAAD78GAAABAAAACMQDAAABwAYAAHgAAAAKCgAAAAAAAAAADQAAAAAAAcEGAAB4AAAACgoBAAAAAAAAAP////8AAQfCBgAAAAEAAAAEAAAABB1BcGxvcmlzLkJhc2UuT2JqZWN0cy5WYXJpYWJsZQMAAAABAAcAAMMDAAABAAAAAAAAAAEBBwAAwwMAAAAAAAAAAAAAAQIHAADDAwAAAAAAAAAAAAABAwcAAMMDAAAAAAAAAAAAAA/DBgAAAQAAAAjDAwAAAcQGAAB4AAAACgoAAAAAAAAAAA0AAAAAAAHFBgAAeAAAAAoKAQAAAAAAAAD/////AAEHxgYAAAABAAAABAAAAAQdQXBsb3Jpcy5CYXNlLk9iamVjdHMuVmFyaWFibGUDAAAAAQQHAADDAwAAAQAAAAAAAAABBQcAAMMDAAAAAAAAAAAAAAEGBwAAwwMAAAAAAAAAAAAAAQcHAADDAwAAAAAAAAAAAAAPxwYAAAEAAAAIwQMAAAs="/>
</p:tagLst>
</file>

<file path=ppt/tags/tag652.xml><?xml version="1.0" encoding="utf-8"?>
<p:tagLst xmlns:a="http://schemas.openxmlformats.org/drawingml/2006/main" xmlns:r="http://schemas.openxmlformats.org/officeDocument/2006/relationships" xmlns:p="http://schemas.openxmlformats.org/presentationml/2006/main">
  <p:tag name="APLORISTAG" val="MJ7EVawjTvgzTt/Fh.979"/>
</p:tagLst>
</file>

<file path=ppt/tags/tag653.xml><?xml version="1.0" encoding="utf-8"?>
<p:tagLst xmlns:a="http://schemas.openxmlformats.org/drawingml/2006/main" xmlns:r="http://schemas.openxmlformats.org/officeDocument/2006/relationships" xmlns:p="http://schemas.openxmlformats.org/presentationml/2006/main">
  <p:tag name="APLORISTAG" val="MJ7EVawjTvgzTt/Fh.980"/>
</p:tagLst>
</file>

<file path=ppt/tags/tag654.xml><?xml version="1.0" encoding="utf-8"?>
<p:tagLst xmlns:a="http://schemas.openxmlformats.org/drawingml/2006/main" xmlns:r="http://schemas.openxmlformats.org/officeDocument/2006/relationships" xmlns:p="http://schemas.openxmlformats.org/presentationml/2006/main">
  <p:tag name="APLORISTAG" val="MJ7EVawjTvgzTt/Fh.981"/>
</p:tagLst>
</file>

<file path=ppt/tags/tag655.xml><?xml version="1.0" encoding="utf-8"?>
<p:tagLst xmlns:a="http://schemas.openxmlformats.org/drawingml/2006/main" xmlns:r="http://schemas.openxmlformats.org/officeDocument/2006/relationships" xmlns:p="http://schemas.openxmlformats.org/presentationml/2006/main">
  <p:tag name="APLORISTAG" val="MJ7EVawjTvgzTt/Fh.982"/>
</p:tagLst>
</file>

<file path=ppt/tags/tag656.xml><?xml version="1.0" encoding="utf-8"?>
<p:tagLst xmlns:a="http://schemas.openxmlformats.org/drawingml/2006/main" xmlns:r="http://schemas.openxmlformats.org/officeDocument/2006/relationships" xmlns:p="http://schemas.openxmlformats.org/presentationml/2006/main">
  <p:tag name="APLORISTAG" val="MJ7EVawjTvgzTt/Fh.983"/>
</p:tagLst>
</file>

<file path=ppt/tags/tag657.xml><?xml version="1.0" encoding="utf-8"?>
<p:tagLst xmlns:a="http://schemas.openxmlformats.org/drawingml/2006/main" xmlns:r="http://schemas.openxmlformats.org/officeDocument/2006/relationships" xmlns:p="http://schemas.openxmlformats.org/presentationml/2006/main">
  <p:tag name="APLORISTAG" val="MJ7EVawjTvgzTt/Fh.984"/>
</p:tagLst>
</file>

<file path=ppt/tags/tag658.xml><?xml version="1.0" encoding="utf-8"?>
<p:tagLst xmlns:a="http://schemas.openxmlformats.org/drawingml/2006/main" xmlns:r="http://schemas.openxmlformats.org/officeDocument/2006/relationships" xmlns:p="http://schemas.openxmlformats.org/presentationml/2006/main">
  <p:tag name="APLORISTAG" val="MJ7EVawjTvgzTt/Fh.985"/>
</p:tagLst>
</file>

<file path=ppt/tags/tag659.xml><?xml version="1.0" encoding="utf-8"?>
<p:tagLst xmlns:a="http://schemas.openxmlformats.org/drawingml/2006/main" xmlns:r="http://schemas.openxmlformats.org/officeDocument/2006/relationships" xmlns:p="http://schemas.openxmlformats.org/presentationml/2006/main">
  <p:tag name="APLORISTAG" val="MJ7EVawjTvgzTt/Fh.986"/>
</p:tagLst>
</file>

<file path=ppt/tags/tag66.xml><?xml version="1.0" encoding="utf-8"?>
<p:tagLst xmlns:a="http://schemas.openxmlformats.org/drawingml/2006/main" xmlns:r="http://schemas.openxmlformats.org/officeDocument/2006/relationships" xmlns:p="http://schemas.openxmlformats.org/presentationml/2006/main">
  <p:tag name="APLORISTAG" val="MMq8K+TY0y1GzdU7X.92"/>
</p:tagLst>
</file>

<file path=ppt/tags/tag660.xml><?xml version="1.0" encoding="utf-8"?>
<p:tagLst xmlns:a="http://schemas.openxmlformats.org/drawingml/2006/main" xmlns:r="http://schemas.openxmlformats.org/officeDocument/2006/relationships" xmlns:p="http://schemas.openxmlformats.org/presentationml/2006/main">
  <p:tag name="APLORISTAG" val="MJ7EVawjTvgzTt/Fh.987"/>
</p:tagLst>
</file>

<file path=ppt/tags/tag661.xml><?xml version="1.0" encoding="utf-8"?>
<p:tagLst xmlns:a="http://schemas.openxmlformats.org/drawingml/2006/main" xmlns:r="http://schemas.openxmlformats.org/officeDocument/2006/relationships" xmlns:p="http://schemas.openxmlformats.org/presentationml/2006/main">
  <p:tag name="APLORISTAG" val="MJ7EVawjTvgzTt/Fh.988"/>
</p:tagLst>
</file>

<file path=ppt/tags/tag662.xml><?xml version="1.0" encoding="utf-8"?>
<p:tagLst xmlns:a="http://schemas.openxmlformats.org/drawingml/2006/main" xmlns:r="http://schemas.openxmlformats.org/officeDocument/2006/relationships" xmlns:p="http://schemas.openxmlformats.org/presentationml/2006/main">
  <p:tag name="APLORISTAG" val="MJ7EVawjTvgzTt/Fh.989"/>
</p:tagLst>
</file>

<file path=ppt/tags/tag663.xml><?xml version="1.0" encoding="utf-8"?>
<p:tagLst xmlns:a="http://schemas.openxmlformats.org/drawingml/2006/main" xmlns:r="http://schemas.openxmlformats.org/officeDocument/2006/relationships" xmlns:p="http://schemas.openxmlformats.org/presentationml/2006/main">
  <p:tag name="APLORISTAG" val="MJ7EVawjTvgzTt/Fh.1034"/>
</p:tagLst>
</file>

<file path=ppt/tags/tag664.xml><?xml version="1.0" encoding="utf-8"?>
<p:tagLst xmlns:a="http://schemas.openxmlformats.org/drawingml/2006/main" xmlns:r="http://schemas.openxmlformats.org/officeDocument/2006/relationships" xmlns:p="http://schemas.openxmlformats.org/presentationml/2006/main">
  <p:tag name="APLORISTAG" val="MJ7EVawjTvgzTt/Fh.1035"/>
</p:tagLst>
</file>

<file path=ppt/tags/tag665.xml><?xml version="1.0" encoding="utf-8"?>
<p:tagLst xmlns:a="http://schemas.openxmlformats.org/drawingml/2006/main" xmlns:r="http://schemas.openxmlformats.org/officeDocument/2006/relationships" xmlns:p="http://schemas.openxmlformats.org/presentationml/2006/main">
  <p:tag name="APLORISTAG" val="MJ7EVawjTvgzTt/Fh.1036"/>
</p:tagLst>
</file>

<file path=ppt/tags/tag666.xml><?xml version="1.0" encoding="utf-8"?>
<p:tagLst xmlns:a="http://schemas.openxmlformats.org/drawingml/2006/main" xmlns:r="http://schemas.openxmlformats.org/officeDocument/2006/relationships" xmlns:p="http://schemas.openxmlformats.org/presentationml/2006/main">
  <p:tag name="APLORISTAG" val="MJ7EVawjTvgzTt/Fh.1037"/>
</p:tagLst>
</file>

<file path=ppt/tags/tag667.xml><?xml version="1.0" encoding="utf-8"?>
<p:tagLst xmlns:a="http://schemas.openxmlformats.org/drawingml/2006/main" xmlns:r="http://schemas.openxmlformats.org/officeDocument/2006/relationships" xmlns:p="http://schemas.openxmlformats.org/presentationml/2006/main">
  <p:tag name="APLORISTAG" val="MJ7EVawjTvgzTt/Fh.1038"/>
</p:tagLst>
</file>

<file path=ppt/tags/tag668.xml><?xml version="1.0" encoding="utf-8"?>
<p:tagLst xmlns:a="http://schemas.openxmlformats.org/drawingml/2006/main" xmlns:r="http://schemas.openxmlformats.org/officeDocument/2006/relationships" xmlns:p="http://schemas.openxmlformats.org/presentationml/2006/main">
  <p:tag name="APLORISTAG" val="MJ7EVawjTvgzTt/Fh.1039"/>
</p:tagLst>
</file>

<file path=ppt/tags/tag669.xml><?xml version="1.0" encoding="utf-8"?>
<p:tagLst xmlns:a="http://schemas.openxmlformats.org/drawingml/2006/main" xmlns:r="http://schemas.openxmlformats.org/officeDocument/2006/relationships" xmlns:p="http://schemas.openxmlformats.org/presentationml/2006/main">
  <p:tag name="APLORISTAG" val="MJ7EVawjTvgzTt/Fh.1040"/>
</p:tagLst>
</file>

<file path=ppt/tags/tag67.xml><?xml version="1.0" encoding="utf-8"?>
<p:tagLst xmlns:a="http://schemas.openxmlformats.org/drawingml/2006/main" xmlns:r="http://schemas.openxmlformats.org/officeDocument/2006/relationships" xmlns:p="http://schemas.openxmlformats.org/presentationml/2006/main">
  <p:tag name="APLORISTAG" val="MMq8K+TY0y1GzdU7X.93"/>
</p:tagLst>
</file>

<file path=ppt/tags/tag670.xml><?xml version="1.0" encoding="utf-8"?>
<p:tagLst xmlns:a="http://schemas.openxmlformats.org/drawingml/2006/main" xmlns:r="http://schemas.openxmlformats.org/officeDocument/2006/relationships" xmlns:p="http://schemas.openxmlformats.org/presentationml/2006/main">
  <p:tag name="APLORISTAG" val="MJ7EVawjTvgzTt/Fh.1041"/>
</p:tagLst>
</file>

<file path=ppt/tags/tag671.xml><?xml version="1.0" encoding="utf-8"?>
<p:tagLst xmlns:a="http://schemas.openxmlformats.org/drawingml/2006/main" xmlns:r="http://schemas.openxmlformats.org/officeDocument/2006/relationships" xmlns:p="http://schemas.openxmlformats.org/presentationml/2006/main">
  <p:tag name="APLORISTAG" val="MJ7EVawjTvgzTt/Fh.1042"/>
</p:tagLst>
</file>

<file path=ppt/tags/tag672.xml><?xml version="1.0" encoding="utf-8"?>
<p:tagLst xmlns:a="http://schemas.openxmlformats.org/drawingml/2006/main" xmlns:r="http://schemas.openxmlformats.org/officeDocument/2006/relationships" xmlns:p="http://schemas.openxmlformats.org/presentationml/2006/main">
  <p:tag name="APLORISTAG" val="MJ7EVawjTvgzTt/Fh.1043"/>
</p:tagLst>
</file>

<file path=ppt/tags/tag673.xml><?xml version="1.0" encoding="utf-8"?>
<p:tagLst xmlns:a="http://schemas.openxmlformats.org/drawingml/2006/main" xmlns:r="http://schemas.openxmlformats.org/officeDocument/2006/relationships" xmlns:p="http://schemas.openxmlformats.org/presentationml/2006/main">
  <p:tag name="APLORISTAG" val="MJ7EVawjTvgzTt/Fh.1044"/>
</p:tagLst>
</file>

<file path=ppt/tags/tag674.xml><?xml version="1.0" encoding="utf-8"?>
<p:tagLst xmlns:a="http://schemas.openxmlformats.org/drawingml/2006/main" xmlns:r="http://schemas.openxmlformats.org/officeDocument/2006/relationships" xmlns:p="http://schemas.openxmlformats.org/presentationml/2006/main">
  <p:tag name="APLORISTAG" val="MJ7EVawjTvgzTt/Fh.1045"/>
</p:tagLst>
</file>

<file path=ppt/tags/tag675.xml><?xml version="1.0" encoding="utf-8"?>
<p:tagLst xmlns:a="http://schemas.openxmlformats.org/drawingml/2006/main" xmlns:r="http://schemas.openxmlformats.org/officeDocument/2006/relationships" xmlns:p="http://schemas.openxmlformats.org/presentationml/2006/main">
  <p:tag name="APLORISTAG" val="MJ7EVawjTvgzTt/Fh.1046"/>
</p:tagLst>
</file>

<file path=ppt/tags/tag676.xml><?xml version="1.0" encoding="utf-8"?>
<p:tagLst xmlns:a="http://schemas.openxmlformats.org/drawingml/2006/main" xmlns:r="http://schemas.openxmlformats.org/officeDocument/2006/relationships" xmlns:p="http://schemas.openxmlformats.org/presentationml/2006/main">
  <p:tag name="APLORISTAG" val="MJ7EVawjTvgzTt/Fh.39"/>
</p:tagLst>
</file>

<file path=ppt/tags/tag677.xml><?xml version="1.0" encoding="utf-8"?>
<p:tagLst xmlns:a="http://schemas.openxmlformats.org/drawingml/2006/main" xmlns:r="http://schemas.openxmlformats.org/officeDocument/2006/relationships" xmlns:p="http://schemas.openxmlformats.org/presentationml/2006/main">
  <p:tag name="APLORISTAG" val="MJ7EVawjTvgzTt/Fh.43"/>
</p:tagLst>
</file>

<file path=ppt/tags/tag678.xml><?xml version="1.0" encoding="utf-8"?>
<p:tagLst xmlns:a="http://schemas.openxmlformats.org/drawingml/2006/main" xmlns:r="http://schemas.openxmlformats.org/officeDocument/2006/relationships" xmlns:p="http://schemas.openxmlformats.org/presentationml/2006/main">
  <p:tag name="APLORISTAG" val="MJ7EVawjTvgzTt/Fh.35"/>
</p:tagLst>
</file>

<file path=ppt/tags/tag679.xml><?xml version="1.0" encoding="utf-8"?>
<p:tagLst xmlns:a="http://schemas.openxmlformats.org/drawingml/2006/main" xmlns:r="http://schemas.openxmlformats.org/officeDocument/2006/relationships" xmlns:p="http://schemas.openxmlformats.org/presentationml/2006/main">
  <p:tag name="APLORISTAG" val="MJ7EVawjTvgzTt/Fh.42"/>
</p:tagLst>
</file>

<file path=ppt/tags/tag68.xml><?xml version="1.0" encoding="utf-8"?>
<p:tagLst xmlns:a="http://schemas.openxmlformats.org/drawingml/2006/main" xmlns:r="http://schemas.openxmlformats.org/officeDocument/2006/relationships" xmlns:p="http://schemas.openxmlformats.org/presentationml/2006/main">
  <p:tag name="APLORISTAG" val="MMq8K+TY0y1GzdU7X.94"/>
</p:tagLst>
</file>

<file path=ppt/tags/tag680.xml><?xml version="1.0" encoding="utf-8"?>
<p:tagLst xmlns:a="http://schemas.openxmlformats.org/drawingml/2006/main" xmlns:r="http://schemas.openxmlformats.org/officeDocument/2006/relationships" xmlns:p="http://schemas.openxmlformats.org/presentationml/2006/main">
  <p:tag name="APLORISTAG" val="MJ7EVawjTvgzTt/Fh.38"/>
</p:tagLst>
</file>

<file path=ppt/tags/tag681.xml><?xml version="1.0" encoding="utf-8"?>
<p:tagLst xmlns:a="http://schemas.openxmlformats.org/drawingml/2006/main" xmlns:r="http://schemas.openxmlformats.org/officeDocument/2006/relationships" xmlns:p="http://schemas.openxmlformats.org/presentationml/2006/main">
  <p:tag name="APLORISTAG" val="MJ7EVawjTvgzTt/Fh.1003"/>
</p:tagLst>
</file>

<file path=ppt/tags/tag682.xml><?xml version="1.0" encoding="utf-8"?>
<p:tagLst xmlns:a="http://schemas.openxmlformats.org/drawingml/2006/main" xmlns:r="http://schemas.openxmlformats.org/officeDocument/2006/relationships" xmlns:p="http://schemas.openxmlformats.org/presentationml/2006/main">
  <p:tag name="APLORISTAG" val="MJ7EVawjTvgzTt/Fh.1004"/>
</p:tagLst>
</file>

<file path=ppt/tags/tag683.xml><?xml version="1.0" encoding="utf-8"?>
<p:tagLst xmlns:a="http://schemas.openxmlformats.org/drawingml/2006/main" xmlns:r="http://schemas.openxmlformats.org/officeDocument/2006/relationships" xmlns:p="http://schemas.openxmlformats.org/presentationml/2006/main">
  <p:tag name="APLORISTAG" val="MJ7EVawjTvgzTt/Fh.1005"/>
</p:tagLst>
</file>

<file path=ppt/tags/tag684.xml><?xml version="1.0" encoding="utf-8"?>
<p:tagLst xmlns:a="http://schemas.openxmlformats.org/drawingml/2006/main" xmlns:r="http://schemas.openxmlformats.org/officeDocument/2006/relationships" xmlns:p="http://schemas.openxmlformats.org/presentationml/2006/main">
  <p:tag name="APLORISTAG" val="MJ7EVawjTvgzTt/Fh.1006"/>
</p:tagLst>
</file>

<file path=ppt/tags/tag685.xml><?xml version="1.0" encoding="utf-8"?>
<p:tagLst xmlns:a="http://schemas.openxmlformats.org/drawingml/2006/main" xmlns:r="http://schemas.openxmlformats.org/officeDocument/2006/relationships" xmlns:p="http://schemas.openxmlformats.org/presentationml/2006/main">
  <p:tag name="APLORISTAG" val="MJ7EVawjTvgzTt/Fh.1007"/>
</p:tagLst>
</file>

<file path=ppt/tags/tag686.xml><?xml version="1.0" encoding="utf-8"?>
<p:tagLst xmlns:a="http://schemas.openxmlformats.org/drawingml/2006/main" xmlns:r="http://schemas.openxmlformats.org/officeDocument/2006/relationships" xmlns:p="http://schemas.openxmlformats.org/presentationml/2006/main">
  <p:tag name="APLORISTAG" val="MJ7EVawjTvgzTt/Fh.1008"/>
</p:tagLst>
</file>

<file path=ppt/tags/tag687.xml><?xml version="1.0" encoding="utf-8"?>
<p:tagLst xmlns:a="http://schemas.openxmlformats.org/drawingml/2006/main" xmlns:r="http://schemas.openxmlformats.org/officeDocument/2006/relationships" xmlns:p="http://schemas.openxmlformats.org/presentationml/2006/main">
  <p:tag name="APLORISTAG" val="MJ7EVawjTvgzTt/Fh.197"/>
</p:tagLst>
</file>

<file path=ppt/tags/tag688.xml><?xml version="1.0" encoding="utf-8"?>
<p:tagLst xmlns:a="http://schemas.openxmlformats.org/drawingml/2006/main" xmlns:r="http://schemas.openxmlformats.org/officeDocument/2006/relationships" xmlns:p="http://schemas.openxmlformats.org/presentationml/2006/main">
  <p:tag name="APLORISTAG" val="MJ7EVawjTvgzTt/Fh.960"/>
</p:tagLst>
</file>

<file path=ppt/tags/tag689.xml><?xml version="1.0" encoding="utf-8"?>
<p:tagLst xmlns:a="http://schemas.openxmlformats.org/drawingml/2006/main" xmlns:r="http://schemas.openxmlformats.org/officeDocument/2006/relationships" xmlns:p="http://schemas.openxmlformats.org/presentationml/2006/main">
  <p:tag name="APLORISTAG" val="MJ7EVawjTvgzTt/Fh.338"/>
</p:tagLst>
</file>

<file path=ppt/tags/tag69.xml><?xml version="1.0" encoding="utf-8"?>
<p:tagLst xmlns:a="http://schemas.openxmlformats.org/drawingml/2006/main" xmlns:r="http://schemas.openxmlformats.org/officeDocument/2006/relationships" xmlns:p="http://schemas.openxmlformats.org/presentationml/2006/main">
  <p:tag name="APLORISTAG" val="MMq8K+TY0y1GzdU7X.95"/>
</p:tagLst>
</file>

<file path=ppt/tags/tag690.xml><?xml version="1.0" encoding="utf-8"?>
<p:tagLst xmlns:a="http://schemas.openxmlformats.org/drawingml/2006/main" xmlns:r="http://schemas.openxmlformats.org/officeDocument/2006/relationships" xmlns:p="http://schemas.openxmlformats.org/presentationml/2006/main">
  <p:tag name="APLORISTAG" val="MJ7EVawjTvgzTt/Fh.796"/>
</p:tagLst>
</file>

<file path=ppt/tags/tag691.xml><?xml version="1.0" encoding="utf-8"?>
<p:tagLst xmlns:a="http://schemas.openxmlformats.org/drawingml/2006/main" xmlns:r="http://schemas.openxmlformats.org/officeDocument/2006/relationships" xmlns:p="http://schemas.openxmlformats.org/presentationml/2006/main">
  <p:tag name="APLORISTAG" val="MJ7EVawjTvgzTt/Fh.333"/>
</p:tagLst>
</file>

<file path=ppt/tags/tag692.xml><?xml version="1.0" encoding="utf-8"?>
<p:tagLst xmlns:a="http://schemas.openxmlformats.org/drawingml/2006/main" xmlns:r="http://schemas.openxmlformats.org/officeDocument/2006/relationships" xmlns:p="http://schemas.openxmlformats.org/presentationml/2006/main">
  <p:tag name="APLORISTAG" val="MJ7EVawjTvgzTt/Fh.1009"/>
</p:tagLst>
</file>

<file path=ppt/tags/tag693.xml><?xml version="1.0" encoding="utf-8"?>
<p:tagLst xmlns:a="http://schemas.openxmlformats.org/drawingml/2006/main" xmlns:r="http://schemas.openxmlformats.org/officeDocument/2006/relationships" xmlns:p="http://schemas.openxmlformats.org/presentationml/2006/main">
  <p:tag name="APLORISTAG" val="MJ7EVawjTvgzTt/Fh.1010"/>
</p:tagLst>
</file>

<file path=ppt/tags/tag694.xml><?xml version="1.0" encoding="utf-8"?>
<p:tagLst xmlns:a="http://schemas.openxmlformats.org/drawingml/2006/main" xmlns:r="http://schemas.openxmlformats.org/officeDocument/2006/relationships" xmlns:p="http://schemas.openxmlformats.org/presentationml/2006/main">
  <p:tag name="APLORISTAG" val="MJ7EVawjTvgzTt/Fh.1011"/>
</p:tagLst>
</file>

<file path=ppt/tags/tag695.xml><?xml version="1.0" encoding="utf-8"?>
<p:tagLst xmlns:a="http://schemas.openxmlformats.org/drawingml/2006/main" xmlns:r="http://schemas.openxmlformats.org/officeDocument/2006/relationships" xmlns:p="http://schemas.openxmlformats.org/presentationml/2006/main">
  <p:tag name="APLORISTAG" val="MJ7EVawjTvgzTt/Fh.1012"/>
</p:tagLst>
</file>

<file path=ppt/tags/tag696.xml><?xml version="1.0" encoding="utf-8"?>
<p:tagLst xmlns:a="http://schemas.openxmlformats.org/drawingml/2006/main" xmlns:r="http://schemas.openxmlformats.org/officeDocument/2006/relationships" xmlns:p="http://schemas.openxmlformats.org/presentationml/2006/main">
  <p:tag name="APLORISTAG" val="MJ7EVawjTvgzTt/Fh.1013"/>
</p:tagLst>
</file>

<file path=ppt/tags/tag697.xml><?xml version="1.0" encoding="utf-8"?>
<p:tagLst xmlns:a="http://schemas.openxmlformats.org/drawingml/2006/main" xmlns:r="http://schemas.openxmlformats.org/officeDocument/2006/relationships" xmlns:p="http://schemas.openxmlformats.org/presentationml/2006/main">
  <p:tag name="APLORISTAG" val="MJ7EVawjTvgzTt/Fh.1014"/>
</p:tagLst>
</file>

<file path=ppt/tags/tag698.xml><?xml version="1.0" encoding="utf-8"?>
<p:tagLst xmlns:a="http://schemas.openxmlformats.org/drawingml/2006/main" xmlns:r="http://schemas.openxmlformats.org/officeDocument/2006/relationships" xmlns:p="http://schemas.openxmlformats.org/presentationml/2006/main">
  <p:tag name="APLORISTAG" val="MJ7EVawjTvgzTt/Fh.1015"/>
</p:tagLst>
</file>

<file path=ppt/tags/tag699.xml><?xml version="1.0" encoding="utf-8"?>
<p:tagLst xmlns:a="http://schemas.openxmlformats.org/drawingml/2006/main" xmlns:r="http://schemas.openxmlformats.org/officeDocument/2006/relationships" xmlns:p="http://schemas.openxmlformats.org/presentationml/2006/main">
  <p:tag name="APLORISTAG" val="MJ7EVawjTvgzTt/Fh.1016"/>
</p:tagLst>
</file>

<file path=ppt/tags/tag7.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3////9/////f////3//ARUAAAAUAAAA//9/////f////3////9//wAAAAAABRYAAAAsQXBsb3Jpcy5DaGFydC5BeGlzQnJlYWsrQXhpc0JyZWFrRGlzcGxheU1vZGUBAAAAB3ZhbHVlX18ACAIAAAABAAAAAQEBCgoJFwAAAAoKAAAAAAAJGAAAAAoJGQAAAAAAAAAKBRoAAAAZQXBsb3Jpcy5DaGFydC5PcmllbnRhdGlvbgEAAAAHdmFsdWVfXwAIAgAAAAEAAAAJGwAAAAEcAAAAFAAAAOmiK0LM5n1Bu2gZRJAlqUMABB0AAAALU3lzdGVtLkd1aWQLAAAAAl9hAl9iAl9jAl9kAl9lAl9mAl9nAl9oAl9pAl9qAl9rAAAAAAAAAAAAAAAIBwcCAgICAgICAgAAAAAAAAAAAAAAAAAAAAAACgoJHgAAAAAKCgoBAAAAAAAAAP////8AAQEfAAAAFAAAAAAAIEEAACBBDu0PRAAAtEPu/49BMUACQ+naJkQAAL5DBSAAAAAVU3lzdGVtLkRyYXdpbmcuUG9pbnRGAgAAAAF4AXkAAAsLBAAAAM6FxkJcH5tDBiEAAAAQbHVWSFJ3Ymg0Sk5lVk9Iag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wLjAuMTQ4NiwgQ3VsdHVyZT1uZXV0cmFsLCBQdWJsaWNLZXlUb2tlbj0xNmZjMTNhMjI2YzBlOTUxXV0DAAAAmwFBcGxvcmlzLkJhc2UuT2JqZWN0cy5EYXRhT2JqZWN0Q29sbGVjdGlvbmAxW1tBcGxvcmlzLkNoYXJ0LkF4aXNCcmVhaywgQXBsb3Jpcy5DaGFydCwgVmVyc2lvbj00LjAuMC4xNDg2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AuMC4xNDg2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SYAAAAWQXBsb3Jpcy5DaGFydC5BeGlzVHlwZQEAAAAHdmFsdWVfXwAIAgAAAAEAAACamRk/AAAACgkBAAAACScAAAAJKAAAAAEAAAAAAAAAAAEAAAAAAADwPwGamZmZmZm5PwAAACBBAAEJKQAAAAoJKgAAAAkrAAAACSwAAAABLQAAACAAAADpoitCxhSxQwEuAAAAIAAAAOoiJETGFLFDCS8AAAAJMAAAAAkxAAAACTIAAAAAAAAAAAAAAAAAAAAJMwAAAAAAAAAAAAk0AAAACQEAAAAJAQAAAAk1AAAAAQcAAAAGAAAACQEAAAABNgAAACYAAAAAAAAAzcxMPwAAAAgBAAkBAAAACTcAAAAJOAAAAAEAAAAAAAAAAAEAAAAAAADwPwGamZmZmZm5PwAAACBBAQEJOQAAAAoJOgAAAAk7AAAACTwAAAABPQAAACAAAADpoitCxhSxQwE+AAAAIAAAAOmiK0LM5n1BCT8AAAAJQAAAAAlBAAAACUIAAAAAAAAAAAAAAAAAAAAJQwAAAAAAAAAAAAlEAAAACQEAAAAJAQAAAAlFAAAABAgAAACoAVN5c3RlbS5Db2xsZWN0aW9ucy5HZW5lcmljLkxpc3RgMVtbQXBsb3Jpcy5DaGFydC5Db2x1bW5PcmllbnRlZENoYXJ0K1VudXNlZFNlcmllcywgQXBsb3Jpcy5DaGFydCwgVmVyc2lvbj00LjAuMC4xNDg2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AuMC4xNDg2LCBDdWx0dXJlPW5ldXRyYWwsIFB1YmxpY0tleVRva2VuPTE2ZmMxM2EyMjZjMGU5NTFdXQMAAACXAVN5c3RlbS5Db2xsZWN0aW9ucy5HZW5lcmljLkxpc3RgMVtbQXBsb3Jpcy5DaGFydC5DaGFydERhdGFTZXJpZXM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RwAAAAlIAAAACQEAAAAJAQAAAAlJAAAABQoAAACmAUFwbG9yaXMuQmFzZS5PYmplY3RzLkRhdGFPYmplY3RDb2xsZWN0aW9uYDFbW0FwbG9yaXMuQ2hhcnQuQW5ub3RhdGlvbk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C4wLjE0ODYsIEN1bHR1cmU9bmV1dHJhbCwgUHVibGljS2V5VG9rZW49MTZmYzEzYTIyNmMwZTk1MV1dAwAAAJwBU3lzdGVtLkNvbGxlY3Rpb25zLkdlbmVyaWMuTGlzdGAxW1tBcGxvcmlzLkNoYXJ0LkFubm90YXRpb25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oAAAAJSwAAAAkBAAAACQEAAAAJTAAAAAULAAAAoQFBcGxvcmlzLkJhc2UuT2JqZWN0cy5EYXRhT2JqZWN0Q29sbGVjdGlvbmAxW1tBcGxvcmlzLkNoYXJ0LkFubm90YXRpb25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C4wLjE0ODYsIEN1bHR1cmU9bmV1dHJhbCwgUHVibGljS2V5VG9rZW49MTZmYzEzYTIyNmMwZTk1MV1dAwAAAJcBU3lzdGVtLkNvbGxlY3Rpb25zLkdlbmVyaWMuTGlzdGAxW1tBcGxvcmlzLkNoYXJ0LkFubm90YXRpb25Hcm91c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NAAAACU4AAAAJAQAAAAkBAAAACU8AAAAFDAAAAKABQXBsb3Jpcy5CYXNlLk9iamVjdHMuRGF0YU9iamVjdENvbGxlY3Rpb25gMVtbQXBsb3Jpcy5DaGFydC5DaGFydERhdGF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wLjAuMTQ4NiwgQ3VsdHVyZT1uZXV0cmFsLCBQdWJsaWNLZXlUb2tlbj0xNmZjMTNhMjI2YzBlOTUxXV0DAAAAlgFTeXN0ZW0uQ29sbGVjdGlvbnMuR2VuZXJpYy5MaXN0YDFbW0FwbG9yaXMuQ2hhcnQuQ2hhcnREYXRh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UAAAAAlRAAAACQEAAAAJAQAAAAlSAAAABQ0AAACaAUFwbG9yaXMuQmFzZS5PYmplY3RzLkRhdGFPYmplY3RDb2xsZWN0aW9uYDFbW0FwbG9yaXMuQ2hhcnQuRGVsdGFCYXI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C4wLjE0ODYsIEN1bHR1cmU9bmV1dHJhbCwgUHVibGljS2V5VG9rZW49MTZmYzEzYTIyNmMwZTk1MV1dAwAAAJABU3lzdGVtLkNvbGxlY3Rpb25zLkdlbmVyaWMuTGlzdGAxW1tBcGxvcmlzLkNoYXJ0LkRlbHRhQmF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MAAAAJVAAAAAkBAAAACQEAAAAJVQAAAAUOAAAAnQFBcGxvcmlzLkJhc2UuT2JqZWN0cy5EYXRhT2JqZWN0Q29sbGVjdGlvbmAxW1tBcGxvcmlzLkNoYXJ0LkRlbHRhQnJpZGdlLCBBcGxvcmlzLkNoYXJ0LCBWZXJzaW9uPTQuMC4wLjE0ODY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AuMC4xNDg2LCBDdWx0dXJlPW5ldXRyYWwsIFB1YmxpY0tleVRva2VuPTE2ZmMxM2EyMjZjMGU5NTFdXQMAAACTAVN5c3RlbS5Db2xsZWN0aW9ucy5HZW5lcmljLkxpc3RgMVtbQXBsb3Jpcy5DaGFydC5EZWx0YUJyaWRn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WAAAACVcAAAAJAQAAAAkBAAAACVgAAAAFDwAAAJ0BQXBsb3Jpcy5CYXNlLk9iamVjdHMuRGF0YU9iamVjdENvbGxlY3Rpb25gMVtbQXBsb3Jpcy5DaGFydC5Hcm93dGhBcnJvdy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wLjAuMTQ4NiwgQ3VsdHVyZT1uZXV0cmFsLCBQdWJsaWNLZXlUb2tlbj0xNmZjMTNhMjI2YzBlOTUxXV0DAAAAkwFTeXN0ZW0uQ29sbGVjdGlvbnMuR2VuZXJpYy5MaXN0YDFbW0FwbG9yaXMuQ2hhcnQuR3Jvd3RoQXJyb3c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WQAAAAlaAAAACQEAAAAJAQAAAAlbAAAABRAAAACkAUFwbG9yaXMuQmFzZS5PYmplY3RzLkRhdGFPYmplY3RDb2xsZWN0aW9uYDFbW0FwbG9yaXMuQ2hhcnQuV2F0ZXJmYWxs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wLjAuMTQ4NiwgQ3VsdHVyZT1uZXV0cmFsLCBQdWJsaWNLZXlUb2tlbj0xNmZjMTNhMjI2YzBlOTUxXV0DAAAAmgFTeXN0ZW0uQ29sbGVjdGlvbnMuR2VuZXJpYy5MaXN0YDFbW0FwbG9yaXMuQ2hhcnQuV2F0ZXJmYWxsQ29ubmVjdG9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wAAAAJXQAAAAkBAAAACQEAAAAJXgAAAAURAAAAogFBcGxvcmlzLkJhc2UuT2JqZWN0cy5EYXRhT2JqZWN0Q29sbGVjdGlvbmAxW1tBcGxvcmlzLkNoYXJ0LkVsZW1lbnRDb25uZWN0b3I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wLjAuMTQ4NiwgQ3VsdHVyZT1uZXV0cmFsLCBQdWJsaWNLZXlUb2tlbj0xNmZjMTNhMjI2YzBlOTUxXV0DAAAAmAFTeXN0ZW0uQ29sbGVjdGlvbnMuR2VuZXJpYy5MaXN0YDFbW0FwbG9yaXMuQ2hhcnQuRWxlbWVud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gAAAAgBAAAAAgAAAAMAAAAEAAAABQAAAAYAAAAFGwAAABpBcGxvcmlzLkJhc2UuVUkuVmlzdWFsUmVjdBQAAAALbVN0YXJ0UG9pbnQJbUVuZFBvaW50C21MaW5lRm9ybWF0C21GaWxsRm9ybWF0CW1Sb3RhdGlvbhJtUmVjdGFuZ2xlUHJvdmlkZXIMbVBhaW50T2Zmc2V0Em1QYWludFNpemVPdmVycmlkZQ5tRXh0cmFSb3RhdGlvbg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QEBAAEAAAAAAcCAAADABVTeXN0ZW0uRHJhd2luZy5Qb2ludEYEAAAAFVN5c3RlbS5EcmF3aW5nLlBvaW50RgQAAAAfQXBsb3Jpcy5CYXNlLk9iamVjdHMuTGluZUZvcm1hdAMAAAAfQXBsb3Jpcy5CYXNlLk9iamVjdHMuRmlsbEZvcm1hdAMAAAALKkFwbG9yaXMuQmFzZS5VSS5JUmVjdGFuZ2xlUG9zaXRpb25Qcm92aWRlcgMAAAAUU3lzdGVtLkRyYXdpbmcuU2l6ZUYEAAAAFFN5c3RlbS5EcmF3aW5nLlNpemVGBAAAAAsZU3lzdGVtLkRyYXdpbmcuUmVjdGFuZ2xlRgQAAAAICAEBCAEBD1N5c3RlbS5JbnRQdHJbXQEDAAAAAWgAAAAgAAAA6aIrQszmfUEBaQAAACAAAADqIiRExhSxQwlqAAAACWsAAAAAAAAACgVsAAAAFFN5c3RlbS5EcmF3aW5nLlNpemVGAgAAAAV3aWR0aAZoZWlnaHQAAAsLBAAAAAAAAAAAAAAAAW0AAABsAAAAAAAAAAAAAAAAAAAAAW4AAAAUAAAAAAAAAAAAAAAAAAAAAAAAABQAAAD/////AQEKCW8AAAABAAoADx4AAADpNwAAAlBLAwQUAAYACAAAACEAeWJDn34BAAD4BQ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xFTJTsMwEL0j8Q+Rryhx2wNCqGkPFI5QifIBxp40UeNFHnf7eyZuQVCFlKqVuMSK7bdNMjMcb3SdrMBjZU3O+lmPJWCkVZWZ5+xt9pTesQSDMErU1kDOtoBsPLq+Gs62DjAhtMGclSG4e85RlqAFZtaBoZPCei0Cvfo5d0IuxBz4oNe75dKaACakoeFgo+EECrGsQ/K4oe2dE4Kz5GF3r5HKmXCurqQIZJQ3p7wVt+rErYw6MJfaoqgkKCuXmixlhJ94sab4vwh4qLHDWYvCPnpGyOgey8rhzT7CC9XeVwqSqfDhWWgKyjc1X1u/eLd2kXXXoUXtIA86D0JhCRB0ncU106Iyf9CPl5HHpX9hI02+SHyij8E/+Qj0YwOPz/NLEWmOBMewrQEvnHZHeky5FB7Ua/DUAxc38J37iA9pddOReH69f/bAJ2+XPI2DqbcOaVJ5OP0jfHZ8g04dEYEPFXT2/JcijbnTBQ+aHpo5qkC1aPM4t0cfAAAA//8DAFBLAwQUAAYACAAAACEAUHxOwfY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ySz0oDMRCH74LvEObezbaCiDTbiwi9idQHGJPZP+xuJiTTun17g6C4sNYek8x8882PbHfTOKgTxdSxN7AuSlDkLbvONwbeDs+rB1BJ0Dsc2JOBMyXYVbc321caUHJTaruQVKb4ZKAVCY9aJ9vSiKngQD6/1BxHlHyMjQ5oe2xIb8ryXsffDKhmTLV3BuLerUEdziFP/p/Ndd1ZemJ7HMnLwgg9r8hkjA2JgWnQHxz7d+a+yMKgl10217v8vaceSdChoLYcaRViTilKl3P90XFsX/J1+qq4JHR3vdB89aVwaBLyjtxlJQzh20jP/kD1CQAA//8DAFBLAwQUAAYACAAAACEAE/jtsPkAAABHAw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vJLNasMwEITvhb6D2Hst2/2hhMi5lEKubfoAQl5bJrYktNsfv31FQlMHgnsxPc4smvnY1XrzNfTiAyN13ikoshwEOuPrzrUK3nbPN48giLWrde8dKhiRYFNdX61fsNecHpHtAomU4kiBZQ4rKclYHDRlPqBLk8bHQXOSsZVBm71uUZZ5/iDjNAOqs0yxrRXEbX0LYjeG1Px3tm+azuCTN+8DOr5QITlxYQrUsUVWcJBHs8gSKMjLDHdLMhCPfVriCeKo5+rvF623OmL9yjFdeEoxtedgiiVhPn3ck0Xk33WcLJKHyexhyn+GKX82I8++f/UNAAD//wMAUEsDBBQABgAIAAAAIQCt96GT0QEAAAQDAAAPAAAAeGwvd29ya2Jvb2sueG1sjFJNj9MwEL0j8R8s31s7TtJdVU1WpR+iEkIrWHbPxnEba/0R2Q7JCvHfmSRkKXDhZI/HM2/em7e5641G36QPytkCJ0uKkbTCVcpeCvzl4bi4xShEbiuunZUFfpEB35Vv32w655+/OveMoIENBa5jbNaEBFFLw8PSNdJC5uy84RFCfyGh8ZJXoZYyGk0YpStiuLJ46rD2/9PDnc9KyL0TrZE2Tk281DzC+KFWTcDl5qy0fJwYId40H7mBuXuNkeYhHioVZVXgHELXyT8efNu8a5WGLFtRmmFSvrK894i30e2cARIh3CsRW7gUmA6/Bh0elezC74IhRP2TspXrCpzeUBD2ZQ4ZZRB2Y/JJVbEGxCQZvkxv76W61BHWwdJsBCBXCKOAgDSeyI7sto12XoU9jxzWNSh8AhYJRn6t4OJPVTLMeV3y2RmJPvEO/VXErorYUERmQMG1AB2GY+yeUUoBQjgrWu9hHTvI/FJE9vFDiOUGTtR6VeDvNzlLD/k+XbD8mC62+YEuklXKFqvsyPJsx1iWsx+zF0z/jxmMEt4Fd45L4QyZfAD+EUT2Qo52up3sVG5Mv956UZ/26Kj5BZY08YBZgM08GZkNXP4EAAD//wMAUEsDBBQABgAIAAAAIQADPeVgyAcAAJ1hAAANAAAAeGwvc3R5bGVzLnhtbOxdWW/bOBB+X2D/g6BiHxNZsi4HtotNUm8LdIsCyQL7KkuyI1SHIcmt3cX+9x2SoiX50BHSXSdlH1JLHg5nPs5BUiN6/HYThdJXP82CJJ7I6vVAlvzYTbwgXk7kvx5nV7YsZbkTe06YxP5E3vqZ/Hb66y/jLN+G/sOT7+cSsIizifyU56sbRcncJz9ysutk5cfwzSJJIyeHy3SpZKvUd7wMNYpCRRsMTCVyglgmHG4itwuTyEm/rFdXbhKtnDyYB2GQbzEvWYrcmw/LOEmdeQiiblTdcSlvfHHAPgrcNMmSRX4N7JRksQhc/1DKkTJSgNN0HK+jWZRnkpus43wia7tbEvnmgwcQmrosEaXvEg/EGFwPfpMV2rhGadQp37x5Q4mVoqvpeJHEZY8qDA/W5OZLnHyLZ+g76BLkQGTTcfZd+uqEcEdFPbpJmKRSDsMBYuA7sRP5hOLOCYN5GiCyhRMF4Zbc1tANPIIFXRQAnuimQnogf+eIquhrhL4lXQWx5298AMHe6+3ReUoiBxEedFbjS3meW/7u/fwRhKH04MTZAQbHeKTL+USezQb4H2pRAn6a0bwCZi/F28dp3cJ6UJeRzSjaOtuzCbbOjqFfWPqeUqeB3/HAVk9MuOcIYuvNwKzBTGpxAd2YjiFC5X4az5ARFZ8ftyvwxhiCKbEoTNdCvUydraoZlQYK7nA6niepB8GbRiQUCcit6Tj0FzkMfxosn9D/ebKCv/MkzyHSTcde4CyT2Anho0JbFB9AHdcPwwcU4P9e7HiPEPPNohLAIBihcICiHvoImhQfCUNyAR3UGo3KRtrJRpKzWoXbGTDHrMkV8C+vbrHi5fXvYbCMI7/a4HOa5L6b48SGbaImR0X403LsCy8aQf6j410M/bPQM1uG/tM6mvvpDM8dykFGflRe8TQB68LkEfhASGnwPoGPwIcl5Av7EfYj7Od8+VT4l/Av4V/Cv2DBhBdvP3o+L+KPiD8i/oj4I+IP2Z8T+xvN8VDgI/BhyRfCfoT9CPs533xD+JfwL+Ffwr/+r/m8iD8i/oj4I+KPiD9kP0HsrzbHQ4GPwIclXzyrqEo0YilJexZ6ws+b/fxZoP50jZRqvS2pvq0U3g6tZxXeSpvF8QpcmMO0l+3uWheluLjyEldwn6qiHZ4uoaSSVMt61eLJMK3ipNeVqIkKjh1a1ys9JWnwHRwcvd/gQqGvn8rSt9RZPfobqBLGoimbxV61cUVX9FrG8RLlQlcwu0rZMZWHzHnp1eVIC3C/IGkB/BckLbyXcx5pUU1+B6tVTfxmEJlqt9ot5CAsbb3GglosKaLfXRV+TFowWTO8NJYHbsUb0asEBw7YTxXYZnktqsB7cy9EFRQjGwPj8UVvYzLozLMeXvsE/xPmhtylmAa2CkG9or/n/GBBT40AMbGfAMNemb513CmcHYHjOsvY9Q1GiqYtZAj72FMvLFqzB4M8Z8lmVJ4uPtkLtXPkq7MJ28fkINN0i9/1qQBL8j8aewEMGnnRS36NKcU67xSLXT46qapjVg8YLAj2cuJ2OOnE6YWISydHFyEu88IVrO3Uorh95IDinGuNMurBC8D4BeLmKXqrwHafmMfRX0pFisX/UR+vLTfadaHpt0uyuXRd6PbFRepSyQ1oaduYG6iB1YNDp1yPZyQ8DIOmp4sEs6eR01T2GnShee416EKT4GvQhWaxV6DLiMafS9EFPx2A5wGVYznqh3Lsnh5I6LgZOIAmCcPkm+9J7+GskTQM4i9wahB+GIDOD5qvgzAPYvRsAEbtKfA8H538hOYGPRhBtuHDCBaofBhBmOPDCPySCyONF9gaL7A1XmBrvMDWeIE95AX2kBfYQ15gD3mBPeQFts4LbJ0X2DovsHVeYOu8wDZ4gW3wAtvgBbbBC2yDF9gmL7BNXmCj4wS5pCOTF9gmL7AtXmBbvMC2eIFt92N0MFGDmVll0AHwxnnaQXM4RpCtPeyJMfUP62em9rDOY2rPiJ/GiJ/GiB+c9cekv8aIn8aI35ARvyEjfkNG/KDkign/ISN+OiN+OiN+OiN+OiN+OiN+BiN+BiN+BiN+BiN+BiN+JiN+JiN+qP6JJf6bjPiZjPhZjPhZjPjZ/dp/QudshnSTqD4rw8cw7m8MffZT9BSGtqhri8+p3W+BjwtXdd2yh6qmqTpaZpM9qU7kCBBCTs7qpefTFjte+9xHMP0i5Pqxfa09clOFqTEhN7uQowU5Ibe7kFs78mEHcksF2yPcrSZye2QbI1sfoKlCQd6IZEGvoalJQd+oLKVHobSg7yKPZpfyNKJT8NfROrngT04SPzG0lN7a0cOTyCN7lnRsC3pjUNIf3ePcp0epn8hjN5oa8LcATLvE327TF9OjvZOCf5u+mB6lEkIPG9PN+lqGauBnQwX/NnvA9Oh5bkHfZg+YfrSTx8b2UNauwwa1tynPi8bS5ugo/gd0kvRuyxr68/yFsw7zx92XE7n8/KfvBesIwkNB9Tn4muSYxUQuP39Ex1qD3wIiUP/9MYPD7+F/aZ0GE/mfd7fW6P7dTLuyB7f2lT70jauRcXt/Zeh3t/f3s9FAG9z9C2qj3y24gfP0GX4XAP9+ATz/V/WbLIRfD0gLZQvhH8p7E7lyQcRH0isgNvmLlVCwPeLfVZj+Bw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vBioEXAGAADHFAAAGAAAAHhsL3dvcmtzaGVldHMvc2hlZXQyLnhtbJRY227jNhB9L9B/EPQemXdKRpxifb8lXXTb3WdFlhNhbcuV5CTbov/eIRXJIqkutgmQ2IeHI3JmeDia21/ejgfvJS3KLD+NfBwg30tPSb7LTk8j/4/f5zeh75VVfNrFh/yUjvxvaen/cvfzT7evefG1fE7TygMLp3LkP1fVeTgYlMlzeozLID+nJxjZ58UxruBr8TQoz0Ua7/Sk42FAEBKDY5yd/NrCsPgRG/l+nyXpNE8ux/RU1UaK9BBXsP7yOTuXjbVj8iPmjnHx9XK+SfLjGUw8Zoes+qaN+t4xGa6eTnkRPx5g32+YxUljW39xzB+zpMjLfF8FYG5QL9TdczSIBmDp7naXwQ6U270i3Y/8D3j4gJk/uLvVDvqcpa9l57NX5edtuq8m6eEAZOZ7KgCPef5VMVe7kY/AZpke0kS5wovh30v6zsYEgvjn+2OIesagfUj3c/PAuQ7ax8J7jMt0kh++ZLvqGbIDkmOX7uPLofotf12m2dNzBSisRTtkuPs2TcsEwqIW02xkGlfx3W2Rv3oQXwzrOMcqW/AQ5t3dJgr9oOCRT8E8TC0Bfrkj5HbwAmtL3jnjlgOG9ayJg0wdZOYgcwdZOMjSQVYOsnaQjYNsHeTeQR66yADc1PpKxazHVwrWoVBR7PKpyfd0bCDyjZPV+MjX0df+G9cA/G2dHpo+n9QMiG/LiEzG1GVgZFJmPRRsUuY9FCv8ix4KNa0seyjMpKx6KNykrHsowqRseijSpGx7KJZz73solncfagrv+J9cvWsEH2LUTRYdfKkUoT5ganjki64hKwbjmiL14WMB4ZGgLAxDRkNMaTi7sQIyqfmh5tNAcIwxFzgUAhMuhcOfdvkkYJQhKZGMMJIcMenwZ10+CxAXMuKY4pDxkGHgW9Gfd/kowDwkmCOMMMNRKEOLveiySUAoJlRSQjjmBFNnMcsuHYxHSIiISowjITnjlvGVxZaCScTDkFBOIoYt9tpih4RzLkMUUYoECa2s2XTZNEDMDJSz8m2Xj4PaGSQSmAnEmBum+y4/DDCmPEJEUBFhEVLuuP2h5kc6DcAzKOKUMhFyHoVUyutejWyFROxma5OlCrauAWqd4HHLaa8BB5k6yMxB5g6ycJClg6wcZO0gGwfZdhHDD7LXDwsF90q8qsU6V4I+5Vy0p1wNwzyh7t5a4lvkquDkGpP6Gu3jWF6f9nEs4Zz1cSzlnPdxrAxfvHOirlhZwrjssUOvyqj3terhEEum1z0cagnjpo9jieG2h/NfSg37cmIYXkshNQwxhBRo71xqRWz8zqm1Fw4do5HxY95FE5tubXBqjEeBQMYPcTRlZkyQgTAeHkXOhLkxARYcWrmzMAjwRGvHS2McBcjawsoY54E0doDcLaz/74SNMUEJnXVEtjaBX3PWOPNYFXydQ9yIn8Yt9WPW+RlfSc0Rn7jQ1IVmLjR3oYULLV1o5UJrF9q40NaF7l3owYBM11klsTopBKqj5FJW+bF+aYGz42tdFNfqR7/+AFW/lNTC2EC41cpJA8FDrkfPStRpQ4LK7EqyojTrJVnSM+8l2VrYS7omlt7Lso/EbDXsJVnHaN1LsrRu00uyDuy2IUF50PqJXY+MGVZV5nZOxHfDinl73eG6PIawqhdGy7/jZhQu3+sKrHBOGlJd9nIoM5mEygV+EQsRxo4STZsZjfhSjCVUmVANCi6hrrK8NbP5jEmoj6DQRJwiySIrd+YmPwwYYTyCWgqK2RAh4ha+C3MGCgiGYpxA9Qs1quRcWDm1NPkikBSq2CgUnCDBEIHq1wrmypwBLwdgHjQfcyh+EVTYzoy1OcPKxc13R7fN6HtN2V5mZs6ourOTM+8qOlPNCKt2qlsddRvimBZPuilSekl+UY0KCsnTop1OjNIFGxdDKOV6cKxaN1pJBu0UaKWc46f0Pi6eslPpHaB1A12RQIJcFXXfpP4CbR0tWY95BRpWqxc0yVJoi6AAyPs8r5ov8Ghl81NaXc5eXmTQadF9r5F/zouqiLMKpA/wv3IYOEzP2chn8MYB4SURqBp0+aoscQfAbPpWbctK//cuBcz7G1IBso3imw9ijG64+kOERDdSEjyWExRBmfBP0w87vv1YM+wYJ4P0LUl18y+sm3/g5rfhx+1n7z7fQZ8NekC/ntKPsE39+csnWLD+CKuEubBG9VcvdvDatCDv/gUAAP//AwBQSwMEFAAGAAgAAAAhAPtipW2UBgAApxsAABMAAAB4bC90aGVtZS90aGVtZTEueG1s7FlPb9s2FL8P2HcgdG9tJ7YbB3WK2LGbrU0bxG6HHmmZllhTokDSSX0b2uOAAcO6YZcBu+0wbCvQArt0nyZbh60D+hX2SEqyGMtL0gYb1tWHRCJ/fP/f4yN19dqDiKFDIiTlcdurXa56iMQ+H9M4aHt3hv1LGx6SCsdjzHhM2t6cSO/a1vvvXcWbKiQRQbA+lpu47YVKJZuVivRhGMvLPCExzE24iLCCVxFUxgIfAd2IVdaq1WYlwjT2UIwjIHt7MqE+QUNN0tvKiPcYvMZK6gGfiYEmTZwVBjue1jRCzmWXCXSIWdsDPmN+NCQPlIcYlgom2l7V/LzK1tUK3kwXMbVibWFd3/zSdemC8XTN8BTBKGda69dbV3Zy+gbA1DKu1+t1e7WcngFg3wdNrSxFmvX+Rq2T0SyA7OMy7W61Ua27+AL99SWZW51Op9FKZbFEDcg+1pfwG9VmfXvNwRuQxTeW8PXOdrfbdPAGZPHNJXz/SqtZd/EGFDIaT5fQ2qH9fko9h0w42y2FbwB8o5rCFyiIhjy6NIsJj9WqWIvwfS76ANBAhhWNkZonZIJ9iOIujkaCYs0AbxJcmLFDvlwa0ryQ9AVNVNv7MMGQEQt6r55//+r5U/Tq+ZPjh8+OH/50/OjR8cMfLS1n4S6Og+LCl99+9ufXH6M/nn7z8vEX5XhZxP/6wye//Px5ORAyaCHRiy+f/PbsyYuvPv39u8cl8G2BR0X4kEZEolvkCB3wCHQzhnElJyNxvhXDEFNnBQ6Bdgnpngod4K05ZmW4DnGNd1dA8SgDXp/dd2QdhGKmaAnnG2HkAPc4Zx0uSg1wQ/MqWHg4i4Ny5mJWxB1gfFjGu4tjx7W9WQJVMwtKx/bdkDhi7jMcKxyQmCik5/iUkBLt7lHq2HWP+oJLPlHoHkUdTEtNMqQjJ5AWi3ZpBH6Zl+kMrnZss3cXdTgr03qHHLpISAjMSoQfEuaY8TqeKRyVkRziiBUNfhOrsEzIwVz4RVxPKvB0QBhHvTGRsmzNbQH6Fpx+A0O9KnX7HptHLlIoOi2jeRNzXkTu8Gk3xFFShh3QOCxiP5BTCFGM9rkqg+9xN0P0O/gBxyvdfZcSx92nF4I7NHBEWgSInpmJEl9eJ9yJ38GcTTAxVQZKulOpIxr/XdlmFOq25fCubLe9bdjEypJn90SxXoX7D5boHTyL9wlkxfIW9a5Cv6vQ3ltfoVfl8sXX5UUphiqtGxLba5vOO1rZeE8oYwM1Z+SmNL23hA1o3IdBvc4cOkl+EEtCeNSZDAwcXCCwWYMEVx9RFQ5CnEDfXvM0kUCmpAOJEi7hvGiGS2lrPPT+yp42G/ocYiuHxGqPj+3wuh7Ojhs5GSNVYM60GaN1TeCszNavpERBt9dhVtNCnZlbzYhmiqLDLVdZm9icy8HkuWowmFsTOhsE/RBYuQnHfs0azjuYkbG2u/VR5hbjhYt0kQzxmKQ+0nov+6hmnJTFypIiWg8bDPrseIrVCtxamuwbcDuLk4rs6ivYZd57Ey9lEbzwElA7mY4sLiYni9FR22s11hoe8nHS9iZwVIbHKAGvS91MYhbAfZOvhA37U5PZZPnCm61MMTcJanD7Ye2+pLBTBxIh1Q6WoQ0NM5WGAIs1Jyv/WgPMelEKlFSjs0mxvgHB8K9JAXZ0XUsmE+KrorMLI9p29jUtpXymiBiE4yM0YjNxgMH9OlRBnzGVcONhKoJ+ges5bW0z5RbnNOmKl2IGZ8cxS0KclludolkmW7gpSLkM5q0gHuhWKrtR7vyqmJS/IFWKYfw/U0XvJ3AFsT7WHvDhdlhgpDOl7XGhQg5VKAmp3xfQOJjaAdECV7wwDUEFd9TmvyCH+r/NOUvDpDWcJNUBDZCgsB+pUBCyD2XJRN8pxGrp3mVJspSQiaiCuDKxYo/IIWFDXQObem/3UAihbqpJWgYM7mT8ue9pBo0C3eQU882pZPnea3Pgn+58bDKDUm4dNg1NZv9cxLw9WOyqdr1Znu29RUX0xKLNqmdZAcwKW0ErTfvXFOGcW62tWEsarzUy4cCLyxrDYN4QJXCRhPQf2P+o8Jn94KE31CE/gNqK4PuFJgZhA1F9yTYeSBdIOziCxskO2mDSpKxp09ZJWy3brC+40835njC2luws/j6nsfPmzGXn5OJFGju1sGNrO7bS1ODZkykKQ5PsIGMcY76UFT9m8dF9cPQOfDaYMSVNMMGnKoGhhx6YPIDktxzN0q2/AAAA//8DAFBLAwQUAAYACAAAACEApvo0P9AFAACuEQAAGAAAAHhsL3dvcmtzaGVldHMvc2hlZXQxLnhtbIxY25LiNhB9T1X+weX3AeviGwVszcDAmtqtbGWT3WdjBLjWxsTWzDBJ5d/TkmUjWYTaefCYo3b3OVKr2/L0w6UsnFdWN3l1mrlo5LkOO2XVLj8dZu6ff6weItdpeHrapUV1YjP3nTXuh/mvv0zfqvpHc2SMO+Dh1MzcI+fnyXjcZEdWps2oOrMTjOyrukw5/KwP4+Zcs3QnHyqLMfa8YFym+cltPUzqn/FR7fd5xpZV9lKyE2+d1KxIOfBvjvm56bxddj/lb1enb6C146NRXLYjvT9ELX5lntVVU+35KKvKcUvNVhmPY0NnmVmObkxWmdY/Xs4P4PgM4rZ5kfN3Kdd1ymySHE5VnW4LWJELommmsUxt9z/PEzzNp7sc5lYkhFOz/cx9RJMNit3xfCqX7lvO3hrt3uHp9isrWMbZDjLIdURmbKvqhzBMAPLAZSMNhMs04/krW7CimLlLkVx/ySDLaLJEWAQZ91H0+y7iSubTl9rZpg1bVMX3fMePEBbydsf26UvBr2A0igj2CMJ+P/h79faR5Ycjh0coTJqYu8nufcmaDNJJcAUGWVVAOLg6ZS42Bcx4emmlqWhoBC4b/i7mH4a3rOGrXPh0neyl4VXZ0VLuWkdYOQpgjlpHOsPOnZyEPnjYBQeBdx5CRiDUUw5IBDLvPChnvBUs532Z8nQ+ras3B7YPuGnOqdjcaCJmWEwbjmA5MzH6JIZhCGQB3gD8Ovem41dYtkyZLG6YENNkqUyAZu/F902b51s2gWmzuhHKD3ubMUjqdQFjXZci+yhgKbongvrnW8XKArdaRwSb42s1TuRqiDn6aCGJhWx0xOBJbvMUsMlzwONJWXQ8g2jAU41rPC0ksZCNjhg8Ye1uzaeATZ7U5LFQFh1PhAYLv1YGGlELSSxkoyMGUbFrtYTuFl7AJtEBj4Wy6IlGg+xbKwONqIUkFrLREYMolIhbRAVsEh3wWCiLjiiOolj/GyaCMtdoW0hiIRsdMWhDtbpFW8Am7evGlBtroSw62tQzaQ/M18pco20hiYVsdMSgLdqQlhayziG/q3OPYtikTweEZCObuYTKwhCOcEwJCjEK4wgR6qHnh8EOXSufmgILSSxkoyOGgvi+AjE8UDDIhGVrQoRqKOMjijBGJKQe9SMP+XhQtdfKo8bfQhIL2eiIwV90l3tLIMcHCmKzmCyVTS8BI+xRijwfhSQKAzRYs3XnU9NgQ4kNbQzIlCGa0J1MEo15sBD+oGUulU0vAwUe8XxCiY8Q9T1iyVA+dRkWlHSRr1YbAzJliI50T4bqWHrLHrRK8TInpJJAJRSimMYE3keCMIgoDQf5t1b26Erwow0lNrQxIFOGaFj3ZKiGBlW47/j+oEU9AyGpAykdmGCQEvmhul47hRlb9KBh7Ou706N4+xSZYMQeFIlnZUS6skhQQHDgEy+A3UlpfLU3Y4u2ci+2ajtG7MEGfxbMxPqRriD4qA8cxWF83X1mbNEbtNhdi0WqZxgxBzmw6ow6vX7oxTiIgwDHUIzo1dwMKep6F1Kkm2wpj0iVez1iMNhsq86oi4h9HwpFHIY+jkQP6kuMGVHU4RsRVXnWI/pXF5LWCimjLiLCARRZCg0jwh6s6v+JFKXzRkhVUfWQwWArruDwJnOtDUlHAUwlQTTwgpAiP/T17tTqbM9g7VngnB7Y57Q+5KfGKdgedoo3gqmt21OUvOfVWaLAYltxOP50v45w3mfwGuyNYBftq4p3P+CUJfx+Zfzl7FR1DocveYSfueeq5nWaczhtAP53BQPF8pzPXApNNQ5CSAVXfLDgeWYPgNuCHdLsXR3enXqS72ZunezkAYld+KeGz6fw33mpwec/MPceDgl6eAyevAdfXHAQeg8hNO+ncOHFgef92x2uSzgEDr5y3DxZl2k2ZpeMyW8cUXv2n0/Ly+TLp2/O52oHh0Zod7+d2BeYAnn//SuIkbfiAAz02qskO+6/tMz/AwAA//8DAFBLAwQUAAYACAAAACEA7NeUHJgCAAAPBwAAGwAAAHhsL2RyYXdpbmdzL3ZtbERyYXdpbmcxLnZtbOxVy27bMBC85ysI5eCLDT3yaMBIBoIUubUFmj6OAS3RFhOSK4hrWc7Xd0nJjt2gRdAeeqkAihR3uLszHEB5bzSjYR3vimjdWu7KWhrhZkaVLThY4qwEwzujo5MRCL8DwnKpSsmHaX+kf8MR2ZfypYihdmrEhsexEeU3o+9DX19bFc1PWA7c1aKRWmxhjazjsscikpVCH/VhVRnRHAVYJVAUURrFPkF8lGGed0NC3DaSqaqIHvqEngfMkixiJUBbOfUsiyhLL5NkGt4RoxwN1fUYqtoIrIvIJNNEj4gBd/ROejm0SAWxhSfJHkFZh1tNyY1C2Yb+GDXk87FVKyolLQa68FRE6MuWYK0s0XdbRC2tRlIHLPaUDum4NMkuIjacOz3iOLQwacApVGC5WDjQa5TXxMyIdqXsTMsl8surBq/HDYSGpwl9b1SFNU+zc1rXUq1q5KnHPc+UrWTPU5+lU04tlFa45bWqKmmvjYPZphXNLBTn6A9O2FJpXYKGtohOl/TI1FMmkSQaqIiwWCPsRPRguh9CZy9wf8NeQRKtgg0DO8i2cOW6lXS5g1x7jX/S04KV+0tActYCejbK4zuulFecNJoJjdw3M/H1WF6pbofzxyisVpZ71SbzPKZoaCvu+Jg0fPb8VvsLfk/uZJ8Wj5T6S7jWj4CDVVje8w/Qye8K61uptQv0/O49WfL17o0ta2hDSyyZssurqZ9SGmc0vaNBG3nc8wMgJbshInek5vxOaCdDfLcT2PX8M2zmqQ/4xbh3SyYxdh7yjWuvPYFeaBE2J9bBwr+05eXf2TLN0mNfZge29FYcbRlgO1tm/235b2xJDrzIgi3pfT5lmbckTWd/asvgv9e2DG59my1j+gvOfwAAAP//AwBQSwMEFAAGAAgAAAAhAKO+mYsyAwAAwQkAABQAAAB4bC9zaGFyZWRTdHJpbmdzLnhtbJxWTW/bOBC9F8h/IHRKsFHkfLgoFrYDwV7v5pDGqJ0t9shQI2sAivSSlFv313co24lK2m2aG/3mDefrDeXB7ddasjUYi1oNk8uLXsJACV2gWg6Tx8U0/ZAw67gquNQKhskGbHI7Onk3sNYx8lV2mFTOrf7MMisqqLm90CtQZCm1qbmjn2aZ2ZUBXtgKwNUyu+r13mc1R5UwoRvlhsn764Q1Cv9vYLwDrpLRwOJo4EZ/gyrADDI3GmQe2aL3XEKITSl8jObLiPjob2TX/fCC6356cxOCN/20H4H9/h8hb8pFI92GfUFXMS54ATUKxos1WmomM2BXWll8QokOwUbujZSpwxrYzOgSrB8Il2zueFmy3N+ioybk+yi+axZkzJjRZP092T0oR9f9A1xSekf5EzQgnDZM74JS6lkb3deQFzUqtM5wooQFUNprbV0I/4vClwQWC0qB0dU7pGWzU1RCNl5ujFPNXmrOnvuzFsgd0BmcuDgLr50AV2933lf51uhjrQ3lfKgN4wqhZHdqK38aInsoS+qBYafju4czlrEtYwGiUlrq5aZDWDxEhXZlpRv3BmU9uMpHn0ngFphdgcByE8X5XHHHnoC2ugArDNKRbXRjmEMngZGx/YXKEtA4Kuw2nMliz7x7IYWcuWtaHczBrKkr0Rrs7XlZcjSR+S9ltJS1V9I9V3wJ/hjG8DJt9ydybxd/aXjRkLRot0h4cQrPW7XXfXT/fu0WDe0BSTckTEkaiuQrWY5FaOw0hwifwAI3ogpZz0nQWlHCNelmAituXFv76fx3p1g2SvihUUhOb/Gr5jl98cnJJ0rx5TXANbBHhdEkZs2TRHHObtINVemXnz/pdfQezwyu/UCUdintTbqiFxDdq91+x2WX0FWbUFjRsTx+zu6GP8LcRZX0rKeuopfrCO9IH17r183kVz4LTd+DsAHz58e/o9KQtP16Xp73er3Q1IJp/5CpBdPL3iHbFk2vDhq3aPy5pbcp/Y9UdfJuq7Iwl2mHsO1ryFh80e0NId6pndZljt8iwf7IWGxWEWNO0UWE3k8+hcE+5uN8fAic5DE6n3XAjP6Cjb4DAAD//wMAUEsDBBQABgAIAAAAIQDZZieJkQEAAC8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TU8bMRCG70j9D5bvxEuKUBV5jRC04lDUiAR6nnpnsxZee+UZlqS/vt6sQjb0UKm3+Xj9+vF49PW29aLHRC6GUl7MCikw2Fi5sCnl0/rb+RcpiCFU4GPAUu6Q5LX5dKaXKXaY2CGJbBGolA1zt1CKbIMt0Cy3Q+7UMbXAOU0bFevaWbyL9rXFwGpeFFcKt4yhwuq8ezeUo+Oi5/81raId+Oh5vesysNE3XeedBc6vNA/OpkixZvEA1gWO1IivW4teq6lMZ84V2tfkeGcKraapXlnweJuvMDV4Qq2OBX2PMIxvCS6R0T0verQckyD3Ow9wLsUvIBzAStlDchA4Aw6yMdnHviNO5mdML9QgMmmVBWNxH06109hdmvlekINT4WAwguTGKeLasUf6US8h8b+I9wwj74hz0/mYHN0BwxTyHXcVWxSP8CY+Kk6APiB8d+GFnrp1zIfwMOLTol41kLDKv3LoHwv6Pk83+cHktoGwweqg+bsxrMbzuP/m4nJWfC7yX09qWh033fwBAAD//wMAUEsDBBQABgAIAAAAIQB0/ukEDwEAACICAAAQAAAAeGwvY29tbWVudHMxLnhtbLxQy07DMBC8I/EP1t6pkxxQQbErOBQhcUCifICJN40lPyKvW6V8PVvScODECcmyPOPZmdG2myl4ccRMLkUF9aoCgbFL1sW9gvfd9mYNgoqJ1vgUUcEJCTb6+qrtUggYCwk2iKRgKGW8l5K6AYOhVRox8k+fcjCFYd5LGjMaSwNiCV42VXUrg3ERdGsOZUiZlofUrfyhLjkvjopeQkXGXsFjDWKWPVsFFfsUnFiU+bzy9cE+9CmOxiu4AwZd8ikLFy1OyBPr+kzmbYplFu3MkII5k70Jzp9mtjkT8tux6KecDqOwSF12Y+GdUSs5UnKcnNPlpfCvsg/N/5d9w+yQ/th26T0vekGkvwAAAP//AwBQSwMEFAAGAAgAAAAhAIUHt2A1AQAAEg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X0vDMBTF3wW/Q8l7m6ZVkdB2oDJEHAhWFN9CcrcFmz8k0a7f3qybtTIfL+fcH+fcWy12qku+wHlpdI1IlqMENDdC6k2NXtpleo0SH5gWrDMaajSAR4vm/KzilnLj4MkZCy5I8EkkaU+5rdE2BEsx9nwLivksOnQU18YpFuLoNtgy/sE2gIs8v8IKAhMsMLwHpnYioiNS8AlpP103AgTH0IECHTwmGcG/3gBO+X8XRmXmVDIMNnY6xp2zBT+Ik3vn5WTs+z7ryzFGzE/w2+rxeayaSr2/FQfUVIJT7oAF45oKz4d4uI75sIo3XksQN0PzYDQLW6aTe+MiAKSu8KkrEscCVB03k5iJHhr8SK/l7V27RE2Rk8uUFGl+0RYFLXNakvd9ir+AGOzki803AAAA//8DAFBLAQItABQABgAIAAAAIQB5YkOffgEAAPgFAAATAAAAAAAAAAAAAAAAAAAAAABbQ29udGVudF9UeXBlc10ueG1sUEsBAi0AFAAGAAgAAAAhAFB8TsH2AAAATAIAAAsAAAAAAAAAAAAAAAAAtwMAAF9yZWxzLy5yZWxzUEsBAi0AFAAGAAgAAAAhABP47bD5AAAARwMAABoAAAAAAAAAAAAAAAAA3gYAAHhsL19yZWxzL3dvcmtib29rLnhtbC5yZWxzUEsBAi0AFAAGAAgAAAAhAK33oZPRAQAABAMAAA8AAAAAAAAAAAAAAAAAFwkAAHhsL3dvcmtib29rLnhtbFBLAQItABQABgAIAAAAIQADPeVgyAcAAJ1hAAANAAAAAAAAAAAAAAAAABULAAB4bC9zdHlsZXMueG1sUEsBAi0AFAAGAAgAAAAhAOdldbjWAAAAuAEAACMAAAAAAAAAAAAAAAAACBMAAHhsL3dvcmtzaGVldHMvX3JlbHMvc2hlZXQxLnhtbC5yZWxzUEsBAi0AFAAGAAgAAAAhALwYqBFwBgAAxxQAABgAAAAAAAAAAAAAAAAAHxQAAHhsL3dvcmtzaGVldHMvc2hlZXQyLnhtbFBLAQItABQABgAIAAAAIQD7YqVtlAYAAKcbAAATAAAAAAAAAAAAAAAAAMUaAAB4bC90aGVtZS90aGVtZTEueG1sUEsBAi0AFAAGAAgAAAAhAKb6ND/QBQAArhEAABgAAAAAAAAAAAAAAAAAiiEAAHhsL3dvcmtzaGVldHMvc2hlZXQxLnhtbFBLAQItABQABgAIAAAAIQDs15QcmAIAAA8HAAAbAAAAAAAAAAAAAAAAAJAnAAB4bC9kcmF3aW5ncy92bWxEcmF3aW5nMS52bWxQSwECLQAUAAYACAAAACEAo76ZizIDAADBCQAAFAAAAAAAAAAAAAAAAABhKgAAeGwvc2hhcmVkU3RyaW5ncy54bWxQSwECLQAUAAYACAAAACEA2WYniZEBAAAvAwAAEAAAAAAAAAAAAAAAAADFLQAAZG9jUHJvcHMvYXBwLnhtbFBLAQItABQABgAIAAAAIQB0/ukEDwEAACICAAAQAAAAAAAAAAAAAAAAAIwwAAB4bC9jb21tZW50czEueG1sUEsBAi0AFAAGAAgAAAAhAIUHt2A1AQAAEgIAABEAAAAAAAAAAAAAAAAAyTEAAGRvY1Byb3BzL2NvcmUueG1sUEsFBgAAAAAOAA4AngMAADU0AAAAAAUi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wAAAABUFyaWFsBnEAAAAGK21uLWVhCXIAAAABAAlzAAAAByMAAAAAAQAAABEAAAAEFFN5c3RlbS5EcmF3aW5nLkNvbG9yBAAAAAV0AAAAFFN5c3RlbS5EcmF3aW5nLkNvbG9yBAAAAAV2YWx1ZQVzdGF0ZQprbm93bkNvbG9yBG5hbWUAAAABCQcHBAAAAAAAAAAAAAAAAAAAAAoBdQAAAHQAAAAAAAD//////wIAAAAKAXYAAAB0AAAA//////////8CAAAACgF3AAAAdAAAAE5BIv//////AgAAAAoBeAAAAHQAAADe3Nv//////wIAAAAKAXkAAAB0AAAAfmk///////8CAAAACgF6AAAAdAAAAIyEcv//////AgAAAAoBewAAAHQAAAAlIe3//////wIAAAAKAXwAAAB0AAAANDtG//////8CAAAACgF9AAAAdAAAAHSYw///////AgAAAAoBfgAAAHQAAAAelPf//////wIAAAAKAX8AAAB0AAAAHpT3//////8CAAAACgGAAAAAdAAAACUh7f//////AgAAAAoBgQAAAHQAAAAAAAD//////wIAAAAKAYIAAAB0AAAA//////////8CAAAACgGDAAAAdAAAAE5BIv//////AgAAAAoBhAAAAHQAAADe3Nv//////wIAAAAKBCQAAACYAVN5c3RlbS5Db2xsZWN0aW9ucy5HZW5lcmljLkxpc3RgMVtbQXBsb3Jpcy5CYXNlLk9iamVjdHMuRGF0YU9iamVjdCwgQXBsb3Jpcy5CYXNlLCBWZXJzaW9uPTQuMC4wLjE0ODYsIEN1bHR1cmU9bmV1dHJhbCwgUHVibGljS2V5VG9rZW49MTZmYzEzYTIyNmMwZTk1MV1dAwAAAAZfaXRlbXMFX3NpemUIX3ZlcnNpb24EAAAhQXBsb3Jpcy5CYXNlLk9iamVjdHMuRGF0YU9iamVjdFtdAwAAAAgICYUAAAAMAAAADAAAAAQlAAAAlQFTeXN0ZW0uQ29sbGVjdGlvbnMuR2VuZXJpYy5MaXN0YDFbW0FwbG9yaXMuQmFzZS5VSS5WaXN1YWxPYmplY3QsIEFwbG9yaXMuQmFzZSwgVmVyc2lvbj00LjAuMC4xNDg2LCBDdWx0dXJlPW5ldXRyYWwsIFB1YmxpY0tleVRva2VuPTE2ZmMxM2EyMjZjMGU5NTFdXQMAAAAGX2l0ZW1zBV9zaXplCF92ZXJzaW9uBAAAHkFwbG9yaXMuQmFzZS5VSS5WaXN1YWxPYmplY3RbXQMAAAAICAmGAAAAAQAAAAEAAAAFJwAAAJsBQXBsb3Jpcy5CYXNlLk9iamVjdHMuRGF0YU9iamVjdENvbGxlY3Rpb25gMVtbQXBsb3Jpcy5DaGFydC5WYWx1ZUxpbmU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AuMC4xNDg2LCBDdWx0dXJlPW5ldXRyYWwsIFB1YmxpY0tleVRva2VuPTE2ZmMxM2EyMjZjMGU5NTFdXQMAAACRAVN5c3RlbS5Db2xsZWN0aW9ucy5HZW5lcmljLkxpc3RgMVtbQXBsb3Jpcy5DaGFydC5WYWx1ZUxpbm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hwAAAAmIAAAACQYAAAAJAQAAAAmJAAAABSgAAACbAUFwbG9yaXMuQmFzZS5PYmplY3RzLkRhdGFPYmplY3RDb2xsZWN0aW9uYDFbW0FwbG9yaXMuQ2hhcnQuQXhpc0JyZWFr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wLjAuMTQ4NiwgQ3VsdHVyZT1uZXV0cmFsLCBQdWJsaWNLZXlUb2tlbj0xNmZjMTNhMjI2YzBlOTUxXV0DAAAAkQFTeXN0ZW0uQ29sbGVjdGlvbnMuR2VuZXJpYy5MaXN0YDFbW0FwbG9yaXMuQ2hhcnQuQXhpc0JyZWF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YoAAAAJiwAAAAkGAAAACQEAAAAJjAAAAAUp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IAAAADAAAACWMAAAAJZAAAAAllAAAAAQAAAAAKBo0AAAABJQlmAAAAAQAAAAoAAAAAAAAAAAUsAAAAmgFBcGxvcmlzLkJhc2UuT2JqZWN0cy5EYXRhT2JqZWN0Q29sbGVjdGlvbmAxW1tBcGxvcmlzLkNoYXJ0LlRpY2tNYXJr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AuMC4xNDg2LCBDdWx0dXJlPW5ldXRyYWwsIFB1YmxpY0tleVRva2VuPTE2ZmMxM2EyMjZjMGU5NTFdXQMAAACQAVN5c3RlbS5Db2xsZWN0aW9ucy5HZW5lcmljLkxpc3RgMVtbQXBsb3Jpcy5DaGFydC5UaWNrTWFy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OAAAACY8AAAAJBgAAAAkBAAAACZAAAAAFLw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RAAAAIAAAAOmiK0LGFLFDAZIAAAAgAAAA6iIkRMYUsUMJkwAAALgBAAD/////AQEKCZQAAAABAAoABzAAAAAAAQAAAAUAAAAEFVN5c3RlbS5EcmF3aW5nLlBvaW50RgQAAAABlQAAACAAAADp4iRExhSxQwGWAAAAIAAAAOmiK0IkCblDAZcAAAAgAAAAGd2uQyQJuUMBmAAAACAAAADqIiREJAm5QwGZAAAAIAAAAOniJETGlLNDBzEAAAAAAQAAAAUAAAAEF0FwbG9yaXMuQmFzZS5BbmNob3JNb2RlAwAAAAWaAAAAF0FwbG9yaXMuQmFzZS5BbmNob3JNb2RlAQAAAAd2YWx1ZV9fAAgDAAAABAAAAAGbAAAAmgAAAAUAAAABnAAAAJoAAAADAAAAAZ0AAACaAAAABgAAAAGeAAAAmgAAAAUAAAAPMgAAAAUAAAABAAAAAAEFMwAAABVBcGxvcmlzLkJhc2UuVUkuTGFiZWwcAAAAD21BbmNob3JQb3NpdGlvbgttQW5jaG9yTW9kZQ9tQWRkSW5uZXJNYXJnaW4WbU9mZnNldERpcmVjdGlvbkFuY2hvchdtT2Zmc2V0T3J0aG9nb25hbEFuY2hvcgttVGV4dEZvcm1hdAltUm90YXRpb24KbUJhY2tDb2xvcg1tVXNlQmFja0NvbG9yDm1Vc2V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BAQEAAEDAwEAAAAABwIAAAMA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MAAAABnwAAACAAAADp4iRExhSxQwGgAAAAmgAAAAQAAAAAAAAAAAAAAAAJoQAAAAAAAAAJogAAAAAABaMAAAAqQXBsb3Jpcy5CYXNlLlVJLkxhYmVsK0xpbmVBbGlnbm1lbnRPcHRpb25zAQAAAAd2YWx1ZV9fAAgDAAAAAAAAAAGkAAAAbAAAAAAAAAAAAAAAAaUAAAAUAAAAAAAAAAAAAAAAAAAAAAAAAAAAAAAGpgAAAA1DYXRlZ29yeSBheGlzCgmnAAAACaYAAADkAgAA/////wABCgmoAAAAAQAKAQE0AAAAJAAAAAmpAAAABgAAAAYAAAABNQAAACUAAAAJqgAAAAIAAAACAAAAATcAAAAnAAAACgmrAAAACawAAAAJBwAAAAkBAAAACa0AAAABOAAAACgAAAAKCa4AAAAJrwAAAAkHAAAACQEAAAAJsAAAAAU5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iAAAAAwAAAAljAAAACWQAAAAJZQAAAAEAAAAACgmNAAAACWYAAAAAAAAACgAAAAAA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cAAAAJAQAAAAEAAAAACWIAAAADAAAACWMAAAAJZAAAAAllAAAAAQAAAAAKCglmAAAAAAAAAAoAAAAAAA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iAAAAAwAAAAljAAAACWQAAAAJZQAAAAEAAAAACgmNAAAACWYAAAABAAAACgAAAAAAAAAAATwAAAAsAAAACgmxAAAACbIAAAAJBwAAAAkBAAAACbMAAAABPwAAAC8AAAABtAAAACAAAADpoitCxhSxQwG1AAAAIAAAAOmiK0LM5n1BCbYAAAC4AQAA/////wEBCgm3AAAAAQAKAAdAAAAAAAEAAAAFAAAABBVTeXN0ZW0uRHJhd2luZy5Qb2ludEYEAAAAAbgAAAAgAAAA6aIrQvqgJkEBuQAAACAAAADO6RhBxhSxQwG6AAAAIAAAAM7pGEH8AzlDAbsAAAAgAAAAzukYQczmfUEBvAAAACAAAADO6RhB+qAmQQdBAAAAAAEAAAAFAAAABBdBcGxvcmlzLkJhc2UuQW5jaG9yTW9kZQMAAAABvQAAAJoAAAABAAAAAb4AAACaAAAACAAAAAG/AAAAmgAAAAIAAAABwAAAAJoAAAAGAAAAAcEAAACaAAAABwAAAA9CAAAABQAAAAEAAAAAAQFDAAAAMwAAAAHCAAAAIAAAAOmiK0L6oCZBAcMAAACaAAAAAQAAAAAAAAAAAAAAAAnEAAAAAAAAAAnFAAAAAAABxgAAAKMAAAAAAAAAAccAAABsAAAAAAAAAAAAAAAByAAAABQAAAAAAAAAAAAAAAAAAAAAAAAAAAAAAAbJAAAAClZhbHVlIGF4aXMKCcoAAAAJyQAAAOQCAAD/////AAEKCcsAAAABAAoBAUQAAAAkAAAACcwAAAAHAAAABwAAAAFFAAAAJQAAAAnNAAAAAgAAAAIAAAAHRgAAAAABAAAAAAAAAAQuQXBsb3Jpcy5DaGFydC5Db2x1bW5PcmllbnRlZENoYXJ0K1VudXNlZFNlcmllcwIAAAAERw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zgAAABIAAADAAAAAAUgAAAAkAAAACc8AAAASAAAATAAAAAFJAAAAJQAAAAnQAAAAAAAAAAAAAAAESg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dEAAAAAAAAAAAAAAAFLAAAAJAAAAAnSAAAAAAAAAAAAAAABTAAAACUAAAAJ0AAAAAAAAAAAAAAABE0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dMAAAAAAAAAAAAAAAFOAAAAJAAAAAnSAAAAAAAAAAAAAAABTwAAACUAAAAJ0AAAAAAAAAAAAAAABFA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UAAAABQAAABEAAAABUQAAACQAAAAJ1QAAAAUAAAANAAAAAVIAAAAlAAAACdAAAAAAAAAAAAAAAART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1gAAAAAAAAAAAAAAAVQAAAAkAAAACdIAAAAAAAAAAAAAAAFVAAAAJQAAAAnQAAAAAAAAAAAAAAAEVg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dcAAAAAAAAAAAAAAAFXAAAAJAAAAAnSAAAAAAAAAAAAAAABWAAAACUAAAAJ0AAAAAAAAAAAAAAABFk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YAAAAAAAAAAAAAAABWgAAACQAAAAJ0gAAAAAAAAAAAAAAAVsAAAAlAAAACdAAAAAAAAAAAAAAAARc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ZAAAAAAAAAAAAAAABXQAAACQAAAAJ0gAAAAAAAAAAAAAAAV4AAAAlAAAACdAAAAAAAAAAAAAAAARf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doAAAAAAAAAAAAAAAFgAAAAJAAAAAnSAAAAAAAAAAAAAAABYQAAACUAAAAJ0AAAAAAAAAAAAAAABWo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2wAAAAncAAAAAQAAAP7///8BAAAAAQAAAAEAAAABAAAAAQAAAAEAAAAAAAEFaw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dAAAACd4AAAABAAAAAAAAAAAAAAAAAAAAAAEFbwAAAB9BcGxvcmlzLkJhc2UuT2JqZWN0cy5QZXJzSWREYXRhAgAAAANtSWQLbUN1c3RvbURhdGEHAggDAAAACd8AAAAKBXIAAAAaQXBsb3Jpcy5CYXNlLk9iamVjdHMuQ29sb3IHAAAAEkRhdGFPYmplY3QrbVBhcmVudBVEYXRhT2JqZWN0K21Db250YWluZXIFbVR5cGUEbVJHQhBtVGhlbWVDb2xvckluZGV4DG1BdXRvVXBkYXRlZAltTW9kaWZpZWQCAgAAAAAACAgIAQEDAAAACgoAAAAAAAAAAA0AAAAAAQFzAAAAcgAAAAoKAQAAAAAAAAD/////AAEHhQAAAAABAAAAEAAAAAQfQXBsb3Jpcy5CYXNlLk9iamVjdHMuRGF0YU9iamVjdAMAAAAJCQAAAAkKAAAACQsAAAAJDAAAAAkQAAAACREAAAAJDQAAAAkOAAAACQ8AAAAJBwAAAAkGAAAACRcAAAANBAeGAAAAAAEAAAAEAAAABBxBcGxvcmlzLkJhc2UuVUkuVmlzdWFsT2JqZWN0AwAAAAkbAAAADQMEhwAAAJEBU3lzdGVtLkNvbGxlY3Rpb25zLkdlbmVyaWMuTGlzdGAxW1tBcGxvcmlzLkNoYXJ0LlZhbHVlTGluZSwgQXBsb3Jpcy5DaGFydCwgVmVyc2lvbj00LjAuMC4xNDg2LCBDdWx0dXJlPW5ldXRyYWwsIFB1YmxpY0tleVRva2VuPTE2ZmMxM2EyMjZjMGU5NTFdXQMAAAAGX2l0ZW1zBV9zaXplCF92ZXJzaW9uBAAAGUFwbG9yaXMuQ2hhcnQuVmFsdWVMaW5lW10CAAAACAgJ4AAAAAAAAAAAAAAAAYgAAAAkAAAACdIAAAAAAAAAAAAAAAGJAAAAJQAAAAnQAAAAAAAAAAAAAAAEigAAAJEBU3lzdGVtLkNvbGxlY3Rpb25zLkdlbmVyaWMuTGlzdGAxW1tBcGxvcmlzLkNoYXJ0LkF4aXNCcmVhaywgQXBsb3Jpcy5DaGFydCwgVmVyc2lvbj00LjAuMC4xNDg2LCBDdWx0dXJlPW5ldXRyYWwsIFB1YmxpY0tleVRva2VuPTE2ZmMxM2EyMjZjMGU5NTFdXQMAAAAGX2l0ZW1zBV9zaXplCF92ZXJzaW9uBAAAGUFwbG9yaXMuQ2hhcnQuQXhpc0JyZWFrW10CAAAACAgJ4QAAAAAAAAAAAAAAAYsAAAAkAAAACdIAAAAAAAAAAAAAAAGMAAAAJQAAAAnQAAAAAAAAAAAAAAAEjgAAAJABU3lzdGVtLkNvbGxlY3Rpb25zLkdlbmVyaWMuTGlzdGAxW1tBcGxvcmlzLkNoYXJ0LlRpY2tNYXJrLCBBcGxvcmlzLkNoYXJ0LCBWZXJzaW9uPTQuMC4wLjE0ODYsIEN1bHR1cmU9bmV1dHJhbCwgUHVibGljS2V5VG9rZW49MTZmYzEzYTIyNmMwZTk1MV1dAwAAAAZfaXRlbXMFX3NpemUIX3ZlcnNpb24EAAAYQXBsb3Jpcy5DaGFydC5UaWNrTWFya1tdAgAAAAgICeIAAAAAAAAAAAAAAAGPAAAAJAAAAAnSAAAAAAAAAAAAAAABkAAAACUAAAAJ0AAAAAAAAAAAAAAAAZMAAABqAAAACgoAAABAPwnjAAAACeQAAAABAAAA/v///wAAAAABAAAAAAAAAAAAAAABAAAAAAAAAAAAAAGUAAAAbwAAAAnlAAAACgWh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QEEJcAAAAAlxAAAACeYAAAABAAnnAAAAAaIAAAByAAAACgoBAAAAAAAAAP////8AAQSnAAAAlgFTeXN0ZW0uQ29sbGVjdGlvbnMuR2VuZXJpYy5MaXN0YDFbW0FwbG9yaXMuQmFzZS5PYmplY3RzLlZhcmlhYmxlLCBBcGxvcmlzLkJhc2UsIFZlcnNpb249NC4wLjAuMTQ4NiwgQ3VsdHVyZT1uZXV0cmFsLCBQdWJsaWNLZXlUb2tlbj0xNmZjMTNhMjI2YzBlOTUxXV0DAAAABl9pdGVtcwVfc2l6ZQhfdmVyc2lvbgQAAB9BcGxvcmlzLkJhc2UuT2JqZWN0cy5WYXJpYWJsZVtdAwAAAAgICegAAAAAAAAAAAAAAAGoAAAAbwAAAAnpAAAACgepAAAAAAEAAAAIAAAABB9BcGxvcmlzLkJhc2UuT2JqZWN0cy5EYXRhT2JqZWN0AwAAAAkpAAAACSoAAAAJKwAAAAksAAAACScAAAAJKAAAAAoKB6oAAAAAAQAAAAQAAAAEHEFwbG9yaXMuQmFzZS5VSS5WaXN1YWxPYmplY3QDAAAACS8AAAAJMwAAAAoKAasAAACHAAAACeAAAAAAAAAAAAAAAAGsAAAAJAAAAAnSAAAAAAAAAAAAAAABrQAAACUAAAAJ0AAAAAAAAAAAAAAAAa4AAACKAAAACeEAAAAAAAAAAAAAAAGvAAAAJAAAAAnSAAAAAAAAAAAAAAABsAAAACUAAAAJ0AAAAAAAAAAAAAAAAbEAAACOAAAACeoAAAALAAAAIQAAAAGyAAAAJAAAAAnrAAAACwAAACEAAAABswAAACUAAAAJ0AAAAAAAAAAAAAAAAbYAAABqAAAACgoAAABAPwnsAAAACe0AAAABAAAA/v///wAAAAABAAAAAAAAAAAAAAABAAAAAAAAAAAAAAG3AAAAbwAAAAnuAAAACgXE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QEEJcAAAAAlxAAAACe8AAAABAAnwAAAAAcUAAAByAAAACgoBAAAAAAAAAP////8AAQHKAAAApwAAAAnoAAAAAAAAAAAAAAABywAAAG8AAAAJ8QAAAAoHzAAAAAABAAAACAAAAAQfQXBsb3Jpcy5CYXNlLk9iamVjdHMuRGF0YU9iamVjdAMAAAAJOQAAAAk6AAAACTsAAAAJPAAAAAk3AAAACTgAAAAJ8gAAAAoHzQAAAAABAAAABAAAAAQcQXBsb3Jpcy5CYXNlLlVJLlZpc3VhbE9iamVjdAMAAAAJPwAAAAlDAAAACgoHzgAAAAABAAAAIAAAAAQdQXBsb3Jpcy5DaGFydC5DaGFydERhdGFTZXJpZXMCAAAACfMAAAAJ9AAAAAn1AAAACfYAAAAJ9wAAAAn4AAAACfkAAAAJ+gAAAAn7AAAACfwAAAAJ/QAAAAn+AAAACf8AAAAJAAEAAAkBAQAACQIBAAAJAwEAAAkEAQAADQ4HzwAAAAABAAAAIAAAAAQfQXBsb3Jpcy5CYXNlLk9iamVjdHMuRGF0YU9iamVjdAMAAAAJ8wAAAAn0AAAACfUAAAAJ9gAAAAn3AAAACfgAAAAJ/gAAAAn/AAAACQABAAAJ+QAAAAn6AAAACfsAAAAJ/AAAAAn9AAAACQEBAAAJAwEAAAkCAQAACQQBAAANDgfQAAAAAAEAAAAAAAAABBxBcGxvcmlzLkJhc2UuVUkuVmlzdWFsT2JqZWN0AwAAAAfRAAAAAAEAAAAAAAAABCJBcGxvcmlzLkNoYXJ0LkFubm90YXRpb25EYXRhU2VyaWVzAgAAAAfSAAAAAAEAAAAAAAAABB9BcGxvcmlzLkJhc2UuT2JqZWN0cy5EYXRhT2JqZWN0AwAAAAfTAAAAAAEAAAAAAAAABB1BcGxvcmlzLkNoYXJ0LkFubm90YXRpb25Hcm91cAIAAAAH1AAAAAABAAAACAAAAAQcQXBsb3Jpcy5DaGFydC5DaGFydERhdGFHcm91cAIAAAAJBQEAAAkGAQAACQcBAAAJCAEAAAkJAQAADQMH1QAAAAABAAAACAAAAAQfQXBsb3Jpcy5CYXNlLk9iamVjdHMuRGF0YU9iamVjdAMAAAAJBQEAAAkGAQAACQcBAAAJCAEAAAkJAQAADQMH1gAAAAABAAAAAAAAAAQWQXBsb3Jpcy5DaGFydC5EZWx0YUJhcgIAAAAH1wAAAAABAAAAAAAAAAQZQXBsb3Jpcy5DaGFydC5EZWx0YUJyaWRnZQIAAAAH2AAAAAABAAAAAAAAAAQZQXBsb3Jpcy5DaGFydC5Hcm93dGhBcnJvdwIAAAAH2QAAAAABAAAAAAAAAAQgQXBsb3Jpcy5DaGFydC5XYXRlcmZhbGxDb25uZWN0b3ICAAAAB9oAAAAAAQAAAAAAAAAEHkFwbG9yaXMuQ2hhcnQuRWxlbWVudENvbm5lY3RvcgIAAAAB2wAAAHIAAAAKCgAAAAAAAAAADQAAAAABAdwAAAByAAAACgoBAAAAAAAAAP////8AAQHdAAAAcgAAAAoKAQAAAP///wD/////AAEB3gAAAHIAAAAKCgEAAAAAAAAA/////wABD98AAAABAAAACAAAAAAH4AAAAAABAAAAAAAAAAQXQXBsb3Jpcy5DaGFydC5WYWx1ZUxpbmUCAAAAB+EAAAAAAQAAAAAAAAAEF0FwbG9yaXMuQ2hhcnQuQXhpc0JyZWFrAgAAAAfiAAAAAAEAAAAAAAAABBZBcGxvcmlzLkNoYXJ0LlRpY2tNYXJrAgAAAAXjAAAAGkFwbG9yaXMuQmFzZS5PYmplY3RzLkNvbG9yBwAAABJEYXRhT2JqZWN0K21QYXJlbnQVRGF0YU9iamVjdCttQ29udGFpbmVyBW1UeXBlBG1SR0IQbVRoZW1lQ29sb3JJbmRleAxtQXV0b1VwZGF0ZWQJbU1vZGlmaWVkBAIAAAAAAB9BcGxvcmlzLkJhc2UuT2JqZWN0cy5MaW5lRm9ybWF0AwAAAAgICAEBAwAAAAmTAAAACgAAAAAAAAAADQAAAAAABeQAAAAaQXBsb3Jpcy5CYXNlLk9iamVjdHMuQ29sb3IHAAAAEkRhdGFPYmplY3QrbVBhcmVudBVEYXRhT2JqZWN0K21Db250YWluZXIFbVR5cGUEbVJHQhBtVGhlbWVDb2xvckluZGV4DG1BdXRvVXBkYXRlZAltTW9kaWZpZWQEAgAAAAAAH0FwbG9yaXMuQmFzZS5PYmplY3RzLkxpbmVGb3JtYXQDAAAACAgIAQEDAAAACZMAAAAKAQAAAAAAAAD/////AAEP5QAAAAEAAAAIRwEAAAHmAAAAcgAAAAoKAAAAAAAAAAANAAAAAAEB5wAAAHIAAAAKCgEAAAAAAAAA/////wABB+gAAAAAAQAAAAAAAAAEHUFwbG9yaXMuQmFzZS5PYmplY3RzLlZhcmlhYmxlAwAAAA/pAAAAAQAAAAgAAAAAB+oAAAAAAQAAABAAAAAEFkFwbG9yaXMuQ2hhcnQuVGlja01hcmsCAAAACQoBAAAJCwEAAAkMAQAACQ0BAAAJDgEAAAkPAQAACRABAAAJEQEAAAkSAQAACRMBAAAJFAEAAA0FB+sAAAAAAQAAABAAAAAEH0FwbG9yaXMuQmFzZS5PYmplY3RzLkRhdGFPYmplY3QDAAAACQoBAAAJCwEAAAkMAQAACQ0BAAAJDgEAAAkPAQAACRABAAAJEQEAAAkSAQAACRMBAAAJFAEAAA0FBewAAAAaQXBsb3Jpcy5CYXNlLk9iamVjdHMuQ29sb3IHAAAAEkRhdGFPYmplY3QrbVBhcmVudBVEYXRhT2JqZWN0K21Db250YWluZXIFbVR5cGUEbVJHQhBtVGhlbWVDb2xvckluZGV4DG1BdXRvVXBkYXRlZAltTW9kaWZpZWQEAgAAAAAAH0FwbG9yaXMuQmFzZS5PYmplY3RzLkxpbmVGb3JtYXQDAAAACAgIAQEDAAAACbYAAAAKAAAAAAAAAAANAAAAAAAF7QAAABpBcGxvcmlzLkJhc2UuT2JqZWN0cy5Db2xvcgcAAAASRGF0YU9iamVjdCttUGFyZW50FURhdGFPYmplY3QrbUNvbnRhaW5lcgVtVHlwZQRtUkdCEG1UaGVtZUNvbG9ySW5kZXgMbUF1dG9VcGRhdGVkCW1Nb2RpZmllZAQCAAAAAAAfQXBsb3Jpcy5CYXNlLk9iamVjdHMuTGluZUZvcm1hdAMAAAAICAgBAQMAAAAJtgAAAAoBAAAAAAAAAP////8AAQ/uAAAAAQAAAAhIAQAAAe8AAAByAAAACgoAAAAAAAAAAA0AAAAAAQHwAAAAcgAAAAoKAQAAAAAAAAD/////AAEP8QAAAAEAAAAIAAAAAAXy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iAAAAAwAAAAljAAAACWQAAAAJZQAAAAEAAAAACgmNAAAACWYAAAABAAAACgAAAAAAAAAABfMAAAAdQXBsb3Jpcy5DaGFydC5DaGFydERhdGFTZXJpZXMcAAAABm1DaGFydAttU2VyaWVzVHlwZQltRXhjZWxSb3cKbUV4Y2VsUm93MgVtQXhpcw1tRGF0YUVsZW1lbnRzEm1TZXJpZXNEZXNjcmlwdGlvbhNtU2VyaWVzRGVzY3JpcHRpb24yCm1TdGFja2VkT24MbUN1c3RvbVdpZHRoD21DdXN0b21Qb3NpdGlvbg1tQ3VzdG9tWk9yZGVyCW1Qb2x5bGluZQhtUG9seWdvbhRtUmVzdG9yZUxhYmVsVmlzaWJsZQZtTGFiZWwPbUxhYmVsUG9zaXRpb25zEW1MYWJlbEFuY2hvck1vZGVzDm1MYWJlbFBvc2l0aW9uC21TbW9vdGhMaW5lDm1TYW1lVHlwZUluZGV4DG1CYXJQb3NpdGlvbhZtTGVnZW5kVXBkYXRlU3VzcGVuZGVkFG1QZW5kaW5nTGVnZW5kVXBkYXRlGERhdGFPYmplY3QrbUNoaWxkT2JqZWN0cxJEYXRhT2JqZWN0K21QYXJlbnQVRGF0YU9iamVjdCttQ29udGFpbmVyGURhdGFPYmplY3QrbVZpc3VhbE9iamVjdHMEBAAABAQBAQQAAAAEBAAEBAQAAAAAAAADBAQDIUFwbG9yaXMuQ2hhcnQuQ29sdW1uT3JpZW50ZWRDaGFydAIAAAAYQXBsb3Jpcy5DaGFydC5TZXJpZXNUeXBlAgAAAAgIJUFwbG9yaXMuQ2hhcnQuQ29sdW1uT3JpZW50ZWRDaGFydEF4aXMCAAAAogFBcGxvcmlzLkJhc2UuT2JqZWN0cy5EYXRhT2JqZWN0Q29sbGVjdGlvbmAxW1tBcGxvcmlzLkNoYXJ0LkNoYXJ0RGF0YUVsZW1lbnQsIEFwbG9yaXMuQ2hhcnQsIFZlcnNpb249NC4wLjAuMTQ4NiwgQ3VsdHVyZT1uZXV0cmFsLCBQdWJsaWNLZXlUb2tlbj0xNmZjMTNhMjI2YzBlOTUxXV0DAAAAHUFwbG9yaXMuQ2hhcnQuQ2hhcnREYXRhU2VyaWVzAgAAAAsLCB5BcGxvcmlzLkJhc2UuVUkuVmlzdWFsUG9seWxpbmUDAAAAHUFwbG9yaXMuQmFzZS5VSS5WaXN1YWxQb2x5Z29uAwAAAAEcQXBsb3Jpcy5DaGFydC5Db25uZWN0ZWRMYWJlbAIAAAAXU3lzdGVtLkRyYXdpbmcuUG9pbnRGW10EAAAAGUFwbG9yaXMuQmFzZS5BbmNob3JNb2RlW10DAAAACAEICAg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EVAQAAEwAAAAAAAAACAAAA/////wkHAAAACRYBAAAGFwEAAARNYWxlCgoAAAAAAAAAAAAAAAAKCgAJGAEAAAkZAQAACRoBAAAAAAAAAAAAAAAAAAAAAAAAAAAJGwEAAAkBAAAACQEAAAAJHAEAAAH0AAAA8wAAAAkBAAAAAR0BAAATAAAAAAAAAAMAAAD/////CQcAAAAJHgEAAAYfAQAABkZlbWFsZQoKAAAAAAAAAAAAAAAACgoACSABAAAJIQEAAAkiAQAAAAAAAAABAAAAAAAAAAAAAAAACSMBAAAJAQAAAAkBAAAACSQBAAAB9QAAAPMAAAAJAQAAAAElAQAAEwAAAAAAAAAEAAAA/////wkHAAAACSYBAAAGJwEAAAhVbmRlciAzNQoKAAAAAAAAAAAAAAAACgoACSgBAAAJKQEAAAkqAQAAAAAAAAACAAAAAAAAAAAAAAAACSsBAAAJAQAAAAkBAAAACSwBAAAB9gAAAPMAAAAJAQAAAAEtAQAAEwAAAAAAAAAFAAAA/////wkHAAAACS4BAAAGLwEAAAUzNS00NAoKAAAAAAAAAAAAAAAACgoACTABAAAJMQEAAAkyAQAAAAAAAAADAAAAAAAAAAAAAAAACTMBAAAJAQAAAAkBAAAACTQBAAAB9wAAAPMAAAAJAQAAAAE1AQAAEwAAAAAAAAAGAAAA/////wkHAAAACTYBAAAGNwEAAAU0NS01NAoKAAAAAAAAAAAAAAAACgoACTgBAAAJOQEAAAk6AQAAAAAAAAAEAAAAAAAAAAAAAAAACTsBAAAJAQAAAAkBAAAACTwBAAAB+AAAAPMAAAAJAQAAAAE9AQAAEwAAAAAAAAAHAAAA/////wkHAAAACT4BAAAGPwEAAAM1NSsKCgAAAAAAAAAAAAAAAAoKAAlAAQAACUEBAAAJQgEAAAAAAAAABQAAAAAAAAAAAAAAAAlDAQAACQEAAAAJAQAAAAlEAQAAAfkAAADzAAAACQEAAAABRQEAABMAAAAAAAAACAAAAP////8JBwAAAAlGAQAABkcBAAALVW5kZXIgMSwwMDAKCgAAAAAAAAAAAAAAAAoKAAlIAQAACUkBAAAJSgEAAAAAAAAABgAAAAAAAAAAAAAAAAlLAQAACQEAAAAJAQAAAAlMAQAAAfoAAADzAAAACQEAAAABTQEAABMAAAAAAAAACQAAAP////8JBwAAAAlOAQAABk8BAAALMSwwMDAtNSwwMDAKCgAAAAAAAAAAAAAAAAoKAAlQAQAACVEBAAAJUgEAAAAAAAAABwAAAAAAAAAAAAAAAAlTAQAACQEAAAAJAQAAAAlUAQAAAfsAAADzAAAACQEAAAABVQEAABMAAAAAAAAACgAAAP////8JBwAAAAlWAQAABlcBAAAMNSwwMDAtMTAsMDAwCgoAAAAAAAAAAAAAAAAKCgAJWAEAAAlZAQAACVoBAAAAAAAAAAgAAAAAAAAAAAAAAAAJWwEAAAkBAAAACQEAAAAJXAEAAAH8AAAA8wAAAAkBAAAAAV0BAAATAAAAAAAAAAsAAAD/////CQcAAAAJXgEAAAZfAQAADTEwLDAwMC0yMCwwMDAKCgAAAAAAAAAAAAAAAAoKAAlgAQAACWEBAAAJYgEAAAAAAAAACQAAAAAAAAAAAAAAAAljAQAACQEAAAAJAQAAAAlkAQAAAf0AAADzAAAACQEAAAABZQEAABMAAAAAAAAADAAAAP////8JBwAAAAlmAQAABmcBAAAHMjAsMDAwKwoKAAAAAAAAAAAAAAAACgoACWgBAAAJaQEAAAlqAQAAAAAAAAAKAAAAAAAAAAAAAAAACWsBAAAJAQAAAAkBAAAACWwBAAAB/gAAAPMAAAAJAQAAAAFtAQAAEwAAAAAAAAANAAAA/////wkHAAAACW4BAAAGbwEAAAhUd28tWWVhcgoKAAAAAAAAAAAAAAAACgoACXABAAAJcQEAAAlyAQAAAAAAAAALAAAAAAAAAAAAAAAACXMBAAAJAQAAAAkBAAAACXQBAAAB/wAAAPMAAAAJAQAAAAF1AQAAEwAAAAAAAAAOAAAA/////wkHAAAACXYBAAAGdwEAABFGb3VyLVllYXINClB1YmxpYwoKAAAAAAAAAAAAAAAACgoACXgBAAAJeQEAAAl6AQAAAAAAAAAMAAAAAAAAAAAAAAAACXsBAAAJAQAAAAkBAAAACXwBAAABAAEAAPMAAAAJAQAAAAF9AQAAEwAAAAAAAAAPAAAA/////wkHAAAACX4BAAAGfwEAABJGb3VyLVllYXINClByaXZhdGUKCgAAAAAAAAAAAAAAAAoKAAmAAQAACYEBAAAJggEAAAAAAAAADQAAAAAAAAAAAAAAAAmDAQAACQEAAAAJAQAAAAmEAQAAAQEBAADzAAAACQEAAAABhQEAABMAAAAAAAAAEAAAAP////8JBwAAAAmGAQAABocBAAADTURSCgoAAAAAAAAAAAAAAAAKCgAJiAEAAAmJAQAACYoBAAAAAAAAAA4AAAAAAAAAAAAAAAAJiwEAAAkBAAAACQEAAAAJjAEAAAECAQAA8wAAAAkBAAAAAY0BAAATAAAAAAAAABEAAAD/////CQcAAAAJjgEAAAaPAQAABk5BQ0FEQQoKAAAAAAAAAAAAAAAACgoACZABAAAJkQEAAAmSAQAAAAAAAAAPAAAAAAAAAAAAAAAACZMBAAAJAQAAAAkBAAAACZQBAAABAwEAAPMAAAAJAQAAAAGVAQAAEwAAAAAAAAASAAAA/////wkHAAAACZYBAAAGlwEAAAVOQUNBQwoKAAAAAAAAAAAAAAAACgoACZgBAAAJmQEAAAmaAQAAAAAAAAAQAAAAAAAAAAAAAAAACZsBAAAJAQAAAAkBAAAACZwBAAABBAEAAPMAAAAJAQAAAAGdAQAAEwAAAAAAAAATAAAA/////wkHAAAACZ4BAAAGnwEAAAVOQVNQQQoKAAAAAAAAAAAAAAAACgoACaABAAAJoQEAAAmiAQAAAAAAAAARAAAAAAAAAAAAAAAACaMBAAAJAQAAAAkBAAAACaQBAAAFBQ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alAQAABkdlbmRlcgEFpgEAAB5BcGxvcmlzLkNoYXJ0LkNoYXJ0R3JvdXBBbmNob3IBAAAAB3ZhbHVlX18ACAIAAAAAAAAACgAAAAABAAAAAQAAAAmnAQAACagBAAAKCgkHAAAACakBAAAJAQAAAAkBAAAACaoBAAABBgEAAAUBAAAJAQAAAAarAQAAA0FnZQEBrAEAAKYBAAAAAAAACgAAAAABAAAAAQAAAAmtAQAACa4BAAAKCgkHAAAACa8BAAAJAQAAAAkBAAAACbABAAABBwEAAAUBAAAJAQAAAAaxAQAAEkluc3RpdHV0aW9uYWwgU2l6ZQABsgEAAKYBAAAAAAAACgAAAAABAAAAAQAAAAmzAQAACbQBAAAJtQEAAAoJBwAAAAm2AQAACQEAAAAJAQAAAAm3AQAAAQgBAAAFAQAACQEAAAAGuAEAABJJbnN0aXR1dGlvbmFsIFR5cGUAAbkBAACmAQAAAAAAAAoAAAAAAQAAAAEAAAAJugEAAAm7AQAACbwBAAAKCQcAAAAJvQEAAAkBAAAACQEAAAAJvgEAAAEJAQAABQEAAAkBAAAABr8BAAAGU291cmNlAAHAAQAApgEAAAAAAAAKAAAAAAEAAAABAAAACcEBAAAJwgEAAAnDAQAACgkHAAAACcQBAAAJAQAAAAkBAAAACcUBAAAFCgE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cYBAAAKCccBAAAJBwAAAAEAAAAAAAAAAAHIAQAAIAAAAOmiK0LGFLFDAckBAAAgAAAA6aIbQsYUsUMACcoBAAAJBwAAAAkBAAAACcsBAAABCwEAAAoBAAAJzAEAAAoJzQEAAAkHAAAAAZqZmZmZmbk/Ac4BAAAgAAAA6aIrQp4qoEMBzwEAACAAAADpohtCniqgQwAJ0AEAAAkHAAAACQEAAAAJ0QEAAAEMAQAACgEAAAnSAQAACgnTAQAACQcAAAABmpmZmZmZyT8B1AEAACAAAADpoitCdkCPQwHVAQAAIAAAAOmiG0J2QI9DAAnWAQAACQcAAAAJAQAAAAnXAQAAAQ0BAAAKAQAACdgBAAAKCdkBAAAJBwAAAAEzMzMzMzPTPwHaAQAAIAAAAOmiK0KcrHxDAdsBAAAgAAAA6aIbQpysfEMACdwBAAAJBwAAAAkBAAAACd0BAAABDgEAAAoBAAAJ3gEAAAoJ3wEAAAkHAAAAAZqZmZmZmdk/AeABAAAgAAAA6aIrQkzYWkMB4QEAACAAAADpohtCTNhaQwAJ4gEAAAkHAAAACQEAAAAJ4wEAAAEPAQAACgEAAAnkAQAACgnlAQAACQcAAAABAAAAAAAA4D8B5gEAACAAAADpoitC/AM5QwHnAQAAIAAAAOmiG0L8AzlDAAnoAQAACQcAAAAJAQAAAAnpAQAAARABAAAKAQAACeoBAAAKCesBAAAJBwAAAAEzMzMzMzPjPwHsAQAAIAAAAOmiK0KsLxdDAe0BAAAgAAAA6aIbQqwvF0MACe4BAAAJBwAAAAkBAAAACe8BAAABEQEAAAoBAAAJ8AEAAAoJ8QEAAAkHAAAAAWZmZmZmZuY/AfIBAAAgAAAA6aIrQrm26kIB8wEAACAAAADpohtCubbqQgAJ9AEAAAkHAAAACQEAAAAJ9QEAAAESAQAACgEAAAn2AQAACgn3AQAACQcAAAABmpmZmZmZ6T8B+AEAACAAAADpoitCGQ6nQgH5AQAAIAAAAOmiG0IZDqdCAAn6AQAACQcAAAAJAQAAAAn7AQAAARMBAAAKAQAACfwBAAAKCf0BAAAJBwAAAAHNzMzMzMzsPwH+AQAAIAAAAOmiK0LzykZCAf8BAAAgAAAA6aIbQvPKRkIACQACAAAJBwAAAAkBAAAACQECAAABFAEAAAoBAAAJAgIAAAoJAwIAAAkHAAAAAQAAAAAAAPA/AQQCAAAgAAAA6aIrQszmfUEBBQIAACAAAADpohtCzOZ9QQAJBgIAAAkHAAAACQEAAAAJBwIAAAUWAQAAogFBcGxvcmlzLkJhc2UuT2JqZWN0cy5EYXRhT2JqZWN0Q29sbGVjdGlvbmAxW1tBcGxvcmlzLkNoYXJ0LkNoYXJ0RGF0YU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wLjAuMTQ4NiwgQ3VsdHVyZT1uZXV0cmFsLCBQdWJsaWNLZXlUb2tlbj0xNmZjMTNhMjI2YzBlOTUxXV0DAAAAmAFTeXN0ZW0uQ29sbGVjdGlvbnMuR2VuZXJpYy5MaXN0YDFbW0FwbG9yaXMuQ2hhcnQuQ2hhcnREYXRh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kIAgAACQkCAAAJ8wAAAAkBAAAACQoCAAAFGAEAABxBcGxvcmlzLkNoYXJ0LkNvbm5lY3RlZExhYmVsJA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CAAAAClgCAAAFCwIAACtBcGxvcmlzLkNoYXJ0LkNvbm5lY3RlZExhYmVsK2VDb25uZWN0b3JNb2RlAQAAAAd2YWx1ZV9fAAgCAAAAAQAAAAUMAgAANkFwbG9yaXMuQ2hhcnQuQ29ubmVjdGVkTGFiZWwrZUFuZ2xlZENvbm5lY3RvckRpcmVjdGlvbgEAAAAHdmFsdWVfXwAIAgAAAAAAAAABDQIAABQAAAAYrfZDzOZ9QZCu80IAAAAABQ4CAAAtQXBsb3Jpcy5DaGFydC5Db25uZWN0ZWRMYWJlbCtlVGFyZ2V0QXJlYVNoYXBlAQAAAAd2YWx1ZV9fAAgCAAAAAAAAAAAAEEEBAQ8CAAAgAAAAXswbRMzmfUEBEAIAAJoAAAAEAAAAAAAAAAAAAAAACRECAAAAAAAACRICAAAAAAETAgAAowAAAAAAAAABFAIAAGwAAAAAAOBBAABgQQEVAgAAFAAAAAAAAAAAAAAAAAAAAAAAAABeutk/CRcBAAAKCRYCAAAGFwIAAAAgAwAA/////wABCgkYAgAAAQAKAQcZAQAAAAEAAAACAAAABBVTeXN0ZW0uRHJhd2luZy5Qb2ludEYEAAAAARkCAAAgAAAAXswbRMzmfUEBGgIAACAAAADpohdCzOZ9QQcaAQAAAAEAAAACAAAABBdBcGxvcmlzLkJhc2UuQW5jaG9yTW9kZQMAAAABGwIAAJoAAAAEAAAAARwCAACaAAAAAgAAAAEbAQAAJAAAAAkdAgAAAQAAAAEAAAABHAEAACUAAAAJHgIAAAEAAAADAAAAAR4BAAAWAQAACgkfAgAACSACAAAJ9AAAAAkBAAAACSECAAABIAEAABgBAAAKWAIAAAEiAgAACwIAAAEAAAABIwIAAAwCAAAAAAAAASQCAAAUAAAAGK32Q8zmfUGQrvNCAAAAAAElAgAADgIAAAAAAAAAABBBAQEmAgAAIAAAAF7MG0TM5n1BAScCAACaAAAABAAAAAAAAAAAAAAAAAkoAgAAAAAAAAkpAgAAAAABKgIAAKMAAAAAAAAAASsCAABsAAAAAAAwQgAAYEEBLAIAABQAAAAAAAAAAAAAAAAAAAAAAAAAXrrZPwkfAQAACgktAgAACRcCAAAgAwAA/////wABCgkuAgAAAQAKAQchAQAAAAEAAAACAAAABBVTeXN0ZW0uRHJhd2luZy5Qb2ludEYEAAAAAS8CAAAgAAAAXswbRMzmfUEBMAIAACAAAADpohdCzOZ9QQciAQAAAAEAAAACAAAABBdBcGxvcmlzLkJhc2UuQW5jaG9yTW9kZQMAAAABMQIAAJoAAAAEAAAAATICAACaAAAAAgAAAAEjAQAAJAAAAAkzAgAAAQAAAAEAAAABJAEAACUAAAAJNAIAAAEAAAADAAAAASYBAAAWAQAACgk1AgAACTYCAAAJ9QAAAAkBAAAACTcCAAABKAEAABgBAAAKWAIAAAE4AgAACwIAAAEAAAABOQIAAAwCAAAAAAAAAToCAAAUAAAAGK32Q8zmfUGQrvNCAAAAAAE7AgAADgIAAAAAAAAAABBBAQE8AgAAIAAAAF7MG0TM5n1BAT0CAACaAAAABAAAAAAAAAAAAAAAAAk+AgAAAAAAAAk/AgAAAAABQAIAAKMAAAAAAAAAAUECAABsAAAAAABYQgAAYEEBQgIAABQAAAAAAAAAAAAAAAAAAAAAAAAAXrrZPwknAQAACglDAgAACRcCAAAgAwAA/////wABCglEAgAAAQAKAQcpAQAAAAEAAAACAAAABBVTeXN0ZW0uRHJhd2luZy5Qb2ludEYEAAAAAUUCAAAgAAAAXswbRMzmfUEBRgIAACAAAADpohdCzOZ9QQcqAQAAAAEAAAACAAAABBdBcGxvcmlzLkJhc2UuQW5jaG9yTW9kZQMAAAABRwIAAJoAAAAEAAAAAUgCAACaAAAAAgAAAAErAQAAJAAAAAlJAgAAAQAAAAEAAAABLAEAACUAAAAJSgIAAAEAAAADAAAAAS4BAAAWAQAACglLAgAACUwCAAAJ9gAAAAkBAAAACU0CAAABMAEAABgBAAAKWAIAAAFOAgAACwIAAAEAAAABTwIAAAwCAAAAAAAAAVACAAAUAAAAGK32Q8zmfUGQrvNCAAAAAAFRAgAADgIAAAAAAAAAABBBAQFSAgAAIAAAAF7MG0TM5n1BAVMCAACaAAAABAAAAAAAAAAAAAAAAAlUAgAAAAAAAAlVAgAAAAABVgIAAKMAAAAAAAAAAVcCAABsAAAAAAAEQgAAYEEBWAIAABQAAAAAAAAAAAAAAAAAAAAAAAAAXrrZPwkvAQAACglZAgAACRcCAAAgAwAA/////wABCglaAgAAAQAKAQcxAQAAAAEAAAACAAAABBVTeXN0ZW0uRHJhd2luZy5Qb2ludEYEAAAAAVsCAAAgAAAAXswbRMzmfUEBXAIAACAAAADpohdCzOZ9QQcyAQAAAAEAAAACAAAABBdBcGxvcmlzLkJhc2UuQW5jaG9yTW9kZQMAAAABXQIAAJoAAAAEAAAAAV4CAACaAAAAAgAAAAEzAQAAJAAAAAlfAgAAAQAAAAEAAAABNAEAACUAAAAJYAIAAAEAAAADAAAAATYBAAAWAQAACglhAgAACWICAAAJ9wAAAAkBAAAACWMCAAABOAEAABgBAAAKWAIAAAFkAgAACwIAAAEAAAABZQIAAAwCAAAAAAAAAWYCAAAUAAAAGK32Q8zmfUGQrvNCAAAAAAFnAgAADgIAAAAAAAAAABBBAQFoAgAAIAAAAF7MG0TM5n1BAWkCAACaAAAABAAAAAAAAAAAAAAAAAlqAgAAAAAAAAlrAgAAAAABbAIAAKMAAAAAAAAAAW0CAABsAAAAAAAEQgAAYEEBbgIAABQAAAAAAAAAAAAAAAAAAAAAAAAAXrrZPwk3AQAACglvAgAACRcCAAAgAwAA/////wABCglwAgAAAQAKAQc5AQAAAAEAAAACAAAABBVTeXN0ZW0uRHJhd2luZy5Qb2ludEYEAAAAAXECAAAgAAAAXswbRMzmfUEBcgIAACAAAADpohdCzOZ9QQc6AQAAAAEAAAACAAAABBdBcGxvcmlzLkJhc2UuQW5jaG9yTW9kZQMAAAABcwIAAJoAAAAEAAAAAXQCAACaAAAAAgAAAAE7AQAAJAAAAAl1AgAAAQAAAAEAAAABPAEAACUAAAAJdgIAAAEAAAADAAAAAT4BAAAWAQAACgl3AgAACXgCAAAJ+AAAAAkBAAAACXkCAAABQAEAABgBAAAKWAIAAAF6AgAACwIAAAEAAAABewIAAAwCAAAAAAAAAXwCAAAUAAAAGK32Q8zmfUGQrvNCAAAAAAF9AgAADgIAAAAAAAAAABBBAQF+AgAAIAAAAF7MG0TM5n1BAX8CAACaAAAABAAAAAAAAAAAAAAAAAmAAgAAAAAAAAmBAgAAAAABggIAAKMAAAAAAAAAAYMCAABsAAAAAACwQQAAYEEBhAIAABQAAAAAAAAAAAAAAAAAAAAAAAAAXrrZPwk/AQAACgmFAgAACRcCAAAgAwAA/////wABCgmGAgAAAQAKAQdBAQAAAAEAAAACAAAABBVTeXN0ZW0uRHJhd2luZy5Qb2ludEYEAAAAAYcCAAAgAAAAXswbRMzmfUEBiAIAACAAAADpohdCzOZ9QQdCAQAAAAEAAAACAAAABBdBcGxvcmlzLkJhc2UuQW5jaG9yTW9kZQMAAAABiQIAAJoAAAAEAAAAAYoCAACaAAAAAgAAAAFDAQAAJAAAAAmLAgAAAQAAAAEAAAABRAEAACUAAAAJjAIAAAEAAAAFAAAAAUYBAAAWAQAACgmNAgAACY4CAAAJ+QAAAAkBAAAACY8CAAABSAEAABgBAAAKWAIAAAGQAgAACwIAAAEAAAABkQIAAAwCAAAAAAAAAZICAAAUAAAAGK32Q8zmfUGQrvNCAAAAAAGTAgAADgIAAAAAAAAAABBBAQGUAgAAIAAAAF7MG0TM5n1BAZUCAACaAAAABAAAAAAAAAAAAAAAAAmWAgAAAAAAAAmXAgAAAAABmAIAAKMAAAAAAAAAAZkCAABsAAAAAAAAAAAAAAABmgIAABQAAAAAAAAAAAAAAAAAAAAAAAAAAAAAAAlHAQAACgmbAgAACRcCAAAgAwAA/////wABCgmcAgAAAQAKAQdJAQAAAAEAAAACAAAABBVTeXN0ZW0uRHJhd2luZy5Qb2ludEYEAAAAAZ0CAAAgAAAAXswbRMzmfUEBngIAACAAAADpohdC06fhQQdKAQAAAAEAAAACAAAABBdBcGxvcmlzLkJhc2UuQW5jaG9yTW9kZQMAAAABnwIAAJoAAAAEAAAAAaACAACaAAAAAgAAAAFLAQAAJAAAAAmhAgAAAQAAAAEAAAABTAEAACUAAAAJogIAAAEAAAABAAAAAU4BAAAWAQAACgmjAgAACaQCAAAJ+gAAAAkBAAAACaUCAAABUAEAABgBAAAKWAIAAAGmAgAACwIAAAEAAAABpwIAAAwCAAAAAAAAAagCAAAUAAAAGK32Q8zmfUGQrvNCAAAAAAGpAgAADgIAAAAAAAAAABBBAQGqAgAAIAAAAF7MG0TM5n1BAasCAACaAAAABAAAAAAAAAAAAAAAAAmsAgAAAAAAAAmtAgAAAAABrgIAAKMAAAAAAAAAAa8CAABsAAAAAAAAAAAAAAABsAIAABQAAAAAAAAAAAAAAAAAAAAAAAAAAAAAAAlPAQAACgmxAgAACRcCAAAgAwAA/////wABCgmyAgAAAQAKAQdRAQAAAAEAAAACAAAABBVTeXN0ZW0uRHJhd2luZy5Qb2ludEYEAAAAAbMCAAAgAAAAXswbRMzmfUEBtAIAACAAAADpohdCD4rcQgdSAQAAAAEAAAACAAAABBdBcGxvcmlzLkJhc2UuQW5jaG9yTW9kZQMAAAABtQIAAJoAAAAEAAAAAbYCAACaAAAAAgAAAAFTAQAAJAAAAAm3AgAAAQAAAAEAAAABVAEAACUAAAAJuAIAAAEAAAABAAAAAVYBAAAWAQAACgm5AgAACboCAAAJ+wAAAAkBAAAACbsCAAABWAEAABgBAAAKWAIAAAG8AgAACwIAAAEAAAABvQIAAAwCAAAAAAAAAb4CAAAUAAAAGK32Q8zmfUGQrvNCAAAAAAG/AgAADgIAAAAAAAAAABBBAQHAAgAAIAAAAF7MG0TM5n1BAcECAACaAAAABAAAAAAAAAAAAAAAAAnCAgAAAAAAAAnDAgAAAAABxAIAAKMAAAAAAAAAAcUCAABsAAAAAAAAAAAAAAABxgIAABQAAAAAAAAAAAAAAAAAAAAAAAAAAAAAAAlXAQAACgnHAgAACRcCAAAgAwAA/////wABCgnIAgAAAQAKAQdZAQAAAAEAAAACAAAABBVTeXN0ZW0uRHJhd2luZy5Qb2ludEYEAAAAAckCAAAgAAAAXswbRMzmfUEBygIAACAAAADpohdCXtxXQwdaAQAAAAEAAAACAAAABBdBcGxvcmlzLkJhc2UuQW5jaG9yTW9kZQMAAAABywIAAJoAAAAEAAAAAcwCAACaAAAAAgAAAAFbAQAAJAAAAAnNAgAAAQAAAAEAAAABXAEAACUAAAAJzgIAAAEAAAABAAAAAV4BAAAWAQAACgnPAgAACdACAAAJ/AAAAAkBAAAACdECAAABYAEAABgBAAAKWAIAAAHSAgAACwIAAAEAAAAB0wIAAAwCAAAAAAAAAdQCAAAUAAAAGK32Q8zmfUGQrvNCAAAAAAHVAgAADgIAAAAAAAAAABBBAQHWAgAAIAAAAF7MG0TM5n1BAdcCAACaAAAABAAAAAAAAAAAAAAAAAnYAgAAAAAAAAnZAgAAAAAB2gIAAKMAAAAAAAAAAdsCAABsAAAAAAAAAAAAAAAB3AIAABQAAAAAAAAAAAAAAAAAAAAAAAAAAAAAAAlfAQAACgndAgAACRcCAAAgAwAA/////wABCgneAgAAAQAKAQdhAQAAAAEAAAACAAAABBVTeXN0ZW0uRHJhd2luZy5Qb2ludEYEAAAAAd8CAAAgAAAAXswbRMzmfUEB4AIAACAAAADpohdC2GuLQwdiAQAAAAEAAAACAAAABBdBcGxvcmlzLkJhc2UuQW5jaG9yTW9kZQMAAAAB4QIAAJoAAAAEAAAAAeICAACaAAAAAgAAAAFjAQAAJAAAAAnjAgAAAQAAAAEAAAABZAEAACUAAAAJ5AIAAAEAAAABAAAAAWYBAAAWAQAACgnlAgAACeYCAAAJ/QAAAAkBAAAACecCAAABaAEAABgBAAAKWAIAAAHoAgAACwIAAAEAAAAB6QIAAAwCAAAAAAAAAeoCAAAUAAAAGK32Q8zmfUGQrvNCAAAAAAHrAgAADgIAAAAAAAAAABBBAQHsAgAAIAAAAF7MG0TM5n1BAe0CAACaAAAABAAAAAAAAAAAAAAAAAnuAgAAAAAAAAnvAgAAAAAB8AIAAKMAAAAAAAAAAfECAABsAAAAAAAAAAAAAAAB8gIAABQAAAAAAAAAAAAAAAAAAAAAAAAAAAAAAAlnAQAACgnzAgAACRcCAAAgAwAA/////wABCgn0AgAAAQAKAQdpAQAAAAEAAAACAAAABBVTeXN0ZW0uRHJhd2luZy5Qb2ludEYEAAAAAfUCAAAgAAAAXswbRMzmfUEB9gIAACAAAADpohdCrQelQwdqAQAAAAEAAAACAAAABBdBcGxvcmlzLkJhc2UuQW5jaG9yTW9kZQMAAAAB9wIAAJoAAAAEAAAAAfgCAACaAAAAAgAAAAFrAQAAJAAAAAn5AgAAAQAAAAEAAAABbAEAACUAAAAJ+gIAAAEAAAABAAAAAW4BAAAWAQAACgn7AgAACfwCAAAJ/gAAAAkBAAAACf0CAAABcAEAABgBAAAKWAIAAAH+AgAACwIAAAEAAAAB/wIAAAwCAAAAAAAAAQADAAAUAAAAGK32Q8zmfUGQrvNCAAAAAAEBAwAADgIAAAAAAAAAABBBAQECAwAAIAAAAF7MG0TM5n1BAQMDAACaAAAABAAAAAAAAAAAAAAAAAkEAwAAAAAAAAkFAwAAAAABBgMAAKMAAAAAAAAAAQcDAABsAAAAAAAAAAAAAAABCAMAABQAAAAAAAAAAAAAAAAAAAAAAAAAAAAAAAlvAQAACgkJAwAACRcCAAAgAwAA/////wABCgkKAwAAAQAKAQdxAQAAAAEAAAACAAAABBVTeXN0ZW0uRHJhd2luZy5Qb2ludEYEAAAAAQsDAAAgAAAAXswbRMzmfUEBDAMAACAAAADpohdCxhSxQwdyAQAAAAEAAAACAAAABBdBcGxvcmlzLkJhc2UuQW5jaG9yTW9kZQMAAAABDQMAAJoAAAAEAAAAAQ4DAACaAAAAAgAAAAFzAQAAJAAAAAkPAwAAAQAAAAEAAAABdAEAACUAAAAJEAMAAAEAAAABAAAAAXYBAAAWAQAACgkRAwAACRIDAAAJ/wAAAAkBAAAACRMDAAABeAEAABgBAAAKWAIAAAEUAwAACwIAAAEAAAABFQMAAAwCAAAAAAAAARYDAAAUAAAAGK32Q8zmfUGQrvNCAAAAAAEXAwAADgIAAAAAAAAAABBBAQEYAwAAIAAAAF7MG0TM5n1BARkDAACaAAAABAAAAAAAAAAAAAAAAAkaAwAAAAAAAAkbAwAAAAABHAMAAKMAAAAAAAAAAR0DAABsAAAAAAAAAAAAAAABHgMAABQAAAAAAAAAAAAAAAAAAAAAAAAAAAAAAAl3AQAACgkfAwAACRcCAAAgAwAA/////wABCgkgAwAAAQAKAQd5AQAAAAEAAAACAAAABBVTeXN0ZW0uRHJhd2luZy5Qb2ludEYEAAAAASEDAAAgAAAAXswbRMzmfUEBIgMAACAAAADpohdCxhSxQwd6AQAAAAEAAAACAAAABBdBcGxvcmlzLkJhc2UuQW5jaG9yTW9kZQMAAAABIwMAAJoAAAAEAAAAASQDAACaAAAAAgAAAAF7AQAAJAAAAAklAwAAAQAAAAEAAAABfAEAACUAAAAJJgMAAAEAAAABAAAAAX4BAAAWAQAACgknAwAACSgDAAAJAAEAAAkBAAAACSkDAAABgAEAABgBAAAKWAIAAAEqAwAACwIAAAEAAAABKwMAAAwCAAAAAAAAASwDAAAUAAAAGK32Q8zmfUGQrvNCAAAAAAEtAwAADgIAAAAAAAAAABBBAQEuAwAAIAAAAF7MG0TM5n1BAS8DAACaAAAABAAAAAAAAAAAAAAAAAkwAwAAAAAAAAkxAwAAAAABMgMAAKMAAAAAAAAAATMDAABsAAAAAAAAAAAAAAABNAMAABQAAAAAAAAAAAAAAAAAAAAAAAAAAAAAAAl/AQAACgk1AwAACRcCAAAgAwAA/////wABCgk2AwAAAQAKAQeBAQAAAAEAAAACAAAABBVTeXN0ZW0uRHJhd2luZy5Qb2ludEYEAAAAATcDAAAgAAAAXswbRMzmfUEBOAMAACAAAADpohdCxhSxQweCAQAAAAEAAAACAAAABBdBcGxvcmlzLkJhc2UuQW5jaG9yTW9kZQMAAAABOQMAAJoAAAAEAAAAAToDAACaAAAAAgAAAAGDAQAAJAAAAAk7AwAAAQAAAAEAAAABhAEAACUAAAAJPAMAAAEAAAABAAAAAYYBAAAWAQAACgk9AwAACT4DAAAJAQEAAAkBAAAACT8DAAABiAEAABgBAAAKWAIAAAFAAwAACwIAAAEAAAABQQMAAAwCAAAAAAAAAUIDAAAUAAAAGK32Q2bzlkGQrvNCzkY7QwFDAwAADgIAAAAAAAAAABBBAQFEAwAAIAAAAF7MG0SoA+FCAUUDAACaAAAABAAAAAAAAAAAAAAAAAlGAwAAAAAAAAlHAwAAAAABSAMAAKMAAAAAAAAAAUkDAABsAAAAAAAAAAAAAAABSgMAABQAAAAAAAAAAAAAAAAAAAAAAAAAAAAAAAmHAQAACglLAwAACRcCAAAgAwAA/////wABCglMAwAAAQAKAQeJAQAAAAEAAAACAAAABBVTeXN0ZW0uRHJhd2luZy5Qb2ludEYEAAAAAU0DAAAgAAAAXswbRKgD4UIBTgMAACAAAADpohdCxhSxQweKAQAAAAEAAAACAAAABBdBcGxvcmlzLkJhc2UuQW5jaG9yTW9kZQMAAAABTwMAAJoAAAAEAAAAAVADAACaAAAAAgAAAAGLAQAAJAAAAAlRAwAAAQAAAAEAAAABjAEAACUAAAAJUgMAAAEAAAABAAAAAY4BAAAWAQAACglTAwAACVQDAAAJAgEAAAkBAAAACVUDAAABkAEAABgBAAAKWAIAAAFWAwAACwIAAAEAAAABVwMAAAwCAAAAAAAAAVgDAAAUAAAAGK32QzslVEOQrvNCvhGhQgFZAwAADgIAAAAAAAAAABBBAQFaAwAAIAAAAF7MG0SqaXxDAVsDAACaAAAABAAAAAAAAAAAAAAAAAlcAwAAAAAAAAldAwAAAAABXgMAAKMAAAAAAAAAAV8DAABsAAAAAAAAAAAAAAABYAMAABQAAAAAAAAAAAAAAAAAAAAAAAAAAAAAAAmPAQAACglhAwAACRcCAAAgAwAA/////wABCgliAwAAAQAKAQeRAQAAAAEAAAACAAAABBVTeXN0ZW0uRHJhd2luZy5Qb2ludEYEAAAAAWMDAAAgAAAAXswbRKppfEMBZAMAACAAAADpohdCxhSxQweSAQAAAAEAAAACAAAABBdBcGxvcmlzLkJhc2UuQW5jaG9yTW9kZQMAAAABZQMAAJoAAAAEAAAAAWYDAACaAAAAAgAAAAGTAQAAJAAAAAlnAwAAAQAAAAEAAAABlAEAACUAAAAJaAMAAAEAAAABAAAAAZYBAAAWAQAACglpAwAACWoDAAAJAwEAAAkBAAAACWsDAAABmAEAABgBAAAKWAIAAAFsAwAACwIAAAEAAAABbQMAAAwCAAAAAAAAAW4DAAAUAAAAGK32Qw1XlUOQrvNC4CoTQgFvAwAADgIAAAAAAAAAABBBAQFwAwAAIAAAAF7MG0S7iZ5DAXEDAACaAAAABAAAAAAAAAAAAAAAAAlyAwAAAAAAAAlzAwAAAAABdAMAAKMAAAAAAAAAAXUDAABsAAAAAAAAAAAAAAABdgMAABQAAAAAAAAAAAAAAAAAAAAAAAAAAAAAAAmXAQAACgl3AwAACRcCAAAgAwAA/////wABCgl4AwAAAQAKAQeZAQAAAAEAAAACAAAABBVTeXN0ZW0uRHJhd2luZy5Qb2ludEYEAAAAAXkDAAAgAAAAXswbRLuJnkMBegMAACAAAADpohdCxhSxQweaAQAAAAEAAAACAAAABBdBcGxvcmlzLkJhc2UuQW5jaG9yTW9kZQMAAAABewMAAJoAAAAEAAAAAXwDAACaAAAAAgAAAAGbAQAAJAAAAAl9AwAAAQAAAAEAAAABnAEAACUAAAAJfgMAAAEAAAABAAAAAZ4BAAAWAQAACgl/AwAACYADAAAJBAEAAAkBAAAACYEDAAABoAEAABgBAAAKWAIAAAGCAwAACwIAAAEAAAABgwMAAAwCAAAAAAAAAYQDAAAUAAAAGK32Q2m8qkOQrvNCoAsbQQGFAwAADgIAAAAAAAAAABBBAQGGAwAAIAAAAF7MG0SYKK1DAYcDAACaAAAABAAAAAAAAAAAAAAAAAmIAwAAAAAAAAmJAwAAAAABigMAAKMAAAAAAAAAAYsDAABsAAAAAAAAAAAAAAABjAMAABQAAAAAAAAAAAAAAAAAAAAAAAAAAAAAAAmfAQAACgmNAwAACRcCAAAgAwAA/////wABCgmOAwAAAQAKAQehAQAAAAEAAAACAAAABBVTeXN0ZW0uRHJhd2luZy5Qb2ludEYEAAAAAY8DAAAgAAAAXswbRJgorUMBkAMAACAAAADpohdCxhSxQweiAQAAAAEAAAACAAAABBdBcGxvcmlzLkJhc2UuQW5jaG9yTW9kZQMAAAABkQMAAJoAAAAEAAAAAZIDAACaAAAAAgAAAAGjAQAAJAAAAAmTAwAAAQAAAAEAAAABpAEAACUAAAAJlAMAAAEAAAABAAAAD6cBAAABAAAACAAAAAAHqAEAAAABAAAAAQAAAAQVQXBsb3Jpcy5CYXNlLlVJLkxhYmVsAwAAAAoBqQEAACQAAAAJ0gAAAAAAAAAAAAAAAaoBAAAlAAAACZUDAAAAAAAACAAAAA+tAQAAAQAAAAgAAAAAB64BAAAAAQAAAAEAAAAEFUFwbG9yaXMuQmFzZS5VSS5MYWJlbAMAAAAKAa8BAAAkAAAACdIAAAAAAAAAAAAAAAGwAQAAJQAAAAmWAwAAAAAAAAgAAAAPswEAAAEAAAAIAAAAAAe0AQAAAAEAAAABAAAABBVBcGxvcmlzLkJhc2UuVUkuTGFiZWwDAAAACZcDAAABtQEAADMAAAABmAMAACAAAACMLhFDxpSzQwGZAwAAmgAAAAMAAAAAAAAAAAAAAAAJmgMAAAAAAAAJmwMAAAAAAZwDAACjAAAAAAAAAAGdAwAAbAAAAAAAqEIAAEBBAZ4DAAAUAAAAuujSQqOLs0NHrp5Co4suQRKDvj8JsQEAAAoJnwMAAAkXAgAAIAMAAP////8BAQoJoAMAAAEACgABtgEAACQAAAAJoQMAAAAAAAAAAAAAAbcBAAAlAAAACaIDAAACAAAAAgAAAA+6AQAAAQAAAAgAAAAAB7sBAAAAAQAAAAEAAAAEFUFwbG9yaXMuQmFzZS5VSS5MYWJlbAMAAAAJowMAAAG8AQAAMwAAAAGkAwAAIAAAABjdrkPGlLNDAaUDAACaAAAAAwAAAAAAAAAAAAAAAAmmAwAAAAAAAAmnAwAAAAABqAMAAKMAAAAAAAAAAakDAABsAAAAAACuQgAAQEEBqgMAABQAAACji5pDo4uzQ6QipEKjiy5BEoO+Pwm4AQAACgmrAwAACRcCAAAgAwAA/////wEBCgmsAwAAAQAKAAG9AQAAJAAAAAmhAwAAAAAAAAAAAAABvgEAACUAAAAJrQMAAAIAAAACAAAAD8EBAAABAAAACAAAAAAHwgEAAAABAAAAAQAAAAQVQXBsb3Jpcy5CYXNlLlVJLkxhYmVsAwAAAAmuAwAAAcMBAAAzAAAAAa8DAAAgAAAAdZEKRMaUs0MBsAMAAJoAAAADAAAAAAAAAAAAAAAACbEDAAAAAAAACbIDAAAAAAGzAwAAowAAAAAAAAABtAMAAGwAAAAAABBCAABAQQG1AwAAFAAAAEYXBkSji7ND69AOQqOLLkESg74/Cb8BAAAKCbYDAAAJFwIAACADAAD/////AQEKCbcDAAABAAoAAcQBAAAkAAAACbgDAAAAAAAAAAAAAAHFAQAAJQAAAAm5AwAAAgAAAAIAAAABxgEAAC8AAAABugMAACAAAADpoitCxhSxQwG7AwAAIAAAAOmiG0LGFLFDCbwDAADMAQAA/////wEBCgm9AwAAAQAKAAHHAQAAMwAAAAG+AwAAIAAAAOmiFULGFLFDAb8DAACaAAAAAgAAAAAAAAAAAAAAAAnAAwAAAAAAAAnBAwAAAAABwgMAAKMAAAAAAAAAAcMDAABsAAAAAACAQQAAQEEBxAMAABQAAACji65Bo4uuQ3otjEGjiy5BEoO+PwbFAwAAAjAlCgnGAwAACRcCAADQAgAA/////wEBCgnHAwAAAQAKAAHKAQAAJAAAAAnSAAAAAAAAAAAAAAABywEAACUAAAAJyAMAAAIAAAACAAAAAcwBAAAvAAAAAckDAAAgAAAA6aIrQp4qoEMBygMAACAAAADpohtCniqgQwnLAwAAzAEAAP////8BAQoJzAMAAAEACgABzQEAADMAAAABzQMAACAAAADpohVCniqgQwHOAwAAmgAAAAIAAAAAAAAAAAAAAAAJzwMAAAAAAAAJ0AMAAAAAAdEDAACjAAAAAAAAAAHSAwAAbAAAAAAAuEEAAEBBAdMDAAAUAAAA0UV3QdFFnUM0Fr9Bo4suQRKDvj8G1AMAAAMxMCUKCdUDAAAJFwIAANACAAD/////AQEKCdYDAAABAAoAAdABAAAkAAAACdIAAAAAAAAAAAAAAAHRAQAAJQAAAAnXAwAAAgAAAAIAAAAB0gEAAC8AAAAB2AMAACAAAADpoitCdkCPQwHZAwAAIAAAAOmiG0J2QI9DCdoDAADMAQAA/////wEBCgnbAwAAAQAKAAHTAQAAMwAAAAHcAwAAIAAAAOmiFUJ2QI9DAd0DAACaAAAAAgAAAAAAAAAAAAAAAAneAwAAAAAAAAnfAwAAAAAB4AMAAKMAAAAAAAAAAeEDAABsAAAAAAC4QQAAQEEB4gMAABQAAADRRXdBXXSMQzQWv0Gjiy5BEoO+PwbjAwAAAzIwJQoJ5AMAAAkXAgAA0AIAAP////8BAQoJ5QMAAAEACgAB1gEAACQAAAAJ0gAAAAAAAAAAAAAAAdcBAAAlAAAACeYDAAACAAAAAgAAAAHYAQAALwAAAAHnAwAAIAAAAOmiK0KcrHxDAegDAAAgAAAA6aIbQpysfEMJ6QMAAMwBAAD/////AQEKCeoDAAABAAoAAdkBAAAzAAAAAesDAAAgAAAA6aIVQpysfEMB7AMAAJoAAAACAAAAAAAAAAAAAAAACe0DAAAAAAAACe4DAAAAAAHvAwAAowAAAAAAAAAB8AMAAGwAAAAAALhBAABAQQHxAwAAFAAAANFFd0HRRXdDNBa/QaOLLkESg74/BvIDAAADMzAlCgnzAwAACRcCAADQAgAA/////wEBCgn0AwAAAQAKAAHcAQAAJAAAAAnSAAAAAAAAAAAAAAAB3QEAACUAAAAJ9QMAAAIAAAACAAAAAd4BAAAvAAAAAfYDAAAgAAAA6aIrQkzYWkMB9wMAACAAAADpohtCTNhaQwn4AwAAzAEAAP////8BAQoJ+QMAAAEACgAB3wEAADMAAAAB+gMAACAAAADpohVCTNhaQwH7AwAAmgAAAAIAAAAAAAAAAAAAAAAJ/AMAAAAAAAAJ/QMAAAAAAf4DAACjAAAAAAAAAAH/AwAAbAAAAAAAuEEAAEBBAQAEAAAUAAAA0UV3QeiiVUM0Fr9Bo4suQRKDvj8GAQQAAAM0MCUKCQIEAAAJFwIAANACAAD/////AQEKCQMEAAABAAoAAeIBAAAkAAAACdIAAAAAAAAAAAAAAAHjAQAAJQAAAAkEBAAAAgAAAAIAAAAB5AEAAC8AAAABBQQAACAAAADpoitC/AM5QwEGBAAAIAAAAOmiG0L8AzlDCQcEAADMAQAA/////wEBCgkIBAAAAQAKAAHlAQAAMwAAAAEJBAAAIAAAAOmiFUL8AzlDAQoEAACaAAAAAgAAAAAAAAAAAAAAAAkLBAAAAAAAAAkMBAAAAAABDQQAAKMAAAAAAAAAAQ4EAABsAAAAAAC4QQAAQEEBDwQAABQAAADRRXdBAAA0QzQWv0Gjiy5BEoO+PwYQBAAAAzUwJQoJEQQAAAkXAgAA0AIAAP////8BAQoJEgQAAAEACgAB6AEAACQAAAAJ0gAAAAAAAAAAAAAAAekBAAAlAAAACRMEAAACAAAAAgAAAAHqAQAALwAAAAEUBAAAIAAAAOmiK0KsLxdDARUEAAAgAAAA6aIbQqwvF0MJFgQAAMwBAAD/////AQEKCRcEAAABAAoAAesBAAAzAAAAARgEAAAgAAAA6aIVQqwvF0MBGQQAAJoAAAACAAAAAAAAAAAAAAAACRoEAAAAAAAACRsEAAAAAAEcBAAAowAAAAAAAAABHQQAAGwAAAAAALhBAABAQQEeBAAAFAAAANFFd0FddBFDNBa/QaOLLkESg74/Bh8EAAADNjAlCgkgBAAACRcCAADQAgAA/////wEBCgkhBAAAAQAKAAHuAQAAJAAAAAnSAAAAAAAAAAAAAAAB7wEAACUAAAAJIgQAAAIAAAACAAAAAfABAAAvAAAAASMEAAAgAAAA6aIrQrm26kIBJAQAACAAAADpohtCubbqQgklBAAAzAEAAP////8BAQoJJgQAAAEACgAB8QEAADMAAAABJwQAACAAAADpohVCubbqQgEoBAAAmgAAAAIAAAAAAAAAAAAAAAAJKQQAAAAAAAAJKgQAAAAAASsEAACjAAAAAAAAAAEsBAAAbAAAAAAAuEEAAEBBAS0EAAAUAAAA0UV3Qeii30I0Fr9Bo4suQRKDvj8GLgQAAAM3MCUKCS8EAAAJFwIAANACAAD/////AQEKCTAEAAABAAoAAfQBAAAkAAAACdIAAAAAAAAAAAAAAAH1AQAAJQAAAAkxBAAAAgAAAAIAAAAB9gEAAC8AAAABMgQAACAAAADpoitCGQ6nQgEzBAAAIAAAAOmiG0IZDqdCCTQEAADMAQAA/////wEBCgk1BAAAAQAKAAH3AQAAMwAAAAE2BAAAIAAAAOmiFUIZDqdCATcEAACaAAAAAgAAAAAAAAAAAAAAAAk4BAAAAAAAAAk5BAAAAAABOgQAAKMAAAAAAAAAATsEAABsAAAAAAC4QQAAQEEBPAQAABQAAADRRXdBF12cQjQWv0Gjiy5BEoO+PwY9BAAAAzgwJQoJPgQAAAkXAgAA0AIAAP////8BAQoJPwQAAAEACgAB+gEAACQAAAAJ0gAAAAAAAAAAAAAAAfsBAAAlAAAACUAEAAACAAAAAgAAAAH8AQAALwAAAAFBBAAAIAAAAOmiK0LzykZCAUIEAAAgAAAA6aIbQvPKRkIJQwQAAMwBAAD/////AQEKCUQEAAABAAoAAf0BAAAzAAAAAUUEAAAgAAAA6aIVQvPKRkIBRgQAAJoAAAACAAAAAAAAAAAAAAAACUcEAAAAAAAACUgEAAAAAAFJBAAAowAAAAAAAAABSgQAAGwAAAAAALhBAABAQQFLBAAAFAAAANFFd0GLLjJCNBa/QaOLLkESg74/BkwEAAADOTAlCglNBAAACRcCAADQAgAA/////wEBCglOBAAAAQAKAAEAAgAAJAAAAAnSAAAAAAAAAAAAAAABAQIAACUAAAAJTwQAAAIAAAACAAAAAQICAAAvAAAAAVAEAAAgAAAA6aIrQszmfUEBUQQAACAAAADpohtCzOZ9QQlSBAAAzAEAAP////8BAQoJUwQAAAEACgABAwIAADMAAAABVAQAACAAAADpohVCzOZ9QQFVBAAAmgAAAAIAAAAAAAAAAAAAAAAJVgQAAAAAAAAJVwQAAAAAAVgEAACjAAAAAAAAAAFZBAAAbAAAAAAA6EEAAEBBAVoEAAAUAAAAAAAgQQAAIEEcuepBo4suQRKDvj8GWwQAAAQxMDAlCglcBAAACRcCAADQAgAA/////wEBCgldBAAAAQAKAAEGAgAAJAAAAAnSAAAAAAAAAAAAAAABBwIAACUAAAAJXgQAAAIAAAACAAAABAgCAACYAVN5c3RlbS5Db2xsZWN0aW9ucy5HZW5lcmljLkxpc3RgMVtbQXBsb3Jpcy5DaGFydC5DaGFydERhdGFFbGVtZW50LCBBcGxvcmlzLkNoYXJ0LCBWZXJzaW9uPTQuMC4wLjE0ODYsIEN1bHR1cmU9bmV1dHJhbCwgUHVibGljS2V5VG9rZW49MTZmYzEzYTIyNmMwZTk1MV1dAwAAAAZfaXRlbXMFX3NpemUIX3ZlcnNpb24EAAAgQXBsb3Jpcy5DaGFydC5DaGFydERhdGFFbGVtZW50W10CAAAACAgJXwQAAAUAAAARAAAAAQkCAAAkAAAACWAEAAAFAAAADQAAAAEKAgAAJQAAAAnQAAAAAAAAAAAAAAAFEQ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MAAAAKAAAAAABAQQlwAAAACXEAAAAJYQQAAAEACWIEAAABEgIAAHIAAAAKCgAAAAD///8ADgAAAAABARYCAACnAAAACWMEAAABAAAAAQAAAAEYAgAAbwAAAAlkBAAACgcdAgAAAAEAAAAEAAAABB9BcGxvcmlzLkJhc2UuT2JqZWN0cy5EYXRhT2JqZWN0AwAAAAkWAQAADQMHHgIAAAABAAAABAAAAAQcQXBsb3Jpcy5CYXNlLlVJLlZpc3VhbE9iamVjdAMAAAAJGAEAAA0DAR8CAAAIAgAACWUEAAAFAAAAEQAAAAEgAgAAJAAAAAlmBAAABQAAAA0AAAABIQIAACUAAAAJ0AAAAAAAAAAAAAAABSg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0AAAACgAAAAAAQEEJcAAAAAlxAAAACWcEAAABAAloBAAAASkCAAByAAAACgoAAAAA////AA4AAAAAAQEtAgAApwAAAAlpBAAAAQAAAAEAAAABLgIAAG8AAAAJagQAAAoHMwIAAAABAAAABAAAAAQfQXBsb3Jpcy5CYXNlLk9iamVjdHMuRGF0YU9iamVjdAMAAAAJHgEAAA0DBzQCAAAAAQAAAAQAAAAEHEFwbG9yaXMuQmFzZS5VSS5WaXN1YWxPYmplY3QDAAAACSABAAANAwE1AgAACAIAAAlrBAAABQAAABEAAAABNgIAACQAAAAJbAQAAAUAAAANAAAAATcCAAAlAAAACdAAAAAAAAAAAAAAAAU+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QAAAAoAAAAAAEBBCXAAAAAJcQAAAAltBAAAAQAJbgQAAAE/AgAAcgAAAAoKAAAAAP///wAOAAAAAAEBQwIAAKcAAAAJbwQAAAEAAAABAAAAAUQCAABvAAAACXAEAAAKB0kCAAAAAQAAAAQAAAAEH0FwbG9yaXMuQmFzZS5PYmplY3RzLkRhdGFPYmplY3QDAAAACSYBAAANAwdKAgAAAAEAAAAEAAAABBxBcGxvcmlzLkJhc2UuVUkuVmlzdWFsT2JqZWN0AwAAAAkoAQAADQMBSwIAAAgCAAAJcQQAAAUAAAARAAAAAUwCAAAkAAAACXIEAAAFAAAADQAAAAFNAgAAJQAAAAnQAAAAAAAAAAAAAAAFVA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YAAAAKAAAAAABAQQlwAAAACXEAAAAJcwQAAAEACXQEAAABVQIAAHIAAAAKCgAAAAD///8ADgAAAAABAVkCAACnAAAACXUEAAABAAAAAQAAAAFaAgAAbwAAAAl2BAAACgdfAgAAAAEAAAAEAAAABB9BcGxvcmlzLkJhc2UuT2JqZWN0cy5EYXRhT2JqZWN0AwAAAAkuAQAADQMHYAIAAAABAAAABAAAAAQcQXBsb3Jpcy5CYXNlLlVJLlZpc3VhbE9iamVjdAMAAAAJMAEAAA0DAWECAAAIAgAACXcEAAAFAAAAEQAAAAFiAgAAJAAAAAl4BAAABQAAAA0AAAABYwIAACUAAAAJ0AAAAAAAAAAAAAAABWo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3AAAACgAAAAAAQEEJcAAAAAlxAAAACXkEAAABAAl6BAAAAWsCAAByAAAACgoAAAAA////AA4AAAAAAQFvAgAApwAAAAl7BAAAAQAAAAEAAAABcAIAAG8AAAAJfAQAAAoHdQIAAAABAAAABAAAAAQfQXBsb3Jpcy5CYXNlLk9iamVjdHMuRGF0YU9iamVjdAMAAAAJNgEAAA0DB3YCAAAAAQAAAAQAAAAEHEFwbG9yaXMuQmFzZS5VSS5WaXN1YWxPYmplY3QDAAAACTgBAAANAwF3AgAACAIAAAl9BAAABQAAABEAAAABeAIAACQAAAAJfgQAAAUAAAANAAAAAXkCAAAlAAAACdAAAAAAAAAAAAAAAAWA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AAAAAoAAAAAAEBBCXAAAAAJcQAAAAl/BAAAAQAJgAQAAAGBAgAAcgAAAAoKAAAAAP///wAOAAAAAAEBhQIAAKcAAAAJgQQAAAEAAAABAAAAAYYCAABvAAAACYIEAAAKB4sCAAAAAQAAAAQAAAAEH0FwbG9yaXMuQmFzZS5PYmplY3RzLkRhdGFPYmplY3QDAAAACT4BAAANAweMAgAAAAEAAAAEAAAABBxBcGxvcmlzLkJhc2UuVUkuVmlzdWFsT2JqZWN0AwAAAAlAAQAADQMBjQIAAAgCAAAJgwQAAAUAAAAFAAAAAY4CAAAkAAAACYQEAAAFAAAABQAAAAGPAgAAJQAAAAmFBAAAAAAAAAAAAAAFlg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kAAAAKAAAAAABAQQlwAAAACXEAAAAJhgQAAAEACYcEAAABlwIAAHIAAAAKCgEAAAAAAAAA/////wABAZsCAACnAAAACYgEAAABAAAAAQAAAAGcAgAAbwAAAAmJBAAACgehAgAAAAEAAAAEAAAABB9BcGxvcmlzLkJhc2UuT2JqZWN0cy5EYXRhT2JqZWN0AwAAAAlGAQAADQMHogIAAAABAAAABAAAAAQcQXBsb3Jpcy5CYXNlLlVJLlZpc3VhbE9iamVjdAMAAAAJSAEAAA0DAaMCAAAIAgAACYoEAAAFAAAABQAAAAGkAgAAJAAAAAmLBAAABQAAAAUAAAABpQIAACUAAAAJhQQAAAAAAAAAAAAABaw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6AAAACgAAAAAAQEEJcAAAAAlxAAAACYwEAAABAAmNBAAAAa0CAAByAAAACgoBAAAAAAAAAP////8AAQGxAgAApwAAAAmOBAAAAQAAAAEAAAABsgIAAG8AAAAJjwQAAAoHtwIAAAABAAAABAAAAAQfQXBsb3Jpcy5CYXNlLk9iamVjdHMuRGF0YU9iamVjdAMAAAAJTgEAAA0DB7gCAAAAAQAAAAQAAAAEHEFwbG9yaXMuQmFzZS5VSS5WaXN1YWxPYmplY3QDAAAACVABAAANAwG5AgAACAIAAAmQBAAABQAAAAUAAAABugIAACQAAAAJkQQAAAUAAAAFAAAAAbsCAAAlAAAACYUEAAAAAAAAAAAAAAXC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wAAAAoAAAAAAEBBCXAAAAAJcQAAAAmSBAAAAQAJkwQAAAHDAgAAcgAAAAoKAQAAAAAAAAD/////AAEBxwIAAKcAAAAJlAQAAAEAAAABAAAAAcgCAABvAAAACZUEAAAKB80CAAAAAQAAAAQAAAAEH0FwbG9yaXMuQmFzZS5PYmplY3RzLkRhdGFPYmplY3QDAAAACVYBAAANAwfOAgAAAAEAAAAEAAAABBxBcGxvcmlzLkJhc2UuVUkuVmlzdWFsT2JqZWN0AwAAAAlYAQAADQMBzwIAAAgCAAAJlgQAAAUAAAAFAAAAAdACAAAkAAAACZcEAAAFAAAABQAAAAHRAgAAJQAAAAmFBAAAAAAAAAAAAAAF2A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wAAAAKAAAAAABAQQlwAAAACXEAAAAJmAQAAAEACZkEAAAB2QIAAHIAAAAKCgEAAAAAAAAA/////wABAd0CAACnAAAACZoEAAABAAAAAQAAAAHeAgAAbwAAAAmbBAAACgfjAgAAAAEAAAAEAAAABB9BcGxvcmlzLkJhc2UuT2JqZWN0cy5EYXRhT2JqZWN0AwAAAAleAQAADQMH5AIAAAABAAAABAAAAAQcQXBsb3Jpcy5CYXNlLlVJLlZpc3VhbE9iamVjdAMAAAAJYAEAAA0DAeUCAAAIAgAACZwEAAAFAAAABQAAAAHmAgAAJAAAAAmdBAAABQAAAAUAAAAB5wIAACUAAAAJhQQAAAAAAAAAAAAABe4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9AAAACgAAAAAAQEEJcAAAAAlxAAAACZ4EAAABAAmfBAAAAe8CAAByAAAACgoBAAAAAAAAAP////8AAQHzAgAApwAAAAmgBAAAAQAAAAEAAAAB9AIAAG8AAAAJoQQAAAoH+QIAAAABAAAABAAAAAQfQXBsb3Jpcy5CYXNlLk9iamVjdHMuRGF0YU9iamVjdAMAAAAJZgEAAA0DB/oCAAAAAQAAAAQAAAAEHEFwbG9yaXMuQmFzZS5VSS5WaXN1YWxPYmplY3QDAAAACWgBAAANAwH7AgAACAIAAAmiBAAABQAAAAUAAAAB/AIAACQAAAAJowQAAAUAAAAFAAAAAf0CAAAlAAAACYUEAAAAAAAAAAAAAAUE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gAAAAoAAAAAAEBBCXAAAAAJcQAAAAmkBAAAAQAJpQQAAAEFAwAAcgAAAAoKAQAAAAAAAAD/////AAEBCQMAAKcAAAAJpgQAAAEAAAABAAAAAQoDAABvAAAACacEAAAKBw8DAAAAAQAAAAQAAAAEH0FwbG9yaXMuQmFzZS5PYmplY3RzLkRhdGFPYmplY3QDAAAACW4BAAANAwcQAwAAAAEAAAAEAAAABBxBcGxvcmlzLkJhc2UuVUkuVmlzdWFsT2JqZWN0AwAAAAlwAQAADQMBEQMAAAgCAAAJqAQAAAUAAAAFAAAAARIDAAAkAAAACakEAAAFAAAABQAAAAETAwAAJQAAAAmFBAAAAAAAAAAAAAAFGg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8AAAAKAAAAAABAQQlwAAAACXEAAAAJqgQAAAEACasEAAABGwMAAHIAAAAKCgEAAAAAAAAA/////wABAR8DAACnAAAACawEAAABAAAAAQAAAAEgAwAAbwAAAAmtBAAACgclAwAAAAEAAAAEAAAABB9BcGxvcmlzLkJhc2UuT2JqZWN0cy5EYXRhT2JqZWN0AwAAAAl2AQAADQMHJgMAAAABAAAABAAAAAQcQXBsb3Jpcy5CYXNlLlVJLlZpc3VhbE9iamVjdAMAAAAJeAEAAA0DAScDAAAIAgAACa4EAAAFAAAABQAAAAEoAwAAJAAAAAmvBAAABQAAAAUAAAABKQMAACUAAAAJhQQAAAAAAAAAAAAABTA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AAQAACgAAAAAAQEEJcAAAAAlxAAAACbAEAAABAAmxBAAAATEDAAByAAAACgoBAAAAAAAAAP////8AAQE1AwAApwAAAAmyBAAAAQAAAAEAAAABNgMAAG8AAAAJswQAAAoHOwMAAAABAAAABAAAAAQfQXBsb3Jpcy5CYXNlLk9iamVjdHMuRGF0YU9iamVjdAMAAAAJfgEAAA0DBzwDAAAAAQAAAAQAAAAEHEFwbG9yaXMuQmFzZS5VSS5WaXN1YWxPYmplY3QDAAAACYABAAANAwE9AwAACAIAAAm0BAAABQAAAAUAAAABPgMAACQAAAAJtQQAAAUAAAAFAAAAAT8DAAAlAAAACbYEAAAAAAAAAAAAAAVG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AQEAAAoAAAAAAEBBCXAAAAAJcQAAAAm3BAAAAQAJuAQAAAFHAwAAcgAAAAoKAQAAAAAAAAD/////AAEBSwMAAKcAAAAJuQQAAAEAAAABAAAAAUwDAABvAAAACboEAAAKB1EDAAAAAQAAAAQAAAAEH0FwbG9yaXMuQmFzZS5PYmplY3RzLkRhdGFPYmplY3QDAAAACYYBAAANAwdSAwAAAAEAAAAEAAAABBxBcGxvcmlzLkJhc2UuVUkuVmlzdWFsT2JqZWN0AwAAAAmIAQAADQMBUwMAAAgCAAAJuwQAAAUAAAAFAAAAAVQDAAAkAAAACbwEAAAFAAAABQAAAAFVAwAAJQAAAAm2BAAAAAAAAAAAAAAFXA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IBAAAKAAAAAABAQQlwAAAACXEAAAAJvQQAAAEACb4EAAABXQMAAHIAAAAKCgEAAAAAAAAA/////wABAWEDAACnAAAACb8EAAABAAAAAQAAAAFiAwAAbwAAAAnABAAACgdnAwAAAAEAAAAEAAAABB9BcGxvcmlzLkJhc2UuT2JqZWN0cy5EYXRhT2JqZWN0AwAAAAmOAQAADQMHaAMAAAABAAAABAAAAAQcQXBsb3Jpcy5CYXNlLlVJLlZpc3VhbE9iamVjdAMAAAAJkAEAAA0DAWkDAAAIAgAACcEEAAAFAAAABQAAAAFqAwAAJAAAAAnCBAAABQAAAAUAAAABawMAACUAAAAJtgQAAAAAAAAAAAAABXI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DAQAACgAAAAAAQEEJcAAAAAlxAAAACcMEAAABAAnEBAAAAXMDAAByAAAACgoBAAAAAAAAAP////8AAQF3AwAApwAAAAnFBAAAAQAAAAEAAAABeAMAAG8AAAAJxgQAAAoHfQMAAAABAAAABAAAAAQfQXBsb3Jpcy5CYXNlLk9iamVjdHMuRGF0YU9iamVjdAMAAAAJlgEAAA0DB34DAAAAAQAAAAQAAAAEHEFwbG9yaXMuQmFzZS5VSS5WaXN1YWxPYmplY3QDAAAACZgBAAANAwF/AwAACAIAAAnHBAAABQAAAAUAAAABgAMAACQAAAAJyAQAAAUAAAAFAAAAAYEDAAAlAAAACbYEAAAAAAAAAAAAAAWI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BAEAAAoAAAAAAEBBCXAAAAAJcQAAAAnJBAAAAQAJygQAAAGJAwAAcgAAAAoKAQAAAAAAAAD/////AAEBjQMAAKcAAAAJywQAAAEAAAABAAAAAY4DAABvAAAACcwEAAAKB5MDAAAAAQAAAAQAAAAEH0FwbG9yaXMuQmFzZS5PYmplY3RzLkRhdGFPYmplY3QDAAAACZ4BAAANAweUAwAAAAEAAAAEAAAABBxBcGxvcmlzLkJhc2UuVUkuVmlzdWFsT2JqZWN0AwAAAAmgAQAADQMHlQMAAAABAAAABAAAAAQcQXBsb3Jpcy5CYXNlLlVJLlZpc3VhbE9iamVjdAMAAAANBAeWAwAAAAEAAAAEAAAABBxBcGxvcmlzLkJhc2UuVUkuVmlzdWFsT2JqZWN0AwAAAA0EAZcDAAAzAAAAAc0EAAAgAAAAjC4RQ8zmTUEBzgQAAJoAAAABAAAAAAAAAAAAAAAACc8EAAAAAAAACdAEAAAAAAHRBAAAowAAAAAAAAAB0gQAAGwAAAAAAJBBAABgQQHTBAAAFAAAAAAAAAAAAAAAAAAAAAAAAABeutk/BtQEAAADMS4wCgnVBAAACRcCAAA0AwAA/////wABCgnWBAAAAQAKAAGaAwAAIgAAAAoKAAAAAAAoQQlwAAAACXEAAAAJ1wQAAAAACdgEAAABmwMAAHIAAAAKCgAAAAD///8ADgAAAAABAZ8DAACnAAAACdkEAAABAAAAAQAAAAGgAwAAbwAAAAnaBAAACgehAwAAAAEAAAAAAAAABB9BcGxvcmlzLkJhc2UuT2JqZWN0cy5EYXRhT2JqZWN0AwAAAAeiAwAAAAEAAAAEAAAABBxBcGxvcmlzLkJhc2UuVUkuVmlzdWFsT2JqZWN0AwAAAAm1AQAACZcDAAAKCgGjAwAAMwAAAAHbBAAAIAAAABjdrkPM5k1BAdwEAACaAAAAAQAAAAAAAAAAAAAAAAndBAAAAAAAAAneBAAAAAAB3wQAAKMAAAAAAAAAAeAEAABsAAAAAACQQQAAYEEB4QQAABQAAAAAAAAAAAAAAAAAAAAAAAAAXrrZPwbiBAAAAzEuMAoJ4wQAAAkXAgAANAMAAP////8AAQoJ5AQAAAEACgABpgMAACIAAAAKCgAAAAAAKEEJcAAAAAlxAAAACeUEAAAAAAnmBAAAAacDAAByAAAACgoAAAAA////AA4AAAAAAQGrAwAApwAAAAnnBAAAAQAAAAEAAAABrAMAAG8AAAAJ6AQAAAoHrQMAAAABAAAABAAAAAQcQXBsb3Jpcy5CYXNlLlVJLlZpc3VhbE9iamVjdAMAAAAJvAEAAAmjAwAACgoBrgMAADMAAAAB6QQAACAAAAB1kQpEzOZNQQHqBAAAmgAAAAEAAAAAAAAAAAAAAAAJ6wQAAAAAAAAJ7AQAAAAAAe0EAACjAAAAAAAAAAHuBAAAbAAAAAAAAAAAAAAAAe8EAAAUAAAAAAAAAAAAAAAAAAAAAAAAAAAAAAAG8AQAAAMxLjAKCfEEAAAJFwIAADQDAAD/////AAEKCfIEAAABAAoAAbEDAAAiAAAACgoAAAAAAChBCXAAAAAJcQAAAAnzBAAAAAAJ9AQAAAGyAwAAcgAAAAoKAAAAAP///wAOAAAAAAEBtgMAAKcAAAAJ9QQAAAEAAAABAAAAAbcDAABvAAAACfYEAAAKB7gDAAAAAQAAAAAAAAAEH0FwbG9yaXMuQmFzZS5PYmplY3RzLkRhdGFPYmplY3QDAAAAB7kDAAAAAQAAAAQAAAAEHEFwbG9yaXMuQmFzZS5VSS5WaXN1YWxPYmplY3QDAAAACcMBAAAJrgMAAAoKAbwDAABqAAAACgoAAABAPwn3BAAACfgEAAABAAAA/v///wAAAAABAAAAAAAAAAAAAAABAAAAAAAAAAAAAAG9AwAAbwAAAAn5BAAACgHAAwAAIgAAAAoKAAAAAAAoQQlwAAAACXEAAAAJ+gQAAAAACfsEAAABwQMAAHIAAAAKCgAAAAD///8ADgAAAAABAcYDAACnAAAACfwEAAABAAAAAQAAAAHHAwAAbwAAAAn9BAAACgfIAwAAAAEAAAAEAAAABBxBcGxvcmlzLkJhc2UuVUkuVmlzdWFsT2JqZWN0AwAAAAnGAQAACccBAAAKCgHLAwAAagAAAAoKAAAAQD8J/gQAAAn/BAAAAQAAAP7///8AAAAAAQAAAAAAAAAAAAAAAQAAAAAAAAAAAAABzAMAAG8AAAAJAAUAAAoBzwMAACIAAAAKCgAAAAAAKEEJcAAAAAlxAAAACQEFAAAAAAkCBQAAAdADAAByAAAACgoAAAAA////AA4AAAAAAQHVAwAApwAAAAkDBQAAAQAAAAMAAAAB1gMAAG8AAAAJBAUAAAoH1wMAAAABAAAABAAAAAQcQXBsb3Jpcy5CYXNlLlVJLlZpc3VhbE9iamVjdAMAAAAJzAEAAAnNAQAACgoB2gMAAGoAAAAKCgAAAEA/CQUFAAAJBgUAAAEAAAD+////AAAAAAEAAAAAAAAAAAAAAAEAAAAAAAAAAAAAAdsDAABvAAAACQcFAAAKAd4DAAAiAAAACgoAAAAAAChBCXAAAAAJcQAAAAkIBQAAAAAJCQUAAAHfAwAAcgAAAAoKAAAAAP///wAOAAAAAAEB5AMAAKcAAAAJCgUAAAEAAAADAAAAAeUDAABvAAAACQsFAAAKB+YDAAAAAQAAAAQAAAAEHEFwbG9yaXMuQmFzZS5VSS5WaXN1YWxPYmplY3QDAAAACdIBAAAJ0wEAAAoKAekDAABqAAAACgoAAABAPwkMBQAACQ0FAAABAAAA/v///wAAAAABAAAAAAAAAAAAAAABAAAAAAAAAAAAAAHqAwAAbwAAAAkOBQAACgHtAwAAIgAAAAoKAAAAAAAoQQlwAAAACXEAAAAJDwUAAAAACRAFAAAB7gMAAHIAAAAKCgAAAAD///8ADgAAAAABAfMDAACnAAAACREFAAABAAAAAwAAAAH0AwAAbwAAAAkSBQAACgf1AwAAAAEAAAAEAAAABBxBcGxvcmlzLkJhc2UuVUkuVmlzdWFsT2JqZWN0AwAAAAnYAQAACdkBAAAKCgH4AwAAagAAAAoKAAAAQD8JEwUAAAkUBQAAAQAAAP7///8AAAAAAQAAAAAAAAAAAAAAAQAAAAAAAAAAAAAB+QMAAG8AAAAJFQUAAAoB/AMAACIAAAAKCgAAAAAAKEEJcAAAAAlxAAAACRYFAAAAAAkXBQAAAf0DAAByAAAACgoAAAAA////AA4AAAAAAQECBAAApwAAAAkYBQAAAQAAAAMAAAABAwQAAG8AAAAJGQUAAAoHBAQAAAABAAAABAAAAAQcQXBsb3Jpcy5CYXNlLlVJLlZpc3VhbE9iamVjdAMAAAAJ3gEAAAnfAQAACgoBBwQAAGoAAAAKCgAAAEA/CRoFAAAJGwUAAAEAAAD+////AAAAAAEAAAAAAAAAAAAAAAEAAAAAAAAAAAAAAQgEAABvAAAACRwFAAAKAQsEAAAiAAAACgoAAAAAAChBCXAAAAAJcQAAAAkdBQAAAAAJHgUAAAEMBAAAcgAAAAoKAAAAAP///wAOAAAAAAEBEQQAAKcAAAAJHwUAAAEAAAADAAAAARIEAABvAAAACSAFAAAKBxMEAAAAAQAAAAQAAAAEHEFwbG9yaXMuQmFzZS5VSS5WaXN1YWxPYmplY3QDAAAACeQBAAAJ5QEAAAoKARYEAABqAAAACgoAAABAPwkhBQAACSIFAAABAAAA/v///wAAAAABAAAAAAAAAAAAAAABAAAAAAAAAAAAAAEXBAAAbwAAAAkjBQAACgEaBAAAIgAAAAoKAAAAAAAoQQlwAAAACXEAAAAJJAUAAAAACSUFAAABGwQAAHIAAAAKCgAAAAD///8ADgAAAAABASAEAACnAAAACSYFAAABAAAAAwAAAAEhBAAAbwAAAAknBQAACgciBAAAAAEAAAAEAAAABBxBcGxvcmlzLkJhc2UuVUkuVmlzdWFsT2JqZWN0AwAAAAnqAQAACesBAAAKCgElBAAAagAAAAoKAAAAQD8JKAUAAAkpBQAAAQAAAP7///8AAAAAAQAAAAAAAAAAAAAAAQAAAAAAAAAAAAABJgQAAG8AAAAJKgUAAAoBKQQAACIAAAAKCgAAAAAAKEEJcAAAAAlxAAAACSsFAAAAAAksBQAAASoEAAByAAAACgoAAAAA////AA4AAAAAAQEvBAAApwAAAAktBQAAAQAAAAMAAAABMAQAAG8AAAAJLgUAAAoHMQQAAAABAAAABAAAAAQcQXBsb3Jpcy5CYXNlLlVJLlZpc3VhbE9iamVjdAMAAAAJ8AEAAAnxAQAACgoBNAQAAGoAAAAKCgAAAEA/CS8FAAAJMAUAAAEAAAD+////AAAAAAEAAAAAAAAAAAAAAAEAAAAAAAAAAAAAATUEAABvAAAACTEFAAAKATgEAAAiAAAACgoAAAAAAChBCXAAAAAJcQAAAAkyBQAAAAAJMwUAAAE5BAAAcgAAAAoKAAAAAP///wAOAAAAAAEBPgQAAKcAAAAJNAUAAAEAAAADAAAAAT8EAABvAAAACTUFAAAKB0AEAAAAAQAAAAQAAAAEHEFwbG9yaXMuQmFzZS5VSS5WaXN1YWxPYmplY3QDAAAACfYBAAAJ9wEAAAoKAUMEAABqAAAACgoAAABAPwk2BQAACTcFAAABAAAA/v///wAAAAABAAAAAAAAAAAAAAABAAAAAAAAAAAAAAFEBAAAbwAAAAk4BQAACgFHBAAAIgAAAAoKAAAAAAAoQQlwAAAACXEAAAAJOQUAAAAACToFAAABSAQAAHIAAAAKCgAAAAD///8ADgAAAAABAU0EAACnAAAACTsFAAABAAAAAwAAAAFOBAAAbwAAAAk8BQAACgdPBAAAAAEAAAAEAAAABBxBcGxvcmlzLkJhc2UuVUkuVmlzdWFsT2JqZWN0AwAAAAn8AQAACf0BAAAKCgFSBAAAagAAAAoKAAAAQD8JPQUAAAk+BQAAAQAAAP7///8AAAAAAQAAAAAAAAAAAAAAAQAAAAAAAAAAAAABUwQAAG8AAAAJPwUAAAoBVgQAACIAAAAKCgAAAAAAKEEJcAAAAAlxAAAACUAFAAAAAAlBBQAAAVcEAAByAAAACgoAAAAA////AA4AAAAAAQFcBAAApwAAAAlCBQAAAQAAAAMAAAABXQQAAG8AAAAJQwUAAAoHXgQAAAABAAAABAAAAAQcQXBsb3Jpcy5CYXNlLlVJLlZpc3VhbE9iamVjdAMAAAAJAgIAAAkDAgAACgoHXwQAAAABAAAACAAAAAQeQXBsb3Jpcy5DaGFydC5DaGFydERhdGFFbGVtZW50AgAAAAlEBQAACUUFAAAJRgUAAAlHBQAACUgFAAANAwdgBAAAAAEAAAAIAAAABB9BcGxvcmlzLkJhc2UuT2JqZWN0cy5EYXRhT2JqZWN0AwAAAAlEBQAACUUFAAAJRgUAAAlHBQAACUgFAAANAwFhBAAAcgAAAAoKAAAAAAAAAAANAAAAAAEBYgQAAHIAAAAKCgEAAAAAAAAA/////wABB2MEAAAAAQAAAAQAAAAEHUFwbG9yaXMuQmFzZS5PYmplY3RzLlZhcmlhYmxlAwAAAAVJBQAAHUFwbG9yaXMuQmFzZS5PYmplY3RzLlZhcmlhYmxlAgAAAAZOdW1iZXIIUG9zaXRpb24AAAgIAwAAAAEAAAAAAAAAAUoFAABJBQAAAAAAAAAAAAABSwUAAEkFAAAAAAAAAAAAAAFMBQAASQUAAAAAAAAAAAAAD2QEAAABAAAACAAAAAAHZQQAAAABAAAACAAAAAQeQXBsb3Jpcy5DaGFydC5DaGFydERhdGFFbGVtZW50AgAAAAlNBQAACU4FAAAJTwUAAAlQBQAACVEFAAANAwdmBAAAAAEAAAAIAAAABB9BcGxvcmlzLkJhc2UuT2JqZWN0cy5EYXRhT2JqZWN0AwAAAAlNBQAACU4FAAAJTwUAAAlQBQAACVEFAAANAwFnBAAAcgAAAAoKAAAAAAAAAAANAAAAAAEBaAQAAHIAAAAKCgEAAAAAAAAA/////wABB2kEAAAAAQAAAAQAAAAEHUFwbG9yaXMuQmFzZS5PYmplY3RzLlZhcmlhYmxlAwAAAAFSBQAASQUAAAEAAAAAAAAAAVMFAABJBQAAAAAAAAAAAAABVAUAAEkFAAAAAAAAAAAAAAFVBQAASQUAAAAAAAAAAAAAD2oEAAABAAAACAAAAAAHawQAAAABAAAACAAAAAQeQXBsb3Jpcy5DaGFydC5DaGFydERhdGFFbGVtZW50AgAAAAlWBQAACVcFAAAJWAUAAAlZBQAACVoFAAANAwdsBAAAAAEAAAAIAAAABB9BcGxvcmlzLkJhc2UuT2JqZWN0cy5EYXRhT2JqZWN0AwAAAAlWBQAACVcFAAAJWAUAAAlZBQAACVoFAAANAwFtBAAAcgAAAAoKAAAAAAAAAAANAAAAAAEBbgQAAHIAAAAKCgEAAAAAAAAA/////wABB28EAAAAAQAAAAQAAAAEHUFwbG9yaXMuQmFzZS5PYmplY3RzLlZhcmlhYmxlAwAAAAFbBQAASQUAAAEAAAAAAAAAAVwFAABJBQAAAAAAAAAAAAABXQUAAEkFAAAAAAAAAAAAAAFeBQAASQUAAAAAAAAAAAAAD3AEAAABAAAACAAAAAAHcQQAAAABAAAACAAAAAQeQXBsb3Jpcy5DaGFydC5DaGFydERhdGFFbGVtZW50AgAAAAlfBQAACWAFAAAJYQUAAAliBQAACWMFAAANAwdyBAAAAAEAAAAIAAAABB9BcGxvcmlzLkJhc2UuT2JqZWN0cy5EYXRhT2JqZWN0AwAAAAlfBQAACWAFAAAJYQUAAAliBQAACWMFAAANAwFzBAAAcgAAAAoKAAAAAAAAAAANAAAAAAEBdAQAAHIAAAAKCgEAAAAAAAAA/////wABB3UEAAAAAQAAAAQAAAAEHUFwbG9yaXMuQmFzZS5PYmplY3RzLlZhcmlhYmxlAwAAAAFkBQAASQUAAAEAAAAAAAAAAWUFAABJBQAAAAAAAAAAAAABZgUAAEkFAAAAAAAAAAAAAAFnBQAASQUAAAAAAAAAAAAAD3YEAAABAAAACAAAAAAHdwQAAAABAAAACAAAAAQeQXBsb3Jpcy5DaGFydC5DaGFydERhdGFFbGVtZW50AgAAAAloBQAACWkFAAAJagUAAAlrBQAACWwFAAANAwd4BAAAAAEAAAAIAAAABB9BcGxvcmlzLkJhc2UuT2JqZWN0cy5EYXRhT2JqZWN0AwAAAAloBQAACWkFAAAJagUAAAlrBQAACWwFAAANAwF5BAAAcgAAAAoKAAAAAAAAAAANAAAAAAEBegQAAHIAAAAKCgEAAAAAAAAA/////wABB3sEAAAAAQAAAAQAAAAEHUFwbG9yaXMuQmFzZS5PYmplY3RzLlZhcmlhYmxlAwAAAAFtBQAASQUAAAEAAAAAAAAAAW4FAABJBQAAAAAAAAAAAAABbwUAAEkFAAAAAAAAAAAAAAFwBQAASQUAAAAAAAAAAAAAD3wEAAABAAAACAAAAAAHfQQAAAABAAAACAAAAAQeQXBsb3Jpcy5DaGFydC5DaGFydERhdGFFbGVtZW50AgAAAAlxBQAACXIFAAAJcwUAAAl0BQAACXUFAAANAwd+BAAAAAEAAAAIAAAABB9BcGxvcmlzLkJhc2UuT2JqZWN0cy5EYXRhT2JqZWN0AwAAAAlxBQAACXIFAAAJcwUAAAl0BQAACXUFAAANAwF/BAAAcgAAAAoKAAAAAAAAAAANAAAAAAEBgAQAAHIAAAAKCgEAAAAAAAAA/////wABB4EEAAAAAQAAAAQAAAAEHUFwbG9yaXMuQmFzZS5PYmplY3RzLlZhcmlhYmxlAwAAAAF2BQAASQUAAAEAAAAAAAAAAXcFAABJBQAAAAAAAAAAAAABeAUAAEkFAAAAAAAAAAAAAAF5BQAASQUAAAAAAAAAAAAAD4IEAAABAAAACAAAAAAHgwQAAAABAAAACAAAAAQeQXBsb3Jpcy5DaGFydC5DaGFydERhdGFFbGVtZW50AgAAAAl6BQAACXsFAAAJfAUAAAl9BQAACX4FAAANAweEBAAAAAEAAAAIAAAABB9BcGxvcmlzLkJhc2UuT2JqZWN0cy5EYXRhT2JqZWN0AwAAAAl6BQAACXsFAAAJfAUAAAl9BQAACX4FAAANAweFBAAAAAEAAAAAAAAABBxBcGxvcmlzLkJhc2UuVUkuVmlzdWFsT2JqZWN0AwAAAAGGBAAAcgAAAAoKAAAAAAAAAAANAAAAAAEBhwQAAHIAAAAKCgEAAAAAAAAA/////wABB4gEAAAAAQAAAAQAAAAEHUFwbG9yaXMuQmFzZS5PYmplY3RzLlZhcmlhYmxlAwAAAAF/BQAASQUAAAEAAAAAAAAAAYAFAABJBQAAAAAAAAAAAAABgQUAAEkFAAAAAAAAAAAAAAGCBQAASQUAAAAAAAAAAAAAD4kEAAABAAAACAAAAAAHigQAAAABAAAACAAAAAQeQXBsb3Jpcy5DaGFydC5DaGFydERhdGFFbGVtZW50AgAAAAmDBQAACYQFAAAJhQUAAAmGBQAACYcFAAANAweLBAAAAAEAAAAIAAAABB9BcGxvcmlzLkJhc2UuT2JqZWN0cy5EYXRhT2JqZWN0AwAAAAmDBQAACYQFAAAJhQUAAAmGBQAACYcFAAANAwGMBAAAcgAAAAoKAAAAAAAAAAANAAAAAAEBjQQAAHIAAAAKCgEAAAAAAAAA/////wABB44EAAAAAQAAAAQAAAAEHUFwbG9yaXMuQmFzZS5PYmplY3RzLlZhcmlhYmxlAwAAAAGIBQAASQUAAAEAAAAAAAAAAYkFAABJBQAAAAAAAAAAAAABigUAAEkFAAAAAAAAAAAAAAGLBQAASQUAAAAAAAAAAAAAD48EAAABAAAACAAAAAAHkAQAAAABAAAACAAAAAQeQXBsb3Jpcy5DaGFydC5DaGFydERhdGFFbGVtZW50AgAAAAmMBQAACY0FAAAJjgUAAAmPBQAACZAFAAANAweRBAAAAAEAAAAIAAAABB9BcGxvcmlzLkJhc2UuT2JqZWN0cy5EYXRhT2JqZWN0AwAAAAmMBQAACY0FAAAJjgUAAAmPBQAACZAFAAANAwGSBAAAcgAAAAoKAAAAAAAAAAANAAAAAAEBkwQAAHIAAAAKCgEAAAAAAAAA/////wABB5QEAAAAAQAAAAQAAAAEHUFwbG9yaXMuQmFzZS5PYmplY3RzLlZhcmlhYmxlAwAAAAGRBQAASQUAAAEAAAAAAAAAAZIFAABJBQAAAAAAAAAAAAABkwUAAEkFAAAAAAAAAAAAAAGUBQAASQUAAAAAAAAAAAAAD5UEAAABAAAACAAAAAAHlgQAAAABAAAACAAAAAQeQXBsb3Jpcy5DaGFydC5DaGFydERhdGFFbGVtZW50AgAAAAmVBQAACZYFAAAJlwUAAAmYBQAACZkFAAANAweXBAAAAAEAAAAIAAAABB9BcGxvcmlzLkJhc2UuT2JqZWN0cy5EYXRhT2JqZWN0AwAAAAmVBQAACZYFAAAJlwUAAAmYBQAACZkFAAANAwGYBAAAcgAAAAoKAAAAAAAAAAANAAAAAAEBmQQAAHIAAAAKCgEAAAAAAAAA/////wABB5oEAAAAAQAAAAQAAAAEHUFwbG9yaXMuQmFzZS5PYmplY3RzLlZhcmlhYmxlAwAAAAGaBQAASQUAAAEAAAAAAAAAAZsFAABJBQAAAAAAAAAAAAABnAUAAEkFAAAAAAAAAAAAAAGdBQAASQUAAAAAAAAAAAAAD5sEAAABAAAACAAAAAAHnAQAAAABAAAACAAAAAQeQXBsb3Jpcy5DaGFydC5DaGFydERhdGFFbGVtZW50AgAAAAmeBQAACZ8FAAAJoAUAAAmhBQAACaIFAAANAwedBAAAAAEAAAAIAAAABB9BcGxvcmlzLkJhc2UuT2JqZWN0cy5EYXRhT2JqZWN0AwAAAAmeBQAACZ8FAAAJoAUAAAmhBQAACaIFAAANAwGeBAAAcgAAAAoKAAAAAAAAAAANAAAAAAEBnwQAAHIAAAAKCgEAAAAAAAAA/////wABB6AEAAAAAQAAAAQAAAAEHUFwbG9yaXMuQmFzZS5PYmplY3RzLlZhcmlhYmxlAwAAAAGjBQAASQUAAAEAAAAAAAAAAaQFAABJBQAAAAAAAAAAAAABpQUAAEkFAAAAAAAAAAAAAAGmBQAASQUAAAAAAAAAAAAAD6EEAAABAAAACAAAAAAHogQAAAABAAAACAAAAAQeQXBsb3Jpcy5DaGFydC5DaGFydERhdGFFbGVtZW50AgAAAAmnBQAACagFAAAJqQUAAAmqBQAACasFAAANAwejBAAAAAEAAAAIAAAABB9BcGxvcmlzLkJhc2UuT2JqZWN0cy5EYXRhT2JqZWN0AwAAAAmnBQAACagFAAAJqQUAAAmqBQAACasFAAANAwGkBAAAcgAAAAoKAAAAAAAAAAANAAAAAAEBpQQAAHIAAAAKCgEAAAAAAAAA/////wABB6YEAAAAAQAAAAQAAAAEHUFwbG9yaXMuQmFzZS5PYmplY3RzLlZhcmlhYmxlAwAAAAGsBQAASQUAAAEAAAAAAAAAAa0FAABJBQAAAAAAAAAAAAABrgUAAEkFAAAAAAAAAAAAAAGvBQAASQUAAAAAAAAAAAAAD6cEAAABAAAACAAAAAAHqAQAAAABAAAACAAAAAQeQXBsb3Jpcy5DaGFydC5DaGFydERhdGFFbGVtZW50AgAAAAmwBQAACbEFAAAJsgUAAAmzBQAACbQFAAANAwepBAAAAAEAAAAIAAAABB9BcGxvcmlzLkJhc2UuT2JqZWN0cy5EYXRhT2JqZWN0AwAAAAmwBQAACbEFAAAJsgUAAAmzBQAACbQFAAANAwGqBAAAcgAAAAoKAAAAAAAAAAANAAAAAAEBqwQAAHIAAAAKCgEAAAAAAAAA/////wABB6wEAAAAAQAAAAQAAAAEHUFwbG9yaXMuQmFzZS5PYmplY3RzLlZhcmlhYmxlAwAAAAG1BQAASQUAAAEAAAAAAAAAAbYFAABJBQAAAAAAAAAAAAABtwUAAEkFAAAAAAAAAAAAAAG4BQAASQUAAAAAAAAAAAAAD60EAAABAAAACAAAAAAHrgQAAAABAAAACAAAAAQeQXBsb3Jpcy5DaGFydC5DaGFydERhdGFFbGVtZW50AgAAAAm5BQAACboFAAAJuwUAAAm8BQAACb0FAAANAwevBAAAAAEAAAAIAAAABB9BcGxvcmlzLkJhc2UuT2JqZWN0cy5EYXRhT2JqZWN0AwAAAAm5BQAACboFAAAJuwUAAAm8BQAACb0FAAANAwGwBAAAcgAAAAoKAAAAAAAAAAANAAAAAAEBsQQAAHIAAAAKCgEAAAAAAAAA/////wABB7IEAAAAAQAAAAQAAAAEHUFwbG9yaXMuQmFzZS5PYmplY3RzLlZhcmlhYmxlAwAAAAG+BQAASQUAAAEAAAAAAAAAAb8FAABJBQAAAAAAAAAAAAABwAUAAEkFAAAAAAAAAAAAAAHBBQAASQUAAAAAAAAAAAAAD7MEAAABAAAACAAAAAAHtAQAAAABAAAACAAAAAQeQXBsb3Jpcy5DaGFydC5DaGFydERhdGFFbGVtZW50AgAAAAnCBQAACcMFAAAJxAUAAAnFBQAACcYFAAANAwe1BAAAAAEAAAAIAAAABB9BcGxvcmlzLkJhc2UuT2JqZWN0cy5EYXRhT2JqZWN0AwAAAAnCBQAACcMFAAAJxAUAAAnFBQAACcYFAAANAwe2BAAAAAEAAAAAAAAABBxBcGxvcmlzLkJhc2UuVUkuVmlzdWFsT2JqZWN0AwAAAAG3BAAAcgAAAAoKAAAAAAAAAAANAAAAAAEBuAQAAHIAAAAKCgEAAAAAAAAA/////wABB7kEAAAAAQAAAAQAAAAEHUFwbG9yaXMuQmFzZS5PYmplY3RzLlZhcmlhYmxlAwAAAAHHBQAASQUAAAEAAAAAAAAAAcgFAABJBQAAAAAAAAAAAAAByQUAAEkFAAAAAAAAAAAAAAHKBQAASQUAAAAAAAAAAAAAD7oEAAABAAAACAAAAAAHuwQAAAABAAAACAAAAAQeQXBsb3Jpcy5DaGFydC5DaGFydERhdGFFbGVtZW50AgAAAAnLBQAACcwFAAAJzQUAAAnOBQAACc8FAAANAwe8BAAAAAEAAAAIAAAABB9BcGxvcmlzLkJhc2UuT2JqZWN0cy5EYXRhT2JqZWN0AwAAAAnLBQAACcwFAAAJzQUAAAnOBQAACc8FAAANAwG9BAAAcgAAAAoKAAAAAAAAAAANAAAAAAEBvgQAAHIAAAAKCgEAAAAAAAAA/////wABB78EAAAAAQAAAAQAAAAEHUFwbG9yaXMuQmFzZS5PYmplY3RzLlZhcmlhYmxlAwAAAAHQBQAASQUAAAEAAAAAAAAAAdEFAABJBQAAAAAAAAAAAAAB0gUAAEkFAAAAAAAAAAAAAAHTBQAASQUAAAAAAAAAAAAAD8AEAAABAAAACAAAAAAHwQQAAAABAAAACAAAAAQeQXBsb3Jpcy5DaGFydC5DaGFydERhdGFFbGVtZW50AgAAAAnUBQAACdUFAAAJ1gUAAAnXBQAACdgFAAANAwfCBAAAAAEAAAAIAAAABB9BcGxvcmlzLkJhc2UuT2JqZWN0cy5EYXRhT2JqZWN0AwAAAAnUBQAACdUFAAAJ1gUAAAnXBQAACdgFAAANAwHDBAAAcgAAAAoKAAAAAAAAAAANAAAAAAEBxAQAAHIAAAAKCgEAAAAAAAAA/////wABB8UEAAAAAQAAAAQAAAAEHUFwbG9yaXMuQmFzZS5PYmplY3RzLlZhcmlhYmxlAwAAAAHZBQAASQUAAAEAAAAAAAAAAdoFAABJBQAAAAAAAAAAAAAB2wUAAEkFAAAAAAAAAAAAAAHcBQAASQUAAAAAAAAAAAAAD8YEAAABAAAACAAAAAAHxwQAAAABAAAACAAAAAQeQXBsb3Jpcy5DaGFydC5DaGFydERhdGFFbGVtZW50AgAAAAndBQAACd4FAAAJ3wUAAAngBQAACeEFAAANAwfIBAAAAAEAAAAIAAAABB9BcGxvcmlzLkJhc2UuT2JqZWN0cy5EYXRhT2JqZWN0AwAAAAndBQAACd4FAAAJ3wUAAAngBQAACeEFAAANAwHJBAAAcgAAAAoKAAAAAAAAAAANAAAAAAEBygQAAHIAAAAKCgEAAAAAAAAA/////wABB8sEAAAAAQAAAAQAAAAEHUFwbG9yaXMuQmFzZS5PYmplY3RzLlZhcmlhYmxlAwAAAAHiBQAASQUAAAEAAAAAAAAAAeMFAABJBQAAAAAAAAAAAAAB5AUAAEkFAAAAAAAAAAAAAAHlBQAASQUAAAAAAAAAAAAAD8wEAAABAAAACAAAAAAFzwQ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BwEAAAoAAAAAAEBBCXAAAAAJcQAAAAnmBQAAAQAJ5wUAAAHQBAAAcgAAAAoKAAAAAP///wAOAAAAAAEB1QQAAKcAAAAJ6AUAAAEAAAABAAAAAdYEAABvAAAACekFAAAKAdcEAAByAAAACgoAAAAAAAAAAA0AAAAAAAHYBAAAcgAAAAoKAAAAAAAAAAANAAAAAAEH2QQAAAABAAAABAAAAAQdQXBsb3Jpcy5CYXNlLk9iamVjdHMuVmFyaWFibGUDAAAAAeoFAABJBQAAAQAAAAAAAAAB6wUAAEkFAAAAAAAAAAAAAAHsBQAASQUAAAAAAAAAAAAAAe0FAABJBQAAAAAAAAAAAAAP2gQAAAEAAAAIxQAAAAXdB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IAQAACgAAAAAAQEEJcAAAAAlxAAAACe4FAAABAAnvBQAAAd4EAAByAAAACgoAAAAA////AA4AAAAAAQHjBAAApwAAAAnwBQAAAQAAAAMAAAAB5AQAAG8AAAAJ8QUAAAoB5QQAAHIAAAAKCgAAAAAAAAAADQAAAAAAAeYEAAByAAAACgoAAAAAAAAAAA0AAAAAAQfnBAAAAAEAAAAEAAAABB1BcGxvcmlzLkJhc2UuT2JqZWN0cy5WYXJpYWJsZQMAAAAB8gUAAEkFAAABAAAAAAAAAAHzBQAASQUAAAAAAAAAAAAAAfQFAABJBQAAAAAAAAAAAAAB9QUAAEkFAAAAAAAAAAAAAA/oBAAAAQAAAAjEAAAABes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kBAAAKAAAAAABAQQlwAAAACXEAAAAJ9gUAAAEACfcFAAAB7AQAAHIAAAAKCgEAAAAAAAAA/////wABAfEEAACnAAAACfgFAAABAAAAAwAAAAHyBAAAbwAAAAn5BQAACgHzBAAAcgAAAAoKAAAAAAAAAAANAAAAAAAB9AQAAHIAAAAKCgAAAAAAAAAADQAAAAABB/UEAAAAAQAAAAQAAAAEHUFwbG9yaXMuQmFzZS5PYmplY3RzLlZhcmlhYmxlAwAAAAH6BQAASQUAAAEAAAAAAAAAAfsFAABJBQAAAAAAAAAAAAAB/AUAAEkFAAAAAAAAAAAAAAH9BQAASQUAAAAAAAAAAAAAD/YEAAABAAAACDUBAAAB9wQAAHIAAAAKCgAAAAAAAAAADQAAAAAABfgEAAAaQXBsb3Jpcy5CYXNlLk9iamVjdHMuQ29sb3IHAAAAEkRhdGFPYmplY3QrbVBhcmVudBVEYXRhT2JqZWN0K21Db250YWluZXIFbVR5cGUEbVJHQhBtVGhlbWVDb2xvckluZGV4DG1BdXRvVXBkYXRlZAltTW9kaWZpZWQEAgAAAAAAH0FwbG9yaXMuQmFzZS5PYmplY3RzLkxpbmVGb3JtYXQDAAAACAgIAQEDAAAACbwDAAAKAQAAAAAAAAD/////AAEP+QQAAAEAAAAITAEAAAH6BAAAcgAAAAoKAAAAAAAAAAANAAAAAAAB+wQAAHIAAAAKCgAAAAAAAAAADQAAAAABB/wEAAAAAQAAAAQAAAAEHUFwbG9yaXMuQmFzZS5PYmplY3RzLlZhcmlhYmxlAwAAAAH+BQAASQUAAAEAAAAAAAAAAf8FAABJBQAAAAAAAAAAAAABAAYAAEkFAAAAAAAAAAAAAAEBBgAASQUAAAAAAAAAAAAAD/0EAAABAAAACCYAAAAB/gQAAHIAAAAKCgAAAAAAAAAADQAAAAAABf8EAAAaQXBsb3Jpcy5CYXNlLk9iamVjdHMuQ29sb3IHAAAAEkRhdGFPYmplY3QrbVBhcmVudBVEYXRhT2JqZWN0K21Db250YWluZXIFbVR5cGUEbVJHQhBtVGhlbWVDb2xvckluZGV4DG1BdXRvVXBkYXRlZAltTW9kaWZpZWQEAgAAAAAAH0FwbG9yaXMuQmFzZS5PYmplY3RzLkxpbmVGb3JtYXQDAAAACAgIAQEDAAAACcsDAAAKAQAAAAAAAAD/////AAEPAAUAAAEAAAAITgEAAAEBBQAAcgAAAAoKAAAAAAAAAAANAAAAAAABAgUAAHIAAAAKCgAAAAAAAAAADQAAAAABBwMFAAAAAQAAAAQAAAAEHUFwbG9yaXMuQmFzZS5PYmplY3RzLlZhcmlhYmxlAwAAAAECBgAASQUAAAEAAAAAAAAAAQMGAABJBQAAAAAAAAAAAAABBAYAAEkFAAAAAAAAAAAAAAEFBgAASQUAAAAAAAAAAAAADwQFAAABAAAACCMAAAABBQUAAHIAAAAKCgAAAAAAAAAADQAAAAAABQYFAAAaQXBsb3Jpcy5CYXNlLk9iamVjdHMuQ29sb3IHAAAAEkRhdGFPYmplY3QrbVBhcmVudBVEYXRhT2JqZWN0K21Db250YWluZXIFbVR5cGUEbVJHQhBtVGhlbWVDb2xvckluZGV4DG1BdXRvVXBkYXRlZAltTW9kaWZpZWQEAgAAAAAAH0FwbG9yaXMuQmFzZS5PYmplY3RzLkxpbmVGb3JtYXQDAAAACAgIAQEDAAAACdoDAAAKAQAAAAAAAAD/////AAEPBwUAAAEAAAAISwEAAAEIBQAAcgAAAAoKAAAAAAAAAAANAAAAAAABCQUAAHIAAAAKCgAAAAAAAAAADQAAAAABBwoFAAAAAQAAAAQAAAAEHUFwbG9yaXMuQmFzZS5PYmplY3RzLlZhcmlhYmxlAwAAAAEGBgAASQUAAAEAAAAAAAAAAQcGAABJBQAAAAAAAAAAAAABCAYAAEkFAAAAAAAAAAAAAAEJBgAASQUAAAAAAAAAAAAADwsFAAABAAAACCsAAAABDAUAAHIAAAAKCgAAAAAAAAAADQAAAAAABQ0FAAAaQXBsb3Jpcy5CYXNlLk9iamVjdHMuQ29sb3IHAAAAEkRhdGFPYmplY3QrbVBhcmVudBVEYXRhT2JqZWN0K21Db250YWluZXIFbVR5cGUEbVJHQhBtVGhlbWVDb2xvckluZGV4DG1BdXRvVXBkYXRlZAltTW9kaWZpZWQEAgAAAAAAH0FwbG9yaXMuQmFzZS5PYmplY3RzLkxpbmVGb3JtYXQDAAAACAgIAQEDAAAACekDAAAKAQAAAAAAAAD/////AAEPDgUAAAEAAAAISgEAAAEPBQAAcgAAAAoKAAAAAAAAAAANAAAAAAABEAUAAHIAAAAKCgAAAAAAAAAADQAAAAABBxEFAAAAAQAAAAQAAAAEHUFwbG9yaXMuQmFzZS5PYmplY3RzLlZhcmlhYmxlAwAAAAEKBgAASQUAAAEAAAAAAAAAAQsGAABJBQAAAAAAAAAAAAABDAYAAEkFAAAAAAAAAAAAAAENBgAASQUAAAAAAAAAAAAADxIFAAABAAAACCoAAAABEwUAAHIAAAAKCgAAAAAAAAAADQAAAAAABRQFAAAaQXBsb3Jpcy5CYXNlLk9iamVjdHMuQ29sb3IHAAAAEkRhdGFPYmplY3QrbVBhcmVudBVEYXRhT2JqZWN0K21Db250YWluZXIFbVR5cGUEbVJHQhBtVGhlbWVDb2xvckluZGV4DG1BdXRvVXBkYXRlZAltTW9kaWZpZWQEAgAAAAAAH0FwbG9yaXMuQmFzZS5PYmplY3RzLkxpbmVGb3JtYXQDAAAACAgIAQEDAAAACfgDAAAKAQAAAAAAAAD/////AAEPFQUAAAEAAAAITwEAAAEWBQAAcgAAAAoKAAAAAAAAAAANAAAAAAABFwUAAHIAAAAKCgAAAAAAAAAADQAAAAABBxgFAAAAAQAAAAQAAAAEHUFwbG9yaXMuQmFzZS5PYmplY3RzLlZhcmlhYmxlAwAAAAEOBgAASQUAAAEAAAAAAAAAAQ8GAABJBQAAAAAAAAAAAAABEAYAAEkFAAAAAAAAAAAAAAERBgAASQUAAAAAAAAAAAAADxkFAAABAAAACCcAAAABGgUAAHIAAAAKCgAAAAAAAAAADQAAAAAABRsFAAAaQXBsb3Jpcy5CYXNlLk9iamVjdHMuQ29sb3IHAAAAEkRhdGFPYmplY3QrbVBhcmVudBVEYXRhT2JqZWN0K21Db250YWluZXIFbVR5cGUEbVJHQhBtVGhlbWVDb2xvckluZGV4DG1BdXRvVXBkYXRlZAltTW9kaWZpZWQEAgAAAAAAH0FwbG9yaXMuQmFzZS5PYmplY3RzLkxpbmVGb3JtYXQDAAAACAgIAQEDAAAACQcEAAAKAQAAAAAAAAD/////AAEPHAUAAAEAAAAIUQEAAAEdBQAAcgAAAAoKAAAAAAAAAAANAAAAAAABHgUAAHIAAAAKCgAAAAAAAAAADQAAAAABBx8FAAAAAQAAAAQAAAAEHUFwbG9yaXMuQmFzZS5PYmplY3RzLlZhcmlhYmxlAwAAAAESBgAASQUAAAEAAAAAAAAAARMGAABJBQAAAAAAAAAAAAABFAYAAEkFAAAAAAAAAAAAAAEVBgAASQUAAAAAAAAAAAAADyAFAAABAAAACCkAAAABIQUAAHIAAAAKCgAAAAAAAAAADQAAAAAABSIFAAAaQXBsb3Jpcy5CYXNlLk9iamVjdHMuQ29sb3IHAAAAEkRhdGFPYmplY3QrbVBhcmVudBVEYXRhT2JqZWN0K21Db250YWluZXIFbVR5cGUEbVJHQhBtVGhlbWVDb2xvckluZGV4DG1BdXRvVXBkYXRlZAltTW9kaWZpZWQEAgAAAAAAH0FwbG9yaXMuQmFzZS5PYmplY3RzLkxpbmVGb3JtYXQDAAAACAgIAQEDAAAACRYEAAAKAQAAAAAAAAD/////AAEPIwUAAAEAAAAIUgEAAAEkBQAAcgAAAAoKAAAAAAAAAAANAAAAAAABJQUAAHIAAAAKCgAAAAAAAAAADQAAAAABByYFAAAAAQAAAAQAAAAEHUFwbG9yaXMuQmFzZS5PYmplY3RzLlZhcmlhYmxlAwAAAAEWBgAASQUAAAEAAAAAAAAAARcGAABJBQAAAAAAAAAAAAABGAYAAEkFAAAAAAAAAAAAAAEZBgAASQUAAAAAAAAAAAAADycFAAABAAAACCgAAAABKAUAAHIAAAAKCgAAAAAAAAAADQAAAAAABSkFAAAaQXBsb3Jpcy5CYXNlLk9iamVjdHMuQ29sb3IHAAAAEkRhdGFPYmplY3QrbVBhcmVudBVEYXRhT2JqZWN0K21Db250YWluZXIFbVR5cGUEbVJHQhBtVGhlbWVDb2xvckluZGV4DG1BdXRvVXBkYXRlZAltTW9kaWZpZWQEAgAAAAAAH0FwbG9yaXMuQmFzZS5PYmplY3RzLkxpbmVGb3JtYXQDAAAACAgIAQEDAAAACSUEAAAKAQAAAAAAAAD/////AAEPKgUAAAEAAAAIUwEAAAErBQAAcgAAAAoKAAAAAAAAAAANAAAAAAABLAUAAHIAAAAKCgAAAAAAAAAADQAAAAABBy0FAAAAAQAAAAQAAAAEHUFwbG9yaXMuQmFzZS5PYmplY3RzLlZhcmlhYmxlAwAAAAEaBgAASQUAAAEAAAAAAAAAARsGAABJBQAAAAAAAAAAAAABHAYAAEkFAAAAAAAAAAAAAAEdBgAASQUAAAAAAAAAAAAADy4FAAABAAAACCwAAAABLwUAAHIAAAAKCgAAAAAAAAAADQAAAAAABTAFAAAaQXBsb3Jpcy5CYXNlLk9iamVjdHMuQ29sb3IHAAAAEkRhdGFPYmplY3QrbVBhcmVudBVEYXRhT2JqZWN0K21Db250YWluZXIFbVR5cGUEbVJHQhBtVGhlbWVDb2xvckluZGV4DG1BdXRvVXBkYXRlZAltTW9kaWZpZWQEAgAAAAAAH0FwbG9yaXMuQmFzZS5PYmplY3RzLkxpbmVGb3JtYXQDAAAACAgIAQEDAAAACTQEAAAKAQAAAAAAAAD/////AAEPMQUAAAEAAAAIUAEAAAEyBQAAcgAAAAoKAAAAAAAAAAANAAAAAAABMwUAAHIAAAAKCgAAAAAAAAAADQAAAAABBzQFAAAAAQAAAAQAAAAEHUFwbG9yaXMuQmFzZS5PYmplY3RzLlZhcmlhYmxlAwAAAAEeBgAASQUAAAEAAAAAAAAAAR8GAABJBQAAAAAAAAAAAAABIAYAAEkFAAAAAAAAAAAAAAEhBgAASQUAAAAAAAAAAAAADzUFAAABAAAACC0AAAABNgUAAHIAAAAKCgAAAAAAAAAADQAAAAAABTcFAAAaQXBsb3Jpcy5CYXNlLk9iamVjdHMuQ29sb3IHAAAAEkRhdGFPYmplY3QrbVBhcmVudBVEYXRhT2JqZWN0K21Db250YWluZXIFbVR5cGUEbVJHQhBtVGhlbWVDb2xvckluZGV4DG1BdXRvVXBkYXRlZAltTW9kaWZpZWQEAgAAAAAAH0FwbG9yaXMuQmFzZS5PYmplY3RzLkxpbmVGb3JtYXQDAAAACAgIAQEDAAAACUMEAAAKAQAAAAAAAAD/////AAEPOAUAAAEAAAAISQEAAAE5BQAAcgAAAAoKAAAAAAAAAAANAAAAAAABOgUAAHIAAAAKCgAAAAAAAAAADQAAAAABBzsFAAAAAQAAAAQAAAAEHUFwbG9yaXMuQmFzZS5PYmplY3RzLlZhcmlhYmxlAwAAAAEiBgAASQUAAAEAAAAAAAAAASMGAABJBQAAAAAAAAAAAAABJAYAAEkFAAAAAAAAAAAAAAElBgAASQUAAAAAAAAAAAAADzwFAAABAAAACCUAAAABPQUAAHIAAAAKCgAAAAAAAAAADQAAAAAABT4FAAAaQXBsb3Jpcy5CYXNlLk9iamVjdHMuQ29sb3IHAAAAEkRhdGFPYmplY3QrbVBhcmVudBVEYXRhT2JqZWN0K21Db250YWluZXIFbVR5cGUEbVJHQhBtVGhlbWVDb2xvckluZGV4DG1BdXRvVXBkYXRlZAltTW9kaWZpZWQEAgAAAAAAH0FwbG9yaXMuQmFzZS5PYmplY3RzLkxpbmVGb3JtYXQDAAAACAgIAQEDAAAACVIEAAAKAQAAAAAAAAD/////AAEPPwUAAAEAAAAITQEAAAFABQAAcgAAAAoKAAAAAAAAAAANAAAAAAABQQUAAHIAAAAKCgAAAAAAAAAADQAAAAABB0IFAAAAAQAAAAQAAAAEHUFwbG9yaXMuQmFzZS5PYmplY3RzLlZhcmlhYmxlAwAAAAEmBgAASQUAAAEAAAAAAAAAAScGAABJBQAAAAAAAAAAAAABKAYAAEkFAAAAAAAAAAAAAAEpBgAASQUAAAAAAAAAAAAAD0MFAAABAAAACCQAAAAFRAU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oKCgkqBgAACgnzAAAACAZ7FK5H4XrUPwoAAAAACSsGAAAJLAYAAAAAAAAACS0GAAAJ8wAAAAkBAAAACS4GAAABRQUAAEQFAAAKCgoJLwYAAAoJ8wAAAAoKAQAAAAkwBgAACTEGAAAAAAAAAAkyBgAACfMAAAAJAQAAAAkzBgAAAUYFAABEBQAACgoKCTQGAAAKCfMAAAAKCgIAAAAKCgAAAAAACTUGAAAJ8wAAAAkBAAAACTYGAAABRwUAAEQFAAAKCgoJNwYAAAoJ8wAAAAoKAwAAAAoKAAAAAAAJOAYAAAnzAAAACQEAAAAJOQYAAAFIBQAARAUAAAoKCgk6BgAACgnzAAAACgoEAAAACgoAAAAAAAk7BgAACfMAAAAJAQAAAAk8BgAAAU0FAABEBQAACgoKCT0GAAAKCfQAAAAIBsP1KFyPwuU/CgAAAAAJPgYAAAk/BgAAAAAAAAAJQAYAAAn0AAAACQEAAAAJQQYAAAFOBQAARAUAAAoKCglCBgAACgn0AAAACgoBAAAACUMGAAAJRAYAAAAAAAAACUUGAAAJ9AAAAAkBAAAACUYGAAABTwUAAEQFAAAKCgoJRwYAAAoJ9AAAAAoKAgAAAAoKAAAAAAAJSAYAAAn0AAAACQEAAAAJSQYAAAFQBQAARAUAAAoKCglKBgAACgn0AAAACgoDAAAACgoAAAAAAAlLBgAACfQAAAAJAQAAAAlMBgAAAVEFAABEBQAACgoKCU0GAAAKCfQAAAAKCgQAAAAKCgAAAAAACU4GAAAJ9AAAAAkBAAAACU8GAAABVgUAAEQFAAAKCgoJUAYAAAoJ9QAAAAoKAAAAAAoKAAAAAAAJUQYAAAn1AAAACQEAAAAJUgYAAAFXBQAARAUAAAoKCglTBgAACgn1AAAACAZxPQrXo3C9PwoBAAAACVQGAAAJVQYAAAAAAAAACVYGAAAJ9QAAAAkBAAAACVcGAAABWAUAAEQFAAAKCgoJWAYAAAoJ9QAAAAoKAgAAAAoKAAAAAAAJWQYAAAn1AAAACQEAAAAJWgYAAAFZBQAARAUAAAoKCglbBgAACgn1AAAACgoDAAAACgoAAAAAAAlcBgAACfUAAAAJAQAAAAldBgAAAVoFAABEBQAACgoKCV4GAAAKCfUAAAAKCgQAAAAKCgAAAAAACV8GAAAJ9QAAAAkBAAAACWAGAAABXwUAAEQFAAAKCgoJYQYAAAoJ9gAAAAoKAAAAAAoKAAAAAAAJYgYAAAn2AAAACQEAAAAJYwYAAAFgBQAARAUAAAoKCglkBgAACgn2AAAACAYCK4cW2c7HPwoBAAAACWUGAAAJZgYAAAAAAAAACWcGAAAJ9gAAAAkBAAAACWgGAAABYQUAAEQFAAAKCgoJaQYAAAoJ9gAAAAoKAgAAAAoKAAAAAAAJagYAAAn2AAAACQEAAAAJawYAAAFiBQAARAUAAAoKCglsBgAACgn2AAAACgoDAAAACgoAAAAAAAltBgAACfYAAAAJAQAAAAluBgAAAWMFAABEBQAACgoKCW8GAAAKCfYAAAAKCgQAAAAKCgAAAAAACXAGAAAJ9gAAAAkBAAAACXEGAAABaAUAAEQFAAAKCgoJcgYAAAoJ9wAAAAoKAAAAAAoKAAAAAAAJcwYAAAn3AAAACQEAAAAJdAYAAAFpBQAARAUAAAoKCgl1BgAACgn3AAAACAbl0CLb+X7SPwoBAAAACXYGAAAJdwYAAAAAAAAACXgGAAAJ9wAAAAkBAAAACXkGAAABagUAAEQFAAAKCgoJegYAAAoJ9wAAAAoKAgAAAAoKAAAAAAAJewYAAAn3AAAACQEAAAAJfAYAAAFrBQAARAUAAAoKCgl9BgAACgn3AAAACgoDAAAACgoAAAAAAAl+BgAACfcAAAAJAQAAAAl/BgAAAWwFAABEBQAACgoKCYAGAAAKCfcAAAAKCgQAAAAKCgAAAAAACYEGAAAJ9wAAAAkBAAAACYIGAAABcQUAAEQFAAAKCgoJgwYAAAoJ+AAAAAoKAAAAAAoKAAAAAAAJhAYAAAn4AAAACQEAAAAJhQYAAAFyBQAARAUAAAoKCgmGBgAACgn4AAAACAaTGARWDi3aPwoBAAAACYcGAAAJiAYAAAAAAAAACYkGAAAJ+AAAAAkBAAAACYoGAAABcwUAAEQFAAAKCgoJiwYAAAoJ+AAAAAoKAgAAAAoKAAAAAAAJjAYAAAn4AAAACQEAAAAJjQYAAAF0BQAARAUAAAoKCgmOBgAACgn4AAAACgoDAAAACgoAAAAAAAmPBgAACfgAAAAJAQAAAAmQBgAAAXUFAABEBQAACgoKCZEGAAAKCfgAAAAKCgQAAAAKCgAAAAAACZIGAAAJ+AAAAAkBAAAACZMGAAABegUAAEQFAAAKCgoJlAYAAAoJ+QAAAAoKAAAAAAoKAAAAAAAJlQYAAAn5AAAACQEAAAAJlgYAAAF7BQAARAUAAAoKCgmXBgAACgn5AAAACgoBAAAACgoAAAAAAAmYBgAACfkAAAAJAQAAAAmZBgAAAXwFAABEBQAACZoGAAAJmwYAAAoJnAYAAAoJ+QAAAAgGWZL6Wmessj8KAgAAAAmdBgAACZ4GAAAAAAAAAAmfBgAACfkAAAAJAQAAAAmgBgAAAX0FAABEBQAACgoKCaEGAAAKCfkAAAAKCgMAAAAKCgAAAAAACaIGAAAJ+QAAAAkBAAAACaMGAAABfgUAAEQFAAAKCgoJpAYAAAoJ+QAAAAoKBAAAAAoKAAAAAAAJpQYAAAn5AAAACQEAAAAJpgYAAAGDBQAARAUAAAoKCgmnBgAACgn6AAAACgoAAAAACgoAAAAAAAmoBgAACfoAAAAJAQAAAAmpBgAAAYQFAABEBQAACgoKCaoGAAAKCfoAAAAKCgEAAAAKCgAAAAAACasGAAAJ+gAAAAkBAAAACawGAAABhQUAAEQFAAAJrQYAAAmuBgAACgmvBgAACgn6AAAACAYPqI69tWHaPwoCAAAACbAGAAAJsQYAAAAAAAAACbIGAAAJ+gAAAAkBAAAACbMGAAABhgUAAEQFAAAKCgoJtAYAAAoJ+gAAAAoKAwAAAAoKAAAAAAAJtQYAAAn6AAAACQEAAAAJtgYAAAGHBQAARAUAAAoKCgm3BgAACgn6AAAACgoEAAAACgoAAAAAAAm4BgAACfoAAAAJAQAAAAm5BgAAAYwFAABEBQAACgoKCboGAAAKCfsAAAAKCgAAAAAKCgAAAAAACbsGAAAJ+wAAAAkBAAAACbwGAAABjQUAAEQFAAAKCgoJvQYAAAoJ+wAAAAoKAQAAAAoKAAAAAAAJvgYAAAn7AAAACQEAAAAJvwYAAAGOBQAARAUAAAnABgAACcEGAAAKCcIGAAAKCfsAAAAIBlgEhOBCJMs/CgIAAAAJwwYAAAnEBgAAAAAAAAAJxQYAAAn7AAAACQEAAAAJxgYAAAGPBQAARAUAAAoKCgnHBgAACgn7AAAACgoDAAAACgoAAAAAAAnIBgAACfsAAAAJAQAAAAnJBgAAAZAFAABEBQAACgoKCcoGAAAKCfsAAAAKCgQAAAAKCgAAAAAACcsGAAAJ+wAAAAkBAAAACcwGAAABlQUAAEQFAAAKCgoJzQYAAAoJ/AAAAAoKAAAAAAoKAAAAAAAJzgYAAAn8AAAACQEAAAAJzwYAAAGWBQAARAUAAAoKCgnQBgAACgn8AAAACgoBAAAACgoAAAAAAAnRBgAACfwAAAAJAQAAAAnSBgAAAZcFAABEBQAACdMGAAAJ1AYAAAoJ1QYAAAoJ/AAAAAgGmrvgr+KExD8KAgAAAAnWBgAACdcGAAAAAAAAAAnYBgAACfwAAAAJAQAAAAnZBgAAAZgFAABEBQAACgoKCdoGAAAKCfwAAAAKCgMAAAAKCgAAAAAACdsGAAAJ/AAAAAkBAAAACdwGAAABmQUAAEQFAAAKCgoJ3QYAAAoJ/AAAAAoKBAAAAAoKAAAAAAAJ3gYAAAn8AAAACQEAAAAJ3wYAAAGeBQAARAUAAAoKCgngBgAACgn9AAAACgoAAAAACgoAAAAAAAnhBgAACf0AAAAJAQAAAAniBgAAAZ8FAABEBQAACgoKCeMGAAAKCf0AAAAKCgEAAAAKCgAAAAAACeQGAAAJ/QAAAAkBAAAACeUGAAABoAUAAEQFAAAJ5gYAAAnnBgAACgnoBgAACgn9AAAACAbCpgBHOz3CPwoCAAAACekGAAAJ6gYAAAAAAAAACesGAAAJ/QAAAAkBAAAACewGAAABoQUAAEQFAAAKCgoJ7QYAAAoJ/QAAAAoKAwAAAAoKAAAAAAAJ7gYAAAn9AAAACQEAAAAJ7wYAAAGiBQAARAUAAAoKCgnwBgAACgn9AAAACgoEAAAACgoAAAAAAAnxBgAACf0AAAAJAQAAAAnyBgAAAacFAABEBQAACgoKCfMGAAAKCf4AAAAKCgAAAAAKCgAAAAAACfQGAAAJ/gAAAAkBAAAACfUGAAABqAUAAEQFAAAKCgoJ9gYAAAoJ/gAAAAoKAQAAAAoKAAAAAAAJ9wYAAAn+AAAACQEAAAAJ+AYAAAGpBQAARAUAAAoKCgn5BgAACgn+AAAACgoCAAAACgoAAAAAAAn6BgAACf4AAAAJAQAAAAn7BgAAAaoFAABEBQAACfwGAAAJ/QYAAAoJ/gYAAAoJ/gAAAAgGbtu2bdu2zT8KAwAAAAn/BgAACQAHAAAAAAAAAAkBBwAACf4AAAAJAQAAAAkCBwAAAasFAABEBQAACgoKCQMHAAAKCf4AAAAKCgQAAAAKCgAAAAAACQQHAAAJ/gAAAAkBAAAACQUHAAABsAUAAEQFAAAKCgoJBgcAAAoJ/wAAAAoKAAAAAAoKAAAAAAAJBwcAAAn/AAAACQEAAAAJCAcAAAGxBQAARAUAAAoKCgkJBwAACgn/AAAACgoBAAAACgoAAAAAAAkKBwAACf8AAAAJAQAAAAkLBwAAAbIFAABEBQAACgoKCQwHAAAKCf8AAAAKCgIAAAAKCgAAAAAACQ0HAAAJ/wAAAAkBAAAACQ4HAAABswUAAEQFAAAJDwcAAAkQBwAACgkRBwAACgn/AAAACAYQjfWhsT7UPwoDAAAACRIHAAAJEwcAAAAAAAAACRQHAAAJ/wAAAAkBAAAACRUHAAABtAUAAEQFAAAKCgoJFgcAAAoJ/wAAAAoKBAAAAAoKAAAAAAAJFwcAAAn/AAAACQEAAAAJGAcAAAG5BQAARAUAAAoKCgkZBwAACgkAAQAACgoAAAAACgoAAAAAAAkaBwAACQABAAAJAQAAAAkbBwAAAboFAABEBQAACgoKCRwHAAAKCQABAAAKCgEAAAAKCgAAAAAACR0HAAAJAAEAAAkBAAAACR4HAAABuwUAAEQFAAAKCgoJHwcAAAoJAAEAAAoKAgAAAAoKAAAAAAAJIAcAAAkAAQAACQEAAAAJIQcAAAG8BQAARAUAAAkiBwAACSMHAAAKCSQHAAAKCQABAAAIBjoFL6fg5dw/CgMAAAAJJQcAAAkmBwAAAAAAAAAJJwcAAAkAAQAACQEAAAAJKAcAAAG9BQAARAUAAAoKCgkpBwAACgkAAQAACgoEAAAACgoAAAAAAAkqBwAACQABAAAJAQAAAAkrBwAAAcIFAABEBQAACgoKCSwHAAAKCQEBAAAKCgAAAAAKCgAAAAAACS0HAAAJAQEAAAkBAAAACS4HAAABwwUAAEQFAAAKCgoJLwcAAAoJAQEAAAoKAQAAAAoKAAAAAAAJMAcAAAkBAQAACQEAAAAJMQcAAAHEBQAARAUAAAoKCgkyBwAACgkBAQAACgoCAAAACgoAAAAAAAkzBwAACQEBAAAJAQAAAAk0BwAAAcUFAABEBQAACgoKCTUHAAAKCQEBAAAKCgMAAAAKCgAAAAAACTYHAAAJAQEAAAkBAAAACTcHAAABxgUAAEQFAAAJOAcAAAk5BwAACgk6BwAACgkBAQAACAaEIhShCEXiPwoEAAAACTsHAAAJPAcAAAAAAAAACT0HAAAJAQEAAAkBAAAACT4HAAABywUAAEQFAAAKCgoJPwcAAAoJAgEAAAoKAAAAAAoKAAAAAAAJQAcAAAkCAQAACQEAAAAJQQcAAAHMBQAARAUAAAoKCglCBwAACgkCAQAACgoBAAAACgoAAAAAAAlDBwAACQIBAAAJAQAAAAlEBwAAAc0FAABEBQAACgoKCUUHAAAKCQIBAAAKCgIAAAAKCgAAAAAACUYHAAAJAgEAAAkBAAAACUcHAAABzgUAAEQFAAAKCgoJSAcAAAoJAgEAAAoKAwAAAAoKAAAAAAAJSQcAAAkCAQAACQEAAAAJSgcAAAHPBQAARAUAAAlLBwAACUwHAAAKCU0HAAAKCQIBAAAIBgYucIELXNA/CgQAAAAJTgcAAAlPBwAAAAAAAAAJUAcAAAkCAQAACQEAAAAJUQcAAAHUBQAARAUAAAoKCglSBwAACgkDAQAACgoAAAAACgoAAAAAAAlTBwAACQMBAAAJAQAAAAlUBwAAAdUFAABEBQAACgoKCVUHAAAKCQMBAAAKCgEAAAAKCgAAAAAACVYHAAAJAwEAAAkBAAAACVcHAAAB1gUAAEQFAAAKCgoJWAcAAAoJAwEAAAoKAgAAAAoKAAAAAAAJWQcAAAkDAQAACQEAAAAJWgcAAAHXBQAARAUAAAoKCglbBwAACgkDAQAACgoDAAAACgoAAAAAAAlcBwAACQMBAAAJAQAAAAldBwAAAdgFAABEBQAACV4HAAAJXwcAAAoJYAcAAAoJAwEAAAgGAxe4wAUuwD8KBAAAAAlhBwAACWIHAAAAAAAAAAljBwAACQMBAAAJAQAAAAlkBwAAAd0FAABEBQAACgoKCWUHAAAKCQQBAAAKCgAAAAAKCgAAAAAACWYHAAAJBAEAAAkBAAAACWcHAAAB3gUAAEQFAAAKCgoJaAcAAAoJBAEAAAoKAQAAAAoKAAAAAAAJaQcAAAkEAQAACQEAAAAJagcAAAHfBQAARAUAAAoKCglrBwAACgkEAQAACgoCAAAACgoAAAAAAAlsBwAACQQBAAAJAQAAAAltBwAAAeAFAABEBQAACgoKCW4HAAAKCQQBAAAKCgMAAAAKCgAAAAAACW8HAAAJBAEAAAkBAAAACXAHAAAB4QUAAEQFAAAJcQcAAAlyBwAACglzBwAACgkEAQAACAZ83ete97qnPwoEAAAACXQHAAAJdQcAAAAAAAAACXYHAAAJBAEAAAkBAAAACXcHAAAB5gUAAHIAAAAKCgAAAAAAAAAADQAAAAABAecFAAByAAAACgoBAAAAAAAAAP////8AAQfoBQAAAAEAAAAEAAAABB1BcGxvcmlzLkJhc2UuT2JqZWN0cy5WYXJpYWJsZQMAAAABeAcAAEkFAAABAAAAAAAAAAF5BwAASQUAAAAAAAAAAAAAAXoHAABJBQAAAAAAAAAAAAABewcAAEkFAAAAAAAAAAAAAA/pBQAAAQAAAAgAAAAAAe4FAAByAAAACgoAAAAAAAAAAA0AAAAAAQHvBQAAcgAAAAoKAQAAAAAAAAD/////AAEH8AUAAAABAAAABAAAAAQdQXBsb3Jpcy5CYXNlLk9iamVjdHMuVmFyaWFibGUDAAAAAXwHAABJBQAAAQAAAAAAAAABfQcAAEkFAAAAAAAAAAAAAAF+BwAASQUAAAAAAAAAAAAAAX8HAABJBQAAAAAAAAAAAAAP8QUAAAEAAAAIAAAAAAH2BQAAcgAAAAoKAAAAAAAAAAANAAAAAAEB9wUAAHIAAAAKCgEAAAAAAAAA/////wABB/gFAAAAAQAAAAQAAAAEHUFwbG9yaXMuQmFzZS5PYmplY3RzLlZhcmlhYmxlAwAAAAGABwAASQUAAAEAAAAAAAAAAYEHAABJBQAAAAAAAAAAAAABggcAAEkFAAAAAAAAAAAAAAGDBwAASQUAAAAAAAAAAAAAD/kFAAABAAAACAAAAAAHKgYAAAABAAAAAgAAAAQaQXBsb3Jpcy5CYXNlLlVJLlZpc3VhbExpbmUDAAAACgoHKwYAAAABAAAAAwAAAAQVU3lzdGVtLkRyYXdpbmcuUG9pbnRGBAAAAAGEBwAAIAAAABjd8EJNz4tCAYUHAAAgAAAAo/uKQk3Pi0IBhgcAACAAAABGXytDTc+LQgcsBgAAAAEAAAADAAAABBdBcGxvcmlzLkJhc2UuQW5jaG9yTW9kZQMAAAABhwcAAJoAAAAAAAAAAYgHAACaAAAAAgAAAAGJBwAAmgAAAAQAAAABLQYAACQAAAAJ0gAAAAAAAAAAAAAAAS4GAAAlAAAACYoHAAAAAAAACAAAAAcvBgAAAAEAAAACAAAABBpBcGxvcmlzLkJhc2UuVUkuVmlzdWFsTGluZQMAAAAKCgcwBgAAAAEAAAADAAAABBVTeXN0ZW0uRHJhd2luZy5Qb2ludEYEAAAAAYsHAAAgAAAAXfSnQ35CZEMBjAcAACAAAAAfjIVDfkJkQwGNBwAAIAAAAJtcykN+QmRDBzEGAAAAAQAAAAMAAAAEF0FwbG9yaXMuQmFzZS5BbmNob3JNb2RlAwAAAAGOBwAAmgAAAAAAAAABjwcAAJoAAAACAAAAAZAHAACaAAAABAAAAAEyBgAAJAAAAAnSAAAAAAAAAAAAAAABMwYAACUAAAAJkQcAAAAAAAAEAAAABzQGAAAAAQAAAAIAAAAEGkFwbG9yaXMuQmFzZS5VSS5WaXN1YWxMaW5lAwAAAAoKATUGAAAkAAAACaEDAAAAAAAAAAAAAAE2BgAAJQAAAAmFBAAAAAAAAAAAAAAHNwYAAAABAAAAAgAAAAQaQXBsb3Jpcy5CYXNlLlVJLlZpc3VhbExpbmUDAAAACgoBOAYAACQAAAAJoQMAAAAAAAAAAAAAATkGAAAlAAAACYUEAAAAAAAAAAAAAAc6BgAAAAEAAAACAAAABBpBcGxvcmlzLkJhc2UuVUkuVmlzdWFsTGluZQMAAAAKCgE7BgAAJAAAAAm4AwAAAAAAAAAAAAABPAYAACUAAAAJtgQAAAAAAAAAAAAABz0GAAAAAQAAAAIAAAAEGkFwbG9yaXMuQmFzZS5VSS5WaXN1YWxMaW5lAwAAAAoKBz4GAAAAAQAAAAMAAAAEFVN5c3RlbS5EcmF3aW5nLlBvaW50RgQAAAABkgcAACAAAAAY3fBCNg1vQwGTBwAAIAAAAKP7ikI2DW9DAZQHAAAgAAAARl8rQzYNb0MHPwYAAAABAAAAAwAAAAQXQXBsb3Jpcy5CYXNlLkFuY2hvck1vZGUDAAAAAZUHAACaAAAAAAAAAAGWBwAAmgAAAAIAAAABlwcAAJoAAAAEAAAAAUAGAAAkAAAACdIAAAAAAAAAAAAAAAFBBgAAJQAAAAmYBwAAAAAAAAgAAAAHQgYAAAABAAAAAgAAAAQaQXBsb3Jpcy5CYXNlLlVJLlZpc3VhbExpbmUDAAAACgoHQwYAAAABAAAAAwAAAAQVU3lzdGVtLkRyYXdpbmcuUG9pbnRGBAAAAAGZBwAAIAAAAF30p0MDu61DAZoHAAAgAAAAH4yFQwO7rUMBmwcAACAAAACbXMpDA7utQwdEBgAAAAEAAAADAAAABBdBcGxvcmlzLkJhc2UuQW5jaG9yTW9kZQMAAAABnAcAAJoAAAAAAAAAAZ0HAACaAAAAAgAAAAGeBwAAmgAAAAQAAAABRQYAACQAAAAJ0gAAAAAAAAAAAAAAAUYGAAAlAAAACZ8HAAAAAAAABAAAAAdHBgAAAAEAAAACAAAABBpBcGxvcmlzLkJhc2UuVUkuVmlzdWFsTGluZQMAAAAKCgFIBgAAJAAAAAmhAwAAAAAAAAAAAAABSQYAACUAAAAJhQQAAAAAAAAAAAAAB0oGAAAAAQAAAAIAAAAEGkFwbG9yaXMuQmFzZS5VSS5WaXN1YWxMaW5lAwAAAAoKAUsGAAAkAAAACaEDAAAAAAAAAAAAAAFMBgAAJQAAAAmFBAAAAAAAAAAAAAAHTQYAAAABAAAAAgAAAAQaQXBsb3Jpcy5CYXNlLlVJLlZpc3VhbExpbmUDAAAACgoBTgYAACQAAAAJuAMAAAAAAAAAAAAAAU8GAAAlAAAACbYEAAAAAAAAAAAAAAdQBgAAAAEAAAACAAAABBpBcGxvcmlzLkJhc2UuVUkuVmlzdWFsTGluZQMAAAAKCgFRBgAAJAAAAAnSAAAAAAAAAAAAAAABUgYAACUAAAAJ0AAAAAAAAAAAAAAAB1MGAAAAAQAAAAIAAAAEGkFwbG9yaXMuQmFzZS5VSS5WaXN1YWxMaW5lAwAAAAoKB1QGAAAAAQAAAAMAAAAEFVN5c3RlbS5EcmF3aW5nLlBvaW50RgQAAAABoAcAACAAAACk64hDQ/8MQgGhBwAAIAAAAI7mXkND/wxCAaIHAAAgAAAAAWSiQ0P/DEIHVQYAAAABAAAAAwAAAAQXQXBsb3Jpcy5CYXNlLkFuY2hvck1vZGUDAAAAAaMHAACaAAAAAAAAAAGkBwAAmgAAAAIAAAABpQcAAJoAAAAEAAAAAVYGAAAkAAAACdIAAAAAAAAAAAAAAAFXBgAAJQAAAAmmBwAAAAAAAAgAAAAHWAYAAAABAAAAAgAAAAQaQXBsb3Jpcy5CYXNlLlVJLlZpc3VhbExpbmUDAAAACgoBWQYAACQAAAAJoQMAAAAAAAAAAAAAAVoGAAAlAAAACYUEAAAAAAAAAAAAAAdbBgAAAAEAAAACAAAABBpBcGxvcmlzLkJhc2UuVUkuVmlzdWFsTGluZQMAAAAKCgFcBgAAJAAAAAmhAwAAAAAAAAAAAAABXQYAACUAAAAJhQQAAAAAAAAAAAAAB14GAAAAAQAAAAIAAAAEGkFwbG9yaXMuQmFzZS5VSS5WaXN1YWxMaW5lAwAAAAoKAV8GAAAkAAAACbgDAAAAAAAAAAAAAAFgBgAAJQAAAAm2BAAAAAAAAAAAAAAHYQYAAAABAAAAAgAAAAQaQXBsb3Jpcy5CYXNlLlVJLlZpc3VhbExpbmUDAAAACgoBYgYAACQAAAAJ0gAAAAAAAAAAAAAAAWMGAAAlAAAACdAAAAAAAAAAAAAAAAdkBgAAAAEAAAACAAAABBpBcGxvcmlzLkJhc2UuVUkuVmlzdWFsTGluZQMAAAAKCgdlBgAAAAEAAAADAAAABBVTeXN0ZW0uRHJhd2luZy5Qb2ludEYEAAAAAacHAAAgAAAApOuIQ0RtrEIBqAcAACAAAACO5l5DRG2sQgGpBwAAIAAAAAFkokNEbaxCB2YGAAAAAQAAAAMAAAAEF0FwbG9yaXMuQmFzZS5BbmNob3JNb2RlAwAAAAGqBwAAmgAAAAAAAAABqwcAAJoAAAACAAAAAawHAACaAAAABAAAAAFnBgAAJAAAAAnSAAAAAAAAAAAAAAABaAYAACUAAAAJrQcAAAAAAAAIAAAAB2kGAAAAAQAAAAIAAAAEGkFwbG9yaXMuQmFzZS5VSS5WaXN1YWxMaW5lAwAAAAoKAWoGAAAkAAAACaEDAAAAAAAAAAAAAAFrBgAAJQAAAAmFBAAAAAAAAAAAAAAHbAYAAAABAAAAAgAAAAQaQXBsb3Jpcy5CYXNlLlVJLlZpc3VhbExpbmUDAAAACgoBbQYAACQAAAAJoQMAAAAAAAAAAAAAAW4GAAAlAAAACYUEAAAAAAAAAAAAAAdvBgAAAAEAAAACAAAABBpBcGxvcmlzLkJhc2UuVUkuVmlzdWFsTGluZQMAAAAKCgFwBgAAJAAAAAm4AwAAAAAAAAAAAAABcQYAACUAAAAJtgQAAAAAAAAAAAAAB3IGAAAAAQAAAAIAAAAEGkFwbG9yaXMuQmFzZS5VSS5WaXN1YWxMaW5lAwAAAAoKAXMGAAAkAAAACdIAAAAAAAAAAAAAAAF0BgAAJQAAAAnQAAAAAAAAAAAAAAAHdQYAAAABAAAAAgAAAAQaQXBsb3Jpcy5CYXNlLlVJLlZpc3VhbExpbmUDAAAACgoHdgYAAAABAAAAAwAAAAQVU3lzdGVtLkRyYXdpbmcuUG9pbnRGBAAAAAGuBwAAIAAAAKTriEN2oyZDAa8HAAAgAAAAjuZeQ3ajJkMBsAcAACAAAAABZKJDdqMmQwd3BgAAAAEAAAADAAAABBdBcGxvcmlzLkJhc2UuQW5jaG9yTW9kZQMAAAABsQcAAJoAAAAAAAAAAbIHAACaAAAAAgAAAAGzBwAAmgAAAAQAAAABeAYAACQAAAAJ0gAAAAAAAAAAAAAAAXkGAAAlAAAACbQHAAAAAAAACAAAAAd6BgAAAAEAAAACAAAABBpBcGxvcmlzLkJhc2UuVUkuVmlzdWFsTGluZQMAAAAKCgF7BgAAJAAAAAmhAwAAAAAAAAAAAAABfAYAACUAAAAJhQQAAAAAAAAAAAAAB30GAAAAAQAAAAIAAAAEGkFwbG9yaXMuQmFzZS5VSS5WaXN1YWxMaW5lAwAAAAoKAX4GAAAkAAAACaEDAAAAAAAAAAAAAAF/BgAAJQAAAAmFBAAAAAAAAAAAAAAHgAYAAAABAAAAAgAAAAQaQXBsb3Jpcy5CYXNlLlVJLlZpc3VhbExpbmUDAAAACgoBgQYAACQAAAAJuAMAAAAAAAAAAAAAAYIGAAAlAAAACbYEAAAAAAAAAAAAAAeDBgAAAAEAAAACAAAABBpBcGxvcmlzLkJhc2UuVUkuVmlzdWFsTGluZQMAAAAKCgGEBgAAJAAAAAnSAAAAAAAAAAAAAAABhQYAACUAAAAJ0AAAAAAAAAAAAAAAB4YGAAAAAQAAAAIAAAAEGkFwbG9yaXMuQmFzZS5VSS5WaXN1YWxMaW5lAwAAAAoKB4cGAAAAAQAAAAMAAAAEFVN5c3RlbS5EcmF3aW5nLlBvaW50RgQAAAABtQcAACAAAACk64hDGmmOQwG2BwAAIAAAAI7mXkMaaY5DAbcHAAAgAAAAAWSiQxppjkMHiAYAAAABAAAAAwAAAAQXQXBsb3Jpcy5CYXNlLkFuY2hvck1vZGUDAAAAAbgHAACaAAAAAAAAAAG5BwAAmgAAAAIAAAABugcAAJoAAAAEAAAAAYkGAAAkAAAACdIAAAAAAAAAAAAAAAGKBgAAJQAAAAm7BwAAAAAAAAgAAAAHiwYAAAABAAAAAgAAAAQaQXBsb3Jpcy5CYXNlLlVJLlZpc3VhbExpbmUDAAAACgoBjAYAACQAAAAJoQMAAAAAAAAAAAAAAY0GAAAlAAAACYUEAAAAAAAAAAAAAAeOBgAAAAEAAAACAAAABBpBcGxvcmlzLkJhc2UuVUkuVmlzdWFsTGluZQMAAAAKCgGPBgAAJAAAAAmhAwAAAAAAAAAAAAABkAYAACUAAAAJhQQAAAAAAAAAAAAAB5EGAAAAAQAAAAIAAAAEGkFwbG9yaXMuQmFzZS5VSS5WaXN1YWxMaW5lAwAAAAoKAZIGAAAkAAAACbgDAAAAAAAAAAAAAAGTBgAAJQAAAAm2BAAAAAAAAAAAAAAHlAYAAAABAAAAAgAAAAQaQXBsb3Jpcy5CYXNlLlVJLlZpc3VhbExpbmUDAAAACgoBlQYAACQAAAAJoQMAAAAAAAAAAAAAAZYGAAAlAAAACYUEAAAAAAAAAAAAAAeXBgAAAAEAAAACAAAABBpBcGxvcmlzLkJhc2UuVUkuVmlzdWFsTGluZQMAAAAKCgGYBgAAJAAAAAmhAwAAAAAAAAAAAAABmQYAACUAAAAJhQQAAAAAAAAAAAAAAZoGAAAYAQAAClgCAAABvAcAAAsCAAACAAAAAb0HAAAMAgAAAQAAAAG+BwAAFAAAANKFqEJm85ZBjK7zQtpolUEBvwcAAA4CAAAAAAAAAACgQAABwAcAACAAAACMLhFD06fhQQHBBwAAmgAAAAAAAAAAAAAAAAAAAAAJwgcAAAAAAAAJwwcAAAAAAcQHAACjAAAAAAAAAAHFBwAAbAAAAAAAskIAAEBBAcYHAAAUAAAA0UXPQnTRtUGMxadCo4suQRKDvj8GxwcAABBVbmRlciAxLDAwMCAgIDclCgnIBwAABskHAAADICAgNAMAAP////8BAQoJygcAAAEACgABmwYAABsAAAABywcAACAAAADShaJCIC4iQgHMBwAAIAAAAC8aUUPM5n1BCc0HAAAJzgcAAAAAAAAKAc8HAABsAAAAAAAAAAAAAAAB0AcAAGwAAAAAAAAAAAAAAAAAAAAB0QcAABQAAAAAAAAAAAAAAAAAAAAAAAAApAEAAP////8BAQoJ0gcAAAEACgAHnAYAAAABAAAAAgAAAAQaQXBsb3Jpcy5CYXNlLlVJLlZpc3VhbExpbmUDAAAACgoHnQYAAAABAAAAAwAAAAQVU3lzdGVtLkRyYXdpbmcuUG9pbnRGBAAAAAHTBwAAIAAAAIwuEUPTp+FBAdQHAAAgAAAA0oWcQtOn4UEB1QcAACAAAAAvGlRD06fhQQeeBgAAAAEAAAADAAAABBdBcGxvcmlzLkJhc2UuQW5jaG9yTW9kZQMAAAAB1gcAAJoAAAAAAAAAAdcHAACaAAAAAgAAAAHYBwAAmgAAAAQAAAABnwYAACQAAAAJoQMAAAAAAAAAAAAAAaAGAAAlAAAACdkHAAACAAAAAgAAAAehBgAAAAEAAAACAAAABBpBcGxvcmlzLkJhc2UuVUkuVmlzdWFsTGluZQMAAAAKCgGiBgAAJAAAAAmhAwAAAAAAAAAAAAABowYAACUAAAAJhQQAAAAAAAAAAAAAB6QGAAAAAQAAAAIAAAAEGkFwbG9yaXMuQmFzZS5VSS5WaXN1YWxMaW5lAwAAAAoKAaUGAAAkAAAACbgDAAAAAAAAAAAAAAGmBgAAJQAAAAm2BAAAAAAAAAAAAAAHpwYAAAABAAAAAgAAAAQaQXBsb3Jpcy5CYXNlLlVJLlZpc3VhbExpbmUDAAAACgoBqAYAACQAAAAJoQMAAAAAAAAAAAAAAakGAAAlAAAACYUEAAAAAAAAAAAAAAeqBgAAAAEAAAACAAAABBpBcGxvcmlzLkJhc2UuVUkuVmlzdWFsTGluZQMAAAAKCgGrBgAAJAAAAAmhAwAAAAAAAAAAAAABrAYAACUAAAAJhQQAAAAAAAAAAAAAAa0GAAAYAQAAClgCAAAB2gcAAAsCAAACAAAAAdsHAAAMAgAAAQAAAAHcBwAAFAAAANKFqEIgLi5CjK7zQv9yBUMB3QcAAA4CAAAAAAAAAACgQAAB3gcAACAAAACMLhFDD4rcQgHfBwAAmgAAAAAAAAAAAAAAAAAAAAAJ4AcAAAAAAAAJ4QcAAAAAAeIHAACjAAAAAAAAAAHjBwAAbAAAAAAAdEIAAMhBAeQHAAAUAAAALrroQosuxkKkuWlCdNG1QRKDvj8G5QcAABAxLDAwMC01LDAwMA0KNDElCgnmBwAABucHAAACDQo0AwAA/////wEBCgnoBwAAAQAKAAGuBgAAGwAAAAHpBwAAIAAAANKFokKH/jNDAeoHAAAgAAAALxpRQyAuIkIJ6wcAAAnsBwAAAAAAAAoB7QcAAGwAAAAAAAAAAAAAAAHuBwAAbAAAAAAAAAAAAAAAAAAAAAHvBwAAFAAAAAAAAAAAAAAAAAAAAAAAAACkAQAA/////wEBCgnwBwAAAQAKAAevBgAAAAEAAAACAAAABBpBcGxvcmlzLkJhc2UuVUkuVmlzdWFsTGluZQMAAAAKCgewBgAAAAEAAAADAAAABBVTeXN0ZW0uRHJhd2luZy5Qb2ludEYEAAAAAfEHAAAgAAAAjC4RQw+K3EIB8gcAACAAAADShZxCD4rcQgHzBwAAIAAAAC8aVEMPitxCB7EGAAAAAQAAAAMAAAAEF0FwbG9yaXMuQmFzZS5BbmNob3JNb2RlAwAAAAH0BwAAmgAAAAAAAAAB9QcAAJoAAAACAAAAAfYHAACaAAAABAAAAAGyBgAAJAAAAAmhAwAAAAAAAAAAAAABswYAACUAAAAJ9wcAAAIAAAACAAAAB7QGAAAAAQAAAAIAAAAEGkFwbG9yaXMuQmFzZS5VSS5WaXN1YWxMaW5lAwAAAAoKAbUGAAAkAAAACaEDAAAAAAAAAAAAAAG2BgAAJQAAAAmFBAAAAAAAAAAAAAAHtwYAAAABAAAAAgAAAAQaQXBsb3Jpcy5CYXNlLlVJLlZpc3VhbExpbmUDAAAACgoBuAYAACQAAAAJuAMAAAAAAAAAAAAAAbkGAAAlAAAACbYEAAAAAAAAAAAAAAe6BgAAAAEAAAACAAAABBpBcGxvcmlzLkJhc2UuVUkuVmlzdWFsTGluZQMAAAAKCgG7BgAAJAAAAAmhAwAAAAAAAAAAAAABvAYAACUAAAAJhQQAAAAAAAAAAAAAB70GAAAAAQAAAAIAAAAEGkFwbG9yaXMuQmFzZS5VSS5WaXN1YWxMaW5lAwAAAAoKAb4GAAAkAAAACaEDAAAAAAAAAAAAAAG/BgAAJQAAAAmFBAAAAAAAAAAAAAABwAYAABgBAAAKWAIAAAH4BwAACwIAAAIAAAAB+QcAAAwCAAABAAAAAfoHAAAUAAAA0oWoQof+NkOMrvNCXneDQgH7BwAADgIAAAAAAAAAAKBAAAH8BwAAIAAAAIwuEUNe3FdDAf0HAACaAAAAAAAAAAAAAAAAAAAAAAn+BwAAAAAAAAn/BwAAAAABAAgAAKMAAAAAAAAAAQEIAABsAAAAAACIQgAAyEEBAggAABQAAABddOFCo4tMQwGXgUJ00bVBEoO+PwYDCAAAETUsMDAwLTEwLDAwMA0KMjElCgkECAAABgUIAAACDQo0AwAA/////wEBCgkGCAAAAQAKAAHBBgAAGwAAAAEHCAAAIAAAANKFokI2untDAQgIAAAgAAAALxpRQ4f+M0MJCQgAAAkKCAAAAAAAAAoBCwgAAGwAAAAAAAAAAAAAAAEMCAAAbAAAAAAAAAAAAAAAAAAAAAENCAAAFAAAAAAAAAAAAAAAAAAAAAAAAACkAQAA/////wEBCgkOCAAAAQAKAAfCBgAAAAEAAAACAAAABBpBcGxvcmlzLkJhc2UuVUkuVmlzdWFsTGluZQMAAAAKCgfDBgAAAAEAAAADAAAABBVTeXN0ZW0uRHJhd2luZy5Qb2ludEYEAAAAAQ8IAAAgAAAAjC4RQ17cV0MBEAgAACAAAADShZxCXtxXQwERCAAAIAAAAC8aVENe3FdDB8QGAAAAAQAAAAMAAAAEF0FwbG9yaXMuQmFzZS5BbmNob3JNb2RlAwAAAAESCAAAmgAAAAAAAAABEwgAAJoAAAACAAAAARQIAACaAAAABAAAAAHFBgAAJAAAAAmhAwAAAAAAAAAAAAABxgYAACUAAAAJFQgAAAIAAAACAAAAB8cGAAAAAQAAAAIAAAAEGkFwbG9yaXMuQmFzZS5VSS5WaXN1YWxMaW5lAwAAAAoKAcgGAAAkAAAACaEDAAAAAAAAAAAAAAHJBgAAJQAAAAmFBAAAAAAAAAAAAAAHygYAAAABAAAAAgAAAAQaQXBsb3Jpcy5CYXNlLlVJLlZpc3VhbExpbmUDAAAACgoBywYAACQAAAAJuAMAAAAAAAAAAAAAAcwGAAAlAAAACbYEAAAAAAAAAAAAAAfNBgAAAAEAAAACAAAABBpBcGxvcmlzLkJhc2UuVUkuVmlzdWFsTGluZQMAAAAKCgHOBgAAJAAAAAmhAwAAAAAAAAAAAAABzwYAACUAAAAJhQQAAAAAAAAAAAAAB9AGAAAAAQAAAAIAAAAEGkFwbG9yaXMuQmFzZS5VSS5WaXN1YWxMaW5lAwAAAAoKAdEGAAAkAAAACaEDAAAAAAAAAAAAAAHSBgAAJQAAAAmFBAAAAAAAAAAAAAAB0wYAABgBAAAKWAIAAAEWCAAACwIAAAIAAAABFwgAAAwCAAABAAAAARgIAAAUAAAA0oWoQja6fkOMrvNCyOtAQgEZCAAADgIAAAAAAAAAAKBAAAEaCAAAIAAAAIwuEUPYa4tDARsIAACaAAAAAAAAAAAAAAAAAAAAAAkcCAAAAAAAAAkdCAAAAAABHggAAKMAAAAAAAAAAR8IAABsAAAAAACUQgAAyEEBIAgAABQAAAAAANxC6aKFQ7t/jEJ00bVBEoO+PwYhCAAAEjEwLDAwMC0yMCwwMDANCjE2JQoJIggAAAYjCAAAAg0KNAMAAP////8BAQoJJAgAAAEACgAB1AYAABsAAAABJQgAACAAAADShaJClPqYQwEmCAAAIAAAAC8aUUM2untDCScIAAAJKAgAAAAAAAAKASkIAABsAAAAAAAAAAAAAAABKggAAGwAAAAAAAAAAAAAAAAAAAABKwgAABQAAAAAAAAAAAAAAAAAAAAAAAAApAEAAP////8BAQoJLAgAAAEACgAH1QYAAAABAAAAAgAAAAQaQXBsb3Jpcy5CYXNlLlVJLlZpc3VhbExpbmUDAAAACgoH1gYAAAABAAAAAwAAAAQVU3lzdGVtLkRyYXdpbmcuUG9pbnRGBAAAAAEtCAAAIAAAAIwuEUPYa4tDAS4IAAAgAAAA0oWcQthri0MBLwgAACAAAAAvGlRD2GuLQwfXBgAAAAEAAAADAAAABBdBcGxvcmlzLkJhc2UuQW5jaG9yTW9kZQMAAAABMAgAAJoAAAAAAAAAATEIAACaAAAAAgAAAAEyCAAAmgAAAAQAAAAB2AYAACQAAAAJoQMAAAAAAAAAAAAAAdkGAAAlAAAACTMIAAACAAAAAgAAAAfaBgAAAAEAAAACAAAABBpBcGxvcmlzLkJhc2UuVUkuVmlzdWFsTGluZQMAAAAKCgHbBgAAJAAAAAmhAwAAAAAAAAAAAAAB3AYAACUAAAAJhQQAAAAAAAAAAAAAB90GAAAAAQAAAAIAAAAEGkFwbG9yaXMuQmFzZS5VSS5WaXN1YWxMaW5lAwAAAAoKAd4GAAAkAAAACbgDAAAAAAAAAAAAAAHfBgAAJQAAAAm2BAAAAAAAAAAAAAAH4AYAAAABAAAAAgAAAAQaQXBsb3Jpcy5CYXNlLlVJLlZpc3VhbExpbmUDAAAACgoB4QYAACQAAAAJoQMAAAAAAAAAAAAAAeIGAAAlAAAACYUEAAAAAAAAAAAAAAfjBgAAAAEAAAACAAAABBpBcGxvcmlzLkJhc2UuVUkuVmlzdWFsTGluZQMAAAAKCgHkBgAAJAAAAAmhAwAAAAAAAAAAAAAB5QYAACUAAAAJhQQAAAAAAAAAAAAAAeYGAAAYAQAAClgCAAABNAgAAAsCAAACAAAAATUIAAAMAgAAAQAAAAE2CAAAFAAAANKFqEKUeppDjK7zQpDRKEIBNwgAAA4CAAAAAAAAAACgQAABOAgAACAAAACMLhFDrQelQwE5CAAAmgAAAAAAAAAAAAAAAAAAAAAJOggAAAAAAAAJOwgAAAAAATwIAACjAAAAAAAAAAE9CAAAbAAAAAAAKEIAAMhBAT4IAAAUAAAARRf5QqOLn0NgoiRCdNG1QRKDvj8GPwgAAAwyMCwwMDArDQoxNCUKCUAIAAAGQQgAAAINCjQDAAD/////AQEKCUIIAAABAAoAAecGAAAbAAAAAUMIAAAgAAAA0oWiQsYUsUMBRAgAACAAAAAvGlFDlPqYQwlFCAAACUYIAAAAAAAACgFHCAAAbAAAAAAAAAAAAAAAAUgIAABsAAAAAAAAAAAAAAAAAAAAAUkIAAAUAAAAAAAAAAAAAAAAAAAAAAAAAKQBAAD/////AQEKCUoIAAABAAoAB+gGAAAAAQAAAAIAAAAEGkFwbG9yaXMuQmFzZS5VSS5WaXN1YWxMaW5lAwAAAAoKB+kGAAAAAQAAAAMAAAAEFVN5c3RlbS5EcmF3aW5nLlBvaW50RgQAAAABSwgAACAAAACMLhFDrQelQwFMCAAAIAAAANKFnEKtB6VDAU0IAAAgAAAALxpUQ60HpUMH6gYAAAABAAAAAwAAAAQXQXBsb3Jpcy5CYXNlLkFuY2hvck1vZGUDAAAAAU4IAACaAAAAAAAAAAFPCAAAmgAAAAIAAAABUAgAAJoAAAAEAAAAAesGAAAkAAAACaEDAAAAAAAAAAAAAAHsBgAAJQAAAAlRCAAAAgAAAAIAAAAH7QYAAAABAAAAAgAAAAQaQXBsb3Jpcy5CYXNlLlVJLlZpc3VhbExpbmUDAAAACgoB7gYAACQAAAAJoQMAAAAAAAAAAAAAAe8GAAAlAAAACYUEAAAAAAAAAAAAAAfwBgAAAAEAAAACAAAABBpBcGxvcmlzLkJhc2UuVUkuVmlzdWFsTGluZQMAAAAKCgHxBgAAJAAAAAm4AwAAAAAAAAAAAAAB8gYAACUAAAAJtgQAAAAAAAAAAAAAB/MGAAAAAQAAAAIAAAAEGkFwbG9yaXMuQmFzZS5VSS5WaXN1YWxMaW5lAwAAAAoKAfQGAAAkAAAACaEDAAAAAAAAAAAAAAH1BgAAJQAAAAmFBAAAAAAAAAAAAAAH9gYAAAABAAAAAgAAAAQaQXBsb3Jpcy5CYXNlLlVJLlZpc3VhbExpbmUDAAAACgoB9wYAACQAAAAJoQMAAAAAAAAAAAAAAfgGAAAlAAAACYUEAAAAAAAAAAAAAAf5BgAAAAEAAAACAAAABBpBcGxvcmlzLkJhc2UuVUkuVmlzdWFsTGluZQMAAAAKCgH6BgAAJAAAAAmhAwAAAAAAAAAAAAAB+wYAACUAAAAJhQQAAAAAAAAAAAAAAfwGAAAYAQAAClgCAAABUggAAAsCAAACAAAAAVMIAAAMAgAAAQAAAAFUCAAAFAAAAEZnkENm85ZBkK7zQpgQkUIBVQgAAA4CAAAAAAAAAACgQAABVggAACAAAAAY3a5DSopcQgFXCAAAmgAAAAAAAAAAAAAAAAAAAAAJWAgAAAAAAAAJWQgAAAAAAVoIAACjAAAAAAAAAAFbCAAAbAAAAAAASEIAAMhBAVwIAAAUAAAALrqiQ6OLLkKluUFCdNG1QRKDvj8GXQgAAA1Ud28tWWVhcg0KMjMlCgleCAAABl8IAAACDQo0AwAA/////wEBCglgCAAAAQAKAQH9BgAAGwAAAAFhCAAAIAAAAEbnjkNxzbxCAWIIAAAgAAAA6tLOQ8zmfUEJYwgAAAlkCAAAAAAAAAoBZQgAAGwAAAAAAAAAAAAAAAFmCAAAbAAAAAAAAAAAAAAAAAAAAAFnCAAAFAAAAAAAAAAAAAAAAAAAAAAAAACkAQAA/////wEBCgloCAAAAQAKAAf+BgAAAAEAAAACAAAABBpBcGxvcmlzLkJhc2UuVUkuVmlzdWFsTGluZQMAAAAKCgf/BgAAAAEAAAADAAAABBVTeXN0ZW0uRHJhd2luZy5Qb2ludEYEAAAAAWkIAAAgAAAAGN2uQ0qKXEIBaggAACAAAABGZ41DSopcQgFrCAAAIAAAAOpS0ENKilxCBwAHAAAAAQAAAAMAAAAEF0FwbG9yaXMuQmFzZS5BbmNob3JNb2RlAwAAAAFsCAAAmgAAAAAAAAABbQgAAJoAAAACAAAAAW4IAACaAAAABAAAAAEBBwAAJAAAAAmhAwAAAAAAAAAAAAABAgcAACUAAAAJbwgAAAIAAAACAAAABwMHAAAAAQAAAAIAAAAEGkFwbG9yaXMuQmFzZS5VSS5WaXN1YWxMaW5lAwAAAAoKAQQHAAAkAAAACbgDAAAAAAAAAAAAAAEFBwAAJQAAAAm2BAAAAAAAAAAAAAAHBgcAAAABAAAAAgAAAAQaQXBsb3Jpcy5CYXNlLlVJLlZpc3VhbExpbmUDAAAACgoBBwcAACQAAAAJoQMAAAAAAAAAAAAAAQgHAAAlAAAACYUEAAAAAAAAAAAAAAcJBwAAAAEAAAACAAAABBpBcGxvcmlzLkJhc2UuVUkuVmlzdWFsTGluZQMAAAAKCgEKBwAAJAAAAAmhAwAAAAAAAAAAAAABCwcAACUAAAAJhQQAAAAAAAAAAAAABwwHAAAAAQAAAAIAAAAEGkFwbG9yaXMuQmFzZS5VSS5WaXN1YWxMaW5lAwAAAAoKAQ0HAAAkAAAACaEDAAAAAAAAAAAAAAEOBwAAJQAAAAmFBAAAAAAAAAAAAAABDwcAABgBAAAKWAIAAAFwCAAACwIAAAIAAAABcQgAAAwCAAABAAAAAXIIAAAUAAAARmeQQ3HNwkKQrvNCuwXKQgFzCAAADgIAAAAAAAAAAKBAAAF0CAAAIAAAABjdrkMn6BNDAXUIAACaAAAAAAAAAAAAAAAAAAAAAAl2CAAAAAAAAAl3CAAAAAABeAgAAKMAAAAAAAAAAXkIAABsAAAAAABMQgAAGEIBeggAABQAAAAuuqJDuugCQ45cRUKLLgpCEoO+PwZ7CAAAFkZvdXItWWVhcg0KUHVibGljDQozMiUKCXwIAAAGfQgAAAINCjQDAAD/////AQEKCX4IAAABAAoBARAHAAAbAAAAAX8IAAAgAAAARueOQ5ZpSUMBgAgAACAAAADq0s5Dcc28QgmBCAAACYIIAAAAAAAACgGDCAAAbAAAAAAAAAAAAAAAAYQIAABsAAAAAAAAAAAAAAAAAAAAAYUIAAAUAAAAAAAAAAAAAAAAAAAAAAAAAKQBAAD/////AQEKCYYIAAABAAoABxEHAAAAAQAAAAIAAAAEGkFwbG9yaXMuQmFzZS5VSS5WaXN1YWxMaW5lAwAAAAoKBxIHAAAAAQAAAAMAAAAEFVN5c3RlbS5EcmF3aW5nLlBvaW50RgQAAAABhwgAACAAAAAY3a5DJ+gTQwGICAAAIAAAAEZnjUMn6BNDAYkIAAAgAAAA6lLQQyfoE0MHEwcAAAABAAAAAwAAAAQXQXBsb3Jpcy5CYXNlLkFuY2hvck1vZGUDAAAAAYoIAACaAAAAAAAAAAGLCAAAmgAAAAIAAAABjAgAAJoAAAAEAAAAARQHAAAkAAAACaEDAAAAAAAAAAAAAAEVBwAAJQAAAAmNCAAAAgAAAAIAAAAHFgcAAAABAAAAAgAAAAQaQXBsb3Jpcy5CYXNlLlVJLlZpc3VhbExpbmUDAAAACgoBFwcAACQAAAAJuAMAAAAAAAAAAAAAARgHAAAlAAAACbYEAAAAAAAAAAAAAAcZBwAAAAEAAAACAAAABBpBcGxvcmlzLkJhc2UuVUkuVmlzdWFsTGluZQMAAAAKCgEaBwAAJAAAAAmhAwAAAAAAAAAAAAABGwcAACUAAAAJhQQAAAAAAAAAAAAABxwHAAAAAQAAAAIAAAAEGkFwbG9yaXMuQmFzZS5VSS5WaXN1YWxMaW5lAwAAAAoKAR0HAAAkAAAACaEDAAAAAAAAAAAAAAEeBwAAJQAAAAmFBAAAAAAAAAAAAAAHHwcAAAABAAAAAgAAAAQaQXBsb3Jpcy5CYXNlLlVJLlZpc3VhbExpbmUDAAAACgoBIAcAACQAAAAJoQMAAAAAAAAAAAAAASEHAAAlAAAACYUEAAAAAAAAAAAAAAEiBwAAGAEAAApYAgAAAY4IAAALAgAAAgAAAAGPCAAADAIAAAEAAAABkAgAABQAAABGZ5BDlmlMQ5Cu80L2vxJDAZEIAAAOAgAAAAAAAAAAoEAAAZIIAAAgAAAAGN2uQ8jkikMBkwgAAJoAAAAAAAAAAAAAAAAAAAAACZQIAAAAAAAACZUIAAAAAAGWCAAAowAAAAAAAAABlwgAAGwAAAAAAExCAAAYQgGYCAAAFAAAAC66okNddIJDjlxFQosuCkISg74/BpkIAAAXRm91ci1ZZWFyDQpQcml2YXRlDQo0NSUKCZoIAAAGmwgAAAINCjQDAAD/////AQEKCZwIAAABAAoBASMHAAAbAAAAAZ0IAAAgAAAARueOQ8YUsUMBnggAACAAAADq0s5DlmlJQwmfCAAACaAIAAAAAAAACgGhCAAAbAAAAAAAAAAAAAAAAaIIAABsAAAAAAAAAAAAAAAAAAAAAaMIAAAUAAAAAAAAAAAAAAAAAAAAAAAAAKQBAAD/////AQEKCaQIAAABAAoAByQHAAAAAQAAAAIAAAAEGkFwbG9yaXMuQmFzZS5VSS5WaXN1YWxMaW5lAwAAAAoKByUHAAAAAQAAAAMAAAAEFVN5c3RlbS5EcmF3aW5nLlBvaW50RgQAAAABpQgAACAAAAAY3a5DyOSKQwGmCAAAIAAAAEZnjUPI5IpDAacIAAAgAAAA6lLQQ8jkikMHJgcAAAABAAAAAwAAAAQXQXBsb3Jpcy5CYXNlLkFuY2hvck1vZGUDAAAAAagIAACaAAAAAAAAAAGpCAAAmgAAAAIAAAABqggAAJoAAAAEAAAAAScHAAAkAAAACaEDAAAAAAAAAAAAAAEoBwAAJQAAAAmrCAAAAgAAAAIAAAAHKQcAAAABAAAAAgAAAAQaQXBsb3Jpcy5CYXNlLlVJLlZpc3VhbExpbmUDAAAACgoBKgcAACQAAAAJuAMAAAAAAAAAAAAAASsHAAAlAAAACbYEAAAAAAAAAAAAAAcsBwAAAAEAAAACAAAABBpBcGxvcmlzLkJhc2UuVUkuVmlzdWFsTGluZQMAAAAKCgEtBwAAJAAAAAm4AwAAAAAAAAAAAAABLgcAACUAAAAJtgQAAAAAAAAAAAAABy8HAAAAAQAAAAIAAAAEGkFwbG9yaXMuQmFzZS5VSS5WaXN1YWxMaW5lAwAAAAoKATAHAAAkAAAACbgDAAAAAAAAAAAAAAExBwAAJQAAAAm2BAAAAAAAAAAAAAAHMgcAAAABAAAAAgAAAAQaQXBsb3Jpcy5CYXNlLlVJLlZpc3VhbExpbmUDAAAACgoBMwcAACQAAAAJuAMAAAAAAAAAAAAAATQHAAAlAAAACbYEAAAAAAAAAAAAAAc1BwAAAAEAAAACAAAABBpBcGxvcmlzLkJhc2UuVUkuVmlzdWFsTGluZQMAAAAKCgE2BwAAJAAAAAm4AwAAAAAAAAAAAAABNwcAACUAAAAJtgQAAAAAAAAAAAAAATgHAAAYAQAAClgCAAABrAgAAAsCAAACAAAAAa0IAAAMAgAAAQAAAAGuCAAAFAAAABit9kNm85ZBkK7zQs5GO0MBrwgAAA4CAAAAAAAAAACgQAABsAgAACAAAAB1kQpEqAPhQgGxCAAAmgAAAAAAAAAAAAAAAAAAAAAJsggAAAAAAAAJswgAAAAAAbQIAACjAAAAAAAAAAG1CAAAbAAAAAAA0EEAAMhBAbYIAAAUAAAALjoHRHTRyUKo59RBdNG1QRKDvj8GtwgAAAhNRFINCjU3JQoJuAgAAAa5CAAAAg0KNAMAAP////8BAQoJuggAAAEACgEBOQcAABsAAAABuwgAACAAAAAYLfVDOyVRQwG8CAAAIAAAAF6MGkTM5n1BCb0IAAAJvggAAAAAAAAKAb8IAABsAAAAAAAAAAAAAAABwAgAAGwAAAAAAAAAAAAAAAAAAAABwQgAABQAAAAAAAAAAAAAAAAAAAAAAAAApAEAAP////8BAQoJwggAAAEACgAHOgcAAAABAAAAAgAAAAQaQXBsb3Jpcy5CYXNlLlVJLlZpc3VhbExpbmUDAAAACgoHOwcAAAABAAAAAwAAAAQVU3lzdGVtLkRyYXdpbmcuUG9pbnRGBAAAAAHDCAAAIAAAAHWRCkSoA+FCAcQIAAAgAAAAGK3zQ6gD4UIBxQgAACAAAABeTBtEqAPhQgc8BwAAAAEAAAADAAAABBdBcGxvcmlzLkJhc2UuQW5jaG9yTW9kZQMAAAABxggAAJoAAAAAAAAAAccIAACaAAAAAgAAAAHICAAAmgAAAAQAAAABPQcAACQAAAAJuAMAAAAAAAAAAAAAAT4HAAAlAAAACckIAAACAAAAAgAAAAc/BwAAAAEAAAACAAAABBpBcGxvcmlzLkJhc2UuVUkuVmlzdWFsTGluZQMAAAAKCgFABwAAJAAAAAm4AwAAAAAAAAAAAAABQQcAACUAAAAJtgQAAAAAAAAAAAAAB0IHAAAAAQAAAAIAAAAEGkFwbG9yaXMuQmFzZS5VSS5WaXN1YWxMaW5lAwAAAAoKAUMHAAAkAAAACbgDAAAAAAAAAAAAAAFEBwAAJQAAAAm2BAAAAAAAAAAAAAAHRQcAAAABAAAAAgAAAAQaQXBsb3Jpcy5CYXNlLlVJLlZpc3VhbExpbmUDAAAACgoBRgcAACQAAAAJuAMAAAAAAAAAAAAAAUcHAAAlAAAACbYEAAAAAAAAAAAAAAdIBwAAAAEAAAACAAAABBpBcGxvcmlzLkJhc2UuVUkuVmlzdWFsTGluZQMAAAAKCgFJBwAAJAAAAAm4AwAAAAAAAAAAAAABSgcAACUAAAAJtgQAAAAAAAAAAAAAAUsHAAAYAQAAClgCAAAByggAAAsCAAACAAAAAcsIAAAMAgAAAQAAAAHMCAAAFAAAABit9kM7JVRDkK7zQr4RoUIBzQgAAA4CAAAAAAAAAACgQAABzggAACAAAAB1kQpEqml8QwHPCAAAmgAAAAAAAAAAAAAAAAAAAAAJ0AgAAAAAAAAJ0QgAAAAAAdIIAACjAAAAAAAAAAHTCAAAbAAAAAAAQEIAAMhBAdQIAAAUAAAALroERLrocEPUczpCdNG1QRKDvj8G1QgAAAtOQUNBREENCjI2JQoJ1ggAAAbXCAAAAg0KNAMAAP////8BAQoJ2AgAAAEACgEBTAcAABsAAAAB2QgAACAAAAAYLfVDDdeTQwHaCAAAIAAAAF6MGkQ7JVFDCdsIAAAJ3AgAAAAAAAAKAd0IAABsAAAAAAAAAAAAAAAB3ggAAGwAAAAAAAAAAAAAAAAAAAAB3wgAABQAAAAAAAAAAAAAAAAAAAAAAAAApAEAAP////8BAQoJ4AgAAAEACgAHTQcAAAABAAAAAgAAAAQaQXBsb3Jpcy5CYXNlLlVJLlZpc3VhbExpbmUDAAAACgoHTgcAAAABAAAAAwAAAAQVU3lzdGVtLkRyYXdpbmcuUG9pbnRGBAAAAAHhCAAAIAAAAHWRCkSqaXxDAeIIAAAgAAAAGK3zQ6ppfEMB4wgAACAAAABeTBtEqml8QwdPBwAAAAEAAAADAAAABBdBcGxvcmlzLkJhc2UuQW5jaG9yTW9kZQMAAAAB5AgAAJoAAAAAAAAAAeUIAACaAAAAAgAAAAHmCAAAmgAAAAQAAAABUAcAACQAAAAJuAMAAAAAAAAAAAAAAVEHAAAlAAAACecIAAACAAAAAgAAAAdSBwAAAAEAAAACAAAABBpBcGxvcmlzLkJhc2UuVUkuVmlzdWFsTGluZQMAAAAKCgFTBwAAJAAAAAm4AwAAAAAAAAAAAAABVAcAACUAAAAJtgQAAAAAAAAAAAAAB1UHAAAAAQAAAAIAAAAEGkFwbG9yaXMuQmFzZS5VSS5WaXN1YWxMaW5lAwAAAAoKAVYHAAAkAAAACbgDAAAAAAAAAAAAAAFXBwAAJQAAAAm2BAAAAAAAAAAAAAAHWAcAAAABAAAAAgAAAAQaQXBsb3Jpcy5CYXNlLlVJLlZpc3VhbExpbmUDAAAACgoBWQcAACQAAAAJuAMAAAAAAAAAAAAAAVoHAAAlAAAACbYEAAAAAAAAAAAAAAdbBwAAAAEAAAACAAAABBpBcGxvcmlzLkJhc2UuVUkuVmlzdWFsTGluZQMAAAAKCgFcBwAAJAAAAAm4AwAAAAAAAAAAAAABXQcAACUAAAAJtgQAAAAAAAAAAAAAAV4HAAAYAQAAClgCAAAB6AgAAAsCAAACAAAAAekIAAAMAgAAAQAAAAHqCAAAFAAAABit9kMNV5VDkK7zQuAqE0IB6wgAAA4CAAAAAAAAAACgQAAB7AgAACAAAAB1kQpEu4meQwHtCAAAmgAAAAAAAAAAAAAAAAAAAAAJ7ggAAAAAAAAJ7wgAAAAAAfAIAACjAAAAAAAAAAHxCAAAbAAAAAAAIEIAAMhBAfIIAAAUAAAA6aIFRC66mEOOXB1CdNG1QRKDvj8G8wgAAApOQUNBQw0KMTMlCgn0CAAABvUIAAACDQo0AwAA/////wEBCgn2CAAAAQAKAQFfBwAAGwAAAAH3CAAAIAAAABgt9UNpPKlDAfgIAAAgAAAAXowaRA3Xk0MJ+QgAAAn6CAAAAAAAAAoB+wgAAGwAAAAAAAAAAAAAAAH8CAAAbAAAAAAAAAAAAAAAAAAAAAH9CAAAFAAAAAAAAAAAAAAAAAAAAAAAAACkAQAA/////wEBCgn+CAAAAQAKAAdgBwAAAAEAAAACAAAABBpBcGxvcmlzLkJhc2UuVUkuVmlzdWFsTGluZQMAAAAKCgdhBwAAAAEAAAADAAAABBVTeXN0ZW0uRHJhd2luZy5Qb2ludEYEAAAAAf8IAAAgAAAAdZEKRLuJnkMBAAkAACAAAAAYrfNDu4meQwEBCQAAIAAAAF5MG0S7iZ5DB2IHAAAAAQAAAAMAAAAEF0FwbG9yaXMuQmFzZS5BbmNob3JNb2RlAwAAAAECCQAAmgAAAAAAAAABAwkAAJoAAAACAAAAAQQJAACaAAAABAAAAAFjBwAAJAAAAAm4AwAAAAAAAAAAAAABZAcAACUAAAAJBQkAAAIAAAACAAAAB2UHAAAAAQAAAAIAAAAEGkFwbG9yaXMuQmFzZS5VSS5WaXN1YWxMaW5lAwAAAAoKAWYHAAAkAAAACbgDAAAAAAAAAAAAAAFnBwAAJQAAAAm2BAAAAAAAAAAAAAAHaAcAAAABAAAAAgAAAAQaQXBsb3Jpcy5CYXNlLlVJLlZpc3VhbExpbmUDAAAACgoBaQcAACQAAAAJuAMAAAAAAAAAAAAAAWoHAAAlAAAACbYEAAAAAAAAAAAAAAdrBwAAAAEAAAACAAAABBpBcGxvcmlzLkJhc2UuVUkuVmlzdWFsTGluZQMAAAAKCgFsBwAAJAAAAAm4AwAAAAAAAAAAAAABbQcAACUAAAAJtgQAAAAAAAAAAAAAB24HAAAAAQAAAAIAAAAEGkFwbG9yaXMuQmFzZS5VSS5WaXN1YWxMaW5lAwAAAAoKAW8HAAAkAAAACbgDAAAAAAAAAAAAAAFwBwAAJQAAAAm2BAAAAAAAAAAAAAABcQcAABgBAAAKWAIAAAEGCQAACwIAAAIAAAABBwkAAAwCAAABAAAAAQgJAAAUAAAAGK32Q2m8qkOQrvNCoAsbQQEJCQAADgIAAAAAAAAAAKBAAAEKCQAAIAAAAHWRCkSYKK1DAQsJAACaAAAAAAAAAAAAAAAAAAAAAAkMCQAAAAAAAAkNCQAAAAABDgkAAKMAAAAAAAAAAQ8JAABsAAAAAACCQgAAQEEBEAkAABQAAAC66AJEXXSqQ0dFeEKjiy5BEoO+PwYRCQAACk5BU1BBICAgNSUKCRIJAAAGEwkAAAMgICA0AwAA/////wEBCgkUCQAAAQAKAQFyBwAAGwAAAAEVCQAAIAAAABgt9UPGFLFDARYJAAAgAAAAXowaRGk8qUMJFwkAAAkYCQAAAAAAAAoBGQkAAGwAAAAAAAAAAAAAAAEaCQAAbAAAAAAAAAAAAAAAAAAAAAEbCQAAFAAAAAAAAAAAAAAAAAAAAAAAAACkAQAA/////wEBCgkcCQAAAQAKAAdzBwAAAAEAAAACAAAABBpBcGxvcmlzLkJhc2UuVUkuVmlzdWFsTGluZQMAAAAKCgd0BwAAAAEAAAADAAAABBVTeXN0ZW0uRHJhd2luZy5Qb2ludEYEAAAAAR0JAAAgAAAAdZEKRJgorUMBHgkAACAAAAAYrfNDmCitQwEfCQAAIAAAAF5MG0SYKK1DB3UHAAAAAQAAAAMAAAAEF0FwbG9yaXMuQmFzZS5BbmNob3JNb2RlAwAAAAEgCQAAmgAAAAAAAAABIQkAAJoAAAACAAAAASIJAACaAAAABAAAAAF2BwAAJAAAAAm4AwAAAAAAAAAAAAABdwcAACUAAAAJIwkAAAIAAAACAAAAB4oHAAAAAQAAAAQAAAAEHEFwbG9yaXMuQmFzZS5VSS5WaXN1YWxPYmplY3QDAAAADQQHkQcAAAABAAAABAAAAAQcQXBsb3Jpcy5CYXNlLlVJLlZpc3VhbE9iamVjdAMAAAANBAeYBwAAAAEAAAAEAAAABBxBcGxvcmlzLkJhc2UuVUkuVmlzdWFsT2JqZWN0AwAAAA0EB58HAAAAAQAAAAQAAAAEHEFwbG9yaXMuQmFzZS5VSS5WaXN1YWxPYmplY3QDAAAADQQHpgcAAAABAAAABAAAAAQcQXBsb3Jpcy5CYXNlLlVJLlZpc3VhbE9iamVjdAMAAAANBAetBwAAAAEAAAAEAAAABBxBcGxvcmlzLkJhc2UuVUkuVmlzdWFsT2JqZWN0AwAAAA0EB7QHAAAAAQAAAAQAAAAEHEFwbG9yaXMuQmFzZS5VSS5WaXN1YWxPYmplY3QDAAAADQQHuwcAAAABAAAABAAAAAQcQXBsb3Jpcy5CYXNlLlVJLlZpc3VhbE9iamVjdAMAAAANBAHCBwAAIgAAAAoKAAAAAAAoQQlwAAAACXEAAAAJJAkAAAAACSUJAAABwwcAAHIAAAAKCgEAAADB0O0A/////wAAAcgHAACnAAAACSYJAAACAAAADwAAAAHKBwAAbwAAAAknCQAACgHNBwAAagAAAAoKAAAAQD8JKAkAAAkpCQAAAQAAAP7///8AAAAAAQAAAAAAAAAAAAAAAQAAAAAAAAAAAAABzgcAAGsAAAAKCgkqCQAACSsJAAABAAAA/v///wAAAAD/////AAAB0gcAAG8AAAAJLAkAAAoH2QcAAAABAAAABAAAAAQcQXBsb3Jpcy5CYXNlLlVJLlZpc3VhbE9iamVjdAMAAAAJmwYAAAmaBgAACgoB4AcAACIAAAAKCgAAAAAAKEEJcAAAAAlxAAAACS0JAAAAAAkuCQAAAeEHAAByAAAACgoBAAAAa4/UAP////8AAQHmBwAApwAAAAkvCQAAAgAAAAYAAAAB6AcAAG8AAAAJMAkAAAoB6wcAAGoAAAAKCgAAAEA/CTEJAAAJMgkAAAEAAAD+////AAAAAAEAAAAAAAAAAAAAAAEAAAAAAAAAAAAAAewHAABrAAAACgoJMwkAAAk0CQAAAQAAAP7///8AAAAA/////wAAAfAHAABvAAAACTUJAAAKB/cHAAAAAQAAAAQAAAAEHEFwbG9yaXMuQmFzZS5VSS5WaXN1YWxPYmplY3QDAAAACa4GAAAJrQYAAAoKAf4HAAAiAAAACgoAAAAAAChBCXAAAAAJcQAAAAk2CQAAAAAJNwkAAAH/BwAAcgAAAAoKAQAAAEV11AD/////AAEBBAgAAKcAAAAJOAkAAAIAAAAGAAAAAQYIAABvAAAACTkJAAAKAQkIAABqAAAACgoAAABAPwk6CQAACTsJAAABAAAA/v///wAAAAABAAAAAAAAAAAAAAABAAAAAAAAAAAAAAEKCAAAawAAAAoKCTwJAAAJPQkAAAEAAAD+////AAAAAP////8AAAEOCAAAbwAAAAk+CQAACgcVCAAAAAEAAAAEAAAABBxBcGxvcmlzLkJhc2UuVUkuVmlzdWFsT2JqZWN0AwAAAAnBBgAACcAGAAAKCgEcCAAAIgAAAAoKAAAAAAAoQQlwAAAACXEAAAAJPwkAAAAACUAJAAABHQgAAHIAAAAKCgEAAAARRKoA/////wABASIIAACnAAAACUEJAAACAAAABAAAAAEkCAAAbwAAAAlCCQAACgEnCAAAagAAAAoKAAAAQD8JQwkAAAlECQAAAQAAAP7///8AAAAAAQAAAAAAAAAAAAAAAQAAAAAAAAAAAAABKAgAAGsAAAAKCglFCQAACUYJAAABAAAA/v///wAAAAD/////AAABLAgAAG8AAAAJRwkAAAoHMwgAAAABAAAABAAAAAQcQXBsb3Jpcy5CYXNlLlVJLlZpc3VhbE9iamVjdAMAAAAJ1AYAAAnTBgAACgoBOggAACIAAAAKCgAAAAAAKEEJcAAAAAlxAAAACUgJAAAAAAlJCQAAATsIAAByAAAACgoBAAAABSluAP////8AAQFACAAApwAAAAlKCQAAAgAAAAYAAAABQggAAG8AAAAJSwkAAAoBRQgAAGoAAAAKCgAAAEA/CUwJAAAJTQkAAAEAAAD+////AAAAAAEAAAAAAAAAAAAAAAEAAAAAAAAAAAAAAUYIAABrAAAACgoJTgkAAAlPCQAAAQAAAP7///8AAAAA/////wAAAUoIAABvAAAACVAJAAAKB1EIAAAAAQAAAAQAAAAEHEFwbG9yaXMuQmFzZS5VSS5WaXN1YWxPYmplY3QDAAAACecGAAAJ5gYAAAoKAVgIAAAiAAAACgoAAAAAAChBCXAAAAAJcQAAAAlRCQAAAAAJUgkAAAFZCAAAcgAAAAoKAAAAAMOYdAAJAAAAAAEBXggAAKcAAAAJUwkAAAIAAAAGAAAAAWAIAABvAAAACVQJAAAKAWMIAABqAAAACgoAAABAPwlVCQAACVYJAAABAAAA/v///wAAAAABAAAAAAAAAAAAAAABAAAAAAAAAAAAAAFkCAAAawAAAAoKCVcJAAAJWAkAAAEAAAD+////AAAAAP////8AAAFoCAAAbwAAAAlZCQAACgdvCAAAAAEAAAAEAAAABBxBcGxvcmlzLkJhc2UuVUkuVmlzdWFsT2JqZWN0AwAAAAn9BgAACfwGAAAKCgF2CAAAIgAAAAoKAAAAAAAoQQlwAAAACXEAAAAJWgkAAAAACVsJAAABdwgAAHIAAAAKCgAAAABGOzQACAAAAAABAXwIAACnAAAACVwJAAACAAAABAAAAAF+CAAAbwAAAAldCQAACgGBCAAAagAAAAoKAAAAQD8JXgkAAAlfCQAAAQAAAP7///8AAAAAAQAAAAAAAAAAAAAAAQAAAAAAAAAAAAABgggAAGsAAAAKCglgCQAACWEJAAABAAAA/v///wAAAAD/////AAABhggAAG8AAAAJYgkAAAoHjQgAAAABAAAABAAAAAQcQXBsb3Jpcy5CYXNlLlVJLlZpc3VhbE9iamVjdAMAAAAJEAcAAAkPBwAACgoBlAgAACIAAAAKCgAAAAAAKEEJcAAAAAlxAAAACWMJAAAAAAlkCQAAAZUIAAByAAAACgoAAAAAcoSMAAYAAAAAAQGaCAAApwAAAAllCQAAAgAAAAYAAAABnAgAAG8AAAAJZgkAAAoBnwgAAGoAAAAKCgAAAEA/CWcJAAAJaAkAAAEAAAD+////AAAAAAEAAAAAAAAAAAAAAAEAAAAAAAAAAAAAAaAIAABrAAAACgoJaQkAAAlqCQAAAQAAAP7///8AAAAA/////wAAAaQIAABvAAAACWsJAAAKB6sIAAAAAQAAAAQAAAAEHEFwbG9yaXMuQmFzZS5VSS5WaXN1YWxPYmplY3QDAAAACSMHAAAJIgcAAAoKAbIIAAAiAAAACgoAAAAAAChBCXAAAAAJcQAAAAlsCQAAAAAJbQkAAAGzCAAAcgAAAAoKAAAAAC9PXwAFAAAAAAEBuAgAAKcAAAAJbgkAAAIAAAAGAAAAAboIAABvAAAACW8JAAAKAb0IAABqAAAACgoAAABAPwlwCQAACXEJAAABAAAA/v///wAAAAABAAAAAAAAAAAAAAABAAAAAAAAAAAAAAG+CAAAawAAAAoKCXIJAAAJcwkAAAEAAAD+////AAAAAP////8BAAHCCAAAbwAAAAl0CQAACgfJCAAAAAEAAAAEAAAABBxBcGxvcmlzLkJhc2UuVUkuVmlzdWFsT2JqZWN0AwAAAAk5BwAACTgHAAAKCgHQCAAAIgAAAAoKAAAAAAAoQQlwAAAACXEAAAAJdQkAAAAACXYJAAAB0QgAAHIAAAAKCgAAAAA/aX4ABQAAAAABAdYIAACnAAAACXcJAAACAAAABgAAAAHYCAAAbwAAAAl4CQAACgHbCAAAagAAAAoKAAAAQD8JeQkAAAl6CQAAAQAAAP7///8AAAAAAQAAAAAAAAAAAAAAAQAAAAAAAAAAAAAB3AgAAGsAAAAKCgl7CQAACXwJAAABAAAA/v///wAAAAD/////AQAB4AgAAG8AAAAJfQkAAAoH5wgAAAABAAAABAAAAAQcQXBsb3Jpcy5CYXNlLlVJLlZpc3VhbE9iamVjdAMAAAAJTAcAAAlLBwAACgoB7ggAACIAAAAKCgAAAAAAKEEJcAAAAAlxAAAACX4JAAAAAAl/CQAAAe8IAAByAAAACgoAAAAAf6m/AAUAAAAAAQH0CAAApwAAAAmACQAAAgAAAAYAAAAB9ggAAG8AAAAJgQkAAAoB+QgAAGoAAAAKCgAAAEA/CYIJAAAJgwkAAAEAAAD+////AAAAAAEAAAAAAAAAAAAAAAEAAAAAAAAAAAAAAfoIAABrAAAACgoJhAkAAAmFCQAAAQAAAP7///8AAAAA/////wEAAf4IAABvAAAACYYJAAAKBwUJAAAAAQAAAAQAAAAEHEFwbG9yaXMuQmFzZS5VSS5WaXN1YWxPYmplY3QDAAAACV8HAAAJXgcAAAoKAQwJAAAiAAAACgoAAAAAAChBCXAAAAAJcQAAAAmHCQAAAAAJiAkAAAENCQAAcgAAAAoKAAAAAKnG1AAFAAAAAAEBEgkAAKcAAAAJiQkAAAIAAAAHAAAAARQJAABvAAAACYoJAAAKARcJAABqAAAACgoAAABAPwmLCQAACYwJAAABAAAA/v///wAAAAABAAAAAAAAAAAAAAABAAAAAAAAAAAAAAEYCQAAawAAAAoKCY0JAAAJjgkAAAEAAAD+////AAAAAP////8BAAEcCQAAbwAAAAmPCQAACgcjCQAAAAEAAAAEAAAABBxBcGxvcmlzLkJhc2UuVUkuVmlzdWFsT2JqZWN0AwAAAAlyBwAACXEHAAAKCgEkCQAAcgAAAAoKAAAAAAAAAAANAAAAAAABJQkAAHIAAAAKCgAAAAAAAAAADQAAAAABByYJAAAAAQAAAAQAAAAEHUFwbG9yaXMuQmFzZS5PYmplY3RzLlZhcmlhYmxlAwAAAAGQCQAASQUAAAMAAAAAAAAAAZEJAABJBQAAAgAAAAMAAAABkgkAAEkFAAAAAAAAAAAAAAGTCQAASQUAAAAAAAAAAAAADycJAAABAAAACMoAAAAFKAkAABpBcGxvcmlzLkJhc2UuT2JqZWN0cy5Db2xvcgcAAAASRGF0YU9iamVjdCttUGFyZW50FURhdGFPYmplY3QrbUNvbnRhaW5lcgVtVHlwZQRtUkdCEG1UaGVtZUNvbG9ySW5kZXgMbUF1dG9VcGRhdGVkCW1Nb2RpZmllZAQCAAAAAAAfQXBsb3Jpcy5CYXNlLk9iamVjdHMuTGluZUZvcm1hdAMAAAAICAgBAQMAAAAJzQcAAAoAAAAA////AA4AAAAAAAUpCQAAGkFwbG9yaXMuQmFzZS5PYmplY3RzLkNvbG9yBwAAABJEYXRhT2JqZWN0K21QYXJlbnQVRGF0YU9iamVjdCttQ29udGFpbmVyBW1UeXBlBG1SR0IQbVRoZW1lQ29sb3JJbmRleAxtQXV0b1VwZGF0ZWQJbU1vZGlmaWVkBAIAAAAAAB9BcGxvcmlzLkJhc2UuT2JqZWN0cy5MaW5lRm9ybWF0AwAAAAgICAEBAwAAAAnNBwAACgEAAAAAAAAA/////wABASoJAAByAAAACgoBAAAAwdDtAP////8AAAErCQAAcgAAAAoKAQAAAP///wD/////AAAPLAkAAAEAAAAIsQAAAAEtCQAAcgAAAAoKAAAAAAAAAAANAAAAAAABLgkAAHIAAAAKCgAAAAAAAAAADQAAAAABBy8JAAAAAQAAAAQAAAAEHUFwbG9yaXMuQmFzZS5PYmplY3RzLlZhcmlhYmxlAwAAAAGUCQAASQUAAAMAAAAAAAAAAZUJAABJBQAAAgAAAAIAAAABlgkAAEkFAAAAAAAAAAAAAAGXCQAASQUAAAAAAAAAAAAADzAJAAABAAAACNMAAAAFMQkAABpBcGxvcmlzLkJhc2UuT2JqZWN0cy5Db2xvcgcAAAASRGF0YU9iamVjdCttUGFyZW50FURhdGFPYmplY3QrbUNvbnRhaW5lcgVtVHlwZQRtUkdCEG1UaGVtZUNvbG9ySW5kZXgMbUF1dG9VcGRhdGVkCW1Nb2RpZmllZAQCAAAAAAAfQXBsb3Jpcy5CYXNlLk9iamVjdHMuTGluZUZvcm1hdAMAAAAICAgBAQMAAAAJ6wcAAAoAAAAA////AA4AAAAAAAUyCQAAGkFwbG9yaXMuQmFzZS5PYmplY3RzLkNvbG9yBwAAABJEYXRhT2JqZWN0K21QYXJlbnQVRGF0YU9iamVjdCttQ29udGFpbmVyBW1UeXBlBG1SR0IQbVRoZW1lQ29sb3JJbmRleAxtQXV0b1VwZGF0ZWQJbU1vZGlmaWVkBAIAAAAAAB9BcGxvcmlzLkJhc2UuT2JqZWN0cy5MaW5lRm9ybWF0AwAAAAgICAEBAwAAAAnrBwAACgEAAAAAAAAA/////wABATMJAAByAAAACgoBAAAAa4/UAP////8AAAE0CQAAcgAAAAoKAQAAAP///wD/////AAAPNQkAAAEAAAAIsgAAAAE2CQAAcgAAAAoKAAAAAP///wAOAAAAAAABNwkAAHIAAAAKCgAAAAD///8ADgAAAAABBzgJAAAAAQAAAAQAAAAEHUFwbG9yaXMuQmFzZS5PYmplY3RzLlZhcmlhYmxlAwAAAAGYCQAASQUAAAMAAAAAAAAAAZkJAABJBQAAAgAAAAIAAAABmgkAAEkFAAAAAAAAAAAAAAGbCQAASQUAAAAAAAAAAAAADzkJAAABAAAACNUAAAAFOgkAABpBcGxvcmlzLkJhc2UuT2JqZWN0cy5Db2xvcgcAAAASRGF0YU9iamVjdCttUGFyZW50FURhdGFPYmplY3QrbUNvbnRhaW5lcgVtVHlwZQRtUkdCEG1UaGVtZUNvbG9ySW5kZXgMbUF1dG9VcGRhdGVkCW1Nb2RpZmllZAQCAAAAAAAfQXBsb3Jpcy5CYXNlLk9iamVjdHMuTGluZUZvcm1hdAMAAAAICAgBAQMAAAAJCQgAAAoAAAAA////AA4AAAAAAAU7CQAAGkFwbG9yaXMuQmFzZS5PYmplY3RzLkNvbG9yBwAAABJEYXRhT2JqZWN0K21QYXJlbnQVRGF0YU9iamVjdCttQ29udGFpbmVyBW1UeXBlBG1SR0IQbVRoZW1lQ29sb3JJbmRleAxtQXV0b1VwZGF0ZWQJbU1vZGlmaWVkBAIAAAAAAB9BcGxvcmlzLkJhc2UuT2JqZWN0cy5MaW5lRm9ybWF0AwAAAAgICAEBAwAAAAkJCAAACgEAAAAAAAAA/////wABATwJAAByAAAACgoBAAAARXXUAP////8AAAE9CQAAcgAAAAoKAQAAAP///wD/////AAAPPgkAAAEAAAAIsAAAAAE/CQAAcgAAAAoKAAAAAP///wAOAAAAAAABQAkAAHIAAAAKCgAAAAD///8ADgAAAAABB0EJAAAAAQAAAAQAAAAEHUFwbG9yaXMuQmFzZS5PYmplY3RzLlZhcmlhYmxlAwAAAAGcCQAASQUAAAMAAAAAAAAAAZ0JAABJBQAAAgAAAAIAAAABngkAAEkFAAAAAAAAAAAAAAGfCQAASQUAAAAAAAAAAAAAD0IJAAABAAAACNQAAAAFQwkAABpBcGxvcmlzLkJhc2UuT2JqZWN0cy5Db2xvcgcAAAASRGF0YU9iamVjdCttUGFyZW50FURhdGFPYmplY3QrbUNvbnRhaW5lcgVtVHlwZQRtUkdCEG1UaGVtZUNvbG9ySW5kZXgMbUF1dG9VcGRhdGVkCW1Nb2RpZmllZAQCAAAAAAAfQXBsb3Jpcy5CYXNlLk9iamVjdHMuTGluZUZvcm1hdAMAAAAICAgBAQMAAAAJJwgAAAoAAAAA////AA4AAAAAAAVECQAAGkFwbG9yaXMuQmFzZS5PYmplY3RzLkNvbG9yBwAAABJEYXRhT2JqZWN0K21QYXJlbnQVRGF0YU9iamVjdCttQ29udGFpbmVyBW1UeXBlBG1SR0IQbVRoZW1lQ29sb3JJbmRleAxtQXV0b1VwZGF0ZWQJbU1vZGlmaWVkBAIAAAAAAB9BcGxvcmlzLkJhc2UuT2JqZWN0cy5MaW5lRm9ybWF0AwAAAAgICAEBAwAAAAknCAAACgEAAAAAAAAA/////wABAUUJAAByAAAACgoBAAAAEUSqAP////8AAAFGCQAAcgAAAAoKAQAAAP///wD/////AAAPRwkAAAEAAAAIrgAAAAFICQAAcgAAAAoKAAAAAP///wAOAAAAAAABSQkAAHIAAAAKCgAAAAD///8ADgAAAAABB0oJAAAAAQAAAAQAAAAEHUFwbG9yaXMuQmFzZS5PYmplY3RzLlZhcmlhYmxlAwAAAAGgCQAASQUAAAMAAAAAAAAAAaEJAABJBQAAAgAAAAIAAAABogkAAEkFAAAAAAAAAAAAAAGjCQAASQUAAAAAAAAAAAAAD0sJAAABAAAACNEAAAAFTAkAABpBcGxvcmlzLkJhc2UuT2JqZWN0cy5Db2xvcgcAAAASRGF0YU9iamVjdCttUGFyZW50FURhdGFPYmplY3QrbUNvbnRhaW5lcgVtVHlwZQRtUkdCEG1UaGVtZUNvbG9ySW5kZXgMbUF1dG9VcGRhdGVkCW1Nb2RpZmllZAQCAAAAAAAfQXBsb3Jpcy5CYXNlLk9iamVjdHMuTGluZUZvcm1hdAMAAAAICAgBAQMAAAAJRQgAAAoAAAAA////AA4AAAAAAAVNCQAAGkFwbG9yaXMuQmFzZS5PYmplY3RzLkNvbG9yBwAAABJEYXRhT2JqZWN0K21QYXJlbnQVRGF0YU9iamVjdCttQ29udGFpbmVyBW1UeXBlBG1SR0IQbVRoZW1lQ29sb3JJbmRleAxtQXV0b1VwZGF0ZWQJbU1vZGlmaWVkBAIAAAAAAB9BcGxvcmlzLkJhc2UuT2JqZWN0cy5MaW5lRm9ybWF0AwAAAAgICAEBAwAAAAlFCAAACgEAAAAAAAAA/////wABAU4JAAByAAAACgoBAAAABSluAP////8AAAFPCQAAcgAAAAoKAQAAAP///wD/////AAAPUAkAAAEAAAAIrwAAAAFRCQAAcgAAAAoKAAAAAAAAAAANAAAAAAABUgkAAHIAAAAKCgAAAAAAAAAADQAAAAABB1MJAAAAAQAAAAQAAAAEHUFwbG9yaXMuQmFzZS5PYmplY3RzLlZhcmlhYmxlAwAAAAGkCQAASQUAAAMAAAAAAAAAAaUJAABJBQAAAgAAAAIAAAABpgkAAEkFAAAAAAAAAAAAAAGnCQAASQUAAAAAAAAAAAAAD1QJAAABAAAACMwAAAAFVQkAABpBcGxvcmlzLkJhc2UuT2JqZWN0cy5Db2xvcgcAAAASRGF0YU9iamVjdCttUGFyZW50FURhdGFPYmplY3QrbUNvbnRhaW5lcgVtVHlwZQRtUkdCEG1UaGVtZUNvbG9ySW5kZXgMbUF1dG9VcGRhdGVkCW1Nb2RpZmllZAQCAAAAAAAfQXBsb3Jpcy5CYXNlLk9iamVjdHMuTGluZUZvcm1hdAMAAAAICAgBAQMAAAAJYwgAAAoAAAAA////AA4AAAAAAAVWCQAAGkFwbG9yaXMuQmFzZS5PYmplY3RzLkNvbG9yBwAAABJEYXRhT2JqZWN0K21QYXJlbnQVRGF0YU9iamVjdCttQ29udGFpbmVyBW1UeXBlBG1SR0IQbVRoZW1lQ29sb3JJbmRleAxtQXV0b1VwZGF0ZWQJbU1vZGlmaWVkBAIAAAAAAB9BcGxvcmlzLkJhc2UuT2JqZWN0cy5MaW5lRm9ybWF0AwAAAAgICAEBAwAAAAljCAAACgEAAAAAAAAA/////wABAVcJAAByAAAACgoAAAAAw5h0AAkAAAAAAAFYCQAAcgAAAAoKAQAAAP///wD/////AAAPWQkAAAEAAAAIqwAAAAFaCQAAcgAAAAoKAAAAAP///wAOAAAAAAABWwkAAHIAAAAKCgAAAAD///8ADgAAAAABB1wJAAAAAQAAAAQAAAAEHUFwbG9yaXMuQmFzZS5PYmplY3RzLlZhcmlhYmxlAwAAAAGoCQAASQUAAAMAAAAAAAAAAakJAABJBQAAAgAAAAIAAAABqgkAAEkFAAAAAAAAAAAAAAGrCQAASQUAAAAAAAAAAAAAD10JAAABAAAACMkAAAAFXgkAABpBcGxvcmlzLkJhc2UuT2JqZWN0cy5Db2xvcgcAAAASRGF0YU9iamVjdCttUGFyZW50FURhdGFPYmplY3QrbUNvbnRhaW5lcgVtVHlwZQRtUkdCEG1UaGVtZUNvbG9ySW5kZXgMbUF1dG9VcGRhdGVkCW1Nb2RpZmllZAQCAAAAAAAfQXBsb3Jpcy5CYXNlLk9iamVjdHMuTGluZUZvcm1hdAMAAAAICAgBAQMAAAAJgQgAAAoAAAAA////AA4AAAAAAAVfCQAAGkFwbG9yaXMuQmFzZS5PYmplY3RzLkNvbG9yBwAAABJEYXRhT2JqZWN0K21QYXJlbnQVRGF0YU9iamVjdCttQ29udGFpbmVyBW1UeXBlBG1SR0IQbVRoZW1lQ29sb3JJbmRleAxtQXV0b1VwZGF0ZWQJbU1vZGlmaWVkBAIAAAAAAB9BcGxvcmlzLkJhc2UuT2JqZWN0cy5MaW5lRm9ybWF0AwAAAAgICAEBAwAAAAmBCAAACgEAAAAAAAAA/////wABAWAJAAByAAAACgoAAAAARjs0AAgAAAAAAAFhCQAAcgAAAAoKAQAAAP///wD/////AAAPYgkAAAEAAAAIqQAAAAFjCQAAcgAAAAoKAAAAAP///wAOAAAAAAABZAkAAHIAAAAKCgAAAAD///8ADgAAAAABB2UJAAAAAQAAAAQAAAAEHUFwbG9yaXMuQmFzZS5PYmplY3RzLlZhcmlhYmxlAwAAAAGsCQAASQUAAAMAAAAAAAAAAa0JAABJBQAAAgAAAAIAAAABrgkAAEkFAAAAAAAAAAAAAAGvCQAASQUAAAAAAAAAAAAAD2YJAAABAAAACMsAAAAFZwkAABpBcGxvcmlzLkJhc2UuT2JqZWN0cy5Db2xvcgcAAAASRGF0YU9iamVjdCttUGFyZW50FURhdGFPYmplY3QrbUNvbnRhaW5lcgVtVHlwZQRtUkdCEG1UaGVtZUNvbG9ySW5kZXgMbUF1dG9VcGRhdGVkCW1Nb2RpZmllZAQCAAAAAAAfQXBsb3Jpcy5CYXNlLk9iamVjdHMuTGluZUZvcm1hdAMAAAAICAgBAQMAAAAJnwgAAAoAAAAA////AA4AAAAAAAVoCQAAGkFwbG9yaXMuQmFzZS5PYmplY3RzLkNvbG9yBwAAABJEYXRhT2JqZWN0K21QYXJlbnQVRGF0YU9iamVjdCttQ29udGFpbmVyBW1UeXBlBG1SR0IQbVRoZW1lQ29sb3JJbmRleAxtQXV0b1VwZGF0ZWQJbU1vZGlmaWVkBAIAAAAAAB9BcGxvcmlzLkJhc2UuT2JqZWN0cy5MaW5lRm9ybWF0AwAAAAgICAEBAwAAAAmfCAAACgEAAAAAAAAA/////wABAWkJAAByAAAACgoAAAAAcoSMAAYAAAAAAAFqCQAAcgAAAAoKAQAAAP///wD/////AAAPawkAAAEAAAAIqgAAAAFsCQAAcgAAAAoKAAAAAP///wAOAAAAAAABbQkAAHIAAAAKCgAAAAD///8ADgAAAAABB24JAAAAAQAAAAQAAAAEHUFwbG9yaXMuQmFzZS5PYmplY3RzLlZhcmlhYmxlAwAAAAGwCQAASQUAAAMAAAAAAAAAAbEJAABJBQAAAgAAAAIAAAABsgkAAEkFAAAAAAAAAAAAAAGzCQAASQUAAAAAAAAAAAAAD28JAAABAAAACDgBAAAFcAkAABpBcGxvcmlzLkJhc2UuT2JqZWN0cy5Db2xvcgcAAAASRGF0YU9iamVjdCttUGFyZW50FURhdGFPYmplY3QrbUNvbnRhaW5lcgVtVHlwZQRtUkdCEG1UaGVtZUNvbG9ySW5kZXgMbUF1dG9VcGRhdGVkCW1Nb2RpZmllZAQCAAAAAAAfQXBsb3Jpcy5CYXNlLk9iamVjdHMuTGluZUZvcm1hdAMAAAAICAgBAQMAAAAJvQgAAAoAAAAA////AA4AAAAAAAVxCQAAGkFwbG9yaXMuQmFzZS5PYmplY3RzLkNvbG9yBwAAABJEYXRhT2JqZWN0K21QYXJlbnQVRGF0YU9iamVjdCttQ29udGFpbmVyBW1UeXBlBG1SR0IQbVRoZW1lQ29sb3JJbmRleAxtQXV0b1VwZGF0ZWQJbU1vZGlmaWVkBAIAAAAAAB9BcGxvcmlzLkJhc2UuT2JqZWN0cy5MaW5lRm9ybWF0AwAAAAgICAEBAwAAAAm9CAAACgEAAAAAAAAA/////wABAXIJAAByAAAACgoAAAAAL09fAAUAAAAAAAFzCQAAcgAAAAoKAQAAAP///wD/////AAAPdAkAAAEAAAAIJwEAAAF1CQAAcgAAAAoKAAAAAP///wAOAAAAAAABdgkAAHIAAAAKCgAAAAD///8ADgAAAAABB3cJAAAAAQAAAAQAAAAEHUFwbG9yaXMuQmFzZS5PYmplY3RzLlZhcmlhYmxlAwAAAAG0CQAASQUAAAMAAAAAAAAAAbUJAABJBQAAAgAAAAIAAAABtgkAAEkFAAAAAAAAAAAAAAG3CQAASQUAAAAAAAAAAAAAD3gJAAABAAAACDcBAAAFeQkAABpBcGxvcmlzLkJhc2UuT2JqZWN0cy5Db2xvcgcAAAASRGF0YU9iamVjdCttUGFyZW50FURhdGFPYmplY3QrbUNvbnRhaW5lcgVtVHlwZQRtUkdCEG1UaGVtZUNvbG9ySW5kZXgMbUF1dG9VcGRhdGVkCW1Nb2RpZmllZAQCAAAAAAAfQXBsb3Jpcy5CYXNlLk9iamVjdHMuTGluZUZvcm1hdAMAAAAICAgBAQMAAAAJ2wgAAAoAAAAA////AA4AAAAAAAV6CQAAGkFwbG9yaXMuQmFzZS5PYmplY3RzLkNvbG9yBwAAABJEYXRhT2JqZWN0K21QYXJlbnQVRGF0YU9iamVjdCttQ29udGFpbmVyBW1UeXBlBG1SR0IQbVRoZW1lQ29sb3JJbmRleAxtQXV0b1VwZGF0ZWQJbU1vZGlmaWVkBAIAAAAAAB9BcGxvcmlzLkJhc2UuT2JqZWN0cy5MaW5lRm9ybWF0AwAAAAgICAEBAwAAAAnbCAAACgEAAAAAAAAA/////wABAXsJAAByAAAACgoAAAAAP2l+AAUAAAAAAAF8CQAAcgAAAAoKAQAAAP///wD/////AAAPfQkAAAEAAAAIJAEAAAF+CQAAcgAAAAoKAAAAAP///wAOAAAAAAABfwkAAHIAAAAKCgAAAAD///8ADgAAAAABB4AJAAAAAQAAAAQAAAAEHUFwbG9yaXMuQmFzZS5PYmplY3RzLlZhcmlhYmxlAwAAAAG4CQAASQUAAAMAAAAAAAAAAbkJAABJBQAAAgAAAAIAAAABugkAAEkFAAAAAAAAAAAAAAG7CQAASQUAAAAAAAAAAAAAD4EJAAABAAAACDkBAAAFggkAABpBcGxvcmlzLkJhc2UuT2JqZWN0cy5Db2xvcgcAAAASRGF0YU9iamVjdCttUGFyZW50FURhdGFPYmplY3QrbUNvbnRhaW5lcgVtVHlwZQRtUkdCEG1UaGVtZUNvbG9ySW5kZXgMbUF1dG9VcGRhdGVkCW1Nb2RpZmllZAQCAAAAAAAfQXBsb3Jpcy5CYXNlLk9iamVjdHMuTGluZUZvcm1hdAMAAAAICAgBAQMAAAAJ+QgAAAoAAAAA////AA4AAAAAAAWDCQAAGkFwbG9yaXMuQmFzZS5PYmplY3RzLkNvbG9yBwAAABJEYXRhT2JqZWN0K21QYXJlbnQVRGF0YU9iamVjdCttQ29udGFpbmVyBW1UeXBlBG1SR0IQbVRoZW1lQ29sb3JJbmRleAxtQXV0b1VwZGF0ZWQJbU1vZGlmaWVkBAIAAAAAAB9BcGxvcmlzLkJhc2UuT2JqZWN0cy5MaW5lRm9ybWF0AwAAAAgICAEBAwAAAAn5CAAACgEAAAAAAAAA/////wABAYQJAAByAAAACgoAAAAAf6m/AAUAAAAAAAGFCQAAcgAAAAoKAQAAAP///wD/////AAAPhgkAAAEAAAAIJgEAAAGHCQAAcgAAAAoKAAAAAP///wAOAAAAAAABiAkAAHIAAAAKCgAAAAD///8ADgAAAAABB4kJAAAAAQAAAAQAAAAEHUFwbG9yaXMuQmFzZS5PYmplY3RzLlZhcmlhYmxlAwAAAAG8CQAASQUAAAMAAAAAAAAAAb0JAABJBQAAAgAAAAMAAAABvgkAAEkFAAAAAAAAAAAAAAG/CQAASQUAAAAAAAAAAAAAD4oJAAABAAAACDYBAAAFiwkAABpBcGxvcmlzLkJhc2UuT2JqZWN0cy5Db2xvcgcAAAASRGF0YU9iamVjdCttUGFyZW50FURhdGFPYmplY3QrbUNvbnRhaW5lcgVtVHlwZQRtUkdCEG1UaGVtZUNvbG9ySW5kZXgMbUF1dG9VcGRhdGVkCW1Nb2RpZmllZAQCAAAAAAAfQXBsb3Jpcy5CYXNlLk9iamVjdHMuTGluZUZvcm1hdAMAAAAICAgBAQMAAAAJFwkAAAoAAAAA////AA4AAAAAAAWMCQAAGkFwbG9yaXMuQmFzZS5PYmplY3RzLkNvbG9yBwAAABJEYXRhT2JqZWN0K21QYXJlbnQVRGF0YU9iamVjdCttQ29udGFpbmVyBW1UeXBlBG1SR0IQbVRoZW1lQ29sb3JJbmRleAxtQXV0b1VwZGF0ZWQJbU1vZGlmaWVkBAIAAAAAAB9BcGxvcmlzLkJhc2UuT2JqZWN0cy5MaW5lRm9ybWF0AwAAAAgICAEBAwAAAAkXCQAACgEAAAAAAAAA/////wABAY0JAAByAAAACgoAAAAAqcbUAAUAAAAAAAGOCQAAcgAAAAoKAQAAAP///wD/////AAAPjwkAAAEAAAAIJQEAAAs="/>
  <p:tag name="APLORISTAG" val="MX/IjfW661gLV+xOY.176"/>
</p:tagLst>
</file>

<file path=ppt/tags/tag70.xml><?xml version="1.0" encoding="utf-8"?>
<p:tagLst xmlns:a="http://schemas.openxmlformats.org/drawingml/2006/main" xmlns:r="http://schemas.openxmlformats.org/officeDocument/2006/relationships" xmlns:p="http://schemas.openxmlformats.org/presentationml/2006/main">
  <p:tag name="APLORISTAG" val="MMq8K+TY0y1GzdU7X.96"/>
</p:tagLst>
</file>

<file path=ppt/tags/tag700.xml><?xml version="1.0" encoding="utf-8"?>
<p:tagLst xmlns:a="http://schemas.openxmlformats.org/drawingml/2006/main" xmlns:r="http://schemas.openxmlformats.org/officeDocument/2006/relationships" xmlns:p="http://schemas.openxmlformats.org/presentationml/2006/main">
  <p:tag name="APLORISTAG" val="MJ7EVawjTvgzTt/Fh.1017"/>
</p:tagLst>
</file>

<file path=ppt/tags/tag701.xml><?xml version="1.0" encoding="utf-8"?>
<p:tagLst xmlns:a="http://schemas.openxmlformats.org/drawingml/2006/main" xmlns:r="http://schemas.openxmlformats.org/officeDocument/2006/relationships" xmlns:p="http://schemas.openxmlformats.org/presentationml/2006/main">
  <p:tag name="APLORISTAG" val="MJ7EVawjTvgzTt/Fh.1018"/>
</p:tagLst>
</file>

<file path=ppt/tags/tag702.xml><?xml version="1.0" encoding="utf-8"?>
<p:tagLst xmlns:a="http://schemas.openxmlformats.org/drawingml/2006/main" xmlns:r="http://schemas.openxmlformats.org/officeDocument/2006/relationships" xmlns:p="http://schemas.openxmlformats.org/presentationml/2006/main">
  <p:tag name="APLORISTAG" val="MJ7EVawjTvgzTt/Fh.961"/>
</p:tagLst>
</file>

<file path=ppt/tags/tag703.xml><?xml version="1.0" encoding="utf-8"?>
<p:tagLst xmlns:a="http://schemas.openxmlformats.org/drawingml/2006/main" xmlns:r="http://schemas.openxmlformats.org/officeDocument/2006/relationships" xmlns:p="http://schemas.openxmlformats.org/presentationml/2006/main">
  <p:tag name="APLORISTAG" val="MJ7EVawjTvgzTt/Fh.1019"/>
</p:tagLst>
</file>

<file path=ppt/tags/tag704.xml><?xml version="1.0" encoding="utf-8"?>
<p:tagLst xmlns:a="http://schemas.openxmlformats.org/drawingml/2006/main" xmlns:r="http://schemas.openxmlformats.org/officeDocument/2006/relationships" xmlns:p="http://schemas.openxmlformats.org/presentationml/2006/main">
  <p:tag name="APLORISTAG" val="MJ7EVawjTvgzTt/Fh.1020"/>
</p:tagLst>
</file>

<file path=ppt/tags/tag705.xml><?xml version="1.0" encoding="utf-8"?>
<p:tagLst xmlns:a="http://schemas.openxmlformats.org/drawingml/2006/main" xmlns:r="http://schemas.openxmlformats.org/officeDocument/2006/relationships" xmlns:p="http://schemas.openxmlformats.org/presentationml/2006/main">
  <p:tag name="APLORISTAG" val="MJ7EVawjTvgzTt/Fh.962"/>
</p:tagLst>
</file>

<file path=ppt/tags/tag706.xml><?xml version="1.0" encoding="utf-8"?>
<p:tagLst xmlns:a="http://schemas.openxmlformats.org/drawingml/2006/main" xmlns:r="http://schemas.openxmlformats.org/officeDocument/2006/relationships" xmlns:p="http://schemas.openxmlformats.org/presentationml/2006/main">
  <p:tag name="APLORISTAG" val="MJ7EVawjTvgzTt/Fh.963"/>
</p:tagLst>
</file>

<file path=ppt/tags/tag707.xml><?xml version="1.0" encoding="utf-8"?>
<p:tagLst xmlns:a="http://schemas.openxmlformats.org/drawingml/2006/main" xmlns:r="http://schemas.openxmlformats.org/officeDocument/2006/relationships" xmlns:p="http://schemas.openxmlformats.org/presentationml/2006/main">
  <p:tag name="APLORISTAG" val="MJ7EVawjTvgzTt/Fh.964"/>
</p:tagLst>
</file>

<file path=ppt/tags/tag708.xml><?xml version="1.0" encoding="utf-8"?>
<p:tagLst xmlns:a="http://schemas.openxmlformats.org/drawingml/2006/main" xmlns:r="http://schemas.openxmlformats.org/officeDocument/2006/relationships" xmlns:p="http://schemas.openxmlformats.org/presentationml/2006/main">
  <p:tag name="APLORISTAG" val="MJ7EVawjTvgzTt/Fh.889"/>
</p:tagLst>
</file>

<file path=ppt/tags/tag709.xml><?xml version="1.0" encoding="utf-8"?>
<p:tagLst xmlns:a="http://schemas.openxmlformats.org/drawingml/2006/main" xmlns:r="http://schemas.openxmlformats.org/officeDocument/2006/relationships" xmlns:p="http://schemas.openxmlformats.org/presentationml/2006/main">
  <p:tag name="APLORISTAG" val="MJ7EVawjTvgzTt/Fh.890"/>
</p:tagLst>
</file>

<file path=ppt/tags/tag71.xml><?xml version="1.0" encoding="utf-8"?>
<p:tagLst xmlns:a="http://schemas.openxmlformats.org/drawingml/2006/main" xmlns:r="http://schemas.openxmlformats.org/officeDocument/2006/relationships" xmlns:p="http://schemas.openxmlformats.org/presentationml/2006/main">
  <p:tag name="APLORISTAG" val="MMq8K+TY0y1GzdU7X.97"/>
</p:tagLst>
</file>

<file path=ppt/tags/tag710.xml><?xml version="1.0" encoding="utf-8"?>
<p:tagLst xmlns:a="http://schemas.openxmlformats.org/drawingml/2006/main" xmlns:r="http://schemas.openxmlformats.org/officeDocument/2006/relationships" xmlns:p="http://schemas.openxmlformats.org/presentationml/2006/main">
  <p:tag name="APLORISTAG" val="MJ7EVawjTvgzTt/Fh.891"/>
</p:tagLst>
</file>

<file path=ppt/tags/tag711.xml><?xml version="1.0" encoding="utf-8"?>
<p:tagLst xmlns:a="http://schemas.openxmlformats.org/drawingml/2006/main" xmlns:r="http://schemas.openxmlformats.org/officeDocument/2006/relationships" xmlns:p="http://schemas.openxmlformats.org/presentationml/2006/main">
  <p:tag name="APLORISTAG" val="MJ7EVawjTvgzTt/Fh.892"/>
</p:tagLst>
</file>

<file path=ppt/tags/tag712.xml><?xml version="1.0" encoding="utf-8"?>
<p:tagLst xmlns:a="http://schemas.openxmlformats.org/drawingml/2006/main" xmlns:r="http://schemas.openxmlformats.org/officeDocument/2006/relationships" xmlns:p="http://schemas.openxmlformats.org/presentationml/2006/main">
  <p:tag name="APLORISTAG" val="MJ7EVawjTvgzTt/Fh.893"/>
</p:tagLst>
</file>

<file path=ppt/tags/tag713.xml><?xml version="1.0" encoding="utf-8"?>
<p:tagLst xmlns:a="http://schemas.openxmlformats.org/drawingml/2006/main" xmlns:r="http://schemas.openxmlformats.org/officeDocument/2006/relationships" xmlns:p="http://schemas.openxmlformats.org/presentationml/2006/main">
  <p:tag name="APLORISTAG" val="MJ7EVawjTvgzTt/Fh.894"/>
</p:tagLst>
</file>

<file path=ppt/tags/tag714.xml><?xml version="1.0" encoding="utf-8"?>
<p:tagLst xmlns:a="http://schemas.openxmlformats.org/drawingml/2006/main" xmlns:r="http://schemas.openxmlformats.org/officeDocument/2006/relationships" xmlns:p="http://schemas.openxmlformats.org/presentationml/2006/main">
  <p:tag name="APLORISTAG" val="MqqyvQHz47eJaEyrz"/>
</p:tagLst>
</file>

<file path=ppt/tags/tag715.xml><?xml version="1.0" encoding="utf-8"?>
<p:tagLst xmlns:a="http://schemas.openxmlformats.org/drawingml/2006/main" xmlns:r="http://schemas.openxmlformats.org/officeDocument/2006/relationships" xmlns:p="http://schemas.openxmlformats.org/presentationml/2006/main">
  <p:tag name="APLORISTAG" val="MqqyvQHz47eJaEyrz.854"/>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AFFQAAABlTeXN0ZW0uRHJhd2luZy5SZWN0YW5nbGVGBAAAAAF4AXkFd2lkdGgGaGVpZ2h0AAAAAAsLCwsEAAAA//9/////f////3////9//wEWAAAAFQAAAP//f////3////9/////f/8AAAAAAAUXAAAALEFwbG9yaXMuQ2hhcnQuQXhpc0JyZWFrK0F4aXNCcmVha0Rpc3BsYXlNb2RlAQAAAAd2YWx1ZV9fAAgCAAAAAQAAAAEBAQoKCRgAAAAKCgAAAAAACRkAAAAKCRoAAAAAAAAACgUbAAAAGUFwbG9yaXMuQ2hhcnQuT3JpZW50YXRpb24BAAAAB3ZhbHVlX18ACAIAAAABAAAACRwAAAABHQAAABUAAACWhDxCr5mEQWMjD0Q/PoZDAAQeAAAAC1N5c3RlbS5HdWlkCwAAAAJfYQJfYgJfYwJfZAJfZQJfZgJfZwJfaAJfaQJfagJfawAAAAAAAAAAAAAACAcHAgICAgICAgIAAAAAAAAAAAAAAAAAAAAAAAoKCR8AAAAACgoKAQAAAAAAAAD/////AAABIAAAABUAAAAAACBBAAAgQfcPFkQuup1DpnRjQn4RI0Osox1Eo0usQwUhAAAAFVN5c3RlbS5EcmF3aW5nLlBvaW50RgIAAAABeAF5AAALCwQAAADy1AJDYnA3QwYiAAAAEHFxeXZRSHo0N2VKYUV5cno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loQ8QtqHjkMBLwAAACEAAACs6xpE2oeOQwkwAAAACTEAAAAJMgAAAAkzAAAAAAAAAAAAAAAAAAAACTQAAAAAAAAAAAAJNQAAAAkBAAAACQEAAAAJNgAAAAEHAAAABgAAAAkBAAAAATcAAAAnAAAAAAAAAM3MTD8AAAAIAQAJAQAAAAk4AAAACTkAAAABAAAAAAAAAAABAAAAAAAA8D8BmpmZmZmZuT8AAAAgQQEBCToAAAAKCTsAAAAJPAAAAAk9AAAAAT4AAAAhAAAAloQ8QtqHjkMBPwAAACEAAACWhDxCr5mEQQ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CsA0ZCo4uaQ9gcSUMAAMhBCWUAAAAD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BQAAAAgBAAAAAgAAAAMAAAAEAAAABQAAAAUc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bgAAACEAAACWhDxCr5mEQQFvAAAAIQAAAKzrGkTah45DCXAAAAAJcQAAAAAAAAAKBXIAAAAUU3lzdGVtLkRyYXdpbmcuU2l6ZUYCAAAABXdpZHRoBmhlaWdodAAACwsEAAAAAAAAAAAAAAABcwAAAHIAAAAAAAAAAAAAAAAAAAABdAAAABUAAAAAAAAAAAAAAAAAAAAAAAAAFAAAAP////8BAQoJdQAAAAEACgAPHwAAACU1AAACUEsDBBQABgAIAAAAIQBJEqz3jAEAAHg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d1OwjAUvjfxHZbemq3AhTGGwQXopZKID1DbA1vo2qan/L29ZwOMkrlJWOLNmq39/s52zobjXaGjDXjMrUlZP+mxCIy0KjfLlL3Pn+MHFmEQRgltDaRsD8jGo9ub4XzvACNCG0xZFoJ75BxlBoXAxDowtLOwvhCBbv2SOyFXYgl80Ovdc2lNABPiUHKw0XAKC7HWIXra0eODE4KzaHI4V0qlTDincykCGeXlLq/FbRpxG6POzMV2scglKCvXBVlKCD/1YkvxfxHwoLHBWY3CMXpCyMo9ZrnDu2OEV6q9zxVEM+HDiygoKN9pvrV+9WHtKmmuQ43aWR50HoTCDCAUOqnWpBC5+YN+dRh5tfQ7NlLmq4gv9DH4Jx+BPmzg1fX6UlQ0LcEx7DVgx2kPpG3KmfCg3oKnHujcwHfuFh/SFmVH4vX1/tkDJ942eaHlJKNO6fgdyBNvkz6No5m3DmlSerjcwGnilOjYERH4kEPjzPlSpDF7ueDZ0IFyjitQNdq8+m+MPgE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ABBmPgJAQAAz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zWrDMBCE74W+g9h7LdttQymRc2gp5NqmDyDktWViS0a7/fHbVyTUcSC4F9PjzqKZj5G03nx3rfjEQI13CrIkBYHO+LJxtYL33cvNAwhi7UrdeocKBiTYFNdX61dsNcdDZJueRHRxpMAy949SkrHYaUp8jy5uKh86zXEMtey12esaZZ6mKxmmHlCceYptqSBsy1sQu6GPyX97+6pqDD5789Gh4wsRkiMXRkMdamQFh/EoZkkEBXmZ4W5JBuKhjSWOEMd5Lv5+0XirA5ZvHOINTymm8hzMakkYo1vzZHXjTnWM0hxEtiTElw97soh8ghglkofN7OvI/xkm/21Gnv3B4gcAAP//AwBQSwMEFAAGAAgAAAAhACprnTDOAQAA/wIAAA8AAAB4bC93b3JrYm9vay54bWyMUstu2zAQvBfoPxC826QoyQkMS4HrB2qgKIKgTc4sRVtE+BBIqlJQ9N+7kqrEbS89kctdzu7MzuauNxp9lz4oZwucLClG0gpXKXsp8Ncvx8UtRiFyW3HtrCzwiwz4rnz/btM5//zNuWcEADYUuI6xWRMSRC0ND0vXSAuZs/OGRwj9hYTGS16FWspoNGGUrojhyuIJYe3/B8Odz0rIvROtkTZOIF5qHmH8UKsm4HJzVlo+TowQb5rP3MDcvcZI8xAPlYqyKnAOoevkHw++bT60SkOWrSjNMClfWd57xNvods4AiRDulYgtXApMh6pBh0clu/D2YQhR/6Rs5boCpzcUhH2ZQ0YZhN2YfFJVrKFjkgwl09tHqS51hHWwNBsbkKsOo4DQaTyRHdltG+28CnseOaxrUPgELBKM/FrBxZ+qZJjz+ssD79Bf9elVPRvqydxLcC1AguEYgTNKKaALZ0XrPWxiB5nfYsg+fgqx3MCJWq8K/OMmZ+kh36cLlh/TxTY/0EWyStlilR1Znu0Yy3L2c7aB6f/xgVHCu+DOcSmcIZMFwDqCyF7I0Um3k5PKjenXWy/q0x4dNb/AfiYeMAuwmScjs3fLXwAAAP//AwBQSwMEFAAGAAgAAAAhAOn2PWanCQAAuI0AAA0AAAB4bC9zdHlsZXMueG1s7F1Zb+M4En5fYP+DoMY+JjosyVJge7BJj3cGmB00kAwwr7It20LrMCS5O5nF/vetIinriKPDZDrZgHlILLmqWPzqICkypdlPj3GkfAuyPEyTuWpc66oSJOt0Eya7ufrHw/LKVZW88JONH6VJMFefglz9afH3v83y4ikK7vdBUCggIsnn6r4oDjealq/3Qezn1+khSOCbbZrFfgGX2U7LD1ngb3JkiiPN1HVHi/0wUamEm3g9REjsZ1+Ph6t1Gh/8IlyFUVg8EVmqEq9vft0laeavIlD10bD8dSmbXDwTH4frLM3TbXEN4rR0uw3XwXMtPc3TQNJilhzjZVzkyjo9JsVcnZxuKfSbXzcAoWOpCu30XboBNfRr/R+qVjI3KO0m5adPn/QXKJ3nlEysxpRazLZpUulmgCFJn2++Jun3ZInfgXKgMZItZvlfyjc/gjsGtrhOozRTCjAcKEzuJH4cUIo7PwpXWYhkWz8Ooyd628QbxNaMLg4Bebyp0Rbo7xVSsbY8/JY2FSab4DEAuNxWaw/+Po19JHzWWENuKfO19T/W9D/XFjWYILD6GmthxWeZE4LEktQs2W41V5dLnfygESo3+FcYRcq9n+R4u9cUNUHL5VBB4QtYXyTs1D0CWqN7tINDteoQNBQnAlcOLg0YNrIH3ljMII8VQZYsEWH2+eHpAJGYQMqlcBO6Hupd5j8Zpj2cIU+jcIMZYXdXj39PVYoQ85t+PfU8zzUc13U9a2JYFnGVFSM/xTBkPPSJWjfQQ4jK5A/0fJVmGxhkysyJeYjeWsyiYFsAexbu9vi3SA/we5UWBWTkxWwT+rs08SP4qJUc7AOIXQdRdI8D0Z/bSjaos5g9bmuZFnIhZiNMz/gRNGMfqUR6AS00mACGksl8kUnxD4foaQnCiWh6BfKrq1vS8+r6n1G4S+KgzvAlS4tgXZARmOSThh415V/Wo628ZIKBurQ3M/1F6E16TP/7MV4F2ZJMciojYyhXVyJdACcX5/2XuuKP1kfiAymlI/okPhIfnpQv/Uf6j/Sf1xtPZXzJ+JLxJeMLFkxk8Sbnz3J90TWfl+uv7vFC4iPx4RlPpf9I/5H+83rzMRlfMr5kfMn4eqv1jsw/Mv/I/CPzj8w/9DyCfP7cnQ8lPhIfnvFC+o/0H+k/rzffuOhQlWTiOZIm0ZPosZOsDAg5yMlBjmeQkxmFJ6PI6JPRxxN90n+k/0j/eb0liowvGV8yvmR8vdWWg8w/Mv/I/CPzj8w/dMtTHgHpzocSH4kPz3gh/Uf6j/Sf15tvyPiS8SXjS8bXW83n31v+kbuHPLuH7xw9+fCqe7B7J+bT6pXQaF20Wkk0EytVvlRUDNLY9oWKUo/b86XRkIX5/ABuViONlMQixfg4NGnKole1sRjryvllgTVln2bhX6An1rlcQ8W1gJanfNy2wGAlO/sKxCkUDuNspYDyLi0Fd7pinf7AiirfM//wEDxCATxiXO0ZvDze0gOc0LZLozVLQJR3RRl2FF5Y9rUnNllEgJujAdhVw+3K8nPlt4PiBasyqj9e1+G6YUHILlebvhl0LNX8ePA4DA0VoItwjYkS6m++gd0vUn0w0IZDKi3TBD84psbnAa5eVCboHqtqXYHa3MPSwzvtCqlqTa2CverMdIYNU9EzJXrKrNaVn3+IXcZ1BhZxH6czYLyP0xmw48fpDIyCH6czkO7+TzqDtaNZNoMF4oqUgGbViNkiwinz1vtPzQM6A538OJZ5b+MMWdvDar5W7rxV7Py0+FewXj9U8E+jKP0ebJRfoIx8FoXJV3gZBFnL42shVscwggLv6I9g2n242QT46g+sejZCEPq1EEEwEooRBIlbjCDIM0IEmaLANkWBbYoC2xQFtikK7IkosCeiwJ6IAnsiCuyJKLAtUWDDGyXExJolCmxLFNiWKLBtUWDbosC2RYFtiwLbFgW2IwpsRxTY+D4pIcORIwpsRxTYU1FgT0WBPRUFtgezSCFW82BxLUSQoYtSydDF6QQLVEG9g7msGEnwmi9RkoQhbghD3BCGuCEMcVMY4rDTKch28CItUZKEIW4KQ3wiDPGJMMQnwhCfCEN8IgxxSxjiljDELWGIW8IQt4QhPnIq9+xZSVMRmPN0Pip5xt4aRsbzN808nr9p3PH8TZOO5+fErzUojG6/NRSM5+fEz+TEr5XsR+vfSvHj+Tn9r5XOx7fPiV8rdY9uv5Wwx/Nz4tdKzuPb58SvlYhHt283B7zx/Jz42Zzxa3PiZ3PmP9whqi1oRuPncOKHZya42ufEz+HEb8qJ35QTP6/5TGK0/bzmo4jR/IbOqYChc2vQfOJ0QReAhccHjdZ+13gNDF4QDV4QDV4QDV4QW/tY40Fs7V9dIIAXxNZ+1QUa8ILY2p8ar0FrX+oCAbwgtvahLtCAF8TWvtN4DVr7TRcI4AWxtb90gQa8II6cmPyO77aOygMEzSf25NXH7UMDX4IMTzCWHM1hmLyevs2R4yvc4fXyU3dimKZhoavT8wqDyHGkpuTk/fR90nFgpeTkvfU95A7mX0runDsi0dLdwSCh5O4Q8umJfDKAfIrPXKn0aRe567m251o6PsRk5J1IMnoT18yMvrOzJT3O8Rn9EH1Mt9KnEx0m38I9VCbfG9BfcKCS3j3rmqWxmHxbr+jPnn9p0+ODRaqP2+lqIH8KYLq4wUXpvT48Cb17ck2vDx+k9/STfAM+njnAU+sAYcB9BKZQn8EIPY5ajL7PAIQeF62U3tD7EJ3ahk1OZlMGtzMAEFGkB7uyBtxeRJEet8+Y/N4OAL2JE0ZG35kdmD5mFWFuL6AoH0cwKt/rNRjS4yqW6dMXwYiPWXmc2+tBSF9FpNdpL3A1x3M9G/d+qT4GnEvo8LiSAdQ4MQxpwdFPKQ7U62jBBo2mE8e1az4Ha+aXVTox4INh1gfYpR/AUCVpA1bVXQyApzU1dNz8L1EaxADp5MTQZWdbpy2QxV3ZQpfjnRiq1G7A8Y3+PsBwXKnUFWqnFuquQXyv+qdEOLu4edyeTi0Sxyn8VRTc48hfu69sgq1/jIqH05dztfr872ATHmOAilF9Cb+lBRExV6vPv4W7fQGjNvQR/i3tt7wgf5VjFs7V//x8O/U+/7w0r1z91r2yJoF95dm3n69s6+728+elp5v63X+h43GU5DePhjVX90VxuNG0fL0PYj+/jsN1lubptrhep7GWbrfhOtDyQxb4m3wfBEUcaaaue5qnxX6Y4P9dGtZNHgFVxjrLlL+v7s3V2gVVH7XXQH36m3RCI8n8HhtZ/A8AAP//AwBQSwMEFAAGAAgAAAAhAOdldbjWAAAAuAEAACMAAAB4bC93b3Jrc2hlZXRzL19yZWxzL3NoZWV0MS54bWwucmVsc6yQyWoDMQxA74X+g9E91kwOoZR4cgmFXEP6AcLWLHS8YLlp8vd1KIUMBHrpUdvTk7a7i5/VmbNMMRhodQOKg41uCoOB99Pb6gWUFAqO5hjYwJUFdt3z0/bIM5U6JOOURFVKEANjKekVUezInkTHxKFW+pg9lRrmARPZDxoY102zwXzPgG7BVAdnIB9cC+p0TXXz3+zY95PlfbSfnkN5sALPft5n+qrHVSrlgYsBrdH95OSu3uraC/jYaf2fTjb6m64sjH6Tra7/u2ng4t/dNwAAAP//AwBQSwMEFAAGAAgAAAAhAGO7daMABAAAcwwAABgAAAB4bC93b3Jrc2hlZXRzL3NoZWV0Mi54bWyMV02P2zYQvRfofxB0ag+2PmxLtmA7WFlSEiCLLpomOdMSZQsria7I3fWi6H/vkJQdcZQ6e7Gl94bDeTNDerx+d25q65l2vGLtxvamrm3RNmdF1R429pe/ssnStrggbUFq1tKN/Uq5/W776y/rF9Y98iOlwgIPLd/YRyFOkePw/EgbwqfsRFtgStY1RMBrd3D4qaOkUIua2vFdN3AaUrW29hB1b/HByrLKacLyp4a2QjvpaE0ExM+P1YlfvDX5W9w1pHt8Ok1y1pzAxb6qK/GqnNpWk0cfDy3ryL4G3WdvTvKLb/Uyct9Uecc4K8UU3Dk60LHmlbNywNN2XVSgQKbd6mi5se+86L3n2s52rRL0taIvfPBsyXzvGXuUxMdiY7vggtOa5lK5ReDrme5oXW/sDwGU7G/lFB7BoXP1OHy+eM9UhR46a0843bH6W1WII7QCdEJBS/JUiz/ZywdaHY4C0DnkQKYiKl4TynOogQzlEnVCBNmuO/ZiQTE9CONEZGt4UQjR5hK8k+jGDuUSBcQagDYDTxzMnrfeYu08Q6h5b7K7mFzWJBhIMZBpYHbd5r0GfJUPCPAapf/DKCVqRKmB1SBKHOTYIjBlJGOL0LRIxxauaZFpi4EuDYx1zQxdliyev7xWQbK6xtesL82d4t4E8nY1WZkmu5+bJD83SbXJMLVon0xbDERrYCwauvMHLSdRJBalNe5NfNV/vuchoQa9WKCyJQbth8h52tMzcF6qZB5JRwtbn/t0HqWgnVfqSH/+cv9bPI+S+e9rp1RnwZ2hwmTa3SAbGhhnY2FkA7eAZFFWPBR53NvotAQ4Kwa79M2cJQbrobOQ9uwoJzoPcNDlNYD7QC8aKNfAWLm8Ab9fPUr5XIrQV5BksXKkLe5ttHLPn5nidgY9m81NOjFoL8Die/qW+ABvmelFA/EaGIsPb4qXLBaPShf3Nr141BQ7g50jNjFYLCLt2VvKQ5TrTK8ZCNfAWLgcVVDVB1eeZLFwtFXc2/TC8Q1vsEvUnInBLtChTXv2lnAvQHXI9KKBcg2MlcsL5P+VSxYrRx0b9zZaOYpjZ5AeYhODRVejutpg71u6fXT2Mu1wIFsDY9lyRhnovpxvBcOm1x//uEe+u9yNkGSEpCMkGyFyZJPJHcSmpy09CZ3Igd6T7lC13KppCT+k7jSES6vT05R+Eewkg7X2TAjWqMcjzMkUpiV3CsYlY+LyAhcjPYtPXKhv66mDn41/grnr+uHMm9wFsTtZyA8/CN1JGPpeHO7cVeC6/15m1+b8tsG1IblDzzlVg/pSD+rbdXOOHj59te5ZATMxSP+jpQ+gUT1/+5wTOSqrcRDWQozyUwXrXP8ubP8D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EExEFQ1BAAA0gkAABgAAAB4bC93b3Jrc2hlZXRzL3NoZWV0MS54bWyMVttu4zYQfS/QfxD0bos3UZJhexFfggbYRYOm3X2mJdoWIokqRSdOi/57h6RsR/YiCGBYFOfwzMzhcKjpl2NdBS9Sd6VqZiEeozCQTa6KstnNwr/+vB+lYdAZ0RSiUo2chW+yC7/Mf/1l+qr0c7eX0gTA0HSzcG9MO4miLt/LWnRj1coGLFula2HgVe+irtVSFG5RXUUEIR7VomxCzzDRn+FQ222Zy5XKD7VsjCfRshIG4u/2Zdud2I7Fp/gKLV4h11M870JcecuZD7Ob+Ooy16pTWzPOVR350G6zzKJskGed3xD9RKxa6OdDOwLiFpLblFVp3ly6YVDnk4ddo7TYVLAjR8xE/i5KcUv/+TiBaT4tStDWFkSg5XYW3uHJmoXRfOp27nspX7t348CIzZOsZG5kAQUUBrYwNko9W+ADTCFg7BzAMorclC9yKatqFq4J1Nbfzsea9D6is5P59DI+Obx31fSog43o5FJVP8rC7MErVG0ht+JQmctkOk4pQRST+Gz8Q73+Jsvd3sASBpJZ5SbF20p2ORSTDRWyzFUF7uA/qEt7JEBvcfSZeW+EjzlniFvizrzZPQDQRnbmvrTMYZAfOqPqU3A9qaeDlB0dPF893fs4ezo6WEL7JfDsl2RnxzD3SceQr3MMz886hvx86pymHy7DNt7IC+f2byWMmE+1eg3gEIIgXStsi8AToLTqMwJFkVvjnbU6DEx3MPsyZ9PoxdL1iIVH8DA4IzAfQpYeAmJcIMkQsvIQSOMCSYeQ9W0oODtDIsjmnJIt3KuUcHxOyVpnIaR6cXWmcUkvPMIteZmjMfP1xBgnKWaYXLw6+LKHMycPHyecYB4zxGiSxPF6RIbsqwGcjFOSJvBDCaIZS9gN3h3DWUjsQbXRYIQBDNwI45Sl8UWmgQag9gcaWOtQg6soFx6Bk95rjDMWcx4jxjPKMLuCL3s4P8EhJ8QSlFIKYqTp9XZfw0mc8pTFCeFxllF0BV97OMEXdhqnGCdJFsOqy34MFIBi+kABax0WNh3u06JHZM4pHjNME4xYhkiME0zozUYt+wVpHyVlAKScQj0wFHOEh/yrKzhjkAsjMahMORTZFRx6vA2Y2KNpy4BiBBsRI9gYQlFML5J5EXx39ie9FTv5Tehd2XRBJbdQ92ichIH2vdaNjWrdLByLjTLQHk9ve/gmkNAJwGMYbJUypxfoKZb3SZpDGyhdQot21/wsbJU2WpQGmgnM/6PAUK3a0vaVjGU8IRkcAfioMWV+awDaSu5E/tZf8IGelMUs1A+Fa2PyaL52Zj6FZ3DQwPkv9HpEEopHd3yBRrH9IzxBoyQheJEsUcYR+u90AddwVVx9Cf309q1FHsljLt13UOq/D+bT+jh5/Po9+KYKuFTgUvu9kY8ggRv/eIJk3NA2WwjP/7tgI3vpus47/x8AAP//AwBQSwMEFAAGAAgAAAAhADGS1nNqAQAAGQMAABQAAAB4bC9zaGFyZWRTdHJpbmdzLnhtbIySwW7bQAxE7wXyD8Sea0u2i7ooJAWFk5wSX+KgZ0KiJaIrrixSTv33WTcpEkgu0OM+cgccDrPr362HI/XKQXK3mKcOSMpQsdS5e9rdzb45UEOp0Aeh3J1I3XVx9SlTNYh/RXPXmHXfk0TLhlrUeehIYmUf+hYtPvs60a4nrLQhstYnyzT9mrTI4qAMg1jull8cDMKHgTZvIHVFplxkVuyCoc8SK7LkDF7hj7onGsMtDdZPe29Y8VL7I3kqLfoe66Qwg1U6pqtFxOsJXp/xIp3wJyUIe9hR2UjwoT6N9f44HcOfXNHrsmBQ+gzofdxRP7E66TPwhDGSGNJ/fZAgs0vC99yyURV1/Ok8wnjAbQD7p6WHE7CosQ3ntcIe2StYACwbpiMBCkR/6AGrI2s8MdDYi5cyuD0M3HVxkC0euUYLvY5HuQ/PcDeQnxQ2DZW/4FZqFpoU/xp8DwZiVB/Vk3jaxQsAAAD//wMAUEsDBBQABgAIAAAAIQDhRJFzmgIAAA4HAAAbAAAAeGwvZHJhd2luZ3Mvdm1sRHJhd2luZzEudm1s7FXJbtswEL3nKwjm4IsMLUncgJEMBClyaws0XY4BLdEWEy6COJblfH2HlLw1aBG0h14q2PJwONt78wDnvVYEv8axrqDr1jBX1kJzN9WybK2zS5iWVrNOK3o2BtrfBdrlUpaCDT/7lP4NKaIvxaGJxnFqgIbFseblN60ewlxfW0nnZyS3zNW8EYpv7RpIx0QPBRWVBH/rr2WleXNyQSoOvKApjX2B+KTCPO+GgrBtBJFVQR/7BJ9HyJKMktLatnLyRRQ0S2dJEoU3JVijwb4+Brs2HOqC6iRK1BgxxJ28k14MI2JDaO2zIE9WGgdbhcW1BNGG+QgO5OuRVcsrKQwEuPa5oODbltYYUYKftqAtWiOoIxR7SMdwXJpkV5QMeecnGIcRJo11EqQ1jC+cVWsQN4hM83YlzVSJJbDZdQM3owNsw9KLS3RsZAU1SzNv10KuamBZgvbLVJpK9Cz1ZTrp5EIqCVtWy6oS5kY7O920vJmG7gx84oQspVKlVbYt6PkSH5F6zMiSAG0rRMzXYHcs+mBcEEZnh3C/Yk8hslbZDbFm4G3hynUrcLsDX3uSfyLUWCP2WwCU1sL2ZOTHT1xJTzmSNOUKmB9m4vuRvJLdLs6n4bVcGeZpm8zzGG/DWHHHxqLh2LM75Tf8HuVJPi2esPSXsNePFgatkLxnH2wnvkuo74RSLsDz3gfU5GvvrSlr24aRSBKR2XVE3kXkKiJpRC6yiOA5TfO4Z0eBWOwWgdwjm/N7rpwI9ztPQNezz3YzD4neGH13qBJt5omPH23PvT/tYWFsjqiDhn+py9nf6TJLvfaOhJkdZJl6Ke5kmR7JMvsvy38jS1QhihHFicZl+Hj74k9FGdT3WpTZ20UZ45/g/AcAAAD//wMAUEsDBBQABgAIAAAAIQAWmqEiNQEAABI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V9LwzAUxd8Fv0PJe5tmG0VC24HKEHEgOFF8C8ndFmz+kFzt9u3N6qyT+Xg55/445956vjNd9gkhamcbwoqSZGClU9puGvK8WuRXJIsorBKds9CQPUQyby8vaum5dAEeg/MQUEPMEslGLn1DtoieUxrlFoyIRXLYJK5dMALTGDbUC/kuNkAnZVlRAyiUQEEPwNyPRHJEKjki/UfoBoCSFDowYDFSVjD660UIJv67MCgnTqNx71OnY9xTtpLf4ujeRT0a+74v+ukQI+Vn9HX58DRUzbU93EoCaWsluQwg0IW2pqdDOlwnIi7Tjdca1PW+vXdW4FbY7M6FBABta3ruSsShADfHzSxl4t8NfqSX6c3takHaScmqvJzlZbViU84qPqveDin+AlKwsy+2XwAAAP//AwBQSwMEFAAGAAgAAAAhAK1O4xIPAQAAIgIAABAAAAB4bC9jb21tZW50czEueG1svFBNS8QwFLwL/ofw7m7aHmSVJosIK4IHwfUHxOZ1G8hHycsuXX+9b+3WgydPQgiZybyZ4bWbKXhxxEwuRQX1qgKBsUvWxb2C9932Zg2CionW+BRRwQkJNvr6qu1SCBgLCTaIpGAoZbyXkroBg6FVGjHyT59yMIVh3ksaMxpLA2IJXjZVdSuDcRF0aw5lSJmWh9St/KEuOS+Oil5CRcZewWMNYpY9WwUV+xScWJT5vPL1wT70KY7GK7gDBl3yKQsXLU7IE+v6TOZtimUW7cyQgjmTvQnOn2a2ORPy27Hop5wOo7BIXXZj4Z1RKzlScpyc0+Wl8K+yD83/l33D7JD+2HbpPS96QaS/AAAA//8DAFBLAwQUAAYACAAAACEAP28obY4BAAAq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Fv2zAMhe8D9h8E3Ru5WTEMgayiaDf0sGLBknZnTqZjoYokiKyX7NdPjpHG6Q4DdiP5np8+U9LXu60XPWZyMdTyclZJgcHGxoVNLR/XXy4+SUEMoQEfA9ZyjySvzft3epljwswOSZSIQLXsmNNCKbIdboFmRQ5FaWPeApc2b1RsW2fxLtqXLQZW86r6qHDHGBpsLtJroBwTFz3/b2gT7cBHT+t9KsBG36TknQUuf2kenM2RYsviAawLHKkTn3cWvVZTmy6cK7Qv2fHeVFpNW72y4PG2HGFa8IRanQb6HmFY3xJcJqN7XvRoOWZB7ndZ4FyKn0A4gNWyh+wgcAEcbGNzqH0izuZHzM/UITJpVQzj8FBOvdPaXZn5wVCKc+MQMIIU4Rxx7dgjfWuXkPlfxAeGkXfEuUk+Zkd3wDCFfMX9Dr/EW/GM5c3pX114pse0juUjPG73fKhXHWRsyoUc9dNA35fFZj+E3HYQNtgcPX8Lw6t4Gp++ubyaVR+qcs2TmVanR27+AAAA//8DAFBLAwQUAAYACAAAACEA5QTeUaoAAAD+AAAAEAAAAHhsL2NhbGNDaGFpbi54bWxcjssKwjAQRfeC/xBmb1Nf9UHTLkS/QD8gpGMTyKNkgujfG0QrdDlnuIdTt09n2QMjmeAFLIsSGHoVOuN7AbfrZbEHRkn6TtrgUcALCdpmPquVtOqkpfEsGzwJ0CkNR85JaXSSijCgz597iE6mfMae0xBRdqQRk7N8VZYVd1kATa1YFHDeAjMC1sBsLgH+w9UXj2A3BYcpyNEf0zjZ/AEfy5s3AAAA//8DAFBLAQItABQABgAIAAAAIQBJEqz3jAEAAHgGAAATAAAAAAAAAAAAAAAAAAAAAABbQ29udGVudF9UeXBlc10ueG1sUEsBAi0AFAAGAAgAAAAhAFB8TsH2AAAATAIAAAsAAAAAAAAAAAAAAAAAxQMAAF9yZWxzLy5yZWxzUEsBAi0AFAAGAAgAAAAhAABBmPgJAQAAzAMAABoAAAAAAAAAAAAAAAAA7AYAAHhsL19yZWxzL3dvcmtib29rLnhtbC5yZWxzUEsBAi0AFAAGAAgAAAAhACprnTDOAQAA/wIAAA8AAAAAAAAAAAAAAAAANQkAAHhsL3dvcmtib29rLnhtbFBLAQItABQABgAIAAAAIQDp9j1mpwkAALiNAAANAAAAAAAAAAAAAAAAADALAAB4bC9zdHlsZXMueG1sUEsBAi0AFAAGAAgAAAAhAOdldbjWAAAAuAEAACMAAAAAAAAAAAAAAAAAAhUAAHhsL3dvcmtzaGVldHMvX3JlbHMvc2hlZXQxLnhtbC5yZWxzUEsBAi0AFAAGAAgAAAAhAGO7daMABAAAcwwAABgAAAAAAAAAAAAAAAAAGRYAAHhsL3dvcmtzaGVldHMvc2hlZXQyLnhtbFBLAQItABQABgAIAAAAIQD7YqVtlAYAAKcbAAATAAAAAAAAAAAAAAAAAE8aAAB4bC90aGVtZS90aGVtZTEueG1sUEsBAi0AFAAGAAgAAAAhAEExEFQ1BAAA0gkAABgAAAAAAAAAAAAAAAAAFCEAAHhsL3dvcmtzaGVldHMvc2hlZXQxLnhtbFBLAQItABQABgAIAAAAIQAxktZzagEAABkDAAAUAAAAAAAAAAAAAAAAAH8lAAB4bC9zaGFyZWRTdHJpbmdzLnhtbFBLAQItABQABgAIAAAAIQDhRJFzmgIAAA4HAAAbAAAAAAAAAAAAAAAAABsnAAB4bC9kcmF3aW5ncy92bWxEcmF3aW5nMS52bWxQSwECLQAUAAYACAAAACEAFpqhIjUBAAASAgAAEQAAAAAAAAAAAAAAAADuKQAAZG9jUHJvcHMvY29yZS54bWxQSwECLQAUAAYACAAAACEArU7jEg8BAAAiAgAAEAAAAAAAAAAAAAAAAABaLAAAeGwvY29tbWVudHMxLnhtbFBLAQItABQABgAIAAAAIQA/byhtjgEAACoDAAAQAAAAAAAAAAAAAAAAAJctAABkb2NQcm9wcy9hcHAueG1sUEsBAi0AFAAGAAgAAAAhAOUE3lGqAAAA/gAAABAAAAAAAAAAAAAAAAAAWzAAAHhsL2NhbGNDaGFpbi54bWxQSwUGAAAAAA8ADwDcAwAAMzEAAAAABSM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YAAAAFQXJpYWwGdwAAAAYrbW4tZWEJeAAAAAEACXkAAAAHJAAAAAABAAAAEQAAAAQUU3lzdGVtLkRyYXdpbmcuQ29sb3IEAAAABXoAAAAUU3lzdGVtLkRyYXdpbmcuQ29sb3IEAAAABXZhbHVlBXN0YXRlCmtub3duQ29sb3IEbmFtZQAAAAEJBwcEAAAAAAAAAAAAAAAAAAAACgF7AAAAegAAAAAAAP//////AgAAAAoBfAAAAHoAAAD//////////wIAAAAKAX0AAAB6AAAATkEi//////8CAAAACgF+AAAAegAAAN7c2///////AgAAAAoBfwAAAHoAAAB+aT///////wIAAAAKAYAAAAB6AAAAjIRy//////8CAAAACgGBAAAAegAAACUh7f//////AgAAAAoBggAAAHoAAAA0O0b//////wIAAAAKAYMAAAB6AAAAdJjD//////8CAAAACgGEAAAAegAAAB6U9///////AgAAAAoBhQAAAHoAAAAelPf//////wIAAAAKAYYAAAB6AAAAJSHt//////8CAAAACgGHAAAAegAAAAAAAP//////AgAAAAoBiAAAAHoAAAD//////////wIAAAAKAYkAAAB6AAAATkEi//////8CAAAACgGKAAAAegAAAN7c2///////AgAAAAoEJQAAAJgBU3lzdGVtLkNvbGxlY3Rpb25zLkdlbmVyaWMuTGlzdGAxW1tBcGxvcmlzLkJhc2UuT2JqZWN0cy5EYXRhT2JqZWN0LCBBcGxvcmlzLkJhc2UsIFZlcnNpb249NC4wLjAuMTQ4NiwgQ3VsdHVyZT1uZXV0cmFsLCBQdWJsaWNLZXlUb2tlbj0xNmZjMTNhMjI2YzBlOTUxXV0DAAAABl9pdGVtcwVfc2l6ZQhfdmVyc2lvbgQAACFBcGxvcmlzLkJhc2UuT2JqZWN0cy5EYXRhT2JqZWN0W10DAAAACAgJiwAAAA0AAAARAAAABCYAAACVAVN5c3RlbS5Db2xsZWN0aW9ucy5HZW5lcmljLkxpc3RgMVtbQXBsb3Jpcy5CYXNlLlVJLlZpc3VhbE9iamVjdCwgQXBsb3Jpcy5CYXNlLCBWZXJzaW9uPTQuMC4wLjE0ODYsIEN1bHR1cmU9bmV1dHJhbCwgUHVibGljS2V5VG9rZW49MTZmYzEzYTIyNmMwZTk1MV1dAwAAAAZfaXRlbXMFX3NpemUIX3ZlcnNpb24EAAAeQXBsb3Jpcy5CYXNlLlVJLlZpc3VhbE9iamVjdFtdAwAAAAgICYwAAAABAAAAAQAAAAUoAAAAmwFBcGxvcmlzLkJhc2UuT2JqZWN0cy5EYXRhT2JqZWN0Q29sbGVjdGlvbmAxW1tBcGxvcmlzLkNoYXJ0LlZhbHVl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C4wLjE0ODYsIEN1bHR1cmU9bmV1dHJhbCwgUHVibGljS2V5VG9rZW49MTZmYzEzYTIyNmMwZTk1MV1dAwAAAJEBU3lzdGVtLkNvbGxlY3Rpb25zLkdlbmVyaWMuTGlzdGAxW1tBcGxvcmlzLkNoYXJ0LlZhbHVl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NAAAACY4AAAAJBgAAAAkBAAAACY8AAAAFKQAAAJsBQXBsb3Jpcy5CYXNlLk9iamVjdHMuRGF0YU9iamVjdENvbGxlY3Rpb25gMVtbQXBsb3Jpcy5DaGFydC5BeGlzQnJlYWs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AuMC4xNDg2LCBDdWx0dXJlPW5ldXRyYWwsIFB1YmxpY0tleVRva2VuPTE2ZmMxM2EyMjZjMGU5NTFdXQMAAACRAVN5c3RlbS5Db2xsZWN0aW9ucy5HZW5lcmljLkxpc3RgMVtbQXBsb3Jpcy5DaGFydC5BeGlzQnJlYW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kAAAAAmRAAAACQYAAAAJAQAAAAmSAAAABS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gAAAADAAAACWkAAAAJagAAAAlrAAAAAQAAAAAKCglsAAAAAAAAAAoAAAAAAA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L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aAAAAAMAAAAJaQAAAAlqAAAACWsAAAABAAAAAAoGkwAAAAElCWwAAAABAAAACgAAAAAAAAAABS0AAACaAUFwbG9yaXMuQmFzZS5PYmplY3RzLkRhdGFPYmplY3RDb2xsZWN0aW9uYDFbW0FwbG9yaXMuQ2hhcnQuVGlja01hcms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C4wLjE0ODYsIEN1bHR1cmU9bmV1dHJhbCwgUHVibGljS2V5VG9rZW49MTZmYzEzYTIyNmMwZTk1MV1dAwAAAJABU3lzdGVtLkNvbGxlY3Rpb25zLkdlbmVyaWMuTGlzdGAxW1tBcGxvcmlzLkNoYXJ0LlRpY2tNYXJ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QAAAAJlQAAAAkGAAAACQEAAAAJlgAAAAUw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cAAAAhAAAAloQ8QtqHjkMBmAAAACEAAACs6xpE2oeOQwmZAAAAuAEAAP////8BAQoJmgAAAAEACgAHMQAAAAABAAAABQAAAAQVU3lzdGVtLkRyYXdpbmcuUG9pbnRGBAAAAAGbAAAAIQAAAKyrG0Tah45DAZwAAAAhAAAAloQ8Qjd8lkMBnQAAACEAAAD1s6ZDN3yWQwGeAAAAIQAAAKzrGkQ3fJZDAZ8AAAAhAAAArKsbRNoHkUMHMgAAAAABAAAABQAAAAQXQXBsb3Jpcy5CYXNlLkFuY2hvck1vZGUDAAAABaAAAAAXQXBsb3Jpcy5CYXNlLkFuY2hvck1vZGUBAAAAB3ZhbHVlX18ACAMAAAAEAAAAAaEAAACgAAAABQAAAAGiAAAAoAAAAAMAAAABowAAAKAAAAAGAAAAAaQAAACgAAAABQAAAA8zAAAABQAAAAEAAAAAAQU0AAAAFUFwbG9yaXMuQmFzZS5VSS5MYWJlbBwAAAAPbUFuY2hvclBvc2l0aW9uC21BbmNob3JNb2RlD21BZGRJbm5lck1hcmdpbhZtT2Zmc2V0RGlyZWN0aW9uQW5jaG9yF21PZmZzZXRPcnRob2dvbmFsQW5jaG9yC21UZXh0Rm9ybWF0CW1Sb3RhdGlvbgptQmFja0NvbG9yDW1Vc2VCYWNrQ29sb3IObVVzZ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EBAQAAQMDAQAAAAAHAgAAAwA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wAAAAGlAAAAIQAAAKyrG0Tah45DAaYAAACgAAAABAAAAAAAAAAAAAAAAAmnAAAAAAAAAAmoAAAAAAAFqQAAACpBcGxvcmlzLkJhc2UuVUkuTGFiZWwrTGluZUFsaWdubWVudE9wdGlvbnMBAAAAB3ZhbHVlX18ACAMAAAAAAAAAAaoAAAByAAAAAAAAAAAAAAABqwAAABUAAAAAAAAAAAAAAAAAAAAAAAAAAAAAAAasAAAADUNhdGVnb3J5IGF4aXMKCa0AAAAJrAAAAOQCAAD/////AAEKCa4AAAABAAoAATUAAAAlAAAACa8AAAAGAAAABgAAAAE2AAAAJgAAAAmwAAAAAgAAAAIAAAABOAAAACgAAAAKCbEAAAAJsgAAAAkHAAAACQEAAAAJswAAAAE5AAAAKQAAAAoJtAAAAAm1AAAACQcAAAAJAQAAAAm2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gAAAADAAAACWkAAAAJagAAAAlrAAAAAQAAAAAKCZMAAAAJbAAAAAAAAAAKAAAAAAA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aAAAAAMAAAAJaQAAAAlqAAAACWsAAAABAAAAAAoGtwAAAAElCWwAAAAAAAAACgAAAAAAAAAABT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EAAAABCWgAAAADAAAACWkAAAAJagAAAAlrAAAAAQAAAAAKCZMAAAAJbAAAAAEAAAAKAAAAAAAAAAABPQAAAC0AAAAKCbgAAAAJuQAAAAkHAAAACQEAAAAJugAAAAFAAAAAMAAAAAG7AAAAIQAAAJaEPELah45DAbwAAAAhAAAAloQ8Qq+ZhEEJvQAAALgBAAD/////AQEKCb4AAAABAAoAB0EAAAAAAQAAAAUAAAAEFVN5c3RlbS5EcmF3aW5nLlBvaW50RgQAAAABvwAAACEAAACWhDxC6mEjQQHAAAAAIQAAABDbHkHah45DAcEAAAAhAAAAENseQXXRFkMBwgAAACEAAAAQ2x5Br5mEQQHDAAAAIQAAABDbHkHqYSNBB0IAAAAAAQAAAAUAAAAEF0FwbG9yaXMuQmFzZS5BbmNob3JNb2RlAwAAAAHEAAAAoAAAAAEAAAABxQAAAKAAAAAIAAAAAcYAAACgAAAAAgAAAAHHAAAAoAAAAAYAAAAByAAAAKAAAAAHAAAAD0MAAAAFAAAAAQAAAAABAUQAAAA0AAAAAckAAAAhAAAAloQ8QuphI0EBygAAAKAAAAABAAAAAAAAAAAAAAAACcsAAAAAAAAACcwAAAAAAAHNAAAAqQAAAAAAAAABzgAAAHIAAAAAAAAAAAAAAAHPAAAAFQAAAAAAAAAAAAAAAAAAAAAAAAAAAAAABtAAAAAKVmFsdWUgYXhpcwoJ0QAAAAnQAAAA5AIAAP////8AAQoJ0gAAAAEACgABRQAAACUAAAAJ0wAAAAcAAAAHAAAAAUYAAAAmAAAACdQAAAACAAAAAgAAAAdHAAAAAAEAAAAAAAAABC5BcGxvcmlzLkNoYXJ0LkNvbHVtbk9yaWVudGVkQ2hhcnQrVW51c2VkU2VyaWVzAgAAAARIAAAAlwFTeXN0ZW0uQ29sbGVjdGlvbnMuR2VuZXJpYy5MaXN0YDFbW0FwbG9yaXMuQ2hhcnQuQ2hhcnREYXRhU2VyaWVzLCBBcGxvcmlzLkNoYXJ0LCBWZXJzaW9uPTQuMC4wLjE0ODYsIEN1bHR1cmU9bmV1dHJhbCwgUHVibGljS2V5VG9rZW49MTZmYzEzYTIyNmMwZTk1MV1dAwAAAAZfaXRlbXMFX3NpemUIX3ZlcnNpb24EAAAfQXBsb3Jpcy5DaGFydC5DaGFydERhdGFTZXJpZXNbXQIAAAAICAnVAAAAAwAAAFkBAAABSQAAACUAAAAJ1gAAAAMAAAB7AAAAAUoAAAAmAAAACdcAAAAAAAAAAAAAAARLAAAAnAFTeXN0ZW0uQ29sbGVjdGlvbnMuR2VuZXJpYy5MaXN0YDFbW0FwbG9yaXMuQ2hhcnQuQW5ub3RhdGlvbkRhdGFTZXJpZXMsIEFwbG9yaXMuQ2hhcnQsIFZlcnNpb249NC4wLjAuMTQ4NiwgQ3VsdHVyZT1uZXV0cmFsLCBQdWJsaWNLZXlUb2tlbj0xNmZjMTNhMjI2YzBlOTUxXV0DAAAABl9pdGVtcwVfc2l6ZQhfdmVyc2lvbgQAACRBcGxvcmlzLkNoYXJ0LkFubm90YXRpb25EYXRhU2VyaWVzW10CAAAACAgJ2AAAAAAAAAAAAAAAAUwAAAAlAAAACdkAAAAAAAAAAAAAAAFNAAAAJgAAAAnXAAAAAAAAAAAAAAAETgAAAJcBU3lzdGVtLkNvbGxlY3Rpb25zLkdlbmVyaWMuTGlzdGAxW1tBcGxvcmlzLkNoYXJ0LkFubm90YXRpb25Hcm91cCwgQXBsb3Jpcy5DaGFydCwgVmVyc2lvbj00LjAuMC4xNDg2LCBDdWx0dXJlPW5ldXRyYWwsIFB1YmxpY0tleVRva2VuPTE2ZmMxM2EyMjZjMGU5NTFdXQMAAAAGX2l0ZW1zBV9zaXplCF92ZXJzaW9uBAAAH0FwbG9yaXMuQ2hhcnQuQW5ub3RhdGlvbkdyb3VwW10CAAAACAgJ2gAAAAAAAAAAAAAAAU8AAAAlAAAACdkAAAAAAAAAAAAAAAFQAAAAJgAAAAnXAAAAAAAAAAAAAAAEUQAAAJYBU3lzdGVtLkNvbGxlY3Rpb25zLkdlbmVyaWMuTGlzdGAxW1tBcGxvcmlzLkNoYXJ0LkNoYXJ0RGF0YUdyb3VwLCBBcGxvcmlzLkNoYXJ0LCBWZXJzaW9uPTQuMC4wLjE0ODYsIEN1bHR1cmU9bmV1dHJhbCwgUHVibGljS2V5VG9rZW49MTZmYzEzYTIyNmMwZTk1MV1dAwAAAAZfaXRlbXMFX3NpemUIX3ZlcnNpb24EAAAeQXBsb3Jpcy5DaGFydC5DaGFydERhdGFHcm91cFtdAgAAAAgICdsAAAAEAAAAMAAAAAFSAAAAJQAAAAncAAAABAAAAB4AAAABUwAAACYAAAAJ1wAAAAAAAAAAAAAABFQAAACQAVN5c3RlbS5Db2xsZWN0aW9ucy5HZW5lcmljLkxpc3RgMVtbQXBsb3Jpcy5DaGFydC5EZWx0YUJhciwgQXBsb3Jpcy5DaGFydCwgVmVyc2lvbj00LjAuMC4xNDg2LCBDdWx0dXJlPW5ldXRyYWwsIFB1YmxpY0tleVRva2VuPTE2ZmMxM2EyMjZjMGU5NTFdXQMAAAAGX2l0ZW1zBV9zaXplCF92ZXJzaW9uBAAAGEFwbG9yaXMuQ2hhcnQuRGVsdGFCYXJbXQIAAAAICAndAAAAAAAAAAAAAAABVQAAACUAAAAJ2QAAAAAAAAAAAAAAAVYAAAAmAAAACdcAAAAAAAAAAAAAAARXAAAAkwFTeXN0ZW0uQ29sbGVjdGlvbnMuR2VuZXJpYy5MaXN0YDFbW0FwbG9yaXMuQ2hhcnQuRGVsdGFCcmlkZ2UsIEFwbG9yaXMuQ2hhcnQsIFZlcnNpb249NC4wLjAuMTQ4NiwgQ3VsdHVyZT1uZXV0cmFsLCBQdWJsaWNLZXlUb2tlbj0xNmZjMTNhMjI2YzBlOTUxXV0DAAAABl9pdGVtcwVfc2l6ZQhfdmVyc2lvbgQAABtBcGxvcmlzLkNoYXJ0LkRlbHRhQnJpZGdlW10CAAAACAgJ3gAAAAAAAAAAAAAAAVgAAAAlAAAACdkAAAAAAAAAAAAAAAFZAAAAJgAAAAnXAAAAAAAAAAAAAAAEWgAAAJMBU3lzdGVtLkNvbGxlY3Rpb25zLkdlbmVyaWMuTGlzdGAxW1tBcGxvcmlzLkNoYXJ0Lkdyb3d0aEFycm93LCBBcGxvcmlzLkNoYXJ0LCBWZXJzaW9uPTQuMC4wLjE0ODYsIEN1bHR1cmU9bmV1dHJhbCwgUHVibGljS2V5VG9rZW49MTZmYzEzYTIyNmMwZTk1MV1dAwAAAAZfaXRlbXMFX3NpemUIX3ZlcnNpb24EAAAbQXBsb3Jpcy5DaGFydC5Hcm93dGhBcnJvd1tdAgAAAAgICd8AAAAAAAAAAAAAAAFbAAAAJQAAAAnZAAAAAAAAAAAAAAABXAAAACYAAAAJ1wAAAAAAAAAAAAAABF0AAACaAVN5c3RlbS5Db2xsZWN0aW9ucy5HZW5lcmljLkxpc3RgMVtbQXBsb3Jpcy5DaGFydC5XYXRlcmZhbGxDb25uZWN0b3IsIEFwbG9yaXMuQ2hhcnQsIFZlcnNpb249NC4wLjAuMTQ4NiwgQ3VsdHVyZT1uZXV0cmFsLCBQdWJsaWNLZXlUb2tlbj0xNmZjMTNhMjI2YzBlOTUxXV0DAAAABl9pdGVtcwVfc2l6ZQhfdmVyc2lvbgQAACJBcGxvcmlzLkNoYXJ0LldhdGVyZmFsbENvbm5lY3RvcltdAgAAAAgICeAAAAAAAAAAAAAAAAFeAAAAJQAAAAnZAAAAAAAAAAAAAAABXwAAACYAAAAJ1wAAAAAAAAAAAAAABGAAAACYAVN5c3RlbS5Db2xsZWN0aW9ucy5HZW5lcmljLkxpc3RgMVtbQXBsb3Jpcy5DaGFydC5FbGVtZW50Q29ubmVjdG9yLCBBcGxvcmlzLkNoYXJ0LCBWZXJzaW9uPTQuMC4wLjE0ODYsIEN1bHR1cmU9bmV1dHJhbCwgUHVibGljS2V5VG9rZW49MTZmYzEzYTIyNmMwZTk1MV1dAwAAAAZfaXRlbXMFX3NpemUIX3ZlcnNpb24EAAAgQXBsb3Jpcy5DaGFydC5FbGVtZW50Q29ubmVjdG9yW10CAAAACAgJ4QAAAAAAAAAAAAAAAWEAAAAlAAAACdkAAAAAAAAAAAAAAAFiAAAAJgAAAAnXAAAAAAAAAAAAAAAFYwAAAK0BQXBsb3Jpcy5CYXNlLk9iamVjdHMuRGF0YU9iamVjdENvbGxlY3Rpb25gMVtbQXBsb3Jpcy5DaGFydC5Db2x1bW5PcmllbnRlZExlZ2VuZE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rAUFwbG9yaXMuQmFzZS5PYmplY3RzLlNvcnRhYmxlQ29sbGVjdGlvbmAxW1tBcGxvcmlzLkNoYXJ0LkNvbHVtbk9yaWVudGVkTGVnZW5kRWxlbWVudCwgQXBsb3Jpcy5DaGFydCwgVmVyc2lvbj00LjAuMC4xNDg2LCBDdWx0dXJlPW5ldXRyYWwsIFB1YmxpY0tleVRva2VuPTE2ZmMxM2EyMjZjMGU5NTFdXQMAAACjAVN5c3RlbS5Db2xsZWN0aW9ucy5HZW5lcmljLkxpc3RgMVtbQXBsb3Jpcy5DaGFydC5Db2x1bW5PcmllbnRlZExlZ2VuZE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4gAAAAnjAAAACRQAAAAJAQAAAAnkAAAAAWUAAAAcAAAAAeUAAAAhAAAArANGQqOLmkMB5gAAACEAAADDnXpDowunQwnnAAAACegAAAAAAAAACgHpAAAAcgAAAAAAAAAAAAAAAeoAAAByAAAAAAAAAAAAAAAAAAAAAesAAAAVAAAAAAAAAAAAAAAAAAAAAAAAAKQBAAD/////AQEKCewAAAABAAoAAWYAAAAlAAAACe0AAAABAAAAAQAAAAFnAAAAJgAAAAnuAAAAAQAAAAEAAAAFcA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nvAAAACfAAAAABAAAA/v///wEAAAABAAAAAQAAAAEAAAABAAAAAQAAAAAAAQVx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fEAAAAJ8gAAAAEAAAAAAAAAAAAAAAAAAAAAAQV1AAAAH0FwbG9yaXMuQmFzZS5PYmplY3RzLlBlcnNJZERhdGECAAAAA21JZAttQ3VzdG9tRGF0YQcCCAMAAAAJ8wAAAAoFeAAAABpBcGxvcmlzLkJhc2UuT2JqZWN0cy5Db2xvcgcAAAASRGF0YU9iamVjdCttUGFyZW50FURhdGFPYmplY3QrbUNvbnRhaW5lcgVtVHlwZQRtUkdCEG1UaGVtZUNvbG9ySW5kZXgMbUF1dG9VcGRhdGVkCW1Nb2RpZmllZAICAAAAAAAICAgBAQMAAAAKCgAAAAAAAAAADQAAAAABAXkAAAB4AAAACgoBAAAAAAAAAP////8AAQeLAAAAAAEAAAAQAAAABB9BcGxvcmlzLkJhc2UuT2JqZWN0cy5EYXRhT2JqZWN0AwAAAAkJAAAACQoAAAAJCwAAAAkMAAAACRAAAAAJEQAAAAkNAAAACQ4AAAAJDwAAAAkHAAAACQYAAAAJGAAAAAkUAAAADQMHjAAAAAABAAAABAAAAAQcQXBsb3Jpcy5CYXNlLlVJLlZpc3VhbE9iamVjdAMAAAAJHAAAAA0DBI0AAACRAVN5c3RlbS5Db2xsZWN0aW9ucy5HZW5lcmljLkxpc3RgMVtbQXBsb3Jpcy5DaGFydC5WYWx1ZUxpbmUsIEFwbG9yaXMuQ2hhcnQsIFZlcnNpb249NC4wLjAuMTQ4NiwgQ3VsdHVyZT1uZXV0cmFsLCBQdWJsaWNLZXlUb2tlbj0xNmZjMTNhMjI2YzBlOTUxXV0DAAAABl9pdGVtcwVfc2l6ZQhfdmVyc2lvbgQAABlBcGxvcmlzLkNoYXJ0LlZhbHVlTGluZVtdAgAAAAgICfQAAAAAAAAAAAAAAAGOAAAAJQAAAAnZAAAAAAAAAAAAAAABjwAAACYAAAAJ1wAAAAAAAAAAAAAABJAAAACRAVN5c3RlbS5Db2xsZWN0aW9ucy5HZW5lcmljLkxpc3RgMVtbQXBsb3Jpcy5DaGFydC5BeGlzQnJlYWssIEFwbG9yaXMuQ2hhcnQsIFZlcnNpb249NC4wLjAuMTQ4NiwgQ3VsdHVyZT1uZXV0cmFsLCBQdWJsaWNLZXlUb2tlbj0xNmZjMTNhMjI2YzBlOTUxXV0DAAAABl9pdGVtcwVfc2l6ZQhfdmVyc2lvbgQAABlBcGxvcmlzLkNoYXJ0LkF4aXNCcmVha1tdAgAAAAgICfUAAAAAAAAAAAAAAAGRAAAAJQAAAAnZAAAAAAAAAAAAAAABkgAAACYAAAAJ1wAAAAAAAAAAAAAABJQAAACQAVN5c3RlbS5Db2xsZWN0aW9ucy5HZW5lcmljLkxpc3RgMVtbQXBsb3Jpcy5DaGFydC5UaWNrTWFyaywgQXBsb3Jpcy5DaGFydCwgVmVyc2lvbj00LjAuMC4xNDg2LCBDdWx0dXJlPW5ldXRyYWwsIFB1YmxpY0tleVRva2VuPTE2ZmMxM2EyMjZjMGU5NTFdXQMAAAAGX2l0ZW1zBV9zaXplCF92ZXJzaW9uBAAAGEFwbG9yaXMuQ2hhcnQuVGlja01hcmtbXQIAAAAICAn2AAAAAAAAAAAAAAABlQAAACUAAAAJ2QAAAAAAAAAAAAAAAZYAAAAmAAAACdcAAAAAAAAAAAAAAAGZAAAAcAAAAAoKAAAAQD8J9wAAAAn4AAAAAQAAAP7///8AAAAAAQAAAAAAAAAAAAAAAQAAAAAAAAAAAAABmgAAAHUAAAAJ+QAAAAoFpw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gAAAAoAAAAAAEBBCXYAAAAJdwAAAAn6AAAAAQAJ+wAAAAGoAAAAeAAAAAoKAQAAAAAAAAD/////AAEErQAAAJYBU3lzdGVtLkNvbGxlY3Rpb25zLkdlbmVyaWMuTGlzdGAxW1tBcGxvcmlzLkJhc2UuT2JqZWN0cy5WYXJpYWJsZSwgQXBsb3Jpcy5CYXNlLCBWZXJzaW9uPTQuMC4wLjE0ODYsIEN1bHR1cmU9bmV1dHJhbCwgUHVibGljS2V5VG9rZW49MTZmYzEzYTIyNmMwZTk1MV1dAwAAAAZfaXRlbXMFX3NpemUIX3ZlcnNpb24EAAAfQXBsb3Jpcy5CYXNlLk9iamVjdHMuVmFyaWFibGVbXQMAAAAICAn8AAAAAAAAAAAAAAABrgAAAHUAAAAJ/QAAAAoHrwAAAAABAAAACAAAAAQfQXBsb3Jpcy5CYXNlLk9iamVjdHMuRGF0YU9iamVjdAMAAAAJKgAAAAkrAAAACSwAAAAJLQAAAAkoAAAACSkAAAAKCgewAAAAAAEAAAAEAAAABBxBcGxvcmlzLkJhc2UuVUkuVmlzdWFsT2JqZWN0AwAAAAkwAAAACTQAAAAKCgGxAAAAjQAAAAn0AAAAAAAAAAAAAAABsgAAACUAAAAJ2QAAAAAAAAAAAAAAAbMAAAAmAAAACdcAAAAAAAAAAAAAAAG0AAAAkAAAAAn1AAAAAAAAAAAAAAABtQAAACUAAAAJ2QAAAAAAAAAAAAAAAbYAAAAmAAAACdcAAAAAAAAAAAAAAAG4AAAAlAAAAAn+AAAACwAAACEAAAABuQAAACUAAAAJ/wAAAAsAAAAhAAAAAboAAAAmAAAACdcAAAAAAAAAAAAAAAG9AAAAcAAAAAoKAAAAQD8JAAEAAAkBAQAAAQAAAP7///8AAAAAAQAAAAAAAAAAAAAAAQAAAAAAAAAAAAABvgAAAHUAAAAJAgEAAAoFyw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wAAAAoAAAAAAEBBCXYAAAAJdwAAAAkDAQAAAQAJBAEAAAHMAAAAeAAAAAoKAQAAAAAAAAD/////AAEB0QAAAK0AAAAJ/AAAAAAAAAAAAAAAAdIAAAB1AAAACQUBAAAKB9MAAAAAAQAAAAgAAAAEH0FwbG9yaXMuQmFzZS5PYmplY3RzLkRhdGFPYmplY3QDAAAACToAAAAJOwAAAAk8AAAACT0AAAAJOAAAAAk5AAAACQYBAAAKB9QAAAAAAQAAAAQAAAAEHEFwbG9yaXMuQmFzZS5VSS5WaXN1YWxPYmplY3QDAAAACUAAAAAJRAAAAAoKB9UAAAAAAQAAACAAAAAEHUFwbG9yaXMuQ2hhcnQuQ2hhcnREYXRhU2VyaWVzAgAAAAkHAQAACQgBAAAJCQEAAA0dB9YAAAAAAQAAACAAAAAEH0FwbG9yaXMuQmFzZS5PYmplY3RzLkRhdGFPYmplY3QDAAAACQkBAAAJCAEAAAkHAQAADR0H1wAAAAABAAAAAAAAAAQcQXBsb3Jpcy5CYXNlLlVJLlZpc3VhbE9iamVjdAMAAAAH2AAAAAABAAAAAAAAAAQiQXBsb3Jpcy5DaGFydC5Bbm5vdGF0aW9uRGF0YVNlcmllcwIAAAAH2QAAAAABAAAAAAAAAAQfQXBsb3Jpcy5CYXNlLk9iamVjdHMuRGF0YU9iamVjdAMAAAAH2gAAAAABAAAAAAAAAAQdQXBsb3Jpcy5DaGFydC5Bbm5vdGF0aW9uR3JvdXACAAAAB9sAAAAAAQAAABAAAAAEHEFwbG9yaXMuQ2hhcnQuQ2hhcnREYXRhR3JvdXACAAAACQoBAAAJCwEAAAkMAQAACQ0BAAANDAfcAAAAAAEAAAAQAAAABB9BcGxvcmlzLkJhc2UuT2JqZWN0cy5EYXRhT2JqZWN0AwAAAAkMAQAACQsBAAAJCgEAAAkNAQAADQwH3QAAAAABAAAAAAAAAAQWQXBsb3Jpcy5DaGFydC5EZWx0YUJhcgIAAAAH3gAAAAABAAAAAAAAAAQZQXBsb3Jpcy5DaGFydC5EZWx0YUJyaWRnZQIAAAAH3wAAAAABAAAAAAAAAAQZQXBsb3Jpcy5DaGFydC5Hcm93dGhBcnJvdwIAAAAH4AAAAAABAAAAAAAAAAQgQXBsb3Jpcy5DaGFydC5XYXRlcmZhbGxDb25uZWN0b3ICAAAAB+EAAAAAAQAAAAAAAAAEHkFwbG9yaXMuQ2hhcnQuRWxlbWVudENvbm5lY3RvcgIAAAAE4gAAAKMBU3lzdGVtLkNvbGxlY3Rpb25zLkdlbmVyaWMuTGlzdGAxW1tBcGxvcmlzLkNoYXJ0LkNvbHVtbk9yaWVudGVkTGVnZW5kRWxlbWVudCwgQXBsb3Jpcy5DaGFydCwgVmVyc2lvbj00LjAuMC4xNDg2LCBDdWx0dXJlPW5ldXRyYWwsIFB1YmxpY0tleVRva2VuPTE2ZmMxM2EyMjZjMGU5NTFdXQMAAAAGX2l0ZW1zBV9zaXplCF92ZXJzaW9uBAAAK0FwbG9yaXMuQ2hhcnQuQ29sdW1uT3JpZW50ZWRMZWdlbmRFbGVtZW50W10CAAAACAgJDgEAAAMAAABSAAAAAeMAAAAlAAAACQ8BAAADAAAAAwAAAAHkAAAAJgAAAAkQAQAAAAAAAAAAAAAB5wAAAHAAAAAKCgAAAAAACREBAAAJEgEAAAEAAAD+////AQAAAAEAAAABAAAAAQAAAAEAAAABAAAAAAABAegAAABxAAAACgoJEwEAAAkUAQAAAQAAAAAAAAAAAAAAAAAAAAABAewAAAB1AAAACRUBAAAKB+0AAAAAAQAAAAQAAAAEH0FwbG9yaXMuQmFzZS5PYmplY3RzLkRhdGFPYmplY3QDAAAACWMAAAANAwfuAAAAAAEAAAAEAAAABBxBcGxvcmlzLkJhc2UuVUkuVmlzdWFsT2JqZWN0AwAAAAllAAAADQMB7wAAAHgAAAAKCgAAAAAAAAAADQAAAAABAfAAAAB4AAAACgoBAAAAAAAAAP////8AAQHxAAAAeAAAAAoKAQAAAP///wD/////AAEB8gAAAHgAAAAKCgEAAAAAAAAA/////wABD/MAAAABAAAACAAAAAAH9AAAAAABAAAAAAAAAAQXQXBsb3Jpcy5DaGFydC5WYWx1ZUxpbmUCAAAAB/UAAAAAAQAAAAAAAAAEF0FwbG9yaXMuQ2hhcnQuQXhpc0JyZWFrAgAAAAf2AAAAAAEAAAAAAAAABBZBcGxvcmlzLkNoYXJ0LlRpY2tNYXJrAgAAAAX3AAAAGkFwbG9yaXMuQmFzZS5PYmplY3RzLkNvbG9yBwAAABJEYXRhT2JqZWN0K21QYXJlbnQVRGF0YU9iamVjdCttQ29udGFpbmVyBW1UeXBlBG1SR0IQbVRoZW1lQ29sb3JJbmRleAxtQXV0b1VwZGF0ZWQJbU1vZGlmaWVkBAIAAAAAAB9BcGxvcmlzLkJhc2UuT2JqZWN0cy5MaW5lRm9ybWF0AwAAAAgICAEBAwAAAAmZAAAACgAAAAAAAAAADQAAAAAABfgAAAAaQXBsb3Jpcy5CYXNlLk9iamVjdHMuQ29sb3IHAAAAEkRhdGFPYmplY3QrbVBhcmVudBVEYXRhT2JqZWN0K21Db250YWluZXIFbVR5cGUEbVJHQhBtVGhlbWVDb2xvckluZGV4DG1BdXRvVXBkYXRlZAltTW9kaWZpZWQEAgAAAAAAH0FwbG9yaXMuQmFzZS5PYmplY3RzLkxpbmVGb3JtYXQDAAAACAgIAQEDAAAACZkAAAAKAQAAAAAAAAD/////AAEP+QAAAAEAAAAIpAMAAAH6AAAAeAAAAAoKAAAAAAAAAAANAAAAAAEB+wAAAHgAAAAKCgEAAAAAAAAA/////wABB/wAAAAAAQAAAAAAAAAEHUFwbG9yaXMuQmFzZS5PYmplY3RzLlZhcmlhYmxlAwAAAA/9AAAAAQAAAAgAAAAAB/4AAAAAAQAAABAAAAAEFkFwbG9yaXMuQ2hhcnQuVGlja01hcmsCAAAACRYBAAAJFwEAAAkYAQAACRkBAAAJGgEAAAkbAQAACRwBAAAJHQEAAAkeAQAACR8BAAAJIAEAAA0FB/8AAAAAAQAAABAAAAAEH0FwbG9yaXMuQmFzZS5PYmplY3RzLkRhdGFPYmplY3QDAAAACRYBAAAJFwEAAAkYAQAACRkBAAAJGgEAAAkbAQAACRwBAAAJHQEAAAkeAQAACR8BAAAJIAEAAA0FBQABAAAaQXBsb3Jpcy5CYXNlLk9iamVjdHMuQ29sb3IHAAAAEkRhdGFPYmplY3QrbVBhcmVudBVEYXRhT2JqZWN0K21Db250YWluZXIFbVR5cGUEbVJHQhBtVGhlbWVDb2xvckluZGV4DG1BdXRvVXBkYXRlZAltTW9kaWZpZWQEAgAAAAAAH0FwbG9yaXMuQmFzZS5PYmplY3RzLkxpbmVGb3JtYXQDAAAACAgIAQEDAAAACb0AAAAKAAAAAAAAAAANAAAAAAAFAQEAABpBcGxvcmlzLkJhc2UuT2JqZWN0cy5Db2xvcgcAAAASRGF0YU9iamVjdCttUGFyZW50FURhdGFPYmplY3QrbUNvbnRhaW5lcgVtVHlwZQRtUkdCEG1UaGVtZUNvbG9ySW5kZXgMbUF1dG9VcGRhdGVkCW1Nb2RpZmllZAQCAAAAAAAfQXBsb3Jpcy5CYXNlLk9iamVjdHMuTGluZUZvcm1hdAMAAAAICAgBAQMAAAAJvQAAAAoBAAAAAAAAAP////8AAQ8CAQAAAQAAAAilAwAAAQMBAAB4AAAACgoAAAAAAAAAAA0AAAAAAQEEAQAAeAAAAAoKAQAAAAAAAAD/////AAEPBQEAAAEAAAAIAAAAAAUGAQ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oAAAAAwAAAAlpAAAACWoAAAAJawAAAAEAAAAACgmTAAAACWwAAAABAAAACgAAAAAAAAAABQcBAAAdQXBsb3Jpcy5DaGFydC5DaGFydERhdGFTZXJpZXMcAAAABm1DaGFydAttU2VyaWVzVHlwZQltRXhjZWxSb3cKbUV4Y2VsUm93MgVtQXhpcw1tRGF0YUVsZW1lbnRzEm1TZXJpZXNEZXNjcmlwdGlvbhNtU2VyaWVzRGVzY3JpcHRpb24yCm1TdGFja2VkT24MbUN1c3RvbVdpZHRoD21DdXN0b21Qb3NpdGlvbg1tQ3VzdG9tWk9yZGVyCW1Qb2x5bGluZQhtUG9seWdvbhRtUmVzdG9yZUxhYmVsVmlzaWJsZQZtTGFiZWwPbUxhYmVsUG9zaXRpb25zEW1MYWJlbEFuY2hvck1vZGVzDm1MYWJlbFBvc2l0aW9uC21TbW9vdGhMaW5lDm1TYW1lVHlwZUluZGV4DG1CYXJQb3NpdGlvbhZtTGVnZW5kVXBkYXRlU3VzcGVuZGVkFG1QZW5kaW5nTGVnZW5kVXBkYXRlGERhdGFPYmplY3QrbUNoaWxkT2JqZWN0cxJEYXRhT2JqZWN0K21QYXJlbnQVRGF0YU9iamVjdCttQ29udGFpbmVyGURhdGFPYmplY3QrbVZpc3VhbE9iamVjdHMEBAAABAQBAQQAAAAEBAAEBAQAAAAAAAADBAQDIUFwbG9yaXMuQ2hhcnQuQ29sdW1uT3JpZW50ZWRDaGFydAIAAAAYQXBsb3Jpcy5DaGFydC5TZXJpZXNUeXBlAgAAAAgIJUFwbG9yaXMuQ2hhcnQuQ29sdW1uT3JpZW50ZWRDaGFydEF4aXMCAAAAogFBcGxvcmlzLkJhc2UuT2JqZWN0cy5EYXRhT2JqZWN0Q29sbGVjdGlvbmAxW1tBcGxvcmlzLkNoYXJ0LkNoYXJ0RGF0YUVsZW1lbnQsIEFwbG9yaXMuQ2hhcnQsIFZlcnNpb249NC4wLjAuMTQ4NiwgQ3VsdHVyZT1uZXV0cmFsLCBQdWJsaWNLZXlUb2tlbj0xNmZjMTNhMjI2YzBlOTUxXV0DAAAAHUFwbG9yaXMuQ2hhcnQuQ2hhcnREYXRhU2VyaWVzAgAAAAsLCB5BcGxvcmlzLkJhc2UuVUkuVmlzdWFsUG9seWxpbmUDAAAAHUFwbG9yaXMuQmFzZS5VSS5WaXN1YWxQb2x5Z29uAwAAAAEcQXBsb3Jpcy5DaGFydC5Db25uZWN0ZWRMYWJlbAIAAAAXU3lzdGVtLkRyYXdpbmcuUG9pbnRGW10EAAAAGUFwbG9yaXMuQmFzZS5BbmNob3JNb2RlW10DAAAACAEICAg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EhAQAAEwAAAAAAAAACAAAA/////wkHAAAACSIBAAAGIwEAAAVBZ3JlZQoKAAAAAAAAAAAAAAAACgoACSQBAAAJJQEAAAkmAQAAAAAAAAAAAAAAAAAAAAAAAAAACScBAAAJAQAAAAkBAAAACSgBAAABCAEAAAcBAAAJAQAAAAEpAQAAEwAAAAAAAAADAAAA/////wkHAAAACSoBAAAGKwEAAAdOZXV0cmFsCgoAAAAAAAAAAAAAAAAKCgAJLAEAAAktAQAACS4BAAAAAAAAAAEAAAAAAAAAAAAAAAAJLwEAAAkBAAAACQEAAAAJMAEAAAEJAQAABwEAAAkBAAAAATEBAAATAAAAAAAAAAQAAAD/////CQcAAAAJMgEAAAYzAQAACERpc2FncmVlCgoAAAAAAAAAAAAAAAAKCgAJNAEAAAk1AQAACTYBAAAAAAAAAAIAAAAAAAAAAAAAAAAJNwEAAAkBAAAACQEAAAAJOAEAAAUKAQAAHEFwbG9yaXMuQ2hhcnQuQ2hhcnREYXRhR3JvdXARAAAABm1DaGFydBFtR3JvdXBEZXNjcmlwdGlvbgdtSGlkZGVuDG1Hcm91cEFuY2hvcgptQ3VzdG9tU3VtE21QbGFjZWhvbGRlcnNCZWZvcmUQbVRvdGFsTGFiZWxDb3VudAltQmFyQ291bnQTbUxhYmVsQmFyUmVmZXJlbmNlcwxtVG90YWxMYWJlbHMObUNhdGVnb3J5TGFiZWwQbUFubm90YXRpb25Hcm91cBJtTWFnbml0dWRlUHJvdmlkZXIYRGF0YU9iamVjdCttQ2hpbGRPYmplY3RzEkRhdGFPYmplY3QrbVBhcmVudBVEYXRhT2JqZWN0K21Db250YWluZXIZRGF0YU9iamVjdCttVmlzdWFsT2JqZWN0cwQCAAQCAAAABwQEBAQDBAQDIUFwbG9yaXMuQ2hhcnQuQ29sdW1uT3JpZW50ZWRDaGFydAIAAAABHkFwbG9yaXMuQ2hhcnQuQ2hhcnRHcm91cEFuY2hvcgIAAAAICAgIF0FwbG9yaXMuQmFzZS5VSS5MYWJlbFtdAwAAABVBcGxvcmlzLkJhc2UuVUkuTGFiZWwDAAAAHUFwbG9yaXMuQ2hhcnQuQW5ub3RhdGlvbkdyb3VwAgAAACBBcGxvcmlzLkNoYXJ0LklNYWduaXR1ZGVQcm92aWRlcgIAAAC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jkBAAATRXF1aXBwZWQgTmF2aWdhdG9ycwAFOgEAAB5BcGxvcmlzLkNoYXJ0LkNoYXJ0R3JvdXBBbmNob3IBAAAAB3ZhbHVlX18ACAIAAAAAAAAACgAAAAABAAAAAQAAAAk7AQAACTwBAAAJPQEAAAoJBwAAAAk+AQAACQEAAAAJAQAAAAk/AQAAAQsBAAAKAQAACQEAAAAGQAEAAAlMb3cgRnVlbHMAAUEBAAA6AQAAAAAAAAoAAAAAAQAAAAEAAAAJQgEAAAlDAQAACUQBAAAKCQcAAAAJRQEAAAkBAAAACQEAAAAJRgEAAAEMAQAACgEAAAkBAAAABkcBAAANQ2hlY2sgRW5naW5lcwABSAEAADoBAAAAAAAACgAAAAABAAAAAQAAAAlJAQAACUoBAAAJSwEAAAoJBwAAAAlMAQAACQEAAAAJAQAAAAlNAQAAAQ0BAAAKAQAACQEAAAAGTgEAABhMaW1pdGVkIFRlY2hub2xvZ3kgVXNlcnMAAU8BAAA6AQAAAAAAAAoAAAAAAQAAAAEAAAAJUAEAAAlRAQAACVIBAAAKCQcAAAAJUwEAAAkBAAAACQEAAAAJVAEAAAcOAQAAAAEAAAAEAAAABClBcGxvcmlzLkNoYXJ0LkNvbHVtbk9yaWVudGVkTGVnZW5kRWxlbWVudAIAAAAJVQEAAAlWAQAACVcBAAAKBw8BAAAAAQAAAAQAAAAEH0FwbG9yaXMuQmFzZS5PYmplY3RzLkRhdGFPYmplY3QDAAAACVUBAAAJVgEAAAlXAQAACgcQAQAAAAEAAAAAAAAABBxBcGxvcmlzLkJhc2UuVUkuVmlzdWFsT2JqZWN0AwAAAAERAQAAeAAAAAoKAAAAAAAAAAANAAAAAAEBEgEAAHgAAAAKCgEAAAAAAAAA/////wABARMBAAB4AAAACgoBAAAA////AP////8AAQEUAQAAeAAAAAoKAQAAAAAAAAD/////AAEPFQEAAAEAAAAIAAAAAAUWAQAAFkFwbG9yaXMuQ2hhcnQuVGlja01hcmsNAAAAC21WaXN1YWxMaW5lCW1HcmlkTGluZQZtTGFiZWwFbUF4aXMIbVZpc2libGUJbVBvc2l0aW9uC21TdGFydFBvaW50CW1FbmRQb2ludAxtSGFzR3JpZExpbmUYRGF0YU9iamVjdCttQ2hpbGRPYmplY3RzEkRhdGFPYmplY3QrbVBhcmVudBVEYXRhT2JqZWN0K21Db250YWluZXIZRGF0YU9iamVjdCttVmlzdWFsT2JqZWN0cwQEBAQAAAQEAAMEBAMaQXBsb3Jpcy5CYXNlLlVJLlZpc3VhbExpbmUDAAAAGkFwbG9yaXMuQmFzZS5VSS5WaXN1YWxMaW5lAwAAABVBcGxvcmlzLkJhc2UuVUkuTGFiZWwDAAAAEkFwbG9yaXMuQ2hhcnQuQXhpcwIAAAABBhVTeXN0ZW0uRHJhd2luZy5Qb2ludEYEAAAAFVN5c3RlbS5EcmF3aW5nLlBvaW50RgQAAAA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WAEAAAoJWQEAAAkHAAAAAQAAAAAAAAAAAVoBAAAhAAAAloQ8QtqHjkMBWwEAACEAAACWhCxC2oeOQwAJXAEAAAkHAAAACQEAAAAJXQEAAAEXAQAAFgEAAAleAQAACglfAQAACQcAAAABmpmZmZmZuT8BYAEAACEAAACWhDxCOhuBQwFhAQAAIQAAAJaELEI6G4FDAAliAQAACQcAAAAJAQAAAAljAQAAARgBAAAWAQAACWQBAAAKCWUBAAAJBwAAAAGamZmZmZnJPwFmAQAAIQAAAJaEPEI0XWdDAWcBAAAhAAAAloQsQjRdZ0MACWgBAAAJBwAAAAkBAAAACWkBAAABGQEAABYBAAAJagEAAAoJawEAAAkHAAAAATMzMzMzM9M/AWwBAAAhAAAAloQ8QvWDTEMBbQEAACEAAACWhCxC9YNMQwAJbgEAAAkHAAAACQEAAAAJbwEAAAEaAQAAFgEAAAlwAQAACglxAQAACQcAAAABmpmZmZmZ2T8BcgEAACEAAACWhDxCtaoxQwFzAQAAIQAAAJaELEK1qjFDAAl0AQAACQcAAAAJAQAAAAl1AQAAARsBAAAWAQAACXYBAAAKCXcBAAAJBwAAAAEAAAAAAADgPwF4AQAAIQAAAJaEPEJ10RZDAXkBAAAhAAAAloQsQnXRFkMACXoBAAAJBwAAAAkBAAAACXsBAAABHAEAABYBAAAJfAEAAAoJfQEAAAkHAAAAATMzMzMzM+M/AX4BAAAhAAAAloQ8Qmrw90IBfwEAACEAAACWhCxCavD3QgAJgAEAAAkHAAAACQEAAAAJgQEAAAEdAQAAFgEAAAmCAQAACgmDAQAACQcAAAABZmZmZmZm5j8BhAEAACEAAACWhDxC6z3CQgGFAQAAIQAAAJaELELrPcJCAAmGAQAACQcAAAAJAQAAAAmHAQAAAR4BAAAWAQAACYgBAAAKCYkBAAAJBwAAAAGamZmZmZnpPwGKAQAAIQAAAJaEPEJri4xCAYsBAAAhAAAAloQsQmuLjEIACYwBAAAJBwAAAAkBAAAACY0BAAABHwEAABYBAAAJjgEAAAoJjwEAAAkHAAAAAc3MzMzMzOw/AZABAAAhAAAAloQ8QtexLUIBkQEAACEAAACWhCxC17EtQgAJkgEAAAkHAAAACQEAAAAJkwEAAAEgAQAAFgEAAAmUAQAACgmVAQAACQcAAAABAAAAAAAA8D8BlgEAACEAAACWhDxCr5mEQQGXAQAAIQAAAJaELEKvmYRBAAmYAQAACQcAAAAJAQAAAAmZAQAABSIBAACiAUFwbG9yaXMuQmFzZS5PYmplY3RzLkRhdGFPYmplY3RDb2xsZWN0aW9uYDFbW0FwbG9yaXMuQ2hhcnQuQ2hhcnREYXRhRWxlbWVudCwgQXBsb3Jpcy5DaGFydCwgVmVyc2lvbj00LjAuMC4xNDg2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Q2hhcnREYXRhRWxlbWVudCwgQXBsb3Jpcy5DaGFydCwgVmVyc2lvbj00LjAuMC4xNDg2LCBDdWx0dXJlPW5ldXRyYWwsIFB1YmxpY0tleVRva2VuPTE2ZmMxM2EyMjZjMGU5NTFdXQMAAACYAVN5c3RlbS5Db2xsZWN0aW9ucy5HZW5lcmljLkxpc3RgMVtbQXBsb3Jpcy5DaGFydC5DaGFydERhdGF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oBAAAJmwEAAAkHAQAACQEAAAAJnAEAAAUkAQAAHEFwbG9yaXMuQ2hhcnQuQ29ubmVjdGVkTGFiZWwkAAAADm1Db25uZWN0b3JMaW5lEG1aT3JkZXJDb25uZWN0b3IObUNvbm5lY3Rvck1vZGUZbUFuZ2xlZENvbm5lY3RvckRpcmVjdGlvbhBtQ29ubmVjdG9yVGFyZ2V0GW1Db25uZWN0b3JUYXJnZXRBcmVhU2hhcGUabUNvbm5lY3RvckRpc3BsYXlUaHJlc2hvbGQTbUNvbm5lY3RBbmNob3JQb2ludB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RMYWJlbCttTGluZUFsaWdubWVudA9MYWJlbCttVGV4dFNpemUVTGFiZWwrbUxhYmVsUmVjdGFuZ2xlG0xhYmVsK21Jbm5lck1hcmdpbkxlZnRSaWdodAtMYWJlbCttVGV4dBBMYWJlbCttVmFyaWFibGVzE0xhYmVsK21WYXJpYWJsZUxpc3QUTGFiZWwr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EBAQEAAAEBAAAAAQABAAABAQEAAEDAwEAAAAABwIAAAMAHkFwbG9yaXMuQmFzZS5VSS5WaXN1YWxQb2x5bGluZQMAAAAIK0FwbG9yaXMuQ2hhcnQuQ29ubmVjdGVkTGFiZWwrZUNvbm5lY3Rvck1vZGUCAAAANkFwbG9yaXMuQ2hhcnQuQ29ubmVjdGVkTGFiZWwrZUFuZ2xlZENvbm5lY3RvckRpcmVjdGlvbgIAAAAZU3lzdGVtLkRyYXdpbmcuUmVjdGFuZ2xlRgQAAAAtQXBsb3Jpcy5DaGFydC5Db25uZWN0ZWRMYWJlbCtlVGFyZ2V0QXJlYVNoYXBlAgAAAAsB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IAAAAKWAIAAAWdAQAAK0FwbG9yaXMuQ2hhcnQuQ29ubmVjdGVkTGFiZWwrZUNvbm5lY3Rvck1vZGUBAAAAB3ZhbHVlX18ACAIAAAABAAAABZ4BAAA2QXBsb3Jpcy5DaGFydC5Db25uZWN0ZWRMYWJlbCtlQW5nbGVkQ29ubmVjdG9yRGlyZWN0aW9uAQAAAAd2YWx1ZV9fAAgCAAAAAAAAAAGfAQAAFQAAAPgw/UONYIJDQOymQtB0qkEFoAEAAC1BcGxvcmlzLkNoYXJ0LkNvbm5lY3RlZExhYmVsK2VUYXJnZXRBcmVhU2hhcGUBAAAAB3ZhbHVlX18ACAIAAAAAAAAAAAAQQQEBoQEAACEAAAAEdhVENLSHQwGiAQAAoAAAAAQAAAAAAAAAAAAAAAAJowEAAAAAAAAJpAEAAAAAAaUBAACpAAAAAAAAAAGmAQAAcgAAAAAADEIAAGBBAacBAAAVAAAAAAAAAAAAAAAAAAAAAAAAAF662T8JIwEAAAoJqAEAAAapAQAAACADAAD/////AAEKCaoBAAABAAoAByUBAAAAAQAAAAIAAAAEFVN5c3RlbS5EcmF3aW5nLlBvaW50RgQAAAABqwEAACEAAAAEdhVENLSHQwGsAQAAIQAAAJaEKEISc15DByYBAAAAAQAAAAIAAAAEF0FwbG9yaXMuQmFzZS5BbmNob3JNb2RlAwAAAAGtAQAAoAAAAAQAAAABrgEAAKAAAAACAAAAAScBAAAlAAAACa8BAAABAAAAAQAAAAEoAQAAJgAAAAmwAQAAAQAAAAEAAAABKgEAACIBAAAKCbEBAAAJsgEAAAkIAQAACQEAAAAJswEAAAEsAQAAJAEAAApYAgAAAbQBAACdAQAAAQAAAAG1AQAAngEAAAAAAAABtgEAABUAAAD4MP1DBx3OQkDspkKWshdDAbcBAACgAQAAAAAAAAAAEEEBAbgBAAAhAAAABHYVRM/nMkMBuQEAAKAAAAAEAAAAAAAAAAAAAAAACboBAAAAAAAACbsBAAAAAAG8AQAAqQAAAAAAAAABvQEAAHIAAAAAAChCAABgQQG+AQAAFQAAAAAAAAAAAAAAAAAAAAAAAABeutk/CSsBAAAKCb8BAAAJqQEAACADAAD/////AAEKCcABAAABAAoABy0BAAAAAQAAAAIAAAAEFVN5c3RlbS5EcmF3aW5nLlBvaW50RgQAAAABwQEAACEAAAAEdhVEz+cyQwHCAQAAIQAAAJaEKEJUNbRCBy4BAAAAAQAAAAIAAAAEF0FwbG9yaXMuQmFzZS5BbmNob3JNb2RlAwAAAAHDAQAAoAAAAAQAAAABxAEAAKAAAAACAAAAAS8BAAAlAAAACcUBAAABAAAAAQAAAAEwAQAAJgAAAAnGAQAAAQAAAAEAAAABMgEAACIBAAAKCccBAAAJyAEAAAkJAQAACQEAAAAJyQEAAAE0AQAAJAEAAApYAgAAAcoBAACdAQAAAQAAAAHLAQAAngEAAAAAAAABzAEAABUAAAD4MP1Dr5mcQUDspkKb9ppCAc0BAACgAQAAAAAAAAAAEEEBAc4BAAAhAAAABHYVRHNDaUIBzwEAAKAAAAAEAAAAAAAAAAAAAAAACdABAAAAAAAACdEBAAAAAAHSAQAAqQAAAAAAAAAB0wEAAHIAAAAAAFBCAABgQQHUAQAAFQAAAAAAAAAAAAAAAAAAAAAAAABeutk/CTMBAAAKCdUBAAAJqQEAACADAAD/////AAEKCdYBAAABAAoABzUBAAAAAQAAAAIAAAAEFVN5c3RlbS5EcmF3aW5nLlBvaW50RgQAAAAB1wEAACEAAAAEdhVEc0NpQgHYAQAAIQAAAJaEKEJmyJNBBzYBAAAAAQAAAAIAAAAEF0FwbG9yaXMuQmFzZS5BbmNob3JNb2RlAwAAAAHZAQAAoAAAAAQAAAAB2gEAAKAAAAACAAAAATcBAAAlAAAACdsBAAABAAAAAQAAAAE4AQAAJgAAAAncAQAAAQAAAAEAAAAPOwEAAAEAAAAIAAAAAAc8AQAAAAEAAAABAAAABBVBcGxvcmlzLkJhc2UuVUkuTGFiZWwDAAAACd0BAAABPQEAADQAAAAB3gEAACEAAACuZe1C2geRQwHfAQAAoAAAAAMAAAAAAAAAAAAAAAAJ4AEAAAAAAAAJ4QEAAAAAAeIBAACpAAAAAAAAAAHjAQAAcgAAAAAA1kIAAEBBAeQBAAAVAAAAF12IQgAAkUO7f8hCo4suQRKDvj8JOQEAAAoJ5QEAAAmpAQAAIAMAAP////8BAQoJ5gEAAAEACgABPgEAACUAAAAJ5wEAAAAAAAAAAAAAAT8BAAAmAAAACegBAAACAAAAAgAAAA9CAQAAAQAAAAgAAAAAB0MBAAAAAQAAAAEAAAAEFUFwbG9yaXMuQmFzZS5VSS5MYWJlbAMAAAAJ6QEAAAFEAQAANAAAAAHqAQAAIQAAAB3rgkPaB5FDAesBAACgAAAAAwAAAAAAAAAAAAAAAAnsAQAAAAAAAAntAQAAAAAB7gEAAKkAAAAAAAAAAe8BAAByAAAAAABQQgAAQEEB8AEAABUAAAAXXWxDAACRQ3f/SEKjiy5BEoO+PwlAAQAACgnxAQAACakBAAAgAwAA/////wEBCgnyAQAAAQAKAAFFAQAAJQAAAAnzAQAAAAAAAAAAAAABRgEAACYAAAAJ9AEAAAIAAAAEAAAAD0kBAAABAAAACAAAAAAHSgEAAAABAAAAAQAAAAQVQXBsb3Jpcy5CYXNlLlVJLkxhYmVsAwAAAAn1AQAAAUsBAAA0AAAAAfYBAAAhAAAAznzKQ9oHkUMB9wEAAKAAAAADAAAAAAAAAAAAAAAACfgBAAAAAAAACfkBAAAAAAH6AQAAqQAAAAAAAAAB+wEAAHIAAAAAAJpCAABAQQH8AQAAFQAAAEYXuEMAAJFDGPSRQqOLLkESg74/CUcBAAAKCf0BAAAJqQEAACADAAD/////AQEKCf4BAAABAAoAAUwBAAAlAAAACf8BAAAAAAAAAAAAAAFNAQAAJgAAAAkAAgAAAgAAAAQAAAAPUAEAAAEAAAAIAAAAAAdRAQAAAAEAAAABAAAABBVBcGxvcmlzLkJhc2UuVUkuTGFiZWwDAAAACQECAAABUgEAADQAAAABAgIAACEAAABABwlE2geRQwEDAgAAoAAAAAMAAAAAAAAAAAAAAAAJBAIAAAAAAAAJBQIAAAAAAQYCAACpAAAAAAAAAAEHAgAAcgAAAAAABUMAAEBBAQgCAAAVAAAAiy7zQwAAkUONxfdCo4suQRKDvj8JTgEAAAoJCQIAAAmpAQAAIAMAAP////8BAQoJCgIAAAEACgABUwEAACUAAAAJCwIAAAAAAAAAAAAAAVQBAAAmAAAACQwCAAACAAAAAgAAAAVVAQAAKUFwbG9yaXMuQ2hhcnQuQ29sdW1uT3JpZW50ZWRMZWdlbmRFbGVtZW50DQAAAAdtTGVnZW5kC21EYXRhU2VyaWVzFExlZ2VuZEVsZW1lbnQrbUxhYmVsGExlZ2VuZEVsZW1lbnQrbVJlY3RhbmdsZRNMZWdlbmRFbGVtZW50K21MaW5lFUxlZ2VuZEVsZW1lbnQrbUNpcmNsZRVMZWdlbmRFbGVtZW50K21NYXJrZXIUTGVnZW5kRWxlbWVudCttSW5kZXgdTGVnZW5kRWxlbWVudCttTGFiZWxQb3NpdGlvbnMYRGF0YU9iamVjdCttQ2hpbGRPYmplY3RzEkRhdGFPYmplY3QrbVBhcmVudBVEYXRhT2JqZWN0K21Db250YWluZXIZRGF0YU9iamVjdCttVmlzdWFsT2JqZWN0cwQEBAQEBAQABAMEBAMiQXBsb3Jpcy5DaGFydC5Db2x1bW5PcmllbnRlZExlZ2VuZAIAAAAdQXBsb3Jpcy5DaGFydC5DaGFydERhdGFTZXJpZXMCAAAAFUFwbG9yaXMuQmFzZS5VSS5MYWJlbAMAAAAaQXBsb3Jpcy5CYXNlLlVJLlZpc3VhbFJlY3QDAAAAGkFwbG9yaXMuQmFzZS5VSS5WaXN1YWxMaW5lAwAAAB1BcGxvcmlzLkJhc2UuVUkuVmlzdWFsRWxsaXBzZQMAAAAaQXBsb3Jpcy5DaGFydC5WaXN1YWxNYXJrZXICAAAACBdTeXN0ZW0uRHJhd2luZy5Qb2ludEZbXQQAAAC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UAAAACQcBAAAJDQIAAAkOAgAACgoKAAAAAAoJDwIAAAkUAAAACQEAAAAJEAIAAAFWAQAAVQEAAAkUAAAACQgBAAAJEQIAAAkSAgAACgoKAQAAAAoJEwIAAAkUAAAACQEAAAAJFAIAAAFXAQAAVQEAAAkUAAAACQkBAAAJFQIAAAkWAgAACgoKAgAAAAoJFwIAAAkUAAAACQEAAAAJGAIAAAFYAQAAMAAAAAEZAgAAIQAAAJaEPELah45DARoCAAAhAAAAloQsQtqHjkMJGwIAAMwBAAD/////AQEKCRwCAAABAAoAAVkBAAA0AAAAAR0CAAAhAAAAloQmQtqHjkMBHgIAAKAAAAACAAAAAAAAAAAAAAAACR8CAAAAAAAACSACAAAAAAEhAgAAqQAAAAAAAAABIgIAAHIAAAAAAJhBAABgQQEjAgAAFQAAAHTRtUGji4tD2GWlQeiiS0Feutk/BiQCAAACMCUKCSUCAAAJqQEAANACAAD/////AQEKCSYCAAABAAoAAVwBAAAlAAAACdkAAAAAAAAAAAAAAAFdAQAAJgAAAAknAgAAAgAAAAIAAAABXgEAADAAAAABKAIAACEAAACWhDxCOhuBQwEpAgAAIQAAAJaELEI6G4FDCSoCAADMAQAA/////wEBCgkrAgAAAQAKAAFfAQAANAAAAAEsAgAAIQAAAJaEJkI6G4FDAS0CAACgAAAAAgAAAAAAAAAAAAAAAAkuAgAAAAAAAAkvAgAAAAABMAIAAKkAAAAAAAAAATECAAByAAAAAADQQQAAYEEBMgIAABUAAAC66IJBdNF7Q5JO2EHooktBXrrZPwYzAgAAAzEwJQoJNAIAAAmpAQAA0AIAAP////8BAQoJNQIAAAEACgABYgEAACUAAAAJ2QAAAAAAAAAAAAAAAWMBAAAmAAAACTYCAAACAAAAAgAAAAFkAQAAMAAAAAE3AgAAIQAAAJaEPEI0XWdDATgCAAAhAAAAloQsQjRdZ0MJOQIAAMwBAAD/////AQEKCToCAAABAAoAAWUBAAA0AAAAATsCAAAhAAAAloQmQjRdZ0MBPAIAAKAAAAACAAAAAAAAAAAAAAAACT0CAAAAAAAACT4CAAAAAAE/AgAAqQAAAAAAAAABQAIAAHIAAAAAANBBAABgQQFBAgAAFQAAALrogkFddGFDkk7YQeiiS0Feutk/BkICAAADMjAlCglDAgAACakBAADQAgAA/////wEBCglEAgAAAQAKAAFoAQAAJQAAAAnZAAAAAAAAAAAAAAABaQEAACYAAAAJRQIAAAIAAAACAAAAAWoBAAAwAAAAAUYCAAAhAAAAloQ8QvWDTEMBRwIAACEAAACWhCxC9YNMQwlIAgAAzAEAAP////8BAQoJSQIAAAEACgABawEAADQAAAABSgIAACEAAACWhCZC9YNMQwFLAgAAoAAAAAIAAAAAAAAAAAAAAAAJTAIAAAAAAAAJTQIAAAAAAU4CAACpAAAAAAAAAAFPAgAAcgAAAAAA0EEAAGBBAVACAAAVAAAAuuiCQYsuRkOSTthB6KJLQV662T8GUQIAAAMzMCUKCVICAAAJqQEAANACAAD/////AQEKCVMCAAABAAoAAW4BAAAlAAAACdkAAAAAAAAAAAAAAAFvAQAAJgAAAAlUAgAAAgAAAAIAAAABcAEAADAAAAABVQIAACEAAACWhDxCtaoxQwFWAgAAIQAAAJaELEK1qjFDCVcCAADMAQAA/////wEBCglYAgAAAQAKAAFxAQAANAAAAAFZAgAAIQAAAJaEJkK1qjFDAVoCAACgAAAAAgAAAAAAAAAAAAAAAAlbAgAAAAAAAAlcAgAAAAABXQIAAKkAAAAAAAAAAV4CAAByAAAAAADQQQAAYEEBXwIAABUAAAC66IJBuugqQ5JO2EHooktBXrrZPwZgAgAAAzQwJQoJYQIAAAmpAQAA0AIAAP////8BAQoJYgIAAAEACgABdAEAACUAAAAJ2QAAAAAAAAAAAAAAAXUBAAAmAAAACWMCAAACAAAAAgAAAAF2AQAAMAAAAAFkAgAAIQAAAJaEPEJ10RZDAWUCAAAhAAAAloQsQnXRFkMJZgIAAMwBAAD/////AQEKCWcCAAABAAoAAXcBAAA0AAAAAWgCAAAhAAAAloQmQnXRFkMBaQIAAKAAAAACAAAAAAAAAAAAAAAACWoCAAAAAAAACWsCAAAAAAFsAgAAqQAAAAAAAAABbQIAAHIAAAAAANBBAABgQQFuAgAAFQAAALrogkGjixBDkk7YQeiiS0Feutk/Bm8CAAADNTAlCglwAgAACakBAADQAgAA/////wEBCglxAgAAAQAKAAF6AQAAJQAAAAnZAAAAAAAAAAAAAAABewEAACYAAAAJcgIAAAIAAAACAAAAAXwBAAAwAAAAAXMCAAAhAAAAloQ8Qmrw90IBdAIAACEAAACWhCxCavD3Qgl1AgAAzAEAAP////8BAQoJdgIAAAEACgABfQEAADQAAAABdwIAACEAAACWhCZCavD3QgF4AgAAoAAAAAIAAAAAAAAAAAAAAAAJeQIAAAAAAAAJegIAAAAAAXsCAACpAAAAAAAAAAF8AgAAcgAAAAAA0EEAAGBBAX0CAAAVAAAAuuiCQaOL6kKSTthB6KJLQV662T8GfgIAAAM2MCUKCX8CAAAJqQEAANACAAD/////AQEKCYACAAABAAoAAYABAAAlAAAACdkAAAAAAAAAAAAAAAGBAQAAJgAAAAmBAgAAAgAAAAIAAAABggEAADAAAAABggIAACEAAACWhDxC6z3CQgGDAgAAIQAAAJaELELrPcJCCYQCAADMAQAA/////wEBCgmFAgAAAQAKAAGDAQAANAAAAAGGAgAAIQAAAJaEJkLrPcJCAYcCAACgAAAAAgAAAAAAAAAAAAAAAAmIAgAAAAAAAAmJAgAAAAABigIAAKkAAAAAAAAAAYsCAAByAAAAAADQQQAAYEEBjAIAABUAAAC66IJBdNG1QpJO2EHooktBXrrZPwaNAgAAAzcwJQoJjgIAAAmpAQAA0AIAAP////8BAQoJjwIAAAEACgABhgEAACUAAAAJ2QAAAAAAAAAAAAAAAYcBAAAmAAAACZACAAACAAAAAgAAAAGIAQAAMAAAAAGRAgAAIQAAAJaEPEJri4xCAZICAAAhAAAAloQsQmuLjEIJkwIAAMwBAAD/////AQEKCZQCAAABAAoAAYkBAAA0AAAAAZUCAAAhAAAAloQmQmuLjEIBlgIAAKAAAAACAAAAAAAAAAAAAAAACZcCAAAAAAAACZgCAAAAAAGZAgAAqQAAAAAAAAABmgIAAHIAAAAAANBBAABgQQGbAgAAFQAAALrogkGji35Ckk7YQeiiS0Feutk/BpwCAAADODAlCgmdAgAACakBAADQAgAA/////wEBCgmeAgAAAQAKAAGMAQAAJQAAAAnZAAAAAAAAAAAAAAABjQEAACYAAAAJnwIAAAIAAAACAAAAAY4BAAAwAAAAAaACAAAhAAAAloQ8QtexLUIBoQIAACEAAACWhCxC17EtQgmiAgAAzAEAAP////8BAQoJowIAAAEACgABjwEAADQAAAABpAIAACEAAACWhCZC17EtQgGlAgAAoAAAAAIAAAAAAAAAAAAAAAAJpgIAAAAAAAAJpwIAAAAAAagCAACpAAAAAAAAAAGpAgAAcgAAAAAA0EEAAGBBAaoCAAAVAAAAuuiCQUYXFUKSTthB6KJLQV662T8GqwIAAAM5MCUKCawCAAAJqQEAANACAAD/////AQEKCa0CAAABAAoAAZIBAAAlAAAACdkAAAAAAAAAAAAAAAGTAQAAJgAAAAmuAgAAAgAAAAIAAAABlAEAADAAAAABrwIAACEAAACWhDxCr5mEQQGwAgAAIQAAAJaELEKvmYRBCbECAADMAQAA/////wEBCgmyAgAAAQAKAAGVAQAANAAAAAGzAgAAIQAAAJaEJkKvmYRBAbQCAACgAAAAAgAAAAAAAAAAAAAAAAm1AgAAAAAAAAm2AgAAAAABtwIAAKkAAAAAAAAAAbgCAAByAAAAAAAEQgAAYEEBuQIAABUAAAAAACBBAAAgQaWbBULooktBXrrZPwa6AgAABDEwMCUKCbsCAAAJqQEAANACAAD/////AQEKCbwCAAABAAoAAZgBAAAlAAAACdkAAAAAAAAAAAAAAAGZAQAAJgAAAAm9AgAAAgAAAAIAAAAEmgEAAJgBU3lzdGVtLkNvbGxlY3Rpb25zLkdlbmVyaWMuTGlzdGAxW1tBcGxvcmlzLkNoYXJ0LkNoYXJ0RGF0YUVsZW1lbnQsIEFwbG9yaXMuQ2hhcnQsIFZlcnNpb249NC4wLjAuMTQ4NiwgQ3VsdHVyZT1uZXV0cmFsLCBQdWJsaWNLZXlUb2tlbj0xNmZjMTNhMjI2YzBlOTUxXV0DAAAABl9pdGVtcwVfc2l6ZQhfdmVyc2lvbgQAACBBcGxvcmlzLkNoYXJ0LkNoYXJ0RGF0YUVsZW1lbnRbXQIAAAAICAm+AgAABAAAABQAAAABmwEAACUAAAAJvwIAAAQAAAASAAAAAZwBAAAmAAAACcACAAAAAAAAAAAAAAWj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BwEAAAoAAAAAAEBBCXYAAAAJdwAAAAnBAgAAAQAJwgIAAAGkAQAAeAAAAAoKAAAAAP///wAOAAAAAAEBqAEAAK0AAAAJwwIAAAEAAAABAAAAAaoBAAB1AAAACcQCAAAKB68BAAAAAQAAAAQAAAAEH0FwbG9yaXMuQmFzZS5PYmplY3RzLkRhdGFPYmplY3QDAAAACSIBAAANAwewAQAAAAEAAAAEAAAABBxBcGxvcmlzLkJhc2UuVUkuVmlzdWFsT2JqZWN0AwAAAAkkAQAADQMBsQEAAJoBAAAJxQIAAAQAAAAUAAAAAbIBAAAlAAAACcYCAAAEAAAAEgAAAAGzAQAAJgAAAAnHAgAAAAAAAAAAAAAFu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gBAAAKAAAAAABAQQl2AAAACXcAAAAJyAIAAAEACckCAAABuwEAAHgAAAAKCgAAAAD///8ADgAAAAABAb8BAACtAAAACcoCAAABAAAAAQAAAAHAAQAAdQAAAAnLAgAACgfFAQAAAAEAAAAEAAAABB9BcGxvcmlzLkJhc2UuT2JqZWN0cy5EYXRhT2JqZWN0AwAAAAkqAQAADQMHxgEAAAABAAAABAAAAAQcQXBsb3Jpcy5CYXNlLlVJLlZpc3VhbE9iamVjdAMAAAAJLAEAAA0DAccBAACaAQAACcwCAAAEAAAAFAAAAAHIAQAAJQAAAAnNAgAABAAAABIAAAAByQEAACYAAAAJxwIAAAAAAAAAAAAABdA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JAQAACgAAAAAAQEEJdgAAAAl3AAAACc4CAAABAAnPAgAAAdEBAAB4AAAACgoAAAAA////AA4AAAAAAQHVAQAArQAAAAnQAgAAAQAAAAEAAAAB1gEAAHUAAAAJ0QIAAAoH2wEAAAABAAAABAAAAAQfQXBsb3Jpcy5CYXNlLk9iamVjdHMuRGF0YU9iamVjdAMAAAAJMgEAAA0DB9wBAAAAAQAAAAQAAAAEHEFwbG9yaXMuQmFzZS5VSS5WaXN1YWxPYmplY3QDAAAACTQBAAANAwHdAQAANAAAAAHSAgAAIQAAAK5l7UJeM1lBAdMCAACgAAAAAQAAAAAAAAAAAAAAAAnUAgAAAAAAAAnVAgAAAAAB1gIAAKkAAAAAAAAAAdcCAAByAAAAAAAAAAAAAAAB2AIAABUAAAAAAAAAAAAAAAAAAAAAAAAAAAAAAAbZAgAABDEwMCUKCdoCAAAJqQEAADQDAAD/////AAEKCdsCAAABAAoAAeABAAAjAAAACgoAAAAAAChBCXYAAAAJdwAAAAncAgAAAAAJ3QIAAAHhAQAAeAAAAAoKAAAAAP///wAOAAAAAAEB5QEAAK0AAAAJ3gIAAAEAAAABAAAAAeYBAAB1AAAACd8CAAAKB+cBAAAAAQAAAAAAAAAEH0FwbG9yaXMuQmFzZS5PYmplY3RzLkRhdGFPYmplY3QDAAAAB+gBAAAAAQAAAAQAAAAEHEFwbG9yaXMuQmFzZS5VSS5WaXN1YWxPYmplY3QDAAAACT0BAAAJ3QEAAAoKAekBAAA0AAAAAeACAAAhAAAAHeuCQ14zWUEB4QIAAKAAAAABAAAAAAAAAAAAAAAACeICAAAAAAAACeMCAAAAAAHkAgAAqQAAAAAAAAAB5QIAAHIAAAAAABxCAABAQQHmAgAAFQAAAAAAAAAAAAAAAAAAAAAAAAASg74/BucCAAAEMTAwJQoJ6AIAAAmpAQAANAMAAP////8AAQoJ6QIAAAEACgAB7AEAACMAAAAKCgAAAAAAKEEJdgAAAAl3AAAACeoCAAAAAAnrAgAAAe0BAAB4AAAACgoAAAAA////AA4AAAAAAQHxAQAArQAAAAnsAgAAAQAAAAEAAAAB8gEAAHUAAAAJ7QIAAAoH8wEAAAABAAAAAAAAAAQfQXBsb3Jpcy5CYXNlLk9iamVjdHMuRGF0YU9iamVjdAMAAAAH9AEAAAABAAAABAAAAAQcQXBsb3Jpcy5CYXNlLlVJLlZpc3VhbE9iamVjdAMAAAAJRAEAAAnpAQAACgoB9QEAADQAAAAB7gIAACEAAADOfMpDXjNZQQHvAgAAoAAAAAEAAAAAAAAAAAAAAAAJ8AIAAAAAAAAJ8QIAAAAAAfICAACpAAAAAAAAAAHzAgAAcgAAAAAAHEIAAEBBAfQCAAAVAAAAAAAAAAAAAAAAAAAAAAAAABKDvj8G9QIAAAQxMDAlCgn2AgAACakBAAA0AwAA/////wABCgn3AgAAAQAKAAH4AQAAIwAAAAoKAAAAAAAoQQl2AAAACXcAAAAJ+AIAAAAACfkCAAAB+QEAAHgAAAAKCgAAAAD///8ADgAAAAABAf0BAACtAAAACfoCAAABAAAAAQAAAAH+AQAAdQAAAAn7AgAACgf/AQAAAAEAAAAAAAAABB9BcGxvcmlzLkJhc2UuT2JqZWN0cy5EYXRhT2JqZWN0AwAAAAcAAgAAAAEAAAAEAAAABBxBcGxvcmlzLkJhc2UuVUkuVmlzdWFsT2JqZWN0AwAAAAlLAQAACfUBAAAKCgEBAgAANAAAAAH8AgAAIQAAAEAHCUReM1lBAf0CAACgAAAAAQAAAAAAAAAAAAAAAAn+AgAAAAAAAAn/AgAAAAABAAMAAKkAAAAAAAAAAQEDAAByAAAAAAAAAAAAAAABAgMAABUAAAAAAAAAAAAAAAAAAAAAAAAAAAAAAAYDAwAABDEwMCUKCQQDAAAJqQEAADQDAAD/////AAEKCQUDAAABAAoAAQQCAAAjAAAACgoAAAAAAChBCXYAAAAJdwAAAAkGAwAAAAAJBwMAAAEFAgAAeAAAAAoKAAAAAP///wAOAAAAAAEBCQIAAK0AAAAJCAMAAAEAAAABAAAAAQoCAAB1AAAACQkDAAAKBwsCAAAAAQAAAAAAAAAEH0FwbG9yaXMuQmFzZS5PYmplY3RzLkRhdGFPYmplY3QDAAAABwwCAAAAAQAAAAQAAAAEHEFwbG9yaXMuQmFzZS5VSS5WaXN1YWxPYmplY3QDAAAACVIBAAAJAQIAAAoKAQ0CAAA0AAAAAQoDAAAhAAAAjgCKQqMLnUMBCwMAAKAAAAAFAAAAAAAAAAAAAAAACQwDAAAAAAAACQ0DAAAAAAEOAwAAqQAAAAAAAAABDwMAAHIAAAAAAPBBAABAQQEQAwAAFQAAAKOLhkLRRZ1D7v7xQaOLLkESg74/CSMBAAAKCREDAAAJqQEAAIQDAAD/////AQEKCRIDAAABAAoAAQ4CAAAcAAAAARMDAAAhAAAArANaQqMLnUMBFAMAACEAAACOAIRCUcuiQwkVAwAACRYDAAAAAAAACgEXAwAAcgAAAAAAAAAAAAAAARgDAAByAAAAAAAAAAAAAAAAAAAAARkDAAAVAAAAAAAAAAAAAAAAAAAAAAAAAJgDAAD/////AQEKCRoDAAABAAoAAQ8CAAAlAAAACRsDAAAAAAAAAAAAAAEQAgAAJgAAAAkcAwAAAgAAAAIAAAABEQIAADQAAAABHQMAACEAAAC5ugNDowudQwEeAwAAoAAAAAUAAAAAAAAAAAAAAAAJHwMAAAAAAAAJIAMAAAAAASEDAACpAAAAAAAAAAEiAwAAcgAAAAAAFEIAAEBBASMDAAAVAAAAAAACQ9FFnUPUcxJCo4suQRKDvj8JKwEAAAoJJAMAAAmpAQAAhAMAAP////8BAQoJJQMAAAEACgABEgIAABwAAAABJgMAACEAAAC6dupCowudQwEnAwAAIQAAALm6AENRy6JDCSgDAAAJKQMAAAAAAAAKASoDAAByAAAAAAAAAAAAAAABKwMAAHIAAAAAAAAAAAAAAAAAAAABLAMAABUAAAAAAAAAAAAAAAAAAAAAAAAAmAMAAP////8BAQoJLQMAAAEACgABEwIAACUAAAAJGwMAAAAAAAAAAAAAARQCAAAmAAAACS4DAAACAAAAAgAAAAEVAgAANAAAAAEvAwAAIQAAAELSSEOjC51DATADAACgAAAABQAAAAAAAAAAAAAAAAkxAwAAAAAAAAkyAwAAAAABMwMAAKkAAAAAAAAAATQDAAByAAAAAAA4QgAAQEEBNQMAABUAAABGF0dD0UWdQwIuM0Kjiy5BEoO+PwkzAQAACgk2AwAACakBAACEAwAA/////wEBCgk3AwAAAQAKAAEWAgAAHAAAAAE4AwAAIQAAAOZSOkOjC51DATkDAAAhAAAAQtJFQ1HLokMJOgMAAAk7AwAAAAAAAAoBPAMAAHIAAAAAAAAAAAAAAAE9AwAAcgAAAAAAAAAAAAAAAAAAAAE+AwAAFQAAAAAAAAAAAAAAAAAAAAAAAACYAwAA/////wEBCgk/AwAAAQAKAAEXAgAAJQAAAAkbAwAAAAAAAAAAAAABGAIAACYAAAAJQAMAAAIAAAACAAAAARsCAABwAAAACgoAAABAPwlBAwAACUIDAAABAAAA/v///wAAAAABAAAAAAAAAAAAAAABAAAAAAAAAAAAAAEcAgAAdQAAAAlDAwAACgEfAgAAIwAAAAoKAAAAAABAQQl2AAAACXcAAAAJRAMAAAAACUUDAAABIAIAAHgAAAAKCgAAAAD///8ADgAAAAABASUCAACtAAAACUYDAAABAAAAAQAAAAEmAgAAdQAAAAlHAwAACgcnAgAAAAEAAAAEAAAABBxBcGxvcmlzLkJhc2UuVUkuVmlzdWFsT2JqZWN0AwAAAAlYAQAACVkBAAAKCgEqAgAAcAAAAAoKAAAAQD8JSAMAAAlJAwAAAQAAAP7///8AAAAAAQAAAAAAAAAAAAAAAQAAAAAAAAAAAAABKwIAAHUAAAAJSgMAAAoBLgIAACMAAAAKCgAAAAAAQEEJdgAAAAl3AAAACUsDAAAAAAlMAwAAAS8CAAB4AAAACgoAAAAA////AA4AAAAAAQE0AgAArQAAAAlNAwAAAQAAAAMAAAABNQIAAHUAAAAJTgMAAAoHNgIAAAABAAAABAAAAAQcQXBsb3Jpcy5CYXNlLlVJLlZpc3VhbE9iamVjdAMAAAAJXgEAAAlfAQAACgoBOQIAAHAAAAAKCgAAAEA/CU8DAAAJUAMAAAEAAAD+////AAAAAAEAAAAAAAAAAAAAAAEAAAAAAAAAAAAAAToCAAB1AAAACVEDAAAKAT0CAAAjAAAACgoAAAAAAEBBCXYAAAAJdwAAAAlSAwAAAAAJUwMAAAE+AgAAeAAAAAoKAAAAAP///wAOAAAAAAEBQwIAAK0AAAAJVAMAAAEAAAADAAAAAUQCAAB1AAAACVUDAAAKB0UCAAAAAQAAAAQAAAAEHEFwbG9yaXMuQmFzZS5VSS5WaXN1YWxPYmplY3QDAAAACWQBAAAJZQEAAAoKAUgCAABwAAAACgoAAABAPwlWAwAACVcDAAABAAAA/v///wAAAAABAAAAAAAAAAAAAAABAAAAAAAAAAAAAAFJAgAAdQAAAAlYAwAACgFMAgAAIwAAAAoKAAAAAABAQQl2AAAACXcAAAAJWQMAAAAACVoDAAABTQIAAHgAAAAKCgAAAAD///8ADgAAAAABAVICAACtAAAACVsDAAABAAAAAwAAAAFTAgAAdQAAAAlcAwAACgdUAgAAAAEAAAAEAAAABBxBcGxvcmlzLkJhc2UuVUkuVmlzdWFsT2JqZWN0AwAAAAlqAQAACWsBAAAKCgFXAgAAcAAAAAoKAAAAQD8JXQMAAAleAwAAAQAAAP7///8AAAAAAQAAAAAAAAAAAAAAAQAAAAAAAAAAAAABWAIAAHUAAAAJXwMAAAoBWwIAACMAAAAKCgAAAAAAQEEJdgAAAAl3AAAACWADAAAAAAlhAwAAAVwCAAB4AAAACgoAAAAA////AA4AAAAAAQFhAgAArQAAAAliAwAAAQAAAAMAAAABYgIAAHUAAAAJYwMAAAoHYwIAAAABAAAABAAAAAQcQXBsb3Jpcy5CYXNlLlVJLlZpc3VhbE9iamVjdAMAAAAJcAEAAAlxAQAACgoBZgIAAHAAAAAKCgAAAEA/CWQDAAAJZQMAAAEAAAD+////AAAAAAEAAAAAAAAAAAAAAAEAAAAAAAAAAAAAAWcCAAB1AAAACWYDAAAKAWoCAAAjAAAACgoAAAAAAEBBCXYAAAAJdwAAAAlnAwAAAAAJaAMAAAFrAgAAeAAAAAoKAAAAAP///wAOAAAAAAEBcAIAAK0AAAAJaQMAAAEAAAADAAAAAXECAAB1AAAACWoDAAAKB3ICAAAAAQAAAAQAAAAEHEFwbG9yaXMuQmFzZS5VSS5WaXN1YWxPYmplY3QDAAAACXYBAAAJdwEAAAoKAXUCAABwAAAACgoAAABAPwlrAwAACWwDAAABAAAA/v///wAAAAABAAAAAAAAAAAAAAABAAAAAAAAAAAAAAF2AgAAdQAAAAltAwAACgF5AgAAIwAAAAoKAAAAAABAQQl2AAAACXcAAAAJbgMAAAAACW8DAAABegIAAHgAAAAKCgAAAAD///8ADgAAAAABAX8CAACtAAAACXADAAABAAAAAwAAAAGAAgAAdQAAAAlxAwAACgeBAgAAAAEAAAAEAAAABBxBcGxvcmlzLkJhc2UuVUkuVmlzdWFsT2JqZWN0AwAAAAl8AQAACX0BAAAKCgGEAgAAcAAAAAoKAAAAQD8JcgMAAAlzAwAAAQAAAP7///8AAAAAAQAAAAAAAAAAAAAAAQAAAAAAAAAAAAABhQIAAHUAAAAJdAMAAAoBiAIAACMAAAAKCgAAAAAAQEEJdgAAAAl3AAAACXUDAAAAAAl2AwAAAYkCAAB4AAAACgoAAAAA////AA4AAAAAAQGOAgAArQAAAAl3AwAAAQAAAAMAAAABjwIAAHUAAAAJeAMAAAoHkAIAAAABAAAABAAAAAQcQXBsb3Jpcy5CYXNlLlVJLlZpc3VhbE9iamVjdAMAAAAJggEAAAmDAQAACgoBkwIAAHAAAAAKCgAAAEA/CXkDAAAJegMAAAEAAAD+////AAAAAAEAAAAAAAAAAAAAAAEAAAAAAAAAAAAAAZQCAAB1AAAACXsDAAAKAZcCAAAjAAAACgoAAAAAAEBBCXYAAAAJdwAAAAl8AwAAAAAJfQMAAAGYAgAAeAAAAAoKAAAAAP///wAOAAAAAAEBnQIAAK0AAAAJfgMAAAEAAAADAAAAAZ4CAAB1AAAACX8DAAAKB58CAAAAAQAAAAQAAAAEHEFwbG9yaXMuQmFzZS5VSS5WaXN1YWxPYmplY3QDAAAACYgBAAAJiQEAAAoKAaICAABwAAAACgoAAABAPwmAAwAACYEDAAABAAAA/v///wAAAAABAAAAAAAAAAAAAAABAAAAAAAAAAAAAAGjAgAAdQAAAAmCAwAACgGmAgAAIwAAAAoKAAAAAABAQQl2AAAACXcAAAAJgwMAAAAACYQDAAABpwIAAHgAAAAKCgAAAAD///8ADgAAAAABAawCAACtAAAACYUDAAABAAAAAwAAAAGtAgAAdQAAAAmGAwAACgeuAgAAAAEAAAAEAAAABBxBcGxvcmlzLkJhc2UuVUkuVmlzdWFsT2JqZWN0AwAAAAmOAQAACY8BAAAKCgGxAgAAcAAAAAoKAAAAQD8JhwMAAAmIAwAAAQAAAP7///8AAAAAAQAAAAAAAAAAAAAAAQAAAAAAAAAAAAABsgIAAHUAAAAJiQMAAAoBtQIAACMAAAAKCgAAAAAAQEEJdgAAAAl3AAAACYoDAAAAAAmLAwAAAbYCAAB4AAAACgoAAAAA////AA4AAAAAAQG7AgAArQAAAAmMAwAAAQAAAAMAAAABvAIAAHUAAAAJjQMAAAoHvQIAAAABAAAABAAAAAQcQXBsb3Jpcy5CYXNlLlVJLlZpc3VhbE9iamVjdAMAAAAJlAEAAAmVAQAACgoHvgIAAAABAAAAEAAAAAQeQXBsb3Jpcy5DaGFydC5DaGFydERhdGFFbGVtZW50AgAAAAmOAwAACY8DAAAJkAMAAAmRAwAADQwHvwIAAAABAAAAEAAAAAQfQXBsb3Jpcy5CYXNlLk9iamVjdHMuRGF0YU9iamVjdAMAAAAJjwMAAAmQAwAACY4DAAAJkQMAAA0MB8ACAAAAAQAAAAAAAAAEHEFwbG9yaXMuQmFzZS5VSS5WaXN1YWxPYmplY3QDAAAAAcECAAB4AAAACgoAAAAAAAAAAA0AAAAAAQHCAgAAeAAAAAoKAQAAAAAAAAD/////AAEHwwIAAAABAAAABAAAAAQdQXBsb3Jpcy5CYXNlLk9iamVjdHMuVmFyaWFibGUDAAAABZIDAAAdQXBsb3Jpcy5CYXNlLk9iamVjdHMuVmFyaWFibGUCAAAABk51bWJlcghQb3NpdGlvbgAACAgDAAAAAQAAAAAAAAABkwMAAJIDAAAAAAAAAAAAAAGUAwAAkgMAAAAAAAAAAAAAAZUDAACSAwAAAAAAAAAAAAAPxAIAAAEAAAAIAAAAAAfFAgAAAAEAAAAQAAAABB5BcGxvcmlzLkNoYXJ0LkNoYXJ0RGF0YUVsZW1lbnQCAAAACZYDAAAJlwMAAAmYAwAACZkDAAANDAfGAgAAAAEAAAAQAAAABB9BcGxvcmlzLkJhc2UuT2JqZWN0cy5EYXRhT2JqZWN0AwAAAAmXAwAACZgDAAAJlgMAAAmZAwAADQwHxwIAAAABAAAAAAAAAAQcQXBsb3Jpcy5CYXNlLlVJLlZpc3VhbE9iamVjdAMAAAAByAIAAHgAAAAKCgAAAAAAAAAADQAAAAABAckCAAB4AAAACgoBAAAAAAAAAP////8AAQfKAgAAAAEAAAAEAAAABB1BcGxvcmlzLkJhc2UuT2JqZWN0cy5WYXJpYWJsZQMAAAABmgMAAJIDAAABAAAAAAAAAAGbAwAAkgMAAAAAAAAAAAAAAZwDAACSAwAAAAAAAAAAAAABnQMAAJIDAAAAAAAAAAAAAA/LAgAAAQAAAAgAAAAAB8wCAAAAAQAAABAAAAAEHkFwbG9yaXMuQ2hhcnQuQ2hhcnREYXRhRWxlbWVudAIAAAAJngMAAAmfAwAACaADAAAJoQMAAA0MB80CAAAAAQAAABAAAAAEH0FwbG9yaXMuQmFzZS5PYmplY3RzLkRhdGFPYmplY3QDAAAACZ8DAAAJoAMAAAmeAwAACaEDAAANDAHOAgAAeAAAAAoKAAAAAAAAAAANAAAAAAEBzwIAAHgAAAAKCgEAAAAAAAAA/////wABB9ACAAAAAQAAAAQAAAAEHUFwbG9yaXMuQmFzZS5PYmplY3RzLlZhcmlhYmxlAwAAAAGiAwAAkgMAAAEAAAAAAAAAAaMDAACSAwAAAAAAAAAAAAABpAMAAJIDAAAAAAAAAAAAAAGlAwAAkgMAAAAAAAAAAAAAD9ECAAABAAAACAAAAAAF1A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CgEAAAoAAAAAAEBBCXYAAAAJdwAAAAmmAwAAAQAJpwMAAAHVAgAAeAAAAAoKAQAAAAAAAAD/////AAEB2gIAAK0AAAAJqAMAAAEAAAADAAAAAdsCAAB1AAAACakDAAAKAdwCAAB4AAAACgoAAAAAAAAAAA0AAAAAAAHdAgAAeAAAAAoKAAAAAAAAAAANAAAAAAEH3gIAAAABAAAABAAAAAQdQXBsb3Jpcy5CYXNlLk9iamVjdHMuVmFyaWFibGUDAAAAAaoDAACSAwAAAQAAAAAAAAABqwMAAJIDAAAAAAAAAAAAAAGsAwAAkgMAAAAAAAAAAAAAAa0DAACSAwAAAAAAAAAAAAAP3wIAAAEAAAAIHAMAAAXi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LAQAACgAAAAAAQEEJdgAAAAl3AAAACa4DAAABAAmvAwAAAeMCAAB4AAAACgoAAAAA////AA4AAAAAAQHoAgAArQAAAAmwAwAAAQAAAAMAAAAB6QIAAHUAAAAJsQMAAAoB6gIAAHgAAAAKCgAAAAAAAAAADQAAAAAAAesCAAB4AAAACgoAAAAAAAAAAA0AAAAAAQfsAgAAAAEAAAAEAAAABB1BcGxvcmlzLkJhc2UuT2JqZWN0cy5WYXJpYWJsZQMAAAABsgMAAJIDAAABAAAAAAAAAAGzAwAAkgMAAAAAAAAAAAAAAbQDAACSAwAAAAAAAAAAAAABtQMAAJIDAAAAAAAAAAAAAA/tAgAAAQAAAAhNAQAABfA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wBAAAKAAAAAABAQQl2AAAACXcAAAAJtgMAAAEACbcDAAAB8QIAAHgAAAAKCgAAAAD///8ADgAAAAABAfYCAACtAAAACbgDAAABAAAAAwAAAAH3AgAAdQAAAAm5AwAACgH4AgAAeAAAAAoKAAAAAAAAAAANAAAAAAAB+QIAAHgAAAAKCgAAAAAAAAAADQAAAAABB/oCAAAAAQAAAAQAAAAEHUFwbG9yaXMuQmFzZS5PYmplY3RzLlZhcmlhYmxlAwAAAAG6AwAAkgMAAAEAAAAAAAAAAbsDAACSAwAAAAAAAAAAAAABvAMAAJIDAAAAAAAAAAAAAAG9AwAAkgMAAAAAAAAAAAAAD/sCAAABAAAACMUAAAAF/g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DQEAAAoAAAAAAEBBCXYAAAAJdwAAAAm+AwAAAQAJvwMAAAH/AgAAeAAAAAoKAQAAAAAAAAD/////AAEBBAMAAK0AAAAJwAMAAAEAAAADAAAAAQUDAAB1AAAACcEDAAAKAQYDAAB4AAAACgoAAAAAAAAAAA0AAAAAAAEHAwAAeAAAAAoKAAAAAAAAAAANAAAAAAEHCAMAAAABAAAABAAAAAQdQXBsb3Jpcy5CYXNlLk9iamVjdHMuVmFyaWFibGUDAAAAAcIDAACSAwAAAQAAAAAAAAABwwMAAJIDAAAAAAAAAAAAAAHEAwAAkgMAAAAAAAAAAAAAAcUDAACSAwAAAAAAAAAAAAAPCQMAAAEAAAAIoAMAAAEMAwAAIwAAAAoKAAAAAAAoQQl2AAAACXcAAAAJxgMAAAAACccDAAABDQMAAHgAAAAKCgEAAAAAAAAA/////wABAREDAACtAAAACcgDAAABAAAAAQAAAAESAwAAdQAAAAnJAwAACgEVAwAAcAAAAAoKAAAAQD8JygMAAAnLAwAAAQAAAP7///8AAAAAAQAAAAAAAAAAAAAAAQAAAAAAAAAAAAABFgMAAHEAAAAKCgnMAwAACc0DAAABAAAA/v///wAAAAD/////AQABGgMAAHUAAAAJzgMAAAoHGwMAAAABAAAAAAAAAAQfQXBsb3Jpcy5CYXNlLk9iamVjdHMuRGF0YU9iamVjdAMAAAAHHAMAAAABAAAABAAAAAQcQXBsb3Jpcy5CYXNlLlVJLlZpc3VhbE9iamVjdAMAAAAJDQIAAAkOAgAACgoBHwMAACMAAAAKCgAAAAAAKEEJdgAAAAl3AAAACc8DAAAAAAnQAwAAASADAAB4AAAACgoBAAAAAAAAAP////8AAQEkAwAArQAAAAnRAwAAAQAAAAEAAAABJQMAAHUAAAAJ0gMAAAoBKAMAAHAAAAAKCgAAAEA/CdMDAAAJ1AMAAAEAAAD+////AAAAAAEAAAAAAAAAAAAAAAEAAAAAAAAAAAAAASkDAABxAAAACgoJ1QMAAAnWAwAAAQAAAP7///8AAAAA/////wEAAS0DAAB1AAAACdcDAAAKBy4DAAAAAQAAAAQAAAAEHEFwbG9yaXMuQmFzZS5VSS5WaXN1YWxPYmplY3QDAAAACRECAAAJEgIAAAoKATEDAAAjAAAACgoAAAAAAChBCXYAAAAJdwAAAAnYAwAAAAAJ2QMAAAEyAwAAeAAAAAoKAQAAAAAAAAD/////AAEBNgMAAK0AAAAJ2gMAAAEAAAABAAAAATcDAAB1AAAACdsDAAAKAToDAABwAAAACgoAAABAPwncAwAACd0DAAABAAAA/v///wAAAAABAAAAAAAAAAAAAAABAAAAAAAAAAAAAAE7AwAAcQAAAAoKCd4DAAAJ3wMAAAEAAAD+////AAAAAP////8BAAE/AwAAdQAAAAngAwAACgdAAwAAAAEAAAAEAAAABBxBcGxvcmlzLkJhc2UuVUkuVmlzdWFsT2JqZWN0AwAAAAkVAgAACRYCAAAKCgFBAwAAeAAAAAoKAAAAAAAAAAANAAAAAAAFQgMAABpBcGxvcmlzLkJhc2UuT2JqZWN0cy5Db2xvcgcAAAASRGF0YU9iamVjdCttUGFyZW50FURhdGFPYmplY3QrbUNvbnRhaW5lcgVtVHlwZQRtUkdCEG1UaGVtZUNvbG9ySW5kZXgMbUF1dG9VcGRhdGVkCW1Nb2RpZmllZAQCAAAAAAAfQXBsb3Jpcy5CYXNlLk9iamVjdHMuTGluZUZvcm1hdAMAAAAICAgBAQMAAAAJGwIAAAoBAAAAAAAAAP////8AAQ9DAwAAAQAAAAipAwAAAUQDAAB4AAAACgoAAAAAAAAAAA0AAAAAAAFFAwAAeAAAAAoKAAAAAAAAAAANAAAAAAEHRgMAAAABAAAABAAAAAQdQXBsb3Jpcy5CYXNlLk9iamVjdHMuVmFyaWFibGUDAAAAAeEDAACSAwAAAQAAAAAAAAAB4gMAAJIDAAAAAAAAAAAAAAHjAwAAkgMAAAAAAAAAAAAAAeQDAACSAwAAAAAAAAAAAAAPRwMAAAEAAAAIJgAAAAFIAwAAeAAAAAoKAAAAAAAAAAANAAAAAAAFSQMAABpBcGxvcmlzLkJhc2UuT2JqZWN0cy5Db2xvcgcAAAASRGF0YU9iamVjdCttUGFyZW50FURhdGFPYmplY3QrbUNvbnRhaW5lcgVtVHlwZQRtUkdCEG1UaGVtZUNvbG9ySW5kZXgMbUF1dG9VcGRhdGVkCW1Nb2RpZmllZAQCAAAAAAAfQXBsb3Jpcy5CYXNlLk9iamVjdHMuTGluZUZvcm1hdAMAAAAICAgBAQMAAAAJKgIAAAoBAAAAAAAAAP////8AAQ9KAwAAAQAAAAioAwAAAUsDAAB4AAAACgoAAAAAAAAAAA0AAAAAAAFMAwAAeAAAAAoKAAAAAAAAAAANAAAAAAEHTQMAAAABAAAABAAAAAQdQXBsb3Jpcy5CYXNlLk9iamVjdHMuVmFyaWFibGUDAAAAAeUDAACSAwAAAQAAAAAAAAAB5gMAAJIDAAAAAAAAAAAAAAHnAwAAkgMAAAAAAAAAAAAAAegDAACSAwAAAAAAAAAAAAAPTgMAAAEAAAAIIwAAAAFPAwAAeAAAAAoKAAAAAAAAAAANAAAAAAAFUAMAABpBcGxvcmlzLkJhc2UuT2JqZWN0cy5Db2xvcgcAAAASRGF0YU9iamVjdCttUGFyZW50FURhdGFPYmplY3QrbUNvbnRhaW5lcgVtVHlwZQRtUkdCEG1UaGVtZUNvbG9ySW5kZXgMbUF1dG9VcGRhdGVkCW1Nb2RpZmllZAQCAAAAAAAfQXBsb3Jpcy5CYXNlLk9iamVjdHMuTGluZUZvcm1hdAMAAAAICAgBAQMAAAAJOQIAAAoBAAAAAAAAAP////8AAQ9RAwAAAQAAAAimAwAAAVIDAAB4AAAACgoAAAAAAAAAAA0AAAAAAAFTAwAAeAAAAAoKAAAAAAAAAAANAAAAAAEHVAMAAAABAAAABAAAAAQdQXBsb3Jpcy5CYXNlLk9iamVjdHMuVmFyaWFibGUDAAAAAekDAACSAwAAAQAAAAAAAAAB6gMAAJIDAAAAAAAAAAAAAAHrAwAAkgMAAAAAAAAAAAAAAewDAACSAwAAAAAAAAAAAAAPVQMAAAEAAAAIKwAAAAFWAwAAeAAAAAoKAAAAAAAAAAANAAAAAAAFVwMAABpBcGxvcmlzLkJhc2UuT2JqZWN0cy5Db2xvcgcAAAASRGF0YU9iamVjdCttUGFyZW50FURhdGFPYmplY3QrbUNvbnRhaW5lcgVtVHlwZQRtUkdCEG1UaGVtZUNvbG9ySW5kZXgMbUF1dG9VcGRhdGVkCW1Nb2RpZmllZAQCAAAAAAAfQXBsb3Jpcy5CYXNlLk9iamVjdHMuTGluZUZvcm1hdAMAAAAICAgBAQMAAAAJSAIAAAoBAAAAAAAAAP////8AAQ9YAwAAAQAAAAisAwAAAVkDAAB4AAAACgoAAAAAAAAAAA0AAAAAAAFaAwAAeAAAAAoKAAAAAAAAAAANAAAAAAEHWwMAAAABAAAABAAAAAQdQXBsb3Jpcy5CYXNlLk9iamVjdHMuVmFyaWFibGUDAAAAAe0DAACSAwAAAQAAAAAAAAAB7gMAAJIDAAAAAAAAAAAAAAHvAwAAkgMAAAAAAAAAAAAAAfADAACSAwAAAAAAAAAAAAAPXAMAAAEAAAAIKgAAAAFdAwAAeAAAAAoKAAAAAAAAAAANAAAAAAAFXgMAABpBcGxvcmlzLkJhc2UuT2JqZWN0cy5Db2xvcgcAAAASRGF0YU9iamVjdCttUGFyZW50FURhdGFPYmplY3QrbUNvbnRhaW5lcgVtVHlwZQRtUkdCEG1UaGVtZUNvbG9ySW5kZXgMbUF1dG9VcGRhdGVkCW1Nb2RpZmllZAQCAAAAAAAfQXBsb3Jpcy5CYXNlLk9iamVjdHMuTGluZUZvcm1hdAMAAAAICAgBAQMAAAAJVwIAAAoBAAAAAAAAAP////8AAQ9fAwAAAQAAAAirAwAAAWADAAB4AAAACgoAAAAAAAAAAA0AAAAAAAFhAwAAeAAAAAoKAAAAAAAAAAANAAAAAAEHYgMAAAABAAAABAAAAAQdQXBsb3Jpcy5CYXNlLk9iamVjdHMuVmFyaWFibGUDAAAAAfEDAACSAwAAAQAAAAAAAAAB8gMAAJIDAAAAAAAAAAAAAAHzAwAAkgMAAAAAAAAAAAAAAfQDAACSAwAAAAAAAAAAAAAPYwMAAAEAAAAIJwAAAAFkAwAAeAAAAAoKAAAAAAAAAAANAAAAAAAFZQMAABpBcGxvcmlzLkJhc2UuT2JqZWN0cy5Db2xvcgcAAAASRGF0YU9iamVjdCttUGFyZW50FURhdGFPYmplY3QrbUNvbnRhaW5lcgVtVHlwZQRtUkdCEG1UaGVtZUNvbG9ySW5kZXgMbUF1dG9VcGRhdGVkCW1Nb2RpZmllZAQCAAAAAAAfQXBsb3Jpcy5CYXNlLk9iamVjdHMuTGluZUZvcm1hdAMAAAAICAgBAQMAAAAJZgIAAAoBAAAAAAAAAP////8AAQ9mAwAAAQAAAAiqAwAAAWcDAAB4AAAACgoAAAAAAAAAAA0AAAAAAAFoAwAAeAAAAAoKAAAAAAAAAAANAAAAAAEHaQMAAAABAAAABAAAAAQdQXBsb3Jpcy5CYXNlLk9iamVjdHMuVmFyaWFibGUDAAAAAfUDAACSAwAAAQAAAAAAAAAB9gMAAJIDAAAAAAAAAAAAAAH3AwAAkgMAAAAAAAAAAAAAAfgDAACSAwAAAAAAAAAAAAAPagMAAAEAAAAIKQAAAAFrAwAAeAAAAAoKAAAAAAAAAAANAAAAAAAFbAMAABpBcGxvcmlzLkJhc2UuT2JqZWN0cy5Db2xvcgcAAAASRGF0YU9iamVjdCttUGFyZW50FURhdGFPYmplY3QrbUNvbnRhaW5lcgVtVHlwZQRtUkdCEG1UaGVtZUNvbG9ySW5kZXgMbUF1dG9VcGRhdGVkCW1Nb2RpZmllZAQCAAAAAAAfQXBsb3Jpcy5CYXNlLk9iamVjdHMuTGluZUZvcm1hdAMAAAAICAgBAQMAAAAJdQIAAAoBAAAAAAAAAP////8AAQ9tAwAAAQAAAAinAwAAAW4DAAB4AAAACgoAAAAAAAAAAA0AAAAAAAFvAwAAeAAAAAoKAAAAAAAAAAANAAAAAAEHcAMAAAABAAAABAAAAAQdQXBsb3Jpcy5CYXNlLk9iamVjdHMuVmFyaWFibGUDAAAAAfkDAACSAwAAAQAAAAAAAAAB+gMAAJIDAAAAAAAAAAAAAAH7AwAAkgMAAAAAAAAAAAAAAfwDAACSAwAAAAAAAAAAAAAPcQMAAAEAAAAIKAAAAAFyAwAAeAAAAAoKAAAAAAAAAAANAAAAAAAFcwMAABpBcGxvcmlzLkJhc2UuT2JqZWN0cy5Db2xvcgcAAAASRGF0YU9iamVjdCttUGFyZW50FURhdGFPYmplY3QrbUNvbnRhaW5lcgVtVHlwZQRtUkdCEG1UaGVtZUNvbG9ySW5kZXgMbUF1dG9VcGRhdGVkCW1Nb2RpZmllZAQCAAAAAAAfQXBsb3Jpcy5CYXNlLk9iamVjdHMuTGluZUZvcm1hdAMAAAAICAgBAQMAAAAJhAIAAAoBAAAAAAAAAP////8AAQ90AwAAAQAAAAiwAwAAAXUDAAB4AAAACgoAAAAAAAAAAA0AAAAAAAF2AwAAeAAAAAoKAAAAAAAAAAANAAAAAAEHdwMAAAABAAAABAAAAAQdQXBsb3Jpcy5CYXNlLk9iamVjdHMuVmFyaWFibGUDAAAAAf0DAACSAwAAAQAAAAAAAAAB/gMAAJIDAAAAAAAAAAAAAAH/AwAAkgMAAAAAAAAAAAAAAQAEAACSAwAAAAAAAAAAAAAPeAMAAAEAAAAILAAAAAF5AwAAeAAAAAoKAAAAAAAAAAANAAAAAAAFegMAABpBcGxvcmlzLkJhc2UuT2JqZWN0cy5Db2xvcgcAAAASRGF0YU9iamVjdCttUGFyZW50FURhdGFPYmplY3QrbUNvbnRhaW5lcgVtVHlwZQRtUkdCEG1UaGVtZUNvbG9ySW5kZXgMbUF1dG9VcGRhdGVkCW1Nb2RpZmllZAQCAAAAAAAfQXBsb3Jpcy5CYXNlLk9iamVjdHMuTGluZUZvcm1hdAMAAAAICAgBAQMAAAAJkwIAAAoBAAAAAAAAAP////8AAQ97AwAAAQAAAAitAwAAAXwDAAB4AAAACgoAAAAAAAAAAA0AAAAAAAF9AwAAeAAAAAoKAAAAAAAAAAANAAAAAAEHfgMAAAABAAAABAAAAAQdQXBsb3Jpcy5CYXNlLk9iamVjdHMuVmFyaWFibGUDAAAAAQEEAACSAwAAAQAAAAAAAAABAgQAAJIDAAAAAAAAAAAAAAEDBAAAkgMAAAAAAAAAAAAAAQQEAACSAwAAAAAAAAAAAAAPfwMAAAEAAAAILQAAAAGAAwAAeAAAAAoKAAAAAAAAAAANAAAAAAAFgQMAABpBcGxvcmlzLkJhc2UuT2JqZWN0cy5Db2xvcgcAAAASRGF0YU9iamVjdCttUGFyZW50FURhdGFPYmplY3QrbUNvbnRhaW5lcgVtVHlwZQRtUkdCEG1UaGVtZUNvbG9ySW5kZXgMbUF1dG9VcGRhdGVkCW1Nb2RpZmllZAQCAAAAAAAfQXBsb3Jpcy5CYXNlLk9iamVjdHMuTGluZUZvcm1hdAMAAAAICAgBAQMAAAAJogIAAAoBAAAAAAAAAP////8AAQ+CAwAAAQAAAAiuAwAAAYMDAAB4AAAACgoAAAAAAAAAAA0AAAAAAAGEAwAAeAAAAAoKAAAAAAAAAAANAAAAAAEHhQMAAAABAAAABAAAAAQdQXBsb3Jpcy5CYXNlLk9iamVjdHMuVmFyaWFibGUDAAAAAQUEAACSAwAAAQAAAAAAAAABBgQAAJIDAAAAAAAAAAAAAAEHBAAAkgMAAAAAAAAAAAAAAQgEAACSAwAAAAAAAAAAAAAPhgMAAAEAAAAIJQAAAAGHAwAAeAAAAAoKAAAAAAAAAAANAAAAAAAFiAMAABpBcGxvcmlzLkJhc2UuT2JqZWN0cy5Db2xvcgcAAAASRGF0YU9iamVjdCttUGFyZW50FURhdGFPYmplY3QrbUNvbnRhaW5lcgVtVHlwZQRtUkdCEG1UaGVtZUNvbG9ySW5kZXgMbUF1dG9VcGRhdGVkCW1Nb2RpZmllZAQCAAAAAAAfQXBsb3Jpcy5CYXNlLk9iamVjdHMuTGluZUZvcm1hdAMAAAAICAgBAQMAAAAJsQIAAAoBAAAAAAAAAP////8AAQ+JAwAAAQAAAAivAwAAAYoDAAB4AAAACgoAAAAAAAAAAA0AAAAAAAGLAwAAeAAAAAoKAAAAAAAAAAANAAAAAAEHjAMAAAABAAAABAAAAAQdQXBsb3Jpcy5CYXNlLk9iamVjdHMuVmFyaWFibGUDAAAAAQkEAACSAwAAAQAAAAAAAAABCgQAAJIDAAAAAAAAAAAAAAELBAAAkgMAAAAAAAAAAAAAAQwEAACSAwAAAAAAAAAAAAAPjQMAAAEAAAAIJAAAAAWOAw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0EAAAJDgQAAAoJDwQAAAoJBwEAAAgGpv7Uk5nZ3T8KAAAAAAkQBAAACREEAAAAAAAAAAkSBAAACQcBAAAJAQAAAAkTBAAAAY8DAACOAwAACRQEAAAJFQQAAAoJFgQAAAoJBwEAAAgGv5OeGKdPsT8KAQAAAAkXBAAACRgEAAAAAAAAAAkZBAAACQcBAAAJAQAAAAkaBAAAAZADAACOAwAACRsEAAAJHAQAAAoJHQQAAAoJBwEAAAgGAIxws1f3nD8KAgAAAAkeBAAACR8EAAAAAAAAAAkgBAAACQcBAAAJAQAAAAkhBAAAAZEDAACOAwAACSIEAAAJIwQAAAoJJAQAAAoJBwEAAAgG/R8Hon4Juj8KAwAAAAklBAAACSYEAAAAAAAAAAknBAAACQcBAAAJAQAAAAkoBAAAAZYDAACOAwAACSkEAAAJKgQAAAoJKwQAAAoJCAEAAAgGqJOujWOf4D8KAAAAAAksBAAACS0EAAAAAAAAAAkuBAAACQgBAAAJAQAAAAkvBAAAAZcDAACOAwAACTAEAAAJMQQAAAoJMgQAAAoJCAEAAAgGGQFLh2HK4j8KAQAAAAkzBAAACTQEAAAAAAAAAAk1BAAACQgBAAAJAQAAAAk2BAAAAZgDAACOAwAACTcEAAAJOAQAAAoJOQQAAAoJCAEAAAgGwJI+FurT4D8KAgAAAAk6BAAACTsEAAAAAAAAAAk8BAAACQgBAAAJAQAAAAk9BAAAAZkDAACOAwAACT4EAAAJPwQAAAoJQAQAAAoJCAEAAAgGDyVfQKPL4j8KAwAAAAlBBAAACUIEAAAAAAAAAAlDBAAACQgBAAAJAQAAAAlEBAAAAZ4DAACOAwAACUUEAAAJRgQAAAoJRwQAAAoJCQEAAAgG3UC7GerzjD8KAAAAAAlIBAAACUkEAAAAAAAAAAlKBAAACQkBAAAJAQAAAAlLBAAAAZ8DAACOAwAACUwEAAAJTQQAAAoJTgQAAAoJCQEAAAgG5VhCK1MX1j8KAQAAAAlPBAAACVAEAAAAAAAAAAlRBAAACQkBAAAJAQAAAAlSBAAAAaADAACOAwAACVMEAAAJVAQAAAoJVQQAAAoJCQEAAAgGzdFLWLaI3D8KAgAAAAlWBAAACVcEAAAAAAAAAAlYBAAACQkBAAAJAQAAAAlZBAAAAaEDAACOAwAACVoEAAAJWwQAAAoJXAQAAAoJCQEAAAgG4O2/1lnm0z8KAwAAAAldBAAACV4EAAAAAAAAAAlfBAAACQkBAAAJAQAAAAlgBAAAAaYDAAB4AAAACgoAAAAAAAAAAA0AAAAAAQGnAwAAeAAAAAoKAQAAAAAAAAD/////AAEHqAMAAAABAAAABAAAAAQdQXBsb3Jpcy5CYXNlLk9iamVjdHMuVmFyaWFibGUDAAAAAWEEAACSAwAAAQAAAAAAAAABYgQAAJIDAAAAAAAAAAAAAAFjBAAAkgMAAAAAAAAAAAAAAWQEAACSAwAAAAAAAAAAAAAPqQMAAAEAAAAIAAAAAAGuAwAAeAAAAAoKAAAAAAAAAAANAAAAAAEBrwMAAHgAAAAKCgEAAAAAAAAA/////wABB7ADAAAAAQAAAAQAAAAEHUFwbG9yaXMuQmFzZS5PYmplY3RzLlZhcmlhYmxlAwAAAAFlBAAAkgMAAAEAAAAAAAAAAWYEAACSAwAAAAAAAAAAAAABZwQAAJIDAAAAAAAAAAAAAAFoBAAAkgMAAAAAAAAAAAAAD7EDAAABAAAACAAAAAABtgMAAHgAAAAKCgAAAAAAAAAADQAAAAABAbcDAAB4AAAACgoBAAAAAAAAAP////8AAQe4AwAAAAEAAAAEAAAABB1BcGxvcmlzLkJhc2UuT2JqZWN0cy5WYXJpYWJsZQMAAAABaQQAAJIDAAABAAAAAAAAAAFqBAAAkgMAAAAAAAAAAAAAAWsEAACSAwAAAAAAAAAAAAABbAQAAJIDAAAAAAAAAAAAAA+5AwAAAQAAAAgAAAAAAb4DAAB4AAAACgoAAAAAAAAAAA0AAAAAAQG/AwAAeAAAAAoKAQAAAAAAAAD/////AAEHwAMAAAABAAAABAAAAAQdQXBsb3Jpcy5CYXNlLk9iamVjdHMuVmFyaWFibGUDAAAAAW0EAACSAwAAAQAAAAAAAAABbgQAAJIDAAAAAAAAAAAAAAFvBAAAkgMAAAAAAAAAAAAAAXAEAACSAwAAAAAAAAAAAAAPwQMAAAEAAAAIAAAAAAHGAwAAeAAAAAoKAAAAAAAAAAANAAAAAAABxwMAAHgAAAAKCgEAAAAAAAAA/////wABB8gDAAAAAQAAAAQAAAAEHUFwbG9yaXMuQmFzZS5PYmplY3RzLlZhcmlhYmxlAwAAAAFxBAAAkgMAAAEAAAAAAAAAAXIEAACSAwAAAAAAAAAAAAABcwQAAJIDAAAAAAAAAAAAAAF0BAAAkgMAAAAAAAAAAAAAD8kDAAABAAAACEUDAAABygMAAHgAAAAKCgAAAAD///8ADgAAAAAABcsDAAAaQXBsb3Jpcy5CYXNlLk9iamVjdHMuQ29sb3IHAAAAEkRhdGFPYmplY3QrbVBhcmVudBVEYXRhT2JqZWN0K21Db250YWluZXIFbVR5cGUEbVJHQhBtVGhlbWVDb2xvckluZGV4DG1BdXRvVXBkYXRlZAltTW9kaWZpZWQEAgAAAAAAH0FwbG9yaXMuQmFzZS5PYmplY3RzLkxpbmVGb3JtYXQDAAAACAgIAQEDAAAACRUDAAAKAQAAAAAAAAD/////AAEBzAMAAHgAAAAKCgEAAAAFKW4A/////wAAAc0DAAB4AAAACgoBAAAA////AP////8AAA/OAwAAAQAAAAhHAwAAAc8DAAB4AAAACgoAAAAAAAAAAA0AAAAAAAHQAwAAeAAAAAoKAQAAAAAAAAD/////AAEH0QMAAAABAAAABAAAAAQdQXBsb3Jpcy5CYXNlLk9iamVjdHMuVmFyaWFibGUDAAAAAXUEAACSAwAAAQAAAAAAAAABdgQAAJIDAAAAAAAAAAAAAAF3BAAAkgMAAAAAAAAAAAAAAXgEAACSAwAAAAAAAAAAAAAP0gMAAAEAAAAIQwMAAAHTAwAAeAAAAAoKAAAAAP///wAOAAAAAAAF1AMAABpBcGxvcmlzLkJhc2UuT2JqZWN0cy5Db2xvcgcAAAASRGF0YU9iamVjdCttUGFyZW50FURhdGFPYmplY3QrbUNvbnRhaW5lcgVtVHlwZQRtUkdCEG1UaGVtZUNvbG9ySW5kZXgMbUF1dG9VcGRhdGVkCW1Nb2RpZmllZAQCAAAAAAAfQXBsb3Jpcy5CYXNlLk9iamVjdHMuTGluZUZvcm1hdAMAAAAICAgBAQMAAAAJKAMAAAoBAAAAAAAAAP////8AAQHVAwAAeAAAAAoKAQAAAEV11AD/////AAAB1gMAAHgAAAAKCgEAAAD///8A/////wAAD9cDAAABAAAACEgDAAAB2AMAAHgAAAAKCgAAAAAAAAAADQAAAAAAAdkDAAB4AAAACgoBAAAAAAAAAP////8AAQfaAwAAAAEAAAAEAAAABB1BcGxvcmlzLkJhc2UuT2JqZWN0cy5WYXJpYWJsZQMAAAABeQQAAJIDAAABAAAAAAAAAAF6BAAAkgMAAAAAAAAAAAAAAXsEAACSAwAAAAAAAAAAAAABfAQAAJIDAAAAAAAAAAAAAA/bAwAAAQAAAAhEAwAAAdwDAAB4AAAACgoAAAAA////AA4AAAAAAAXdAwAAGkFwbG9yaXMuQmFzZS5PYmplY3RzLkNvbG9yBwAAABJEYXRhT2JqZWN0K21QYXJlbnQVRGF0YU9iamVjdCttQ29udGFpbmVyBW1UeXBlBG1SR0IQbVRoZW1lQ29sb3JJbmRleAxtQXV0b1VwZGF0ZWQJbU1vZGlmaWVkBAIAAAAAAB9BcGxvcmlzLkJhc2UuT2JqZWN0cy5MaW5lRm9ybWF0AwAAAAgICAEBAwAAAAk6AwAACgEAAAAAAAAA/////wABAd4DAAB4AAAACgoBAAAAwdDtAP////8AAAHfAwAAeAAAAAoKAQAAAP///wD/////AAAP4AMAAAEAAAAIRgMAAAENBAAAJAEAAApYAgAAAX0EAACdAQAAAgAAAAF+BAAAngEAAAEAAAABfwQAABUAAACQ75lCcNYiQzzspkKIcu5CAYAEAACgAQAAAAAAAAAAoEAAAYEEAAAhAAAArmXtQhJzXkMBggQAAKAAAAAAAAAAAAAAAAAAAAAACYMEAAAAAAAACYQEAAAAAAGFBAAAqQAAAAAAAAABhgQAAHIAAAAAALhBAABAQQGHBAAAFQAAAC661ELRRVlDNBa/QaOLLkESg74/BogEAAADNDclCgmJBAAACakBAAA0AwAA/////wEBCgmKBAAAAQAKAAEOBAAAHAAAAAGLBAAAIQAAAJDvk0Lah45DAYwEAAAhAAAA5m0jQ3DWH0MJjQQAAAmOBAAAAAAAAAoBjwQAAHIAAAAAAAAAAAAAAAGQBAAAcgAAAAAAAAAAAAAAAAAAAAGRBAAAFQAAAAAAAAAAAAAAAAAAAAAAAACkAQAA/////wEBCgmSBAAAAQAKAAcPBAAAAAEAAAACAAAABBpBcGxvcmlzLkJhc2UuVUkuVmlzdWFsTGluZQMAAAAKCgcQBAAAAAEAAAADAAAABBVTeXN0ZW0uRHJhd2luZy5Qb2ludEYEAAAAAZMEAAAhAAAArmXtQhJzXkMBlAQAACEAAACQ741CEnNeQwGVBAAAIQAAAOZtJkMSc15DBxEEAAAAAQAAAAMAAAAEF0FwbG9yaXMuQmFzZS5BbmNob3JNb2RlAwAAAAGWBAAAoAAAAAAAAAABlwQAAKAAAAACAAAAAZgEAACgAAAABAAAAAESBAAAJQAAAAnnAQAAAAAAAAAAAAABEwQAACYAAAAJmQQAAAIAAAAGAAAAARQEAAAkAQAAClgCAAABmgQAAJ0BAAACAAAAAZsEAACeAQAAAQAAAAGcBAAAFQAAACsbXEPz84ZDOuymQuB8QkEBnQQAAKABAAAAAAAAAACgQAABngQAACEAAAAd64JD5v2JQwGfBAAAoAAAAAAAAAAAAAAAAAAAAAAJoAQAAAAAAAAJoQQAAAAAAaIEAACpAAAAAAAAAAGjBAAAcgAAAAAAgEEAAEBBAaQEAAAVAAAALrp8Q110h0N6LYxBo4suQRKDvj8GpQQAAAI3JQoJpgQAAAmpAQAANAMAAP////8BAQoJpwQAAAEACgABFQQAABwAAAABqAQAACEAAAArG1lD2oeOQwGpBAAAIQAAAKRImUPzc4VDCaoEAAAJqwQAAAAAAAAKAawEAAByAAAAAAAAAAAAAAABrQQAAHIAAAAAAAAAAAAAAAAAAAABrgQAABUAAAAAAAAAAAAAAAAAAAAAAAAApAEAAP////8BAQoJrwQAAAEACgAHFgQAAAABAAAAAgAAAAQaQXBsb3Jpcy5CYXNlLlVJLlZpc3VhbExpbmUDAAAACgoHFwQAAAABAAAAAwAAAAQVU3lzdGVtLkRyYXdpbmcuUG9pbnRGBAAAAAGwBAAAIQAAAB3rgkPm/YlDAbEEAAAhAAAAKxtWQ+b9iUMBsgQAACEAAACkyJpD5v2JQwcYBAAAAAEAAAADAAAABBdBcGxvcmlzLkJhc2UuQW5jaG9yTW9kZQMAAAABswQAAKAAAAAAAAAAAbQEAACgAAAAAgAAAAG1BAAAoAAAAAQAAAABGQQAACUAAAAJtgQAAAAAAAAAAAAAARoEAAAmAAAACbcEAAACAAAAAgAAAAEbBAAAJAEAAApYAgAAAbgEAACdAQAAAgAAAAG5BAAAngEAAAEAAAABugQAABUAAABGn7VDuTuMQ0DspkIAIcw/AbsEAACgAQAAAAAAAAAAoEAAAbwEAAAhAAAAznzKQ8qhjEMBvQQAAKAAAAAAAAAAAAAAAAAAAAAACb4EAAAAAAAACb8EAAABAAHABAAAqQAAAAAAAAABwQQAAHIAAAAAAIBBAABAQQHCBAAAFQAAAIsuxkMuuolDei2MQaOLLkESg74/BsMEAAACMyUKCcQEAAAJqQEAADQDAAD/////AQEKCcUEAAABAAoAARwEAAAcAAAAAcYEAAAhAAAARh+0Q9qHjkMBxwQAACEAAABW2uBDubuKQwnIBAAACckEAAAAAAAACgHKBAAAcgAAAAAAAAAAAAAAAcsEAAByAAAAAAAAAAAAAAAAAAAAAcwEAAAVAAAAAAAAAAAAAAAAAAAAAAAAAKQBAAD/////AQEKCc0EAAABAAoABx0EAAAAAQAAAAIAAAAEGkFwbG9yaXMuQmFzZS5VSS5WaXN1YWxMaW5lAwAAAAoKBx4EAAAAAQAAAAMAAAAEFVN5c3RlbS5EcmF3aW5nLlBvaW50RgQAAAABzgQAACEAAADOfMpDyqGMQwHPBAAAIQAAAEafskPKoYxDAdAEAAAhAAAAVlriQ8qhjEMHHwQAAAABAAAAAwAAAAQXQXBsb3Jpcy5CYXNlLkFuY2hvck1vZGUDAAAAAdEEAACgAAAAAAAAAAHSBAAAoAAAAAIAAAAB0wQAAKAAAAAEAAAAASAEAAAlAAAACbYEAAAAAAAAAAAAAAEhBAAAJgAAAAnUBAAAAgAAAAIAAAABIgQAACQBAAAKWAIAAAHVBAAAnQEAAAIAAAAB1gQAAJ4BAAABAAAAAdcEAAAVAAAA+DD9Q41ggkNA7KZC0HSqQQHYBAAAoAEAAAAAAAAAAKBAAAHZBAAAIQAAAEAHCUQ0tIdDAdoEAACgAAAAAAAAAAAAAAAAAAAAAAnbBAAAAAAAAAncBAAAAAAB3QQAAKkAAAAAAAAAAd4EAAByAAAAAAC4QQAAQEEB3wQAABUAAABGFwZEiy6FQzQWv0Gjiy5BEoO+PwbgBAAAAzEwJQoJ4QQAAAmpAQAANAMAAP////8BAQoJ4gQAAAEACgABIwQAABwAAAAB4wQAACEAAAD4sPtD2oeOQwHkBAAAIQAAAAQ2FESN4IBDCeUEAAAJ5gQAAAAAAAAKAecEAAByAAAAAAAAAAAAAAAB6AQAAHIAAAAAAAAAAAAAAAAAAAAB6QQAABUAAAAAAAAAAAAAAAAAAAAAAAAApAEAAP////8BAQoJ6gQAAAEACgAHJAQAAAABAAAAAgAAAAQaQXBsb3Jpcy5CYXNlLlVJLlZpc3VhbExpbmUDAAAACgoHJQQAAAABAAAAAwAAAAQVU3lzdGVtLkRyYXdpbmcuUG9pbnRGBAAAAAHrBAAAIQAAAEAHCUQ0tIdDAewEAAAhAAAA+DD6QzS0h0MB7QQAACEAAAAE9hRENLSHQwcmBAAAAAEAAAADAAAABBdBcGxvcmlzLkJhc2UuQW5jaG9yTW9kZQMAAAAB7gQAAKAAAAAAAAAAAe8EAACgAAAAAgAAAAHwBAAAoAAAAAQAAAABJwQAACUAAAAJCwIAAAAAAAAAAAAAASgEAAAmAAAACfEEAAACAAAAAgAAAAEpBAAAJAEAAApYAgAAAfIEAACdAQAAAgAAAAHzBAAAngEAAAEAAAAB9AQAABUAAACQ75lCHPe6QTzspkKMdwVDAfUEAACgAQAAAAAAAAAAoEAAAfYEAAAhAAAArmXtQlQ1tEIB9wQAAKAAAAAAAAAAAAAAAAAAAAAACfgEAAAAAAAACfkEAAAAAAH6BAAAqQAAAAAAAAAB+wQAAHIAAAAAALhBAABAQQH8BAAAFQAAAC661EJGF6lCNBa/QaOLLkESg74/Bv0EAAADNTIlCgn+BAAACakBAAA0AwAA/////wEBCgn/BAAAAQAKAAEqBAAAHAAAAAEABQAAIQAAAJDvk0Jw1h9DAQEFAAAhAAAA5m0jQxz3okEJAgUAAAkDBQAAAAAAAAoBBAUAAHIAAAAAAAAAAAAAAAEFBQAAcgAAAAAAAAAAAAAAAAAAAAEGBQAAFQAAAAAAAAAAAAAAAAAAAAAAAACkAQAA/////wEBCgkHBQAAAQAKAAcrBAAAAAEAAAACAAAABBpBcGxvcmlzLkJhc2UuVUkuVmlzdWFsTGluZQMAAAAKCgcsBAAAAAEAAAADAAAABBVTeXN0ZW0uRHJhd2luZy5Qb2ludEYEAAAAAQgFAAAhAAAArmXtQlQ1tEIBCQUAACEAAACQ741CVDW0QgEKBQAAIQAAAOZtJkNUNbRCBy0EAAAAAQAAAAMAAAAEF0FwbG9yaXMuQmFzZS5BbmNob3JNb2RlAwAAAAELBQAAoAAAAAAAAAABDAUAAKAAAAACAAAAAQ0FAACgAAAABAAAAAEuBAAAJQAAAAnnAQAAAAAAAAAAAAABLwQAACYAAAAJDgUAAAIAAAAGAAAAATAEAAAkAQAAClgCAAABDwUAAJ0BAAACAAAAARAFAACeAQAAAQAAAAERBQAAFQAAACsbXEO2f+BCOuymQguoF0MBEgUAAKABAAAAAAAAAACgQAABEwUAACEAAAAd64JD4BM8QwEUBQAAoAAAAAAAAAAAAAAAAAAAAAAJFQUAAAAAAAAJFgUAAAAAARcFAACpAAAAAAAAAAEYBQAAcgAAAAAAuEEAAEBBARkFAAAVAAAAAAB6Qy66NkM0Fr9Bo4suQRKDvj8GGgUAAAM1OSUKCRsFAAAJqQEAADQDAAD/////AQEKCRwFAAABAAoAATEEAAAcAAAAAR0FAAAhAAAAKxtZQ/NzhUMBHgUAACEAAACkSJlDtn/aQgkfBQAACSAFAAAAAAAACgEhBQAAcgAAAAAAAAAAAAAAASIFAAByAAAAAAAAAAAAAAAAAAAAASMFAAAVAAAAAAAAAAAAAAAAAAAAAAAAAKQBAAD/////AQEKCSQFAAABAAoABzIEAAAAAQAAAAIAAAAEGkFwbG9yaXMuQmFzZS5VSS5WaXN1YWxMaW5lAwAAAAoKBzMEAAAAAQAAAAMAAAAEFVN5c3RlbS5EcmF3aW5nLlBvaW50RgQAAAABJQUAACEAAAAd64JD4BM8QwEmBQAAIQAAACsbVkPgEzxDAScFAAAhAAAApMiaQ+ATPEMHNAQAAAABAAAAAwAAAAQXQXBsb3Jpcy5CYXNlLkFuY2hvck1vZGUDAAAAASgFAACgAAAAAAAAAAEpBQAAoAAAAAIAAAABKgUAAKAAAAAEAAAAATUEAAAlAAAACSsFAAAAAAAAAAAAAAE2BAAAJgAAAAksBQAAAgAAAAIAAAABNwQAACQBAAAKWAIAAAEtBQAAnQEAAAIAAAABLgUAAJ4BAAABAAAAAS8FAAAVAAAARp+1QzNHC0NA7KZCPzAHQwEwBQAAoAEAAAAAAAAAAKBAAAExBQAAIQAAAM58ykNS305DATIFAACgAAAAAAAAAAAAAAAAAAAAAAkzBQAAAAAAAAk0BQAAAAABNQUAAKkAAAAAAAAAATYFAAByAAAAAAC4QQAAQEEBNwUAABUAAAAXXcRDdNFJQzQWv0Gjiy5BEoO+PwY4BQAAAzUzJQoJOQUAAAmpAQAANAMAAP////8BAQoJOgUAAAEACgABOAQAABwAAAABOwUAACEAAABGH7RDubuKQwE8BQAAIQAAAFba4EMzRwhDCT0FAAAJPgUAAAAAAAAKAT8FAAByAAAAAAAAAAAAAAABQAUAAHIAAAAAAAAAAAAAAAAAAAABQQUAABUAAAAAAAAAAAAAAAAAAAAAAAAApAEAAP////8BAQoJQgUAAAEACgAHOQQAAAABAAAAAgAAAAQaQXBsb3Jpcy5CYXNlLlVJLlZpc3VhbExpbmUDAAAACgoHOgQAAAABAAAAAwAAAAQVU3lzdGVtLkRyYXdpbmcuUG9pbnRGBAAAAAFDBQAAIQAAAM58ykNS305DAUQFAAAhAAAARp+yQ1LfTkMBRQUAACEAAABWWuJDUt9OQwc7BAAAAAEAAAADAAAABBdBcGxvcmlzLkJhc2UuQW5jaG9yTW9kZQMAAAABRgUAAKAAAAAAAAAAAUcFAACgAAAAAgAAAAFIBQAAoAAAAAQAAAABPAQAACUAAAAJKwUAAAAAAAAAAAAAAT0EAAAmAAAACUkFAAACAAAAAgAAAAE+BAAAJAEAAApYAgAAAUoFAACdAQAAAgAAAAFLBQAAngEAAAEAAAABTAUAABUAAAD4MP1DBx3OQkDspkKWshdDAU0FAACgAQAAAAAAAAAAoEAAAU4FAAAhAAAAQAcJRM/nMkMBTwUAAKAAAAAAAAAAAAAAAAAAAAAACVAFAAAAAAAACVEFAAAAAAFSBQAAqQAAAAAAAAABUwUAAHIAAAAAALhBAABAQQFUBQAAFQAAAEYXBkTooi1DNBa/QaOLLkESg74/BlUFAAADNTklCglWBQAACakBAAA0AwAA/////wEBCglXBQAAAQAKAAE/BAAAHAAAAAFYBQAAIQAAAPiw+0ON4IBDAVkFAAAhAAAABDYURAcdyEIJWgUAAAlbBQAAAAAAAAoBXAUAAHIAAAAAAAAAAAAAAAFdBQAAcgAAAAAAAAAAAAAAAAAAAAFeBQAAFQAAAAAAAAAAAAAAAAAAAAAAAACkAQAA/////wEBCglfBQAAAQAKAAdABAAAAAEAAAACAAAABBpBcGxvcmlzLkJhc2UuVUkuVmlzdWFsTGluZQMAAAAKCgdBBAAAAAEAAAADAAAABBVTeXN0ZW0uRHJhd2luZy5Qb2ludEYEAAAAAWAFAAAhAAAAQAcJRM/nMkMBYQUAACEAAAD4MPpDz+cyQwFiBQAAIQAAAAT2FETP5zJDB0IEAAAAAQAAAAMAAAAEF0FwbG9yaXMuQmFzZS5BbmNob3JNb2RlAwAAAAFjBQAAoAAAAAAAAAABZAUAAKAAAAACAAAAAWUFAACgAAAABAAAAAFDBAAAJQAAAAkLAgAAAAAAAAAAAAABRAQAACYAAAAJZgUAAAIAAAACAAAAAUUEAAAkAQAAClgCAAABZwUAAJ0BAAACAAAAAWgFAACeAQAAAQAAAAFpBQAAFQAAAJDvmUJmyJNBPOymQgAAAAABagUAAKABAAAAAAAAAACgQAABawUAACEAAACuZe1CZsiTQQFsBQAAoAAAAAAAAAAAAAAAAAAAAAAJbQUAAAAAAAAJbgUAAAEAAW8FAACpAAAAAAAAAAFwBQAAcgAAAAAAgEEAAEBBAXEFAAAVAAAAAADcQuiiS0F6LYxBo4suQRKDvj8GcgUAAAIxJQoJcwUAAAmpAQAANAMAAP////8BAQoJdAUAAAEACgABRgQAABwAAAABdQUAACEAAACQ75NCHPeiQQF2BQAAIQAAAOZtI0OvmYRBCXcFAAAJeAUAAAAAAAAKAXkFAAByAAAAAAAAAAAAAAABegUAAHIAAAAAAAAAAAAAAAAAAAABewUAABUAAAAAAAAAAAAAAAAAAAAAAAAApAEAAP////8BAQoJfAUAAAEACgAHRwQAAAABAAAAAgAAAAQaQXBsb3Jpcy5CYXNlLlVJLlZpc3VhbExpbmUDAAAACgoHSAQAAAABAAAAAwAAAAQVU3lzdGVtLkRyYXdpbmcuUG9pbnRGBAAAAAF9BQAAIQAAAK5l7UJmyJNBAX4FAAAhAAAAkO+NQmbIk0EBfwUAACEAAADmbSZDZsiTQQdJBAAAAAEAAAADAAAABBdBcGxvcmlzLkJhc2UuQW5jaG9yTW9kZQMAAAABgAUAAKAAAAAAAAAAAYEFAACgAAAAAgAAAAGCBQAAoAAAAAQAAAABSgQAACUAAAAJ5wEAAAAAAAAAAAAAAUsEAAAmAAAACYMFAAACAAAABgAAAAFMBAAAJAEAAApYAgAAAYQFAACdAQAAAgAAAAGFBQAAngEAAAEAAAABhgUAABUAAAArG1xDr5mcQTrspkJKWa1CAYcFAACgAQAAAAAAAAAAoEAAAYgFAAAhAAAAHeuCQyKme0IBiQUAAKAAAAAAAAAAAAAAAAAAAAAACYoFAAAAAAAACYsFAAAAAAGMBQAAqQAAAAAAAAABjQUAAHIAAAAAALhBAABAQQGOBQAAFQAAAAAAekNFF2VCNBa/QaOLLkESg74/Bo8FAAADMzUlCgmQBQAACakBAAA0AwAA/////wEBCgmRBQAAAQAKAAFNBAAAHAAAAAGSBQAAIQAAACsbWUO2f9pCAZMFAAAhAAAApEiZQ6+ZhEEJlAUAAAmVBQAAAAAAAAoBlgUAAHIAAAAAAAAAAAAAAAGXBQAAcgAAAAAAAAAAAAAAAAAAAAGYBQAAFQAAAAAAAAAAAAAAAAAAAAAAAACkAQAA/////wEBCgmZBQAAAQAKAAdOBAAAAAEAAAACAAAABBpBcGxvcmlzLkJhc2UuVUkuVmlzdWFsTGluZQMAAAAKCgdPBAAAAAEAAAADAAAABBVTeXN0ZW0uRHJhd2luZy5Qb2ludEYEAAAAAZoFAAAhAAAAHeuCQyKme0IBmwUAACEAAAArG1ZDIqZ7QgGcBQAAIQAAAKTImkMipntCB1AEAAAAAQAAAAMAAAAEF0FwbG9yaXMuQmFzZS5BbmNob3JNb2RlAwAAAAGdBQAAoAAAAAAAAAABngUAAKAAAAACAAAAAZ8FAACgAAAABAAAAAFRBAAAJQAAAAkrBQAAAAAAAAAAAAABUgQAACYAAAAJoAUAAAIAAAACAAAAAVMEAAAkAQAAClgCAAABoQUAAJ0BAAACAAAAAaIFAACeAQAAAQAAAAGjBQAAFQAAAEaftUOvmZxBQOymQvpn40IBpAUAAKABAAAAAAAAAACgQAABpQUAACEAAADOfMpDadqYQgGmBQAAoAAAAAAAAAAAAAAAAAAAAAAJpwUAAAAAAAAJqAUAAAAAAakFAACpAAAAAAAAAAGqBQAAcgAAAAAAuEEAAEBBAasFAAAVAAAAF13EQ3TRjUI0Fr9Bo4suQRKDvj8GrAUAAAM0NSUKCa0FAAAJqQEAADQDAAD/////AQEKCa4FAAABAAoAAVQEAAAcAAAAAa8FAAAhAAAARh+0QzNHCEMBsAUAACEAAABW2uBDr5mEQQmxBQAACbIFAAAAAAAACgGzBQAAcgAAAAAAAAAAAAAAAbQFAAByAAAAAAAAAAAAAAAAAAAAAbUFAAAVAAAAAAAAAAAAAAAAAAAAAAAAAKQBAAD/////AQEKCbYFAAABAAoAB1UEAAAAAQAAAAIAAAAEGkFwbG9yaXMuQmFzZS5VSS5WaXN1YWxMaW5lAwAAAAoKB1YEAAAAAQAAAAMAAAAEFVN5c3RlbS5EcmF3aW5nLlBvaW50RgQAAAABtwUAACEAAADOfMpDadqYQgG4BQAAIQAAAEafskNp2phCAbkFAAAhAAAAVlriQ2namEIHVwQAAAABAAAAAwAAAAQXQXBsb3Jpcy5CYXNlLkFuY2hvck1vZGUDAAAAAboFAACgAAAAAAAAAAG7BQAAoAAAAAIAAAABvAUAAKAAAAAEAAAAAVgEAAAlAAAACSsFAAAAAAAAAAAAAAFZBAAAJgAAAAm9BQAAAgAAAAYAAAABWgQAACQBAAAKWAIAAAG+BQAAnQEAAAIAAAABvwUAAJ4BAAABAAAAAcAFAAAVAAAA+DD9Q6+ZnEFA7KZCm/aaQgHBBQAAoAEAAAAAAAAAAKBAAAHCBQAAIQAAAEAHCURzQ2lCAcMFAACgAAAAAAAAAAAAAAAAAAAAAAnEBQAAAAAAAAnFBQAAAAABxgUAAKkAAAAAAAAAAccFAAByAAAAAAC4QQAAQEEByAUAABUAAABGFwZEuuhSQjQWv0Gjiy5BEoO+PwbJBQAAAzMxJQoJygUAAAmpAQAANAMAAP////8BAQoJywUAAAEACgABWwQAABwAAAABzAUAACEAAAD4sPtDBx3IQgHNBQAAIQAAAAQ2FESvmYRBCc4FAAAJzwUAAAAAAAAKAdAFAAByAAAAAAAAAAAAAAAB0QUAAHIAAAAAAAAAAAAAAAAAAAAB0gUAABUAAAAAAAAAAAAAAAAAAAAAAAAApAEAAP////8BAQoJ0wUAAAEACgAHXAQAAAABAAAAAgAAAAQaQXBsb3Jpcy5CYXNlLlVJLlZpc3VhbExpbmUDAAAACgoHXQQAAAABAAAAAwAAAAQVU3lzdGVtLkRyYXdpbmcuUG9pbnRGBAAAAAHUBQAAIQAAAEAHCURzQ2lCAdUFAAAhAAAA+DD6Q3NDaUIB1gUAACEAAAAE9hREc0NpQgdeBAAAAAEAAAADAAAABBdBcGxvcmlzLkJhc2UuQW5jaG9yTW9kZQMAAAAB1wUAAKAAAAAAAAAAAdgFAACgAAAAAgAAAAHZBQAAoAAAAAQAAAABXwQAACUAAAAJCwIAAAAAAAAAAAAAAWAEAAAmAAAACdoFAAACAAAAAgAAAAGDBAAAIwAAAAoKAAAAAAAoQQl2AAAACXcAAAAJ2wUAAAAACdwFAAABhAQAAHgAAAAKCgEAAAAFKW4A/////wABAYkEAACtAAAACd0FAAABAAAAAwAAAAGKBAAAdQAAAAneBQAACgGNBAAAcAAAAAoKAAAAQD8J3wUAAAngBQAAAQAAAP7///8AAAAAAQAAAAAAAAAAAAAAAQAAAAAAAAAAAAABjgQAAHEAAAAKCgnhBQAACeIFAAABAAAA/v///wAAAAD/////AAABkgQAAHUAAAAJ4wUAAAoHmQQAAAABAAAABAAAAAQcQXBsb3Jpcy5CYXNlLlVJLlZpc3VhbE9iamVjdAMAAAAJDgQAAAkNBAAACgoBoAQAACMAAAAKCgAAAAAAKEEJdgAAAAl3AAAACeQFAAAAAAnlBQAAAaEEAAB4AAAACgoBAAAABSluAP////8AAQGmBAAArQAAAAnmBQAAAQAAAAMAAAABpwQAAHUAAAAJ5wUAAAoBqgQAAHAAAAAKCgAAAEA/CegFAAAJ6QUAAAEAAAD+////AAAAAAEAAAAAAAAAAAAAAAEAAAAAAAAAAAAAAasEAABxAAAACgoJ6gUAAAnrBQAAAQAAAP7///8AAAAA/////wAAAa8EAAB1AAAACewFAAAKB7YEAAAAAQAAAAAAAAAEH0FwbG9yaXMuQmFzZS5PYmplY3RzLkRhdGFPYmplY3QDAAAAB7cEAAAAAQAAAAQAAAAEHEFwbG9yaXMuQmFzZS5VSS5WaXN1YWxPYmplY3QDAAAACRUEAAAJFAQAAAoKAb4EAAAjAAAACgoAAAAAAChBCXYAAAAJdwAAAAntBQAAAAAJ7gUAAAG/BAAAeAAAAAoKAQAAAAUpbgD/////AAABxAQAAK0AAAAJ7wUAAAEAAAADAAAAAcUEAAB1AAAACfAFAAAKAcgEAABwAAAACgoAAABAPwnxBQAACfIFAAABAAAA/v///wAAAAABAAAAAAAAAAAAAAABAAAAAAAAAAAAAAHJBAAAcQAAAAoKCfMFAAAJ9AUAAAEAAAD+////AAAAAP////8AAAHNBAAAdQAAAAn1BQAACgfUBAAAAAEAAAAEAAAABBxBcGxvcmlzLkJhc2UuVUkuVmlzdWFsT2JqZWN0AwAAAAkcBAAACRsEAAAKCgHbBAAAIwAAAAoKAAAAAAAoQQl2AAAACXcAAAAJ9gUAAAAACfcFAAAB3AQAAHgAAAAKCgEAAAAFKW4A/////wABAeEEAACtAAAACfgFAAABAAAAAwAAAAHiBAAAdQAAAAn5BQAACgHlBAAAcAAAAAoKAAAAQD8J+gUAAAn7BQAAAQAAAP7///8AAAAAAQAAAAAAAAAAAAAAAQAAAAAAAAAAAAAB5gQAAHEAAAAKCgn8BQAACf0FAAABAAAA/v///wAAAAD/////AAAB6gQAAHUAAAAJ/gUAAAoH8QQAAAABAAAABAAAAAQcQXBsb3Jpcy5CYXNlLlVJLlZpc3VhbE9iamVjdAMAAAAJIwQAAAkiBAAACgoB+AQAACMAAAAKCgAAAAAAKEEJdgAAAAl3AAAACf8FAAAAAAkABgAAAfkEAAB4AAAACgoBAAAARXXUAP////8AAQH+BAAArQAAAAkBBgAAAQAAAAMAAAAB/wQAAHUAAAAJAgYAAAoBAgUAAHAAAAAKCgAAAEA/CQMGAAAJBAYAAAEAAAD+////AAAAAAEAAAAAAAAAAAAAAAEAAAAAAAAAAAAAAQMFAABxAAAACgoJBQYAAAkGBgAAAQAAAP7///8AAAAA/////wAAAQcFAAB1AAAACQcGAAAKBw4FAAAAAQAAAAQAAAAEHEFwbG9yaXMuQmFzZS5VSS5WaXN1YWxPYmplY3QDAAAACSoEAAAJKQQAAAoKARUFAAAjAAAACgoAAAAAAChBCXYAAAAJdwAAAAkIBgAAAAAJCQYAAAEWBQAAeAAAAAoKAQAAAEV11AD/////AAEBGwUAAK0AAAAJCgYAAAEAAAADAAAAARwFAAB1AAAACQsGAAAKAR8FAABwAAAACgoAAABAPwkMBgAACQ0GAAABAAAA/v///wAAAAABAAAAAAAAAAAAAAABAAAAAAAAAAAAAAEgBQAAcQAAAAoKCQ4GAAAJDwYAAAEAAAD+////AAAAAP////8AAAEkBQAAdQAAAAkQBgAACgcrBQAAAAEAAAAAAAAABB9BcGxvcmlzLkJhc2UuT2JqZWN0cy5EYXRhT2JqZWN0AwAAAAcsBQAAAAEAAAAEAAAABBxBcGxvcmlzLkJhc2UuVUkuVmlzdWFsT2JqZWN0AwAAAAkxBAAACTAEAAAKCgEzBQAAIwAAAAoKAAAAAAAoQQl2AAAACXcAAAAJEQYAAAAACRIGAAABNAUAAHgAAAAKCgEAAABFddQA/////wABATkFAACtAAAACRMGAAABAAAAAwAAAAE6BQAAdQAAAAkUBgAACgE9BQAAcAAAAAoKAAAAQD8JFQYAAAkWBgAAAQAAAP7///8AAAAAAQAAAAAAAAAAAAAAAQAAAAAAAAAAAAABPgUAAHEAAAAKCgkXBgAACRgGAAABAAAA/v///wAAAAD/////AAABQgUAAHUAAAAJGQYAAAoHSQUAAAABAAAABAAAAAQcQXBsb3Jpcy5CYXNlLlVJLlZpc3VhbE9iamVjdAMAAAAJOAQAAAk3BAAACgoBUAUAACMAAAAKCgAAAAAAKEEJdgAAAAl3AAAACRoGAAAAAAkbBgAAAVEFAAB4AAAACgoBAAAARXXUAP////8AAQFWBQAArQAAAAkcBgAAAQAAAAMAAAABVwUAAHUAAAAJHQYAAAoBWgUAAHAAAAAKCgAAAEA/CR4GAAAJHwYAAAEAAAD+////AAAAAAEAAAAAAAAAAAAAAAEAAAAAAAAAAAAAAVsFAABxAAAACgoJIAYAAAkhBgAAAQAAAP7///8AAAAA/////wAAAV8FAAB1AAAACSIGAAAKB2YFAAAAAQAAAAQAAAAEHEFwbG9yaXMuQmFzZS5VSS5WaXN1YWxPYmplY3QDAAAACT8EAAAJPgQAAAoKAW0FAAAjAAAACgoAAAAAAChBCXYAAAAJdwAAAAkjBgAAAAAJJAYAAAFuBQAAeAAAAAoKAQAAAMHQ7QD/////AAABcwUAAK0AAAAJJQYAAAEAAAADAAAAAXQFAAB1AAAACSYGAAAKAXcFAABwAAAACgoAAABAPwknBgAACSgGAAABAAAA/v///wAAAAABAAAAAAAAAAAAAAABAAAAAAAAAAAAAAF4BQAAcQAAAAoKCSkGAAAJKgYAAAEAAAD+////AAAAAP////8AAAF8BQAAdQAAAAkrBgAACgeDBQAAAAEAAAAEAAAABBxBcGxvcmlzLkJhc2UuVUkuVmlzdWFsT2JqZWN0AwAAAAlGBAAACUUEAAAKCgGKBQAAIwAAAAoKAAAAAAAoQQl2AAAACXcAAAAJLAYAAAAACS0GAAABiwUAAHgAAAAKCgEAAADB0O0A/////wABAZAFAACtAAAACS4GAAABAAAAAwAAAAGRBQAAdQAAAAkvBgAACgGUBQAAcAAAAAoKAAAAQD8JMAYAAAkxBgAAAQAAAP7///8AAAAAAQAAAAAAAAAAAAAAAQAAAAAAAAAAAAABlQUAAHEAAAAKCgkyBgAACTMGAAABAAAA/v///wAAAAD/////AAABmQUAAHUAAAAJNAYAAAoHoAUAAAABAAAABAAAAAQcQXBsb3Jpcy5CYXNlLlVJLlZpc3VhbE9iamVjdAMAAAAJTQQAAAlMBAAACgoBpwUAACMAAAAKCgAAAAAAKEEJdgAAAAl3AAAACTUGAAAAAAk2BgAAAagFAAB4AAAACgoBAAAAwdDtAP////8AAQGtBQAArQAAAAk3BgAAAQAAAAMAAAABrgUAAHUAAAAJOAYAAAoBsQUAAHAAAAAKCgAAAEA/CTkGAAAJOgYAAAEAAAD+////AAAAAAEAAAAAAAAAAAAAAAEAAAAAAAAAAAAAAbIFAABxAAAACgoJOwYAAAk8BgAAAQAAAP7///8AAAAA/////wAAAbYFAAB1AAAACT0GAAAKB70FAAAAAQAAAAQAAAAEHEFwbG9yaXMuQmFzZS5VSS5WaXN1YWxPYmplY3QDAAAACVQEAAAJUwQAAAoKAcQFAAAjAAAACgoAAAAAAChBCXYAAAAJdwAAAAk+BgAAAAAJPwYAAAHFBQAAeAAAAAoKAQAAAMHQ7QD/////AAEBygUAAK0AAAAJQAYAAAEAAAADAAAAAcsFAAB1AAAACUEGAAAKAc4FAABwAAAACgoAAABAPwlCBgAACUMGAAABAAAA/v///wAAAAABAAAAAAAAAAAAAAABAAAAAAAAAAAAAAHPBQAAcQAAAAoKCUQGAAAJRQYAAAEAAAD+////AAAAAP////8AAAHTBQAAdQAAAAlGBgAACgfaBQAAAAEAAAAEAAAABBxBcGxvcmlzLkJhc2UuVUkuVmlzdWFsT2JqZWN0AwAAAAlbBAAACVoEAAAKCgHbBQAAeAAAAAoKAAAAAP///wAOAAAAAAAB3AUAAHgAAAAKCgAAAAD///8ADgAAAAABB90FAAAAAQAAAAQAAAAEHUFwbG9yaXMuQmFzZS5PYmplY3RzLlZhcmlhYmxlAwAAAAFHBgAAkgMAAAEAAAAAAAAAAUgGAACSAwAAAAAAAAAAAAABSQYAAJIDAAAAAAAAAAAAAAFKBgAAkgMAAAAAAAAAAAAAD94FAAABAAAACGcDAAAF3wUAABpBcGxvcmlzLkJhc2UuT2JqZWN0cy5Db2xvcgcAAAASRGF0YU9iamVjdCttUGFyZW50FURhdGFPYmplY3QrbUNvbnRhaW5lcgVtVHlwZQRtUkdCEG1UaGVtZUNvbG9ySW5kZXgMbUF1dG9VcGRhdGVkCW1Nb2RpZmllZAQCAAAAAAAfQXBsb3Jpcy5CYXNlLk9iamVjdHMuTGluZUZvcm1hdAMAAAAICAgBAQMAAAAJjQQAAAoAAAAA////AA4AAAAAAAXgBQAAGkFwbG9yaXMuQmFzZS5PYmplY3RzLkNvbG9yBwAAABJEYXRhT2JqZWN0K21QYXJlbnQVRGF0YU9iamVjdCttQ29udGFpbmVyBW1UeXBlBG1SR0IQbVRoZW1lQ29sb3JJbmRleAxtQXV0b1VwZGF0ZWQJbU1vZGlmaWVkBAIAAAAAAB9BcGxvcmlzLkJhc2UuT2JqZWN0cy5MaW5lRm9ybWF0AwAAAAgICAEBAwAAAAmNBAAACgEAAAAAAAAA/////wABAeEFAAB4AAAACgoBAAAABSluAP////8AAAHiBQAAeAAAAAoKAQAAAP///wD/////AAAP4wUAAAEAAAAIVwMAAAHkBQAAeAAAAAoKAAAAAP///wAOAAAAAAAB5QUAAHgAAAAKCgAAAAD///8ADgAAAAABB+YFAAAAAQAAAAQAAAAEHUFwbG9yaXMuQmFzZS5PYmplY3RzLlZhcmlhYmxlAwAAAAFLBgAAkgMAAAEAAAAAAAAAAUwGAACSAwAAAAAAAAAAAAABTQYAAJIDAAAAAAAAAAAAAAFOBgAAkgMAAAAAAAAAAAAAD+cFAAABAAAACGoCAAAF6AUAABpBcGxvcmlzLkJhc2UuT2JqZWN0cy5Db2xvcgcAAAASRGF0YU9iamVjdCttUGFyZW50FURhdGFPYmplY3QrbUNvbnRhaW5lcgVtVHlwZQRtUkdCEG1UaGVtZUNvbG9ySW5kZXgMbUF1dG9VcGRhdGVkCW1Nb2RpZmllZAQCAAAAAAAfQXBsb3Jpcy5CYXNlLk9iamVjdHMuTGluZUZvcm1hdAMAAAAICAgBAQMAAAAJqgQAAAoAAAAA////AA4AAAAAAAXpBQAAGkFwbG9yaXMuQmFzZS5PYmplY3RzLkNvbG9yBwAAABJEYXRhT2JqZWN0K21QYXJlbnQVRGF0YU9iamVjdCttQ29udGFpbmVyBW1UeXBlBG1SR0IQbVRoZW1lQ29sb3JJbmRleAxtQXV0b1VwZGF0ZWQJbU1vZGlmaWVkBAIAAAAAAB9BcGxvcmlzLkJhc2UuT2JqZWN0cy5MaW5lRm9ybWF0AwAAAAgICAEBAwAAAAmqBAAACgEAAAAAAAAA/////wABAeoFAAB4AAAACgoBAAAABSluAP////8AAAHrBQAAeAAAAAoKAQAAAP///wD/////AAAP7AUAAAEAAAAIWgIAAAHtBQAAeAAAAAoKAAAAAP///wAOAAAAAAAB7gUAAHgAAAAKCgAAAAD///8ADgAAAAABB+8FAAAAAQAAAAQAAAAEHUFwbG9yaXMuQmFzZS5PYmplY3RzLlZhcmlhYmxlAwAAAAFPBgAAkgMAAAEAAAAAAAAAAVAGAACSAwAAAAAAAAAAAAABUQYAAJIDAAAAAAAAAAAAAAFSBgAAkgMAAAAAAAAAAAAAD/AFAAABAAAACHACAAAF8QUAABpBcGxvcmlzLkJhc2UuT2JqZWN0cy5Db2xvcgcAAAASRGF0YU9iamVjdCttUGFyZW50FURhdGFPYmplY3QrbUNvbnRhaW5lcgVtVHlwZQRtUkdCEG1UaGVtZUNvbG9ySW5kZXgMbUF1dG9VcGRhdGVkCW1Nb2RpZmllZAQCAAAAAAAfQXBsb3Jpcy5CYXNlLk9iamVjdHMuTGluZUZvcm1hdAMAAAAICAgBAQMAAAAJyAQAAAoAAAAA////AA4AAAAAAAXyBQAAGkFwbG9yaXMuQmFzZS5PYmplY3RzLkNvbG9yBwAAABJEYXRhT2JqZWN0K21QYXJlbnQVRGF0YU9iamVjdCttQ29udGFpbmVyBW1UeXBlBG1SR0IQbVRoZW1lQ29sb3JJbmRleAxtQXV0b1VwZGF0ZWQJbU1vZGlmaWVkBAIAAAAAAB9BcGxvcmlzLkJhc2UuT2JqZWN0cy5MaW5lRm9ybWF0AwAAAAgICAEBAwAAAAnIBAAACgEAAAAAAAAA/////wABAfMFAAB4AAAACgoBAAAABSluAP////8AAAH0BQAAeAAAAAoKAQAAAP///wD/////AAAP9QUAAAEAAAAIWQIAAAH2BQAAeAAAAAoKAAAAAP///wAOAAAAAAAB9wUAAHgAAAAKCgAAAAD///8ADgAAAAABB/gFAAAAAQAAAAQAAAAEHUFwbG9yaXMuQmFzZS5PYmplY3RzLlZhcmlhYmxlAwAAAAFTBgAAkgMAAAEAAAAAAAAAAVQGAACSAwAAAAAAAAAAAAABVQYAAJIDAAAAAAAAAAAAAAFWBgAAkgMAAAAAAAAAAAAAD/kFAAABAAAACKIDAAAF+gUAABpBcGxvcmlzLkJhc2UuT2JqZWN0cy5Db2xvcgcAAAASRGF0YU9iamVjdCttUGFyZW50FURhdGFPYmplY3QrbUNvbnRhaW5lcgVtVHlwZQRtUkdCEG1UaGVtZUNvbG9ySW5kZXgMbUF1dG9VcGRhdGVkCW1Nb2RpZmllZAQCAAAAAAAfQXBsb3Jpcy5CYXNlLk9iamVjdHMuTGluZUZvcm1hdAMAAAAICAgBAQMAAAAJ5QQAAAoAAAAA////AA4AAAAAAAX7BQAAGkFwbG9yaXMuQmFzZS5PYmplY3RzLkNvbG9yBwAAABJEYXRhT2JqZWN0K21QYXJlbnQVRGF0YU9iamVjdCttQ29udGFpbmVyBW1UeXBlBG1SR0IQbVRoZW1lQ29sb3JJbmRleAxtQXV0b1VwZGF0ZWQJbU1vZGlmaWVkBAIAAAAAAB9BcGxvcmlzLkJhc2UuT2JqZWN0cy5MaW5lRm9ybWF0AwAAAAgICAEBAwAAAAnlBAAACgEAAAAAAAAA/////wABAfwFAAB4AAAACgoBAAAABSluAP////8AAAH9BQAAeAAAAAoKAQAAAP///wD/////AAAP/gUAAAEAAAAIkQMAAAH/BQAAeAAAAAoKAAAAAP///wAOAAAAAAABAAYAAHgAAAAKCgAAAAD///8ADgAAAAABBwEGAAAAAQAAAAQAAAAEHUFwbG9yaXMuQmFzZS5PYmplY3RzLlZhcmlhYmxlAwAAAAFXBgAAkgMAAAEAAAAAAAAAAVgGAACSAwAAAAAAAAAAAAABWQYAAJIDAAAAAAAAAAAAAAFaBgAAkgMAAAAAAAAAAAAADwIGAAABAAAACGgDAAAFAwYAABpBcGxvcmlzLkJhc2UuT2JqZWN0cy5Db2xvcgcAAAASRGF0YU9iamVjdCttUGFyZW50FURhdGFPYmplY3QrbUNvbnRhaW5lcgVtVHlwZQRtUkdCEG1UaGVtZUNvbG9ySW5kZXgMbUF1dG9VcGRhdGVkCW1Nb2RpZmllZAQCAAAAAAAfQXBsb3Jpcy5CYXNlLk9iamVjdHMuTGluZUZvcm1hdAMAAAAICAgBAQMAAAAJAgUAAAoAAAAA////AA4AAAAAAAUEBgAAGkFwbG9yaXMuQmFzZS5PYmplY3RzLkNvbG9yBwAAABJEYXRhT2JqZWN0K21QYXJlbnQVRGF0YU9iamVjdCttQ29udGFpbmVyBW1UeXBlBG1SR0IQbVRoZW1lQ29sb3JJbmRleAxtQXV0b1VwZGF0ZWQJbU1vZGlmaWVkBAIAAAAAAB9BcGxvcmlzLkJhc2UuT2JqZWN0cy5MaW5lRm9ybWF0AwAAAAgICAEBAwAAAAkCBQAACgEAAAAAAAAA/////wABAQUGAAB4AAAACgoBAAAARXXUAP////8AAAEGBgAAeAAAAAoKAQAAAP///wD/////AAAPBwYAAAEAAAAIVgMAAAEIBgAAeAAAAAoKAAAAAP///wAOAAAAAAABCQYAAHgAAAAKCgAAAAD///8ADgAAAAABBwoGAAAAAQAAAAQAAAAEHUFwbG9yaXMuQmFzZS5PYmplY3RzLlZhcmlhYmxlAwAAAAFbBgAAkgMAAAEAAAAAAAAAAVwGAACSAwAAAAAAAAAAAAABXQYAAJIDAAAAAAAAAAAAAAFeBgAAkgMAAAAAAAAAAAAADwsGAAABAAAACDICAAAFDAYAABpBcGxvcmlzLkJhc2UuT2JqZWN0cy5Db2xvcgcAAAASRGF0YU9iamVjdCttUGFyZW50FURhdGFPYmplY3QrbUNvbnRhaW5lcgVtVHlwZQRtUkdCEG1UaGVtZUNvbG9ySW5kZXgMbUF1dG9VcGRhdGVkCW1Nb2RpZmllZAQCAAAAAAAfQXBsb3Jpcy5CYXNlLk9iamVjdHMuTGluZUZvcm1hdAMAAAAICAgBAQMAAAAJHwUAAAoAAAAA////AA4AAAAAAAUNBgAAGkFwbG9yaXMuQmFzZS5PYmplY3RzLkNvbG9yBwAAABJEYXRhT2JqZWN0K21QYXJlbnQVRGF0YU9iamVjdCttQ29udGFpbmVyBW1UeXBlBG1SR0IQbVRoZW1lQ29sb3JJbmRleAxtQXV0b1VwZGF0ZWQJbU1vZGlmaWVkBAIAAAAAAB9BcGxvcmlzLkJhc2UuT2JqZWN0cy5MaW5lRm9ybWF0AwAAAAgICAEBAwAAAAkfBQAACgEAAAAAAAAA/////wABAQ4GAAB4AAAACgoBAAAARXXUAP////8AAAEPBgAAeAAAAAoKAQAAAP///wD/////AAAPEAYAAAEAAAAIBAIAAAERBgAAeAAAAAoKAAAAAP///wAOAAAAAAABEgYAAHgAAAAKCgAAAAD///8ADgAAAAABBxMGAAAAAQAAAAQAAAAEHUFwbG9yaXMuQmFzZS5PYmplY3RzLlZhcmlhYmxlAwAAAAFfBgAAkgMAAAEAAAAAAAAAAWAGAACSAwAAAAAAAAAAAAABYQYAAJIDAAAAAAAAAAAAAAFiBgAAkgMAAAAAAAAAAAAADxQGAAABAAAACDYCAAAFFQYAABpBcGxvcmlzLkJhc2UuT2JqZWN0cy5Db2xvcgcAAAASRGF0YU9iamVjdCttUGFyZW50FURhdGFPYmplY3QrbUNvbnRhaW5lcgVtVHlwZQRtUkdCEG1UaGVtZUNvbG9ySW5kZXgMbUF1dG9VcGRhdGVkCW1Nb2RpZmllZAQCAAAAAAAfQXBsb3Jpcy5CYXNlLk9iamVjdHMuTGluZUZvcm1hdAMAAAAICAgBAQMAAAAJPQUAAAoAAAAA////AA4AAAAAAAUWBgAAGkFwbG9yaXMuQmFzZS5PYmplY3RzLkNvbG9yBwAAABJEYXRhT2JqZWN0K21QYXJlbnQVRGF0YU9iamVjdCttQ29udGFpbmVyBW1UeXBlBG1SR0IQbVRoZW1lQ29sb3JJbmRleAxtQXV0b1VwZGF0ZWQJbU1vZGlmaWVkBAIAAAAAAB9BcGxvcmlzLkJhc2UuT2JqZWN0cy5MaW5lRm9ybWF0AwAAAAgICAEBAwAAAAk9BQAACgEAAAAAAAAA/////wABARcGAAB4AAAACgoBAAAARXXUAP////8AAAEYBgAAeAAAAAoKAQAAAP///wD/////AAAPGQYAAAEAAAAIBwIAAAEaBgAAeAAAAAoKAAAAAP///wAOAAAAAAABGwYAAHgAAAAKCgAAAAD///8ADgAAAAABBxwGAAAAAQAAAAQAAAAEHUFwbG9yaXMuQmFzZS5PYmplY3RzLlZhcmlhYmxlAwAAAAFjBgAAkgMAAAEAAAAAAAAAAWQGAACSAwAAAAAAAAAAAAABZQYAAJIDAAAAAAAAAAAAAAFmBgAAkgMAAAAAAAAAAAAADx0GAAABAAAACKMDAAAFHgYAABpBcGxvcmlzLkJhc2UuT2JqZWN0cy5Db2xvcgcAAAASRGF0YU9iamVjdCttUGFyZW50FURhdGFPYmplY3QrbUNvbnRhaW5lcgVtVHlwZQRtUkdCEG1UaGVtZUNvbG9ySW5kZXgMbUF1dG9VcGRhdGVkCW1Nb2RpZmllZAQCAAAAAAAfQXBsb3Jpcy5CYXNlLk9iamVjdHMuTGluZUZvcm1hdAMAAAAICAgBAQMAAAAJWgUAAAoAAAAA////AA4AAAAAAAUfBgAAGkFwbG9yaXMuQmFzZS5PYmplY3RzLkNvbG9yBwAAABJEYXRhT2JqZWN0K21QYXJlbnQVRGF0YU9iamVjdCttQ29udGFpbmVyBW1UeXBlBG1SR0IQbVRoZW1lQ29sb3JJbmRleAxtQXV0b1VwZGF0ZWQJbU1vZGlmaWVkBAIAAAAAAB9BcGxvcmlzLkJhc2UuT2JqZWN0cy5MaW5lRm9ybWF0AwAAAAgICAEBAwAAAAlaBQAACgEAAAAAAAAA/////wABASAGAAB4AAAACgoBAAAARXXUAP////8AAAEhBgAAeAAAAAoKAQAAAP///wD/////AAAPIgYAAAEAAAAIkAMAAAEjBgAAeAAAAAoKAAAAAAAAAAANAAAAAAABJAYAAHgAAAAKCgAAAAAAAAAADQAAAAABByUGAAAAAQAAAAQAAAAEHUFwbG9yaXMuQmFzZS5PYmplY3RzLlZhcmlhYmxlAwAAAAFnBgAAkgMAAAEAAAAAAAAAAWgGAACSAwAAAAAAAAAAAAABaQYAAJIDAAAAAAAAAAAAAAFqBgAAkgMAAAAAAAAAAAAADyYGAAABAAAACGYDAAAFJwYAABpBcGxvcmlzLkJhc2UuT2JqZWN0cy5Db2xvcgcAAAASRGF0YU9iamVjdCttUGFyZW50FURhdGFPYmplY3QrbUNvbnRhaW5lcgVtVHlwZQRtUkdCEG1UaGVtZUNvbG9ySW5kZXgMbUF1dG9VcGRhdGVkCW1Nb2RpZmllZAQCAAAAAAAfQXBsb3Jpcy5CYXNlLk9iamVjdHMuTGluZUZvcm1hdAMAAAAICAgBAQMAAAAJdwUAAAoAAAAA////AA4AAAAAAAUoBgAAGkFwbG9yaXMuQmFzZS5PYmplY3RzLkNvbG9yBwAAABJEYXRhT2JqZWN0K21QYXJlbnQVRGF0YU9iamVjdCttQ29udGFpbmVyBW1UeXBlBG1SR0IQbVRoZW1lQ29sb3JJbmRleAxtQXV0b1VwZGF0ZWQJbU1vZGlmaWVkBAIAAAAAAB9BcGxvcmlzLkJhc2UuT2JqZWN0cy5MaW5lRm9ybWF0AwAAAAgICAEBAwAAAAl3BQAACgEAAAAAAAAA/////wABASkGAAB4AAAACgoBAAAAwdDtAP////8AAAEqBgAAeAAAAAoKAQAAAP///wD/////AAAPKwYAAAEAAAAIWAMAAAEsBgAAeAAAAAoKAAAAAAAAAAANAAAAAAABLQYAAHgAAAAKCgAAAAAAAAAADQAAAAABBy4GAAAAAQAAAAQAAAAEHUFwbG9yaXMuQmFzZS5PYmplY3RzLlZhcmlhYmxlAwAAAAFrBgAAkgMAAAEAAAAAAAAAAWwGAACSAwAAAAAAAAAAAAABbQYAAJIDAAAAAAAAAAAAAAFuBgAAkgMAAAAAAAAAAAAADy8GAAABAAAACEkCAAAFMAYAABpBcGxvcmlzLkJhc2UuT2JqZWN0cy5Db2xvcgcAAAASRGF0YU9iamVjdCttUGFyZW50FURhdGFPYmplY3QrbUNvbnRhaW5lcgVtVHlwZQRtUkdCEG1UaGVtZUNvbG9ySW5kZXgMbUF1dG9VcGRhdGVkCW1Nb2RpZmllZAQCAAAAAAAfQXBsb3Jpcy5CYXNlLk9iamVjdHMuTGluZUZvcm1hdAMAAAAICAgBAQMAAAAJlAUAAAoAAAAA////AA4AAAAAAAUxBgAAGkFwbG9yaXMuQmFzZS5PYmplY3RzLkNvbG9yBwAAABJEYXRhT2JqZWN0K21QYXJlbnQVRGF0YU9iamVjdCttQ29udGFpbmVyBW1UeXBlBG1SR0IQbVRoZW1lQ29sb3JJbmRleAxtQXV0b1VwZGF0ZWQJbU1vZGlmaWVkBAIAAAAAAB9BcGxvcmlzLkJhc2UuT2JqZWN0cy5MaW5lRm9ybWF0AwAAAAgICAEBAwAAAAmUBQAACgEAAAAAAAAA/////wABATIGAAB4AAAACgoBAAAAwdDtAP////8AAAEzBgAAeAAAAAoKAQAAAP///wD/////AAAPNAYAAAEAAAAIFgIAAAE1BgAAeAAAAAoKAAAAAAAAAAANAAAAAAABNgYAAHgAAAAKCgAAAAAAAAAADQAAAAABBzcGAAAAAQAAAAQAAAAEHUFwbG9yaXMuQmFzZS5PYmplY3RzLlZhcmlhYmxlAwAAAAFvBgAAkgMAAAEAAAAAAAAAAXAGAACSAwAAAAAAAAAAAAABcQYAAJIDAAAAAAAAAAAAAAFyBgAAkgMAAAAAAAAAAAAADzgGAAABAAAACNsCAAAFOQYAABpBcGxvcmlzLkJhc2UuT2JqZWN0cy5Db2xvcgcAAAASRGF0YU9iamVjdCttUGFyZW50FURhdGFPYmplY3QrbUNvbnRhaW5lcgVtVHlwZQRtUkdCEG1UaGVtZUNvbG9ySW5kZXgMbUF1dG9VcGRhdGVkCW1Nb2RpZmllZAQCAAAAAAAfQXBsb3Jpcy5CYXNlLk9iamVjdHMuTGluZUZvcm1hdAMAAAAICAgBAQMAAAAJsQUAAAoAAAAA////AA4AAAAAAAU6BgAAGkFwbG9yaXMuQmFzZS5PYmplY3RzLkNvbG9yBwAAABJEYXRhT2JqZWN0K21QYXJlbnQVRGF0YU9iamVjdCttQ29udGFpbmVyBW1UeXBlBG1SR0IQbVRoZW1lQ29sb3JJbmRleAxtQXV0b1VwZGF0ZWQJbU1vZGlmaWVkBAIAAAAAAB9BcGxvcmlzLkJhc2UuT2JqZWN0cy5MaW5lRm9ybWF0AwAAAAgICAEBAwAAAAmxBQAACgEAAAAAAAAA/////wABATsGAAB4AAAACgoBAAAAwdDtAP////8AAAE8BgAAeAAAAAoKAQAAAP///wD/////AAAPPQYAAAEAAAAIzQIAAAE+BgAAeAAAAAoKAAAAAAAAAAANAAAAAAABPwYAAHgAAAAKCgAAAAAAAAAADQAAAAABB0AGAAAAAQAAAAQAAAAEHUFwbG9yaXMuQmFzZS5PYmplY3RzLlZhcmlhYmxlAwAAAAFzBgAAkgMAAAEAAAAAAAAAAXQGAACSAwAAAAAAAAAAAAABdQYAAJIDAAAAAAAAAAAAAAF2BgAAkgMAAAAAAAAAAAAAD0EGAAABAAAACKEDAAAFQgYAABpBcGxvcmlzLkJhc2UuT2JqZWN0cy5Db2xvcgcAAAASRGF0YU9iamVjdCttUGFyZW50FURhdGFPYmplY3QrbUNvbnRhaW5lcgVtVHlwZQRtUkdCEG1UaGVtZUNvbG9ySW5kZXgMbUF1dG9VcGRhdGVkCW1Nb2RpZmllZAQCAAAAAAAfQXBsb3Jpcy5CYXNlLk9iamVjdHMuTGluZUZvcm1hdAMAAAAICAgBAQMAAAAJzgUAAAoAAAAA////AA4AAAAAAAVDBgAAGkFwbG9yaXMuQmFzZS5PYmplY3RzLkNvbG9yBwAAABJEYXRhT2JqZWN0K21QYXJlbnQVRGF0YU9iamVjdCttQ29udGFpbmVyBW1UeXBlBG1SR0IQbVRoZW1lQ29sb3JJbmRleAxtQXV0b1VwZGF0ZWQJbU1vZGlmaWVkBAIAAAAAAB9BcGxvcmlzLkJhc2UuT2JqZWN0cy5MaW5lRm9ybWF0AwAAAAgICAEBAwAAAAnOBQAACgEAAAAAAAAA/////wABAUQGAAB4AAAACgoBAAAAwdDtAP////8AAAFFBgAAeAAAAAoKAQAAAP///wD/////AAAPRgYAAAEAAAAIkgMAAAs="/>
</p:tagLst>
</file>

<file path=ppt/tags/tag716.xml><?xml version="1.0" encoding="utf-8"?>
<p:tagLst xmlns:a="http://schemas.openxmlformats.org/drawingml/2006/main" xmlns:r="http://schemas.openxmlformats.org/officeDocument/2006/relationships" xmlns:p="http://schemas.openxmlformats.org/presentationml/2006/main">
  <p:tag name="APLORISTAG" val="MqqyvQHz47eJaEyrz.912"/>
</p:tagLst>
</file>

<file path=ppt/tags/tag717.xml><?xml version="1.0" encoding="utf-8"?>
<p:tagLst xmlns:a="http://schemas.openxmlformats.org/drawingml/2006/main" xmlns:r="http://schemas.openxmlformats.org/officeDocument/2006/relationships" xmlns:p="http://schemas.openxmlformats.org/presentationml/2006/main">
  <p:tag name="APLORISTAG" val="MqqyvQHz47eJaEyrz.516"/>
</p:tagLst>
</file>

<file path=ppt/tags/tag718.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AFFQAAABlTeXN0ZW0uRHJhd2luZy5SZWN0YW5nbGVGBAAAAAF4AXkFd2lkdGgGaGVpZ2h0AAAAAAsLCwsEAAAA//9/////f////3////9//wEWAAAAFQAAAP//f////3////9/////f/8AAAAAAAUXAAAALEFwbG9yaXMuQ2hhcnQuQXhpc0JyZWFrK0F4aXNCcmVha0Rpc3BsYXlNb2RlAQAAAAd2YWx1ZV9fAAgCAAAAAQAAAAEBAQoKCRgAAAAKCgAAAAAACRkAAAAKCRoAAAAAAAAACgUbAAAAGUFwbG9yaXMuQ2hhcnQuT3JpZW50YXRpb24BAAAAB3ZhbHVlX18ACAIAAAABAAAACRwAAAABHQAAABUAAAD7kD1Cr5mEQUz7EkQ/PoZDAAQeAAAAC1N5c3RlbS5HdWlkCwAAAAJfYQJfYgJfYwJfZAJfZQJfZgJfZwJfaAJfaQJfagJfawAAAAAAAAAAAAAACAcHAgICAgICAgIAAAAAAAAAAAAAAAAAAAAAAAoKCR8AAAAACgoKAQAAAAAAAAD/////AAABIAAAABUAAACji9ZCRhe9QUf56UNbdH9DQegcQn8RI0NcjCFEo0usQwUhAAAAFVN5c3RlbS5EcmF3aW5nLlBvaW50RgIAAAABeAF5AAALCwQAAAACEsxDIo18QwYiAAAAEHZtRFo3Z0VSOUdxS3hJdU0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5A9QtqHjkMBLwAAACEAAABc1B5E2oeOQwkwAAAACTEAAAAJMgAAAAkzAAAAAAAAAAAAAAAAAAAACTQAAAAAAAAAAAAJNQAAAAkBAAAACQEAAAAJNgAAAAEHAAAABgAAAAkBAAAAATcAAAAnAAAAAAAAAM3MTD8AAAAIAQAJAQAAAAk4AAAACTkAAAABAAAAAAAAAAABAAAAAAAA8D8BmpmZmZmZuT8AAAAgQQEBCToAAAAKCTsAAAAJPAAAAAk9AAAAAT4AAAAhAAAA+5A9QtqHjkMBPwAAACEAAAD7kD1Cr5mEQQ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BXUUdCo4uaQ9JFWUMAAMhBCWUAAAAD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BQAAAAgBAAAAAgAAAAMAAAAEAAAABQAAAAUc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bgAAACEAAAD7kD1Cr5mEQQFvAAAAIQAAAFzUHkTah45DCXAAAAAJcQAAAAAAAAAKBXIAAAAUU3lzdGVtLkRyYXdpbmcuU2l6ZUYCAAAABXdpZHRoBmhlaWdodAAACwsEAAAAAAAAAAAAAAABcwAAAHIAAAAAAAAAAAAAAAAAAAABdAAAABUAAAAAAAAAAAAAAAAAAAAAAAAAFAAAAP////8BAQoJdQAAAAEACgAPHwAAAOE0AAACUEsDBBQABgAIAAAAIQBJEqz3jAEAAHg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d1OwjAUvjfxHZbemq3AhTGGwQXopZKID1DbA1vo2qan/L29ZwOMkrlJWOLNmq39/s52zobjXaGjDXjMrUlZP+mxCIy0KjfLlL3Pn+MHFmEQRgltDaRsD8jGo9ub4XzvACNCG0xZFoJ75BxlBoXAxDowtLOwvhCBbv2SOyFXYgl80Ovdc2lNABPiUHKw0XAKC7HWIXra0eODE4KzaHI4V0qlTDincykCGeXlLq/FbRpxG6POzMV2scglKCvXBVlKCD/1YkvxfxHwoLHBWY3CMXpCyMo9ZrnDu2OEV6q9zxVEM+HDiygoKN9pvrV+9WHtKmmuQ43aWR50HoTCDCAUOqnWpBC5+YN+dRh5tfQ7NlLmq4gv9DH4Jx+BPmzg1fX6UlQ0LcEx7DVgx2kPpG3KmfCg3oKnHujcwHfuFh/SFmVH4vX1/tkDJ942eaHlJKNO6fgdyBNvkz6No5m3DmlSerjcwGnilOjYERH4kEPjzPlSpDF7ueDZ0IFyjitQNdq8+m+MPgE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ABBmPgJAQAAz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zWrDMBCE74W+g9h7LdttQymRc2gp5NqmDyDktWViS0a7/fHbVyTUcSC4F9PjzqKZj5G03nx3rfjEQI13CrIkBYHO+LJxtYL33cvNAwhi7UrdeocKBiTYFNdX61dsNcdDZJueRHRxpMAy949SkrHYaUp8jy5uKh86zXEMtey12esaZZ6mKxmmHlCceYptqSBsy1sQu6GPyX97+6pqDD5789Gh4wsRkiMXRkMdamQFh/EoZkkEBXmZ4W5JBuKhjSWOEMd5Lv5+0XirA5ZvHOINTymm8hzMakkYo1vzZHXjTnWM0hxEtiTElw97soh8ghglkofN7OvI/xkm/21Gnv3B4gcAAP//AwBQSwMEFAAGAAgAAAAhAEBBgYLcAQAAFgMAAA8AAAB4bC93b3JrYm9vay54bWyMUslu2zAQvRfoPxC826QoyQkMS4HrBTXQBkGR5cxQtEWEi0BSlYKi/56RVLdOe+lpOAtn5r15q5veaPRd+qCcLXAypxhJK1yl7KnAD/f72TVGIXJbce2sLPCrDPim/Phh1Tn/8uzcC4IGNhS4jrFZEhJELQ0Pc9dIC5mj84ZHcP2JhMZLXoVaymg0YZQuiOHK4qnD0v9PD3c8KiG3TrRG2jg18VLzCOuHWjUBl6uj0vJxQoR409xyA3v3GiPNQ9xVKsqqwDm4rpPvAr5tPrVKQ5YtKM0wKX+jvPOIt9FtnAEQIdwpEVt4FJgOVQMPj0p24c+HwUX9k7KV6wqcXlEg9vXsMsrA7cbkk6piDROTZCiZYp+lOtURzsHSbBxALiaMBMKk0SI7ols32nkVtjxyONfA8AFQJBj5pYKHP1TJsOfll2+8Q3/Vpxf1bKgn51mCawEUDGZsnFFKofvgf3UV0DuQc+vu+bOWEHZWtN7DgTZQ8Isj2ccvIZYrsKj1qsA/rnKW7vJtOmP5Pp2t8x2dJYuUzRbZnuXZhrEsZz/P6jD9P/IwSngX3DHOhTNkUgYoShDZCzkK7HoSWLky/XLtRX3Yor3mJzjbBA92AZDnzchZ0uUbAAAA//8DAFBLAwQUAAYACAAAACEAKBtn0uQIAACogwAADQAAAHhsL3N0eWxlcy54bWzsXetvm0gQ/37S/Q+I6j4mPAw2RLarS1LfVepVlZKT7ivGaxuVhwW4dXq6//1mdsEY4oDxbh6qth9SHjOzs7957MKuh/H7XRQq30iaBUk8UY1LXVVI7CeLIF5N1L/vZxeOqmS5Fy+8MInJRH0gmfp++usv4yx/CMndmpBcARFxNlHXeb650rTMX5PIyy6TDYnhzjJJIy+H03SlZZuUeIsMmaJQM3V9qEVeEKtMwlXknyIk8tKv282Fn0QbLw/mQRjkD1SWqkT+1cdVnKTePARVd4bl+aVsevJIfBT4aZIly/wSxGnJchn45LGWruZqIGk6jrfRLMozxU+2cT5RB/tLCrvzcQEQDi1VYZ2+SRaghn6p/6ZqJXON0q5Tvnv3Tn+CcviYshCrFUpNx8skrnRzoePY/6uvcfI9nuEt0A0URqrpOPuhfPNCuGJgg34SJqmSg91AX3ol9iLCKG68MJinAZItvSgIH9hlEy9QUxd0UQDA40WNtcD+zpGqaMvFu6ypIF6QHQG0nEZr9946iTwkfNRYTW4p87n13x7of6wtZi9BYHU11sCKzzJ7BKklmVnS1XyizmY6/YdGqNzgjyAMlTsvzvBypykOBM1mpwoKnsD6LGH77lHQat1jHezWivYyA0+Eru9j3sQQggvTMWSfnKTxDIEpju8fNhBAMSRKhhKl66Bepd6DYdoHDBptcDqeJ+kCEnOZbTB42aXpOCTLHNBKg9Ua/8+TDfydJ3kOWWw6XgTeKom9EA61kqM4gO74JAzvMHn/s6xk25jLdsuD7AQDAYYwpjQ8hK4Uh0wiO4EWakyQdUom80kmxdtswocZCKei2RnIr86uac+r89/DYBVH5JDhS5rkxM/pqEWDsKbHgfJP69FUXjLB4FbauzD9WegNOkz/eRvNSTqjE4PKyBhI1ZlIF8AB+bj/Mld8aX0kPpBSWqJP4iPx4Un50n+k/0j/eb7xVMaXjC8ZXzK+4IGJPrzJ+bN8vmibz8vnr/bxQuIj8eEZT6X/SP+R/vN88zEZXzK+ZHzJ+Hqt5x2Zf2T+kflH5h+Zf9h+BPn+uT0fSnwkPjzjhfQf6T/Sf55vvnHWpirJxLMlTaIn0St2shZAyEFODnI8g5zMKDwZRUafjD6e6JP+I/1H+s/zPaLI+JLxJeNLxtdrLTnI/CPzj8w/Mv/I/MOWPOUWkPZ8KPGR+PCMF9J/pP9I/3m++YaMLxlfMr5kfL3WfP6t5Z83snqoHRaDYqWhDqtCOWcVhVJ2y+PVocD4ZXUoPHyiJE/JXZSJolWBaBGvpyo89ZbFJB+kIyyt5ZU1ppR1kgY/YHET6+P5UHSKsLJ2u2Wj2FVR6a+rRlYBh3H0x9LlVVYNa39WdPonVlT5nnqbe7KDGmDUuNojeHm8pQM4oW2XRqv/Cr68KsqwvfDCapGnRRe4ORqgHmvsrKzAVd49KV6wMJ368rqerhvWxGtztdGrQVekmpcHj8PQUDg2D3xMlFCC8BXsfpbqJwNtDGmBVpbgT46p/nmAqxeVCU4eq7BXremhDPk32pUDq0B14vauwChypEZJ2cG27PwiVqF1fZmDdVvF/qk6U9rgjTpZP8vAfP5NuRmd2MNU/qDca6PY637mr2CRXyj7m4Rh8p0slD+hiG0aBvFXqCBNJ/IGuN18G4R5EOO8Hmq8roPFgmC5cKz60kMQoCRGEDzOiREEVhYjCBKREEGmKLBNUWCbosA2RYFtigJ7IArsgSiwB6LAHogCeyAKbEsU2JYosC1RYFuiwLZEgY1TBSH5yBYFti0KbFsU2LYosIeiwB6KAhu/QSHE/ENRYA9FgT0SBfZIFNgjUWC7sOtNiNVceJYQIsjQRalk6OJ0gnc0gnoHc1kxkuDbIKIkCUPcEIa4IQxxQxjipjDETWGIw2c8BHmBKQxxUxjiA2GID4QhPhCG+EAY4gNhiFvCELeEIW4JQ9wShrjVD/FHbzjq7DBTaX3B8Yi9kfz789eN05+/bpL+/HVD9OfnxK+Rynu330jg/fk58Wsk6/7tc+LXSMy922+k4/78nPg1Um//9jnxa6TZ3u03kmt/fk78Gom0f/uc+Nn1Yap3+/DxscNpU39+Tvxszvxnc+I35MRvyIkfLnMePAb1xn/Iid+QE78RJ34jTvzc+puE3vi59RcIvfkNnVMBQ+fWoP6e6IwuAAuPDxqNVar+Ghi8IBq8IBq8IBq8IDZWn/qD2Fh1OkMAL4iNVaYzNOAFsbGq1F+DxmrSGQJ4QWysHp2hAS+IjdWi/ho0VonOEMALYmNV6AwN+oH4GT+oGZar9vXX5PR7i82V+i8kxT1DJUd9FKVfpG1y0I9+G5Y1cgaGaRoWeirbJHASOQ60jJx9dLj8Em2xBaEpHcdFRm4d22jQIB9i+mTkw1PI0ccZuXMK+WhPPjiBfIQvOpn0URu54zq261g6vjksyFuRLOhNfOQt6Fs7W9LjFL2gP0Uf06n0aUWnkG/hwmUhn33m+wnTlvSjPb1z1DVL2xb0tl7RH9100qTHR0qmj9PqaiB/BGA6uKrE6N0uPCm9s3dNtwsfpHf1vXwDDo/smjnoAGXAl/eFQl0Go/Q46BT0XQag9Pgaj9EbeheiI9uw6V5IxuC0BgAiivRg16IBpxNRpMc1q0J+ZweA3sT5XkHfmh0KfcwqwpxOQFE+DkBMvttpMKS3K/27IhjxMSuPczo9COmriHRb7QWuNnQd18YFV6a/AZsBWjyuZAA19gyntDDU9ykO1MMWql+TwL6zxa76vDhtP/fmIbnDD4/vd6IBxAuy9LZhfr+/OVGr47/IIthGMMYUVF+Cb0lORUzU6vgTfgUdkj9oAL8n+JTl9H9lmwYT9d8P1yP39sPMvHD0a+fCGhD7wrWvby9s6+b69nbm6qZ+8x90PArj7GpnWBN1neebK03L/DWJvOwyCvw0yZJlfunDx9WT5TLwiZZtUuItsjUheRRqpq67mqtFXhDjD2YM6yoLgSotOlsof1ddm6gHJ0x9ih+oDyiWndBoTrjDRqb/Aw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F9bkJwEEAABzDAAAGAAAAHhsL3dvcmtzaGVldHMvc2hlZXQyLnhtbIxXTY/bNhC9F+h/EHRqD7Y+LEu2YTtYWVISIIsumiY50xJlCyuJrsjd9aLof++QlB1xlDp7saX3hsN5M0N6vH53bmrrmXa8Yu3G9qaubdE2Z0XVHjb2l7+yycK2uCBtQWrW0o39Srn9bvvrL+sX1j3yI6XCAg8t39hHIU4rx+H5kTaET9mJtsCUrGuIgNfu4PBTR0mhFjW147tu6DSkam3tYdW9xQcryyqnCcufGtoK7aSjNREQPz9WJ37x1uRvcdeQ7vHpNMlZcwIX+6quxKtyaltNvvp4aFlH9jXoPnsByS++1cvIfVPlHeOsFFNw5+hAx5qXztIBT9t1UYECmXaro+XGvvNW7z3XdrZrlaCvFX3hg2dL5nvP2KMkPhYb2wUXnNY0l8otAl/PdEfremN/CKFkfyun8AgOnavH4fPFe6Yq9NBZe8LpjtXfqkIcoRWgEwpakqda/MlePtDqcBSABpADmYpV8ZpQnkMNZCiXqBMiyHbdsRcLiulBGCciW8NbRRBtLsE7iW7sSC5RQKwBaDPwxMHseest1s4zhJr3JruLyWVNgoEUA5kGZtdt3mvAV/mAAK9R+j+MUqJGlBpYDqKcoyDHFqFpkYwtItMiHVu4pkWmLQa6NDDWNTN0WbJ4/uJaBcnqGl+zjpIe9yaQt6vJ0gxm93OT5OcmqTYZphbtk2mLgWgNjEVDd/6g5SSKxKK0xr2Jr/rP9zwk1KDnc1S2xKD9CDlPezoA56VK5pF0tLD1uU+DVQraeaWO9Ocv97/FwSoJfl87pToL7gwVJtPuBtnQwDgbcyMbuAUki7Liocjj3kanJcRZMdiFb+YsMVgPnYW0Z0c50XmAgw7XwBz3gV40UK6BsXJ5A36/epTyQIrQV5BksXKkLe5ttHLPn5nidgY9mwUmnRi0F2LxPX1LfIi3zPSigXgNjMVHN8VLFotHpYt7m148aoqdwQaITQwWi0h79pbyCOU602sGwjUwFi5HFVT1wZUnWSwcbRX3Nr1wfMMb7AI1Z2Kwc3Ro0569JdwLUR0yvWigXANj5fIC+X/lksXKUcfGvY1WjuLYGaSH2MRg0dWorjbY+5ZuH529TDscyNbAWLacUQa6L+dbwbDp9cc/7pHvLncjJBkh6QjJRogc2WRyB7HpaUtPQidyoPekO1Qtt2pawg+pO43g0ur0NKVfBDvJYK09E4I16vEIczKFacmdgnHJmLi8wMVIz+ITF+rbeurgZ+OfMHBdP5p5k7swdidz+eGHkTuJIt+Lo527DF3338vs2pzfNrg2JHfoOadqUF/oQX27bs6rh09frXtWwEwM0v9o6QNoVM/fPudEjspqHIS1EKP8VME6178L2/8A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PCMwqqaBAAA6AsAABgAAAB4bC93b3Jrc2hlZXRzL3NoZWV0MS54bWyUVlFv2zYQfh+w/6AJA7pisEVSEiUZtovYcrAALRo0W/tMS7QtRBI1iY6dDvvvPZK2bMZNkLxIInn67r77juSNP+yr0nngbVeIeuLiIXIdXmciL+r1xP3n7+tB7DqdZHXOSlHzifvIO/fD9NdfxjvR3ncbzqUDCHU3cTdSNiPP67INr1g3FA2vYWUl2opJGLZrr2taznL9U1V6BCHqVayoXYMwal+DIVarIuOpyLYVr6UBaXnJJMTfbYqmO6Lt81fh5S3bAddjPGchpmalx8PBRXxVkbWiEys5zETlmdAuWSZeYvGssgugnySrYu39thkAcAPklkVZyEdN13WqbHSzrkXLliUosscBy86iZJfwr48TkKbjvIDcqoJwWr6auFd4tAhcbzrWyn0t+K47+3YkW97xkmeS51BArqMKYynEvTK8gSkEiJ02UIgsk8UDn/OynLgzArX1r/YxI6OZ9uH1Tqbj0/fR4bWuptvWWbKOz0X5rcjlBrxC1eZ8xbalPE3Gw9gnyMck7Be/iN1fvFhvJPwSQMpU5kb5Y8q7DIpJhQosM1GCO3g6VaG2BOSb7Q0z443QIaUBogq4k49KAzBa8k5eFwrZdbJtJ0V1DO4AauCAsoaD987AJUO/j/ME9wKEf4CA9xGiDwTmXhkI8NeBAIkDynnCDoH4Vuz0mArqx/D7879h9ZtnEqn1TJlk03Erdg5sSkhQ1zB1ZOBRCMWRqckrNavXIIUdzD5Mg7H3oGAOFrNLC2RbzI0F5KDHwKFtkhoTiP5kQm2ThTEBsieTqDfxgETPRNXviYmj6+rESK1OXMjvCaeH0Zx1/QNn9cvDFA2hWkkUhiSJaQhlS3zbfG4AsQ/mq+m7L2znqLy+++33WeidDxdAemUg/dinQRQlcRQQDIPEhkwtyD/OQWb0T2sYvfes9YW9voje905xglGCkzBABLjEIbadLl5wGttOk6dO7fVFcnSaDEmcUBwFMfX9GPgGiwHp3VqiQXm8IJpatUU7wRjRjAWmB9FCn1IUg1sMTsM4PJWKNp8fzC9Fmz8rWojDiEApoAAyqAY9EQ2ZWpCWKHNblPkbRAv9yA+pTzAUCYrBte108YJTW5T5q0VDwzCEWiEhjX1EEYY09k4tyWC7viCZWrVPjicbB24WbREd9xn4wiFFNIHNgaFqeq9GsoP5pWTps5JhaGagAn0U44jC4AlkakFakqW2ZOkbJCMRhgRGJMB+lPgYPTnr4NLWtA0P26ktWfoGyXxbs9PeNoqZO9uc9w1b80+sXRd155R8BccgGkau05obWH9L0ehZOCWXQsKleRxtoFPkcC+gIRTeSgh5HMDNonDvuNw2jmgLuLh18zdxG9HKlhXSdTYw/13AQpk2xcQNSBIkNCIJHDzQ6soiu1wA2JKvWfZ4aPucdlTkE7e9yfVlxvfyYyenY3g72xYw/4MOAJHIx4MrOkODUD0IjdAgigieRXOUUIT+P7ZlFTQQT/rjn/ZkFcs8vs+47o5j0zVOx9V+dPvxq/NJ5NBqQKvzuea3kAL9/e0OyOhPdeVCeOapg/X6Hn36AwAA//8DAFBLAwQUAAYACAAAACEAdKIHt04BAADgAgAAFAAAAHhsL3NoYXJlZFN0cmluZ3MueG1sjJJNS8NAEIbvgv9h2LNt0lasSpIiiiDYXmzxPCTTZmEzWzOTYP69G+vFpILHfXbmnY93ktVn5aClWqzn1MymsQHi3BeWD6nZbZ8ntwZEkQt0nik1HYlZZZcXiYhCyGVJTal6vI8iyUuqUKb+SBx+9r6uUMOzPkRyrAkLKYm0ctE8jm+iCi0byH3Dmpr5tYGG7UdDjycwuzNZIjZLNNt6RZdEmiVRD07w4VATDeGGGq3HsU9W8Fz4GznKNcw91IlhAot4SBezgJcjvOzxLB7xnRD4PWwpL9k7f+iGet+TDuG7Lei0LGiErgCdCzuqR6OO4hQcYbAkmPSvBPY8OSf8aiurVAQd1/UtDBvceNA/R3phJRbbjrLWvqAadcR/qg2LrDuwLGq16e2BPVonoB4wLy21BMgQ9oQOsGithFMFCbH428soXGj2BQAA//8DAFBLAwQUAAYACAAAACEA6UmDQJ0CAAAPBwAAGwAAAHhsL2RyYXdpbmdzL3ZtbERyYXdpbmcxLnZtbOxVTW/bMAy991cI6iEXB/5oG7SqHaDo0Ns2YO22Y6HYSqxWH4bFOE5//SjZSZMVG4rtsMsM2KZJiuR7fIDzXiuCt3GsK+i6NcyVtdDcTbUsW+vsEqal1azTip6MifZ3iXa5lKVgw2t/pH/HEdGX4rWJxnFqgIbFseblN63uw1xfW0nnJyS3zNW8EYpv7RpIx0QPBRWVBB/1YVlp3hwFSMWBFzSlsS8QH1WY591QELaNILIq6GOf4PUIWZJRUlrbVk6+iIJm6SxJovCkBGs02NfnYNeGQ11QnUSJGjOGvKNn0othRGwIrX0W5MlK42CrsLiWINowH8GBfD2yanklhYEA1z4XFHzb0hojSvDTFrRFawR1gGIP6RCOS5PsgpLh3OkRxmGESWOdBGkN4wtn1RrENSLTvF1JM1ViCWx22cD16ADbsPTsHB0bWUHN0szbtZCrGliWoP0ylaYSPUt9mU46uZBKwpbVsqqEudbOTjctb6ahOwN/cEKWUqnSKtsW9HSJl0g9ZmRJgLYVIuZrsDsWfTIuCLOz13S/Yk8hslbZDbFm4G3hynUrcLsDX3uSfyLUWCP2WwCU1sL2ZOTHT1xJTzmSNOUKmB9m4vuRvJLdLs8fw7BcGeZpm8zzGKNhrLhjY9Hw2bNb5Tf8AeVJPi+esPRD2OsnC4NWSN6zj7YT3yXUt0IpF+B57z1q8q33xpS1bcNIJInI7DIiVxG5iEgakbMMX+hM0zzu2UEmVrtBJHdI5/yOKydCfOcJ8Hr2xW7m4aA3Rt8tykSbeeLzR9uT77/2uDA3R9hBxL8U5uzvhJmlXnwHysxedZl6e6fL9ECX2X9d/htdohQvziMvTxQkGmdBnVd/KsqgvreizN4vyhj/gvMfAAAA//8DAFBLAwQUAAYACAAAACEAM1hfDjYBAAAS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FfS8MwFMXfBb9DyXubdt2GhLYDlSHiQHBD8e2S3G3B5g9JtNu3N+tmnczHyzn3xzn3VrOdapMvdF4aXZMiy0mCmhsh9aYmq+U8vSGJD6AFtEZjTfboyay5vqq4Zdw4fHbGogsSfRJJ2jNua7INwTJKPd+iAp9Fh47i2jgFIY5uQy3wD9ggHeX5lCoMICAAPQBTOxDJCSn4gLSfru0BglNsUaEOnhZZQX+9AZ3y/y70yplTybC3sdMp7jlb8KM4uHdeDsau67Ku7GPE/AV9Wzy99FVTqQ+34kiaSnDGHUIwrqno+RAP14IPi3jjtURxu28ejYawBZ08GBcBKHVFL12R2Bdg6rSZxEzs2OBHei3v7pdz0ozyYpIWozQvl/mEjadsXL4fUvwFxGAXX2y+AQAA//8DAFBLAwQUAAYACAAAACEArU7jEg8BAAAiAgAAEAAAAHhsL2NvbW1lbnRzMS54bWy8UE1LxDAUvAv+h/DubtoeZJUmiwgrggfB9QfE5nUbyEfJyy5df71v7daDJ09CCJnJvJnhtZspeHHETC5FBfWqAoGxS9bFvYL33fZmDYKKidb4FFHBCQk2+vqq7VIIGAsJNoikYChlvJeSugGDoVUaMfJPn3IwhWHeSxozGksDYgleNlV1K4NxEXRrDmVImZaH1K38oS45L46KXkJFxl7BYw1ilj1bBRX7FJxYlPm88vXBPvQpjsYruAMGXfIpCxctTsgT6/pM5m2KZRbtzJCCOZO9Cc6fZrY5E/LbseinnA6jsEhddmPhnVErOVJynJzT5aXwr7IPzf+XfcPskP7Yduk9L3pBpL8AAAD//wMAUEsDBBQABgAIAAAAIQA/byhtjgEAACo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QW/bMAyF7wP2HwTdG7lZMQyBrKJoN/SwYsGSdmdOpmOhiiSIrJfs10+OkcbpDgN2I/menz5T0te7rRc9ZnIx1PJyVkmBwcbGhU0tH9dfLj5JQQyhAR8D1nKPJK/N+3d6mWPCzA5JlIhAteyY00Ipsh1ugWZFDkVpY94ClzZvVGxbZ/Eu2pctBlbzqvqocMcYGmwu0mugHBMXPf9vaBPtwEdP630qwEbfpOSdBS5/aR6czZFiy+IBrAscqROfdxa9VlObLpwrtC/Z8d5UWk1bvbLg8bYcYVrwhFqdBvoeYVjfElwmo3te9Gg5ZkHud1ngXIqfQDiA1bKH7CBwARxsY3OofSLO5kfMz9QhMmlVDOPwUE6909pdmfnBUIpz4xAwghThHHHt2CN9a5eQ+V/EB4aRd8S5ST5mR3fAMIV8xf0Ov8Rb8YzlzelfXXimx7SO5SM8bvd8qFcdZGzKhRz100Dfl8VmP4TcdhA22Bw9fwvDq3gan765vJpVH6pyzZOZVqdHbv4AAAD//wMAUEsDBBQABgAIAAAAIQAX7MrRzQAAAJcBAAAQAAAAeGwvY2FsY0NoYWluLnhtbGyQWw7CIBBF/03cA5l/pb4fKe1HW1egCyB0tE14NECM7l5SXw36yeHcOwNpflOSXNG61mgGs2kCBLUwdasvDE7Hw2QLxHmuay6NRgZ3dJBn41EquBRFw1tNQoN2DBrvuz2lTjSouJuaDnW4ORuruA9He6Gus8hr1yB6Jek8SdZUhQLIUkEsg2oFpGWwACLDJkBfuJj3+Auq9ct7G9UmAuVPZBcZVXhWP+vTsfwPBmPDYiEyAPGU8tnxNco4UsRGMTDo50uzBwAAAP//AwBQSwECLQAUAAYACAAAACEASRKs94wBAAB4BgAAEwAAAAAAAAAAAAAAAAAAAAAAW0NvbnRlbnRfVHlwZXNdLnhtbFBLAQItABQABgAIAAAAIQBQfE7B9gAAAEwCAAALAAAAAAAAAAAAAAAAAMUDAABfcmVscy8ucmVsc1BLAQItABQABgAIAAAAIQAAQZj4CQEAAMwDAAAaAAAAAAAAAAAAAAAAAOwGAAB4bC9fcmVscy93b3JrYm9vay54bWwucmVsc1BLAQItABQABgAIAAAAIQBAQYGC3AEAABYDAAAPAAAAAAAAAAAAAAAAADUJAAB4bC93b3JrYm9vay54bWxQSwECLQAUAAYACAAAACEAKBtn0uQIAACogwAADQAAAAAAAAAAAAAAAAA+CwAAeGwvc3R5bGVzLnhtbFBLAQItABQABgAIAAAAIQDnZXW41gAAALgBAAAjAAAAAAAAAAAAAAAAAE0UAAB4bC93b3Jrc2hlZXRzL19yZWxzL3NoZWV0MS54bWwucmVsc1BLAQItABQABgAIAAAAIQAX1uQnAQQAAHMMAAAYAAAAAAAAAAAAAAAAAGQVAAB4bC93b3Jrc2hlZXRzL3NoZWV0Mi54bWxQSwECLQAUAAYACAAAACEA+2KlbZQGAACnGwAAEwAAAAAAAAAAAAAAAACbGQAAeGwvdGhlbWUvdGhlbWUxLnhtbFBLAQItABQABgAIAAAAIQDwjMKqmgQAAOgLAAAYAAAAAAAAAAAAAAAAAGAgAAB4bC93b3Jrc2hlZXRzL3NoZWV0MS54bWxQSwECLQAUAAYACAAAACEAdKIHt04BAADgAgAAFAAAAAAAAAAAAAAAAAAwJQAAeGwvc2hhcmVkU3RyaW5ncy54bWxQSwECLQAUAAYACAAAACEA6UmDQJ0CAAAPBwAAGwAAAAAAAAAAAAAAAACwJgAAeGwvZHJhd2luZ3Mvdm1sRHJhd2luZzEudm1sUEsBAi0AFAAGAAgAAAAhADNYXw42AQAAEgIAABEAAAAAAAAAAAAAAAAAhikAAGRvY1Byb3BzL2NvcmUueG1sUEsBAi0AFAAGAAgAAAAhAK1O4xIPAQAAIgIAABAAAAAAAAAAAAAAAAAA8ysAAHhsL2NvbW1lbnRzMS54bWxQSwECLQAUAAYACAAAACEAP28obY4BAAAqAwAAEAAAAAAAAAAAAAAAAAAwLQAAZG9jUHJvcHMvYXBwLnhtbFBLAQItABQABgAIAAAAIQAX7MrRzQAAAJcBAAAQAAAAAAAAAAAAAAAAAPQvAAB4bC9jYWxjQ2hhaW4ueG1sUEsFBgAAAAAPAA8A3AMAAO8wAAAAAAUj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2AAAABUFyaWFsBncAAAAGK21uLWVhCXgAAAABAAl5AAAAByQAAAAAAQAAABEAAAAEFFN5c3RlbS5EcmF3aW5nLkNvbG9yBAAAAAV6AAAAFFN5c3RlbS5EcmF3aW5nLkNvbG9yBAAAAAV2YWx1ZQVzdGF0ZQprbm93bkNvbG9yBG5hbWUAAAABCQcHBAAAAAAAAAAAAAAAAAAAAAoBewAAAHoAAAAAAAD//////wIAAAAKAXwAAAB6AAAA//////////8CAAAACgF9AAAAegAAAE5BIv//////AgAAAAoBfgAAAHoAAADe3Nv//////wIAAAAKAX8AAAB6AAAAfmk///////8CAAAACgGAAAAAegAAAIyEcv//////AgAAAAoBgQAAAHoAAAAlIe3//////wIAAAAKAYIAAAB6AAAANDtG//////8CAAAACgGDAAAAegAAAHSYw///////AgAAAAoBhAAAAHoAAAAelPf//////wIAAAAKAYUAAAB6AAAAHpT3//////8CAAAACgGGAAAAegAAACUh7f//////AgAAAAoBhwAAAHoAAAAAAAD//////wIAAAAKAYgAAAB6AAAA//////////8CAAAACgGJAAAAegAAAE5BIv//////AgAAAAoBigAAAHoAAADe3Nv//////wIAAAAKBCUAAACYAVN5c3RlbS5Db2xsZWN0aW9ucy5HZW5lcmljLkxpc3RgMVtbQXBsb3Jpcy5CYXNlLk9iamVjdHMuRGF0YU9iamVjdCwgQXBsb3Jpcy5CYXNlLCBWZXJzaW9uPTQuMC4wLjE0ODYsIEN1bHR1cmU9bmV1dHJhbCwgUHVibGljS2V5VG9rZW49MTZmYzEzYTIyNmMwZTk1MV1dAwAAAAZfaXRlbXMFX3NpemUIX3ZlcnNpb24EAAAhQXBsb3Jpcy5CYXNlLk9iamVjdHMuRGF0YU9iamVjdFtdAwAAAAgICYsAAAANAAAAEQAAAAQmAAAAlQFTeXN0ZW0uQ29sbGVjdGlvbnMuR2VuZXJpYy5MaXN0YDFbW0FwbG9yaXMuQmFzZS5VSS5WaXN1YWxPYmplY3QsIEFwbG9yaXMuQmFzZSwgVmVyc2lvbj00LjAuMC4xNDg2LCBDdWx0dXJlPW5ldXRyYWwsIFB1YmxpY0tleVRva2VuPTE2ZmMxM2EyMjZjMGU5NTFdXQMAAAAGX2l0ZW1zBV9zaXplCF92ZXJzaW9uBAAAHkFwbG9yaXMuQmFzZS5VSS5WaXN1YWxPYmplY3RbXQMAAAAICAmMAAAAAQAAAAEAAAAFKAAAAJsBQXBsb3Jpcy5CYXNlLk9iamVjdHMuRGF0YU9iamVjdENvbGxlY3Rpb25gMVtbQXBsb3Jpcy5DaGFydC5WYWx1ZUxpbmU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AuMC4xNDg2LCBDdWx0dXJlPW5ldXRyYWwsIFB1YmxpY0tleVRva2VuPTE2ZmMxM2EyMjZjMGU5NTFdXQMAAACRAVN5c3RlbS5Db2xsZWN0aW9ucy5HZW5lcmljLkxpc3RgMVtbQXBsb3Jpcy5DaGFydC5WYWx1ZUxpbm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jQAAAAmOAAAACQYAAAAJAQAAAAmPAAAABSkAAACbAUFwbG9yaXMuQmFzZS5PYmplY3RzLkRhdGFPYmplY3RDb2xsZWN0aW9uYDFbW0FwbG9yaXMuQ2hhcnQuQXhpc0JyZWFr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wLjAuMTQ4NiwgQ3VsdHVyZT1uZXV0cmFsLCBQdWJsaWNLZXlUb2tlbj0xNmZjMTNhMjI2YzBlOTUxXV0DAAAAkQFTeXN0ZW0uQ29sbGVjdGlvbnMuR2VuZXJpYy5MaXN0YDFbW0FwbG9yaXMuQ2hhcnQuQXhpc0JyZWF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AAAAAJkQAAAAkGAAAACQEAAAAJkg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aAAAAAMAAAAJaQAAAAlqAAAACWsAAAABAAAAAAoKCWwAAAAAAAAACgAAAAAAAAAABS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gAAAADAAAACWkAAAAJagAAAAlrAAAAAQAAAAAKBpMAAAABJQlsAAAAAQAAAAoAAAAAAAAAAAUtAAAAmgFBcGxvcmlzLkJhc2UuT2JqZWN0cy5EYXRhT2JqZWN0Q29sbGVjdGlvbmAxW1tBcGxvcmlzLkNoYXJ0LlRpY2tNYXJr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AuMC4xNDg2LCBDdWx0dXJlPW5ldXRyYWwsIFB1YmxpY0tleVRva2VuPTE2ZmMxM2EyMjZjMGU5NTFdXQMAAACQAVN5c3RlbS5Db2xsZWN0aW9ucy5HZW5lcmljLkxpc3RgMVtbQXBsb3Jpcy5DaGFydC5UaWNrTWFy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UAAAACZUAAAAJBgAAAAkBAAAACZYAAAAFMA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XAAAAIQAAAPuQPULah45DAZgAAAAhAAAAXNQeRNqHjkMJmQAAALgBAAD/////AQEKCZoAAAABAAoABzEAAAAAAQAAAAUAAAAEFVN5c3RlbS5EcmF3aW5nLlBvaW50RgQAAAABmwAAACEAAABclB9E2oeOQwGcAAAAIQAAAPuQPULxZJdDAZ0AAAAhAAAAbK2qQ/Fkl0MBngAAACEAAABc1B5E8WSXQwGfAAAAIQAAAFyUH0TaB5FDBzIAAAAAAQAAAAUAAAAEF0FwbG9yaXMuQmFzZS5BbmNob3JNb2RlAwAAAAWgAAAAF0FwbG9yaXMuQmFzZS5BbmNob3JNb2RlAQAAAAd2YWx1ZV9fAAgDAAAABAAAAAGhAAAAoAAAAAUAAAABogAAAKAAAAADAAAAAaMAAACgAAAABgAAAAGkAAAAoAAAAAUAAAAPMwAAAAUAAAABAAAAAAEFNAAAABVBcGxvcmlzLkJhc2UuVUkuTGFiZWwcAAAAD21BbmNob3JQb3NpdGlvbgttQW5jaG9yTW9kZQ9tQWRkSW5uZXJNYXJnaW4WbU9mZnNldERpcmVjdGlvbkFuY2hvchdtT2Zmc2V0T3J0aG9nb25hbEFuY2hvcgttVGV4dEZvcm1hdAltUm90YXRpb24KbUJhY2tDb2xvcg1tVXNlQmFja0NvbG9yDm1Vc2V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BAQEAAEDAwEAAAAABwIAAAMA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MAAAABpQAAACEAAABclB9E2oeOQwGmAAAAoAAAAAQAAAAAAAAAAAAAAAAJpwAAAAAAAAAJqAAAAAAABakAAAAqQXBsb3Jpcy5CYXNlLlVJLkxhYmVsK0xpbmVBbGlnbm1lbnRPcHRpb25zAQAAAAd2YWx1ZV9fAAgDAAAAAAAAAAGqAAAAcgAAAAAAAAAAAAAAAasAAAAVAAAAAAAAAAAAAAAAAAAAAAAAAAAAAAAGrAAAAA1DYXRlZ29yeSBheGlzCgmtAAAACawAAADkAgAA/////wABCgmuAAAAAQAKAAE1AAAAJQAAAAmvAAAABgAAAAYAAAABNgAAACYAAAAJsAAAAAIAAAACAAAAATgAAAAoAAAACgmxAAAACbIAAAAJBwAAAAkBAAAACbMAAAABOQAAACkAAAAKCbQAAAAJtQAAAAkHAAAACQEAAAAJtg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oAAAAAwAAAAlpAAAACWoAAAAJawAAAAEAAAAACgmTAAAACWwAAAAAAAAACgAAAAAAAAAABT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gAAAADAAAACWkAAAAJagAAAAlrAAAAAQAAAAAKBrcAAAABJQlsAAAAAAAAAAoAAAAAAAAAAAU8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BAAAAAQloAAAAAwAAAAlpAAAACWoAAAAJawAAAAEAAAAACgmTAAAACWwAAAABAAAACgAAAAAAAAAAAT0AAAAtAAAACgm4AAAACbkAAAAJBwAAAAkBAAAACboAAAABQAAAADAAAAABuwAAACEAAAD7kD1C2oeOQwG8AAAAIQAAAPuQPUKvmYRBCb0AAAC4AQAA/////wEBCgm+AAAAAQAKAAdBAAAAAAEAAAAFAAAABBVTeXN0ZW0uRHJhd2luZy5Qb2ludEYEAAAAAb8AAAAhAAAA+5A9QuphI0EBwAAAACEAAACkDCNB2oeOQwHBAAAAIQAAAKQMI0F10RZDAcIAAAAhAAAApAwjQa+ZhEEBwwAAACEAAACkDCNB6mEjQQdCAAAAAAEAAAAFAAAABBdBcGxvcmlzLkJhc2UuQW5jaG9yTW9kZQMAAAABxAAAAKAAAAABAAAAAcUAAACgAAAACAAAAAHGAAAAoAAAAAIAAAABxwAAAKAAAAAGAAAAAcgAAACgAAAABwAAAA9DAAAABQAAAAEAAAAAAQFEAAAANAAAAAHJAAAAIQAAAPuQPULqYSNBAcoAAACgAAAAAQAAAAAAAAAAAAAAAAnLAAAAAAAAAAnMAAAAAAABzQAAAKkAAAAAAAAAAc4AAAByAAAAAAAAAAAAAAABzwAAABUAAAAAAAAAAAAAAAAAAAAAAAAAAAAAAAbQAAAAClZhbHVlIGF4aXMKCdEAAAAJ0AAAAOQCAAD/////AAEKCdIAAAABAAoAAUUAAAAlAAAACdMAAAAHAAAABwAAAAFGAAAAJgAAAAnUAAAAAgAAAAIAAAAHRwAAAAABAAAAAAAAAAQuQXBsb3Jpcy5DaGFydC5Db2x1bW5PcmllbnRlZENoYXJ0K1VudXNlZFNlcmllcwIAAAAESA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1QAAAAMAAABOAQAAAUkAAAAlAAAACdYAAAADAAAAewAAAAFKAAAAJgAAAAnXAAAAAAAAAAAAAAAESw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dgAAAAAAAAAAAAAAAFMAAAAJQAAAAnZAAAAAAAAAAAAAAABTQAAACYAAAAJ1wAAAAAAAAAAAAAABE4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doAAAAAAAAAAAAAAAFPAAAAJQAAAAnZAAAAAAAAAAAAAAABUAAAACYAAAAJ1wAAAAAAAAAAAAAABFE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bAAAABAAAACwAAAABUgAAACUAAAAJ3AAAAAQAAAAcAAAAAVMAAAAmAAAACdcAAAAAAAAAAAAAAARU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3QAAAAAAAAAAAAAAAVUAAAAlAAAACdkAAAAAAAAAAAAAAAFWAAAAJgAAAAnXAAAAAAAAAAAAAAAEVw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d4AAAAAAAAAAAAAAAFYAAAAJQAAAAnZAAAAAAAAAAAAAAABWQAAACYAAAAJ1wAAAAAAAAAAAAAABFo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fAAAAAAAAAAAAAAABWwAAACUAAAAJ2QAAAAAAAAAAAAAAAVwAAAAmAAAACdcAAAAAAAAAAAAAAARd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gAAAAAAAAAAAAAAABXgAAACUAAAAJ2QAAAAAAAAAAAAAAAV8AAAAmAAAACdcAAAAAAAAAAAAAAARg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eEAAAAAAAAAAAAAAAFhAAAAJQAAAAnZAAAAAAAAAAAAAAABYgAAACYAAAAJ1wAAAAAAAAAAAAAABWMAAACtAUFwbG9yaXMuQmFzZS5PYmplY3RzLkRhdGFPYmplY3RDb2xsZWN0aW9uYDFbW0FwbG9yaXMuQ2hhcnQuQ29sdW1uT3JpZW50ZWRMZWdlbmR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qwFBcGxvcmlzLkJhc2UuT2JqZWN0cy5Tb3J0YWJsZUNvbGxlY3Rpb25gMVtbQXBsb3Jpcy5DaGFydC5Db2x1bW5PcmllbnRlZExlZ2VuZEVsZW1lbnQsIEFwbG9yaXMuQ2hhcnQsIFZlcnNpb249NC4wLjAuMTQ4NiwgQ3VsdHVyZT1uZXV0cmFsLCBQdWJsaWNLZXlUb2tlbj0xNmZjMTNhMjI2YzBlOTUxXV0DAAAAowFTeXN0ZW0uQ29sbGVjdGlvbnMuR2VuZXJpYy5MaXN0YDFbW0FwbG9yaXMuQ2hhcnQuQ29sdW1uT3JpZW50ZWRMZWdlbmR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eIAAAAJ4wAAAAkUAAAACQEAAAAJ5AAAAAFlAAAAHAAAAAHlAAAAIQAAAFdRR0Kji5pDAeYAAAAhAAAAFI2FQ6MLp0MJ5wAAAAnoAAAAAAAAAAoB6QAAAHIAAAAAAAAAAAAAAAHqAAAAcgAAAAAAAAAAAAAAAAAAAAHrAAAAFQAAAAAAAAAAAAAAAAAAAAAAAACkAQAA/////wEBCgnsAAAAAQAKAAFmAAAAJQAAAAntAAAAAQAAAAEAAAABZwAAACYAAAAJ7gAAAAEAAAABAAAABXA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7wAAAAnwAAAAAQAAAP7///8BAAAAAQAAAAEAAAABAAAAAQAAAAEAAAAAAAEFcQ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xAAAACfIAAAABAAAAAAAAAAAAAAAAAAAAAAEFdQAAAB9BcGxvcmlzLkJhc2UuT2JqZWN0cy5QZXJzSWREYXRhAgAAAANtSWQLbUN1c3RvbURhdGEHAggDAAAACfMAAAAKBXgAAAAaQXBsb3Jpcy5CYXNlLk9iamVjdHMuQ29sb3IHAAAAEkRhdGFPYmplY3QrbVBhcmVudBVEYXRhT2JqZWN0K21Db250YWluZXIFbVR5cGUEbVJHQhBtVGhlbWVDb2xvckluZGV4DG1BdXRvVXBkYXRlZAltTW9kaWZpZWQCAgAAAAAACAgIAQEDAAAACgoAAAAAAAAAAA0AAAAAAQF5AAAAeAAAAAoKAQAAAAAAAAD/////AAEHiwAAAAABAAAAEAAAAAQfQXBsb3Jpcy5CYXNlLk9iamVjdHMuRGF0YU9iamVjdAMAAAAJCQAAAAkKAAAACQsAAAAJDAAAAAkQAAAACREAAAAJDQAAAAkOAAAACQ8AAAAJBwAAAAkGAAAACRgAAAAJFAAAAA0DB4wAAAAAAQAAAAQAAAAEHEFwbG9yaXMuQmFzZS5VSS5WaXN1YWxPYmplY3QDAAAACRwAAAANAwSNAAAAkQFTeXN0ZW0uQ29sbGVjdGlvbnMuR2VuZXJpYy5MaXN0YDFbW0FwbG9yaXMuQ2hhcnQuVmFsdWVMaW5lLCBBcGxvcmlzLkNoYXJ0LCBWZXJzaW9uPTQuMC4wLjE0ODYsIEN1bHR1cmU9bmV1dHJhbCwgUHVibGljS2V5VG9rZW49MTZmYzEzYTIyNmMwZTk1MV1dAwAAAAZfaXRlbXMFX3NpemUIX3ZlcnNpb24EAAAZQXBsb3Jpcy5DaGFydC5WYWx1ZUxpbmVbXQIAAAAICAn0AAAAAAAAAAAAAAABjgAAACUAAAAJ2QAAAAAAAAAAAAAAAY8AAAAmAAAACdcAAAAAAAAAAAAAAASQAAAAkQFTeXN0ZW0uQ29sbGVjdGlvbnMuR2VuZXJpYy5MaXN0YDFbW0FwbG9yaXMuQ2hhcnQuQXhpc0JyZWFrLCBBcGxvcmlzLkNoYXJ0LCBWZXJzaW9uPTQuMC4wLjE0ODYsIEN1bHR1cmU9bmV1dHJhbCwgUHVibGljS2V5VG9rZW49MTZmYzEzYTIyNmMwZTk1MV1dAwAAAAZfaXRlbXMFX3NpemUIX3ZlcnNpb24EAAAZQXBsb3Jpcy5DaGFydC5BeGlzQnJlYWtbXQIAAAAICAn1AAAAAAAAAAAAAAABkQAAACUAAAAJ2QAAAAAAAAAAAAAAAZIAAAAmAAAACdcAAAAAAAAAAAAAAASUAAAAkAFTeXN0ZW0uQ29sbGVjdGlvbnMuR2VuZXJpYy5MaXN0YDFbW0FwbG9yaXMuQ2hhcnQuVGlja01hcmssIEFwbG9yaXMuQ2hhcnQsIFZlcnNpb249NC4wLjAuMTQ4NiwgQ3VsdHVyZT1uZXV0cmFsLCBQdWJsaWNLZXlUb2tlbj0xNmZjMTNhMjI2YzBlOTUxXV0DAAAABl9pdGVtcwVfc2l6ZQhfdmVyc2lvbgQAABhBcGxvcmlzLkNoYXJ0LlRpY2tNYXJrW10CAAAACAgJ9gAAAAAAAAAAAAAAAZUAAAAlAAAACdkAAAAAAAAAAAAAAAGWAAAAJgAAAAnXAAAAAAAAAAAAAAABmQAAAHAAAAAKCgAAAEA/CfcAAAAJ+AAAAAEAAAD+////AAAAAAEAAAAAAAAAAAAAAAEAAAAAAAAAAAAAAZoAAAB1AAAACfkAAAAKBac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2AAAACXcAAAAJ+gAAAAEACfsAAAABqAAAAHgAAAAKCgEAAAAAAAAA/////wABBK0AAACWAVN5c3RlbS5Db2xsZWN0aW9ucy5HZW5lcmljLkxpc3RgMVtbQXBsb3Jpcy5CYXNlLk9iamVjdHMuVmFyaWFibGUsIEFwbG9yaXMuQmFzZSwgVmVyc2lvbj00LjAuMC4xNDg2LCBDdWx0dXJlPW5ldXRyYWwsIFB1YmxpY0tleVRva2VuPTE2ZmMxM2EyMjZjMGU5NTFdXQMAAAAGX2l0ZW1zBV9zaXplCF92ZXJzaW9uBAAAH0FwbG9yaXMuQmFzZS5PYmplY3RzLlZhcmlhYmxlW10DAAAACAgJ/AAAAAAAAAAAAAAAAa4AAAB1AAAACf0AAAAKB68AAAAAAQAAAAgAAAAEH0FwbG9yaXMuQmFzZS5PYmplY3RzLkRhdGFPYmplY3QDAAAACSoAAAAJKwAAAAksAAAACS0AAAAJKAAAAAkpAAAACgoHsAAAAAABAAAABAAAAAQcQXBsb3Jpcy5CYXNlLlVJLlZpc3VhbE9iamVjdAMAAAAJMAAAAAk0AAAACgoBsQAAAI0AAAAJ9AAAAAAAAAAAAAAAAbIAAAAlAAAACdkAAAAAAAAAAAAAAAGzAAAAJgAAAAnXAAAAAAAAAAAAAAABtAAAAJAAAAAJ9QAAAAAAAAAAAAAAAbUAAAAlAAAACdkAAAAAAAAAAAAAAAG2AAAAJgAAAAnXAAAAAAAAAAAAAAABuAAAAJQAAAAJ/gAAAAsAAAAhAAAAAbkAAAAlAAAACf8AAAALAAAAIQAAAAG6AAAAJgAAAAnXAAAAAAAAAAAAAAABvQAAAHAAAAAKCgAAAEA/CQABAAAJAQEAAAEAAAD+////AAAAAAEAAAAAAAAAAAAAAAEAAAAAAAAAAAAAAb4AAAB1AAAACQIBAAAKBcs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2AAAACXcAAAAJAwEAAAEACQQBAAABzAAAAHgAAAAKCgEAAAAAAAAA/////wABAdEAAACtAAAACfwAAAAAAAAAAAAAAAHSAAAAdQAAAAkFAQAACgfTAAAAAAEAAAAIAAAABB9BcGxvcmlzLkJhc2UuT2JqZWN0cy5EYXRhT2JqZWN0AwAAAAk6AAAACTsAAAAJPAAAAAk9AAAACTgAAAAJOQAAAAkGAQAACgfUAAAAAAEAAAAEAAAABBxBcGxvcmlzLkJhc2UuVUkuVmlzdWFsT2JqZWN0AwAAAAlAAAAACUQAAAAKCgfVAAAAAAEAAAAgAAAABB1BcGxvcmlzLkNoYXJ0LkNoYXJ0RGF0YVNlcmllcwIAAAAJBwEAAAkIAQAACQkBAAANHQfWAAAAAAEAAAAgAAAABB9BcGxvcmlzLkJhc2UuT2JqZWN0cy5EYXRhT2JqZWN0AwAAAAkJAQAACQgBAAAJBwEAAA0dB9cAAAAAAQAAAAAAAAAEHEFwbG9yaXMuQmFzZS5VSS5WaXN1YWxPYmplY3QDAAAAB9gAAAAAAQAAAAAAAAAEIkFwbG9yaXMuQ2hhcnQuQW5ub3RhdGlvbkRhdGFTZXJpZXMCAAAAB9kAAAAAAQAAAAAAAAAEH0FwbG9yaXMuQmFzZS5PYmplY3RzLkRhdGFPYmplY3QDAAAAB9oAAAAAAQAAAAAAAAAEHUFwbG9yaXMuQ2hhcnQuQW5ub3RhdGlvbkdyb3VwAgAAAAfbAAAAAAEAAAAQAAAABBxBcGxvcmlzLkNoYXJ0LkNoYXJ0RGF0YUdyb3VwAgAAAAkKAQAACQsBAAAJDAEAAAkNAQAADQwH3AAAAAABAAAAEAAAAAQfQXBsb3Jpcy5CYXNlLk9iamVjdHMuRGF0YU9iamVjdAMAAAAJCgEAAAkMAQAACQsBAAAJDQEAAA0MB90AAAAAAQAAAAAAAAAEFkFwbG9yaXMuQ2hhcnQuRGVsdGFCYXICAAAAB94AAAAAAQAAAAAAAAAEGUFwbG9yaXMuQ2hhcnQuRGVsdGFCcmlkZ2UCAAAAB98AAAAAAQAAAAAAAAAEGUFwbG9yaXMuQ2hhcnQuR3Jvd3RoQXJyb3cCAAAAB+AAAAAAAQAAAAAAAAAEIEFwbG9yaXMuQ2hhcnQuV2F0ZXJmYWxsQ29ubmVjdG9yAgAAAAfhAAAAAAEAAAAAAAAABB5BcGxvcmlzLkNoYXJ0LkVsZW1lbnRDb25uZWN0b3ICAAAABOIAAACjAVN5c3RlbS5Db2xsZWN0aW9ucy5HZW5lcmljLkxpc3RgMVtbQXBsb3Jpcy5DaGFydC5Db2x1bW5PcmllbnRlZExlZ2VuZEVsZW1lbnQsIEFwbG9yaXMuQ2hhcnQsIFZlcnNpb249NC4wLjAuMTQ4NiwgQ3VsdHVyZT1uZXV0cmFsLCBQdWJsaWNLZXlUb2tlbj0xNmZjMTNhMjI2YzBlOTUxXV0DAAAABl9pdGVtcwVfc2l6ZQhfdmVyc2lvbgQAACtBcGxvcmlzLkNoYXJ0LkNvbHVtbk9yaWVudGVkTGVnZW5kRWxlbWVudFtdAgAAAAgICQ4BAAADAAAAEgAAAAHjAAAAJQAAAAkPAQAAAwAAAAMAAAAB5AAAACYAAAAJEAEAAAAAAAAAAAAAAecAAABwAAAACgoAAAAAAAkRAQAACRIBAAABAAAA/v///wEAAAABAAAAAQAAAAEAAAABAAAAAQAAAAAAAQHoAAAAcQAAAAoKCRMBAAAJFAEAAAEAAAAAAAAAAAAAAAAAAAAAAQHsAAAAdQAAAAkVAQAACgftAAAAAAEAAAAEAAAABB9BcGxvcmlzLkJhc2UuT2JqZWN0cy5EYXRhT2JqZWN0AwAAAAljAAAADQMH7gAAAAABAAAABAAAAAQcQXBsb3Jpcy5CYXNlLlVJLlZpc3VhbE9iamVjdAMAAAAJZQAAAA0DAe8AAAB4AAAACgoAAAAAAAAAAA0AAAAAAQHwAAAAeAAAAAoKAQAAAAAAAAD/////AAEB8QAAAHgAAAAKCgEAAAD///8A/////wABAfIAAAB4AAAACgoBAAAAAAAAAP////8AAQ/zAAAAAQAAAAgAAAAAB/QAAAAAAQAAAAAAAAAEF0FwbG9yaXMuQ2hhcnQuVmFsdWVMaW5lAgAAAAf1AAAAAAEAAAAAAAAABBdBcGxvcmlzLkNoYXJ0LkF4aXNCcmVhawIAAAAH9gAAAAABAAAAAAAAAAQWQXBsb3Jpcy5DaGFydC5UaWNrTWFyawIAAAAF9wAAABpBcGxvcmlzLkJhc2UuT2JqZWN0cy5Db2xvcgcAAAASRGF0YU9iamVjdCttUGFyZW50FURhdGFPYmplY3QrbUNvbnRhaW5lcgVtVHlwZQRtUkdCEG1UaGVtZUNvbG9ySW5kZXgMbUF1dG9VcGRhdGVkCW1Nb2RpZmllZAQCAAAAAAAfQXBsb3Jpcy5CYXNlLk9iamVjdHMuTGluZUZvcm1hdAMAAAAICAgBAQMAAAAJmQAAAAoAAAAAAAAAAA0AAAAAAAX4AAAAGkFwbG9yaXMuQmFzZS5PYmplY3RzLkNvbG9yBwAAABJEYXRhT2JqZWN0K21QYXJlbnQVRGF0YU9iamVjdCttQ29udGFpbmVyBW1UeXBlBG1SR0IQbVRoZW1lQ29sb3JJbmRleAxtQXV0b1VwZGF0ZWQJbU1vZGlmaWVkBAIAAAAAAB9BcGxvcmlzLkJhc2UuT2JqZWN0cy5MaW5lRm9ybWF0AwAAAAgICAEBAwAAAAmZAAAACgEAAAAAAAAA/////wABD/kAAAABAAAACEkDAAAB+gAAAHgAAAAKCgAAAAAAAAAADQAAAAABAfsAAAB4AAAACgoBAAAAAAAAAP////8AAQf8AAAAAAEAAAAAAAAABB1BcGxvcmlzLkJhc2UuT2JqZWN0cy5WYXJpYWJsZQMAAAAP/QAAAAEAAAAIAAAAAAf+AAAAAAEAAAAQAAAABBZBcGxvcmlzLkNoYXJ0LlRpY2tNYXJrAgAAAAkWAQAACRcBAAAJGAEAAAkZAQAACRoBAAAJGwEAAAkcAQAACR0BAAAJHgEAAAkfAQAACSABAAANBQf/AAAAAAEAAAAQAAAABB9BcGxvcmlzLkJhc2UuT2JqZWN0cy5EYXRhT2JqZWN0AwAAAAkWAQAACRcBAAAJGAEAAAkZAQAACRoBAAAJGwEAAAkcAQAACR0BAAAJHgEAAAkfAQAACSABAAANBQUAAQAAGkFwbG9yaXMuQmFzZS5PYmplY3RzLkNvbG9yBwAAABJEYXRhT2JqZWN0K21QYXJlbnQVRGF0YU9iamVjdCttQ29udGFpbmVyBW1UeXBlBG1SR0IQbVRoZW1lQ29sb3JJbmRleAxtQXV0b1VwZGF0ZWQJbU1vZGlmaWVkBAIAAAAAAB9BcGxvcmlzLkJhc2UuT2JqZWN0cy5MaW5lRm9ybWF0AwAAAAgICAEBAwAAAAm9AAAACgAAAAAAAAAADQAAAAAABQEBAAAaQXBsb3Jpcy5CYXNlLk9iamVjdHMuQ29sb3IHAAAAEkRhdGFPYmplY3QrbVBhcmVudBVEYXRhT2JqZWN0K21Db250YWluZXIFbVR5cGUEbVJHQhBtVGhlbWVDb2xvckluZGV4DG1BdXRvVXBkYXRlZAltTW9kaWZpZWQEAgAAAAAAH0FwbG9yaXMuQmFzZS5PYmplY3RzLkxpbmVGb3JtYXQDAAAACAgIAQEDAAAACb0AAAAKAQAAAAAAAAD/////AAEPAgEAAAEAAAAISgMAAAEDAQAAeAAAAAoKAAAAAAAAAAANAAAAAAEBBAEAAHgAAAAKCgEAAAAAAAAA/////wABDwUBAAABAAAACAAAAAAFBg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aAAAAAMAAAAJaQAAAAlqAAAACWsAAAABAAAAAAoJkwAAAAlsAAAAAQAAAAoAAAAAAAAAAAUHAQ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C4wLjE0ODY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BIQEAABMAAAAAAAAAAgAAAP////8JBwAAAAkiAQAABiMBAAAFQWdyZWUKCgAAAAAAAAAAAAAAAAoKAAkkAQAACSUBAAAJJgEAAAAAAAAAAAAAAAAAAAAAAAAAAAknAQAACQEAAAAJAQAAAAkoAQAAAQgBAAAHAQAACQEAAAABKQEAABMAAAAAAAAAAwAAAP////8JBwAAAAkqAQAABisBAAAHTmV1dHJhbAoKAAAAAAAAAAAAAAAACgoACSwBAAAJLQEAAAkuAQAAAAAAAAABAAAAAAAAAAAAAAAACS8BAAAJAQAAAAkBAAAACTABAAABCQEAAAcBAAAJAQAAAAExAQAAEwAAAAAAAAAEAAAA/////wkHAAAACTIBAAAGMwEAAAhEaXNhZ3JlZQoKAAAAAAAAAAAAAAAACgoACTQBAAAJNQEAAAk2AQAAAAAAAAACAAAAAAAAAAAAAAAACTcBAAAJAQAAAAkBAAAACTgBAAAFCg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Y5AQAABVRvdGFsAAU6AQAAHkFwbG9yaXMuQ2hhcnQuQ2hhcnRHcm91cEFuY2hvcgEAAAAHdmFsdWVfXwAIAgAAAAAAAAAKAAAAAAEAAAABAAAACTsBAAAJPAEAAAk9AQAACgkHAAAACT4BAAAJAQAAAAkBAAAACT8BAAABCwEAAAoBAAAJAQAAAAZAAQAACUludGVuc2l2ZQABQQEAADoBAAAAAAAACgAAAAABAAAAAQAAAAlCAQAACUMBAAAJRAEAAAoJBwAAAAlFAQAACQEAAAAJAQAAAAlGAQAAAQwBAAAKAQAACQEAAAAGRwEAAAhNb2RlcmF0ZQABSAEAADoBAAAAAAAACgAAAAABAAAAAQAAAAlJAQAACUoBAAAJSwEAAAoJBwAAAAlMAQAACQEAAAAJAQAAAAlNAQAAAQ0BAAAKAQAACQEAAAAGTgEAAAdMaW1pdGVkAAFPAQAAOgEAAAAAAAAKAAAAAAEAAAABAAAACVABAAAJUQEAAAlSAQAACgkHAAAACVMBAAAJAQAAAAkBAAAACVQBAAAHDgEAAAABAAAABAAAAAQpQXBsb3Jpcy5DaGFydC5Db2x1bW5PcmllbnRlZExlZ2VuZEVsZW1lbnQCAAAACVUBAAAJVgEAAAlXAQAACgcPAQAAAAEAAAAEAAAABB9BcGxvcmlzLkJhc2UuT2JqZWN0cy5EYXRhT2JqZWN0AwAAAAlVAQAACVYBAAAJVwEAAAoHEAEAAAABAAAAAAAAAAQcQXBsb3Jpcy5CYXNlLlVJLlZpc3VhbE9iamVjdAMAAAABEQEAAHgAAAAKCgAAAAAAAAAADQAAAAABARIBAAB4AAAACgoBAAAAAAAAAP////8AAQETAQAAeAAAAAoKAQAAAP///wD/////AAEBFAEAAHgAAAAKCgEAAAAAAAAA/////wABDxUBAAABAAAACAAAAAAFFgE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VgBAAAKCVkBAAAJBwAAAAEAAAAAAAAAAAFaAQAAIQAAAPuQPULah45DAVsBAAAhAAAA+5AtQtqHjkMACVwBAAAJBwAAAAkBAAAACV0BAAABFwEAABYBAAAJXgEAAAoJXwEAAAkHAAAAAZqZmZmZmbk/AWABAAAhAAAA+5A9QjobgUMBYQEAACEAAAD7kC1COhuBQwAJYgEAAAkHAAAACQEAAAAJYwEAAAEYAQAAFgEAAAlkAQAACgllAQAACQcAAAABmpmZmZmZyT8BZgEAACEAAAD7kD1CNF1nQwFnAQAAIQAAAPuQLUI0XWdDAAloAQAACQcAAAAJAQAAAAlpAQAAARkBAAAWAQAACWoBAAAKCWsBAAAJBwAAAAEzMzMzMzPTPwFsAQAAIQAAAPuQPUL1g0xDAW0BAAAhAAAA+5AtQvWDTEMACW4BAAAJBwAAAAkBAAAACW8BAAABGgEAABYBAAAJcAEAAAoJcQEAAAkHAAAAAZqZmZmZmdk/AXIBAAAhAAAA+5A9QrWqMUMBcwEAACEAAAD7kC1CtaoxQwAJdAEAAAkHAAAACQEAAAAJdQEAAAEbAQAAFgEAAAl2AQAACgl3AQAACQcAAAABAAAAAAAA4D8BeAEAACEAAAD7kD1CddEWQwF5AQAAIQAAAPuQLUJ10RZDAAl6AQAACQcAAAAJAQAAAAl7AQAAARwBAAAWAQAACXwBAAAKCX0BAAAJBwAAAAEzMzMzMzPjPwF+AQAAIQAAAPuQPUJq8PdCAX8BAAAhAAAA+5AtQmrw90IACYABAAAJBwAAAAkBAAAACYEBAAABHQEAABYBAAAJggEAAAoJgwEAAAkHAAAAAWZmZmZmZuY/AYQBAAAhAAAA+5A9Qus9wkIBhQEAACEAAAD7kC1C6z3CQgAJhgEAAAkHAAAACQEAAAAJhwEAAAEeAQAAFgEAAAmIAQAACgmJAQAACQcAAAABmpmZmZmZ6T8BigEAACEAAAD7kD1Ca4uMQgGLAQAAIQAAAPuQLUJri4xCAAmMAQAACQcAAAAJAQAAAAmNAQAAAR8BAAAWAQAACY4BAAAKCY8BAAAJBwAAAAHNzMzMzMzsPwGQAQAAIQAAAPuQPULXsS1CAZEBAAAhAAAA+5AtQtexLUIACZIBAAAJBwAAAAkBAAAACZMBAAABIAEAABYBAAAJlAEAAAoJlQEAAAkHAAAAAQAAAAAAAPA/AZYBAAAhAAAA+5A9Qq+ZhEEBlwEAACEAAAD7kC1Cr5mEQQAJmAEAAAkHAAAACQEAAAAJmQEAAAUiAQAAogFBcGxvcmlzLkJhc2UuT2JqZWN0cy5EYXRhT2JqZWN0Q29sbGVjdGlvbmAxW1tBcGxvcmlzLkNoYXJ0LkNoYXJ0RGF0YU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wLjAuMTQ4NiwgQ3VsdHVyZT1uZXV0cmFsLCBQdWJsaWNLZXlUb2tlbj0xNmZjMTNhMjI2YzBlOTUxXV0DAAAAmAFTeXN0ZW0uQ29sbGVjdGlvbnMuR2VuZXJpYy5MaXN0YDFbW0FwbG9yaXMuQ2hhcnQuQ2hhcnREYXRh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aAQAACZsBAAAJBwEAAAkBAAAACZwBAAAFJAEAABxBcGxvcmlzLkNoYXJ0LkNvbm5lY3RlZExhYmVsJA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CAAAAClgCAAAFnQEAACtBcGxvcmlzLkNoYXJ0LkNvbm5lY3RlZExhYmVsK2VDb25uZWN0b3JNb2RlAQAAAAd2YWx1ZV9fAAgCAAAAAQAAAAWeAQAANkFwbG9yaXMuQ2hhcnQuQ29ubmVjdGVkTGFiZWwrZUFuZ2xlZENvbm5lY3RvckRpcmVjdGlvbgEAAAAHdmFsdWVfXwAIAgAAAAAAAAABnwEAABUAAABQuQFEXI+DQyC6q0Lgh5dBBaABAAAtQXBsb3Jpcy5DaGFydC5Db25uZWN0ZWRMYWJlbCtlVGFyZ2V0QXJlYVNoYXBlAQAAAAd2YWx1ZV9fAAgCAAAAAAAAAAAAEEEBAaEBAAAhAAAAlDAZRJtLiEMBogEAAKAAAAAEAAAAAAAAAAAAAAAACaMBAAAAAAAACaQBAAAAAAGlAQAAqQAAAAAAAAABpgEAAHIAAAAAAAxCAABgQQGnAQAAFQAAAAAAAAAAAAAAAAAAAAAAAABeutk/CSMBAAAKCagBAAAGqQEAAAAgAwAA/////wABCgmqAQAAAQAKAAclAQAAAAEAAAACAAAABBVTeXN0ZW0uRHJhd2luZy5Qb2ludEYEAAAAAasBAAAhAAAAlDAZRJtLiEMBrAEAACEAAAD7kClC8uKAQwcmAQAAAAEAAAACAAAABBdBcGxvcmlzLkJhc2UuQW5jaG9yTW9kZQMAAAABrQEAAKAAAAAEAAAAAa4BAACgAAAAAgAAAAEnAQAAJQAAAAmvAQAAAQAAAAEAAAABKAEAACYAAAAJsAEAAAEAAAABAAAAASoBAAAiAQAACgmxAQAACbIBAAAJCAEAAAkBAAAACbMBAAABLAEAACQBAAAKWAIAAAG0AQAAnQEAAAEAAAABtQEAAJ4BAAAAAAAAAbYBAAAVAAAAULkBRMjg5UIguqtCVC4OQwG3AQAAoAEAAAAAAAAAABBBAQG4AQAAIQAAAJQwGUSOBzpDAbkBAACgAAAABAAAAAAAAAAAAAAAAAm6AQAAAAAAAAm7AQAAAAABvAEAAKkAAAAAAAAAAb0BAAByAAAAAAAoQgAAYEEBvgEAABUAAAAAAAAAAAAAAAAAAAAAAAAAXrrZPwkrAQAACgm/AQAACakBAAAgAwAA/////wABCgnAAQAAAQAKAActAQAAAAEAAAACAAAABBVTeXN0ZW0uRHJhd2luZy5Qb2ludEYEAAAAAcEBAAAhAAAAlDAZRI4HOkMBwgEAACEAAAD7kClC1nIeQwcuAQAAAAEAAAACAAAABBdBcGxvcmlzLkJhc2UuQW5jaG9yTW9kZQMAAAABwwEAAKAAAAAEAAAAAcQBAACgAAAAAgAAAAEvAQAAJQAAAAnFAQAAAQAAAAEAAAABMAEAACYAAAAJxgEAAAEAAAABAAAAATIBAAAiAQAACgnHAQAACcgBAAAJCQEAAAkBAAAACckBAAABNAEAACQBAAAKWAIAAAHKAQAAnQEAAAEAAAABywEAAJ4BAAAAAAAAAcwBAAAVAAAAULkBRK+ZnEEguqtCXLqyQgHNAQAAoAEAAAAAAAAAABBBAQHOAQAAIQAAAJQwGUSag4BCAc8BAACgAAAABAAAAAAAAAAAAAAAAAnQAQAAAAAAAAnRAQAAAAAB0gEAAKkAAAAAAAAAAdMBAAByAAAAAABQQgAAYEEB1AEAABUAAAAAAAAAAAAAAAAAAAAAAAAAXrrZPwkzAQAACgnVAQAACakBAAAgAwAA/////wABCgnWAQAAAQAKAAc1AQAAAAEAAAACAAAABBVTeXN0ZW0uRHJhd2luZy5Qb2ludEYEAAAAAdcBAAAhAAAAlDAZRJqDgEIB2AEAACEAAAD7kClCovlNQgc2AQAAAAEAAAACAAAABBdBcGxvcmlzLkJhc2UuQW5jaG9yTW9kZQMAAAAB2QEAAKAAAAAEAAAAAdoBAACgAAAAAgAAAAE3AQAAJQAAAAnbAQAAAQAAAAEAAAABOAEAACYAAAAJ3AEAAAEAAAABAAAADzsBAAABAAAACAAAAAAHPAEAAAABAAAAAQAAAAQVQXBsb3Jpcy5CYXNlLlVJLkxhYmVsAwAAAAndAQAAAT0BAAA0AAAAAd4BAAAhAAAAysPxQtoHkUMB3wEAAKAAAAADAAAAAAAAAAAAAAAACeABAAAAAAAACeEBAAAAAAHiAQAAqQAAAAAAAAAB4wEAAHIAAAAAAOhBAABgQQHkAQAAFQAAAC661EIAAJFDBSDuQeiiS0Feutk/CTkBAAAKCeUBAAAJqQEAACADAAD/////AQEKCeYBAAABAAoAAT4BAAAlAAAACdkAAAAAAAAAAAAAAAE/AQAAJgAAAAnnAQAAAgAAAAwAAAAPQgEAAAEAAAAIAAAAAAdDAQAAAAEAAAABAAAABBVBcGxvcmlzLkJhc2UuVUkuTGFiZWwDAAAACegBAAABRAEAADQAAAAB6QEAACEAAACY7oVD2geRQwHqAQAAoAAAAAMAAAAAAAAAAAAAAAAJ6wEAAAAAAAAJ7AEAAAAAAe0BAACpAAAAAAAAAAHuAQAAcgAAAAAAUEIAAGBBAe8BAAAVAAAALrpyQwAAkUPrskpC6KJLQV662T8JQAEAAAoJ8AEAAAmpAQAAIAMAAP////8BAQoJ8QEAAAEACgABRQEAACUAAAAJ8gEAAAAAAAAAAAAAAUYBAAAmAAAACfMBAAACAAAABAAAAA9JAQAAAQAAAAgAAAAAB0oBAAAAAQAAAAEAAAAEFUFwbG9yaXMuQmFzZS5VSS5MYWJlbAMAAAAJ9AEAAAFLAQAANAAAAAH1AQAAIQAAAD5sz0PaB5FDAfYBAACgAAAAAwAAAAAAAAAAAAAAAAn3AQAAAAAAAAn4AQAAAAAB+QEAAKkAAAAAAAAAAfoBAAByAAAAAABcQgAAYEEB+wEAABUAAABGF8JDAACRQ6WbVULooktBXrrZPwlHAQAACgn8AQAACakBAAAgAwAA/////wEBCgn9AQAAAQAKAAFMAQAAJQAAAAn+AQAAAAAAAAAAAAABTQEAACYAAAAJ/wEAAAIAAAAEAAAAD1ABAAABAAAACAAAAAAHUQEAAAABAAAAAQAAAAQVQXBsb3Jpcy5CYXNlLlVJLkxhYmVsAwAAAAkAAgAAAVIBAAA0AAAAAQECAAAhAAAA8nQMRNoHkUMBAgIAAKAAAAADAAAAAAAAAAAAAAAACQMCAAAAAAAACQQCAAAAAAEFAgAAqQAAAAAAAAABBgIAAHIAAAAAAChCAABgQQEHAgAAFQAAAC46B0QAAJFD1FUmQuiiS0Feutk/CU4BAAAKCQgCAAAJqQEAACADAAD/////AQEKCQkCAAABAAoAAVMBAAAlAAAACQoCAAAAAAAAAAAAAAFUAQAAJgAAAAkLAgAAAgAAAAIAAAAFVQEAAClBcGxvcmlzLkNoYXJ0LkNvbHVtbk9yaWVudGVkTGVnZW5kRWxlbWVudA0AAAAHbUxlZ2VuZAttRGF0YVNlcmllcxRMZWdlbmRFbGVtZW50K21MYWJlbBhMZWdlbmRFbGVtZW50K21SZWN0YW5nbGUTTGVnZW5kRWxlbWVudCttTGluZRVMZWdlbmRFbGVtZW50K21DaXJjbGUVTGVnZW5kRWxlbWVudCttTWFya2VyFExlZ2VuZEVsZW1lbnQrbUluZGV4HUxlZ2VuZEVsZW1lbnQrbUxhYmVsUG9zaXRpb25zGERhdGFPYmplY3QrbUNoaWxkT2JqZWN0cxJEYXRhT2JqZWN0K21QYXJlbnQVRGF0YU9iamVjdCttQ29udGFpbmVyGURhdGFPYmplY3QrbVZpc3VhbE9iamVjdHMEBAQEBAQEAAQDBAQDIkFwbG9yaXMuQ2hhcnQuQ29sdW1uT3JpZW50ZWRMZWdlbmQCAAAAHUFwbG9yaXMuQ2hhcnQuQ2hhcnREYXRhU2VyaWVzAgAAABVBcGxvcmlzLkJhc2UuVUkuTGFiZWwDAAAAGkFwbG9yaXMuQmFzZS5VSS5WaXN1YWxSZWN0AwAAABpBcGxvcmlzLkJhc2UuVUkuVmlzdWFsTGluZQMAAAAdQXBsb3Jpcy5CYXNlLlVJLlZpc3VhbEVsbGlwc2UDAAAAGkFwbG9yaXMuQ2hhcnQuVmlzdWFsTWFya2VyAgAAAAgXU3lzdGVtLkRyYXdpbmcuUG9pbnRGW10E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FAAAAAkHAQAACQwCAAAJDQIAAAoKCgAAAAAKCQ4CAAAJFAAAAAkBAAAACQ8CAAABVgEAAFUBAAAJFAAAAAkIAQAACRACAAAJEQIAAAoKCgEAAAAKCRICAAAJFAAAAAkBAAAACRMCAAABVwEAAFUBAAAJFAAAAAkJAQAACRQCAAAJFQIAAAoKCgIAAAAKCRYCAAAJFAAAAAkBAAAACRcCAAABWAEAADAAAAABGAIAACEAAAD7kD1C2oeOQwEZAgAAIQAAAPuQLULah45DCRoCAADMAQAA/////wEBCgkbAgAAAQAKAAFZAQAANAAAAAEcAgAAIQAAAPuQJ0Lah45DAR0CAACgAAAAAgAAAAAAAAAAAAAAAAkeAgAAAAAAAAkfAgAAAAABIAIAAKkAAAAAAAAAASECAAByAAAAAACYQQAAYEEBIgIAABUAAAB00bVBo4uLQ9hlpUHooktBXrrZPwYjAgAAAjAlCgkkAgAACakBAADQAgAA/////wEBCgklAgAAAQAKAAFcAQAAJQAAAAnZAAAAAAAAAAAAAAABXQEAACYAAAAJJgIAAAIAAAACAAAAAV4BAAAwAAAAAScCAAAhAAAA+5A9QjobgUMBKAIAACEAAAD7kC1COhuBQwkpAgAAzAEAAP////8BAQoJKgIAAAEACgABXwEAADQAAAABKwIAACEAAAD7kCdCOhuBQwEsAgAAoAAAAAIAAAAAAAAAAAAAAAAJLQIAAAAAAAAJLgIAAAAAAS8CAACpAAAAAAAAAAEwAgAAcgAAAAAA0EEAAGBBATECAAAVAAAAuuiCQXTRe0OSTthB6KJLQV662T8GMgIAAAMxMCUKCTMCAAAJqQEAANACAAD/////AQEKCTQCAAABAAoAAWIBAAAlAAAACdkAAAAAAAAAAAAAAAFjAQAAJgAAAAk1AgAAAgAAAAIAAAABZAEAADAAAAABNgIAACEAAAD7kD1CNF1nQwE3AgAAIQAAAPuQLUI0XWdDCTgCAADMAQAA/////wEBCgk5AgAAAQAKAAFlAQAANAAAAAE6AgAAIQAAAPuQJ0I0XWdDATsCAACgAAAAAgAAAAAAAAAAAAAAAAk8AgAAAAAAAAk9AgAAAAABPgIAAKkAAAAAAAAAAT8CAAByAAAAAADQQQAAYEEBQAIAABUAAAC66IJBXXRhQ5JO2EHooktBXrrZPwZBAgAAAzIwJQoJQgIAAAmpAQAA0AIAAP////8BAQoJQwIAAAEACgABaAEAACUAAAAJ2QAAAAAAAAAAAAAAAWkBAAAmAAAACUQCAAACAAAAAgAAAAFqAQAAMAAAAAFFAgAAIQAAAPuQPUL1g0xDAUYCAAAhAAAA+5AtQvWDTEMJRwIAAMwBAAD/////AQEKCUgCAAABAAoAAWsBAAA0AAAAAUkCAAAhAAAA+5AnQvWDTEMBSgIAAKAAAAACAAAAAAAAAAAAAAAACUsCAAAAAAAACUwCAAAAAAFNAgAAqQAAAAAAAAABTgIAAHIAAAAAANBBAABgQQFPAgAAFQAAALrogkGLLkZDkk7YQeiiS0Feutk/BlACAAADMzAlCglRAgAACakBAADQAgAA/////wEBCglSAgAAAQAKAAFuAQAAJQAAAAnZAAAAAAAAAAAAAAABbwEAACYAAAAJUwIAAAIAAAACAAAAAXABAAAwAAAAAVQCAAAhAAAA+5A9QrWqMUMBVQIAACEAAAD7kC1CtaoxQwlWAgAAzAEAAP////8BAQoJVwIAAAEACgABcQEAADQAAAABWAIAACEAAAD7kCdCtaoxQwFZAgAAoAAAAAIAAAAAAAAAAAAAAAAJWgIAAAAAAAAJWwIAAAAAAVwCAACpAAAAAAAAAAFdAgAAcgAAAAAA0EEAAGBBAV4CAAAVAAAAuuiCQbroKkOSTthB6KJLQV662T8GXwIAAAM0MCUKCWACAAAJqQEAANACAAD/////AQEKCWECAAABAAoAAXQBAAAlAAAACdkAAAAAAAAAAAAAAAF1AQAAJgAAAAliAgAAAgAAAAIAAAABdgEAADAAAAABYwIAACEAAAD7kD1CddEWQwFkAgAAIQAAAPuQLUJ10RZDCWUCAADMAQAA/////wEBCglmAgAAAQAKAAF3AQAANAAAAAFnAgAAIQAAAPuQJ0J10RZDAWgCAACgAAAAAgAAAAAAAAAAAAAAAAlpAgAAAAAAAAlqAgAAAAABawIAAKkAAAAAAAAAAWwCAAByAAAAAADQQQAAYEEBbQIAABUAAAC66IJBo4sQQ5JO2EHooktBXrrZPwZuAgAAAzUwJQoJbwIAAAmpAQAA0AIAAP////8BAQoJcAIAAAEACgABegEAACUAAAAJ2QAAAAAAAAAAAAAAAXsBAAAmAAAACXECAAACAAAAAgAAAAF8AQAAMAAAAAFyAgAAIQAAAPuQPUJq8PdCAXMCAAAhAAAA+5AtQmrw90IJdAIAAMwBAAD/////AQEKCXUCAAABAAoAAX0BAAA0AAAAAXYCAAAhAAAA+5AnQmrw90IBdwIAAKAAAAACAAAAAAAAAAAAAAAACXgCAAAAAAAACXkCAAAAAAF6AgAAqQAAAAAAAAABewIAAHIAAAAAANBBAABgQQF8AgAAFQAAALrogkGji+pCkk7YQeiiS0Feutk/Bn0CAAADNjAlCgl+AgAACakBAADQAgAA/////wEBCgl/AgAAAQAKAAGAAQAAJQAAAAnZAAAAAAAAAAAAAAABgQEAACYAAAAJgAIAAAIAAAACAAAAAYIBAAAwAAAAAYECAAAhAAAA+5A9Qus9wkIBggIAACEAAAD7kC1C6z3CQgmDAgAAzAEAAP////8BAQoJhAIAAAEACgABgwEAADQAAAABhQIAACEAAAD7kCdC6z3CQgGGAgAAoAAAAAIAAAAAAAAAAAAAAAAJhwIAAAAAAAAJiAIAAAAAAYkCAACpAAAAAAAAAAGKAgAAcgAAAAAA0EEAAGBBAYsCAAAVAAAAuuiCQXTRtUKSTthB6KJLQV662T8GjAIAAAM3MCUKCY0CAAAJqQEAANACAAD/////AQEKCY4CAAABAAoAAYYBAAAlAAAACdkAAAAAAAAAAAAAAAGHAQAAJgAAAAmPAgAAAgAAAAIAAAABiAEAADAAAAABkAIAACEAAAD7kD1Ca4uMQgGRAgAAIQAAAPuQLUJri4xCCZICAADMAQAA/////wEBCgmTAgAAAQAKAAGJAQAANAAAAAGUAgAAIQAAAPuQJ0Jri4xCAZUCAACgAAAAAgAAAAAAAAAAAAAAAAmWAgAAAAAAAAmXAgAAAAABmAIAAKkAAAAAAAAAAZkCAAByAAAAAADQQQAAYEEBmgIAABUAAAC66IJBo4t+QpJO2EHooktBXrrZPwabAgAAAzgwJQoJnAIAAAmpAQAA0AIAAP////8BAQoJnQIAAAEACgABjAEAACUAAAAJ2QAAAAAAAAAAAAAAAY0BAAAmAAAACZ4CAAACAAAAAgAAAAGOAQAAMAAAAAGfAgAAIQAAAPuQPULXsS1CAaACAAAhAAAA+5AtQtexLUIJoQIAAMwBAAD/////AQEKCaICAAABAAoAAY8BAAA0AAAAAaMCAAAhAAAA+5AnQtexLUIBpAIAAKAAAAACAAAAAAAAAAAAAAAACaUCAAAAAAAACaYCAAAAAAGnAgAAqQAAAAAAAAABqAIAAHIAAAAAANBBAABgQQGpAgAAFQAAALrogkFGFxVCkk7YQeiiS0Feutk/BqoCAAADOTAlCgmrAgAACakBAADQAgAA/////wEBCgmsAgAAAQAKAAGSAQAAJQAAAAnZAAAAAAAAAAAAAAABkwEAACYAAAAJrQIAAAIAAAACAAAAAZQBAAAwAAAAAa4CAAAhAAAA+5A9Qq+ZhEEBrwIAACEAAAD7kC1Cr5mEQQmwAgAAzAEAAP////8BAQoJsQIAAAEACgABlQEAADQAAAABsgIAACEAAAD7kCdCr5mEQQGzAgAAoAAAAAIAAAAAAAAAAAAAAAAJtAIAAAAAAAAJtQIAAAAAAbYCAACpAAAAAAAAAAG3AgAAcgAAAAAABEIAAGBBAbgCAAAVAAAAAAAgQQAAIEGlmwVC6KJLQV662T8GuQIAAAQxMDAlCgm6AgAACakBAADQAgAA/////wEBCgm7AgAAAQAKAAGYAQAAJQAAAAnZAAAAAAAAAAAAAAABmQEAACYAAAAJvAIAAAIAAAACAAAABJoBAACYAVN5c3RlbS5Db2xsZWN0aW9ucy5HZW5lcmljLkxpc3RgMVtbQXBsb3Jpcy5DaGFydC5DaGFydERhdGFFbGVtZW50LCBBcGxvcmlzLkNoYXJ0LCBWZXJzaW9uPTQuMC4wLjE0ODYsIEN1bHR1cmU9bmV1dHJhbCwgUHVibGljS2V5VG9rZW49MTZmYzEzYTIyNmMwZTk1MV1dAwAAAAZfaXRlbXMFX3NpemUIX3ZlcnNpb24EAAAgQXBsb3Jpcy5DaGFydC5DaGFydERhdGFFbGVtZW50W10CAAAACAgJvQIAAAQAAAAQAAAAAZsBAAAlAAAACb4CAAAEAAAAEAAAAAGcAQAAJgAAAAm/AgAAAAAAAAAAAAAFow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cBAAAKAAAAAABAQQl2AAAACXcAAAAJwAIAAAEACcECAAABpAEAAHgAAAAKCgAAAAD///8ADgAAAAABAagBAACtAAAACcICAAABAAAAAQAAAAGqAQAAdQAAAAnDAgAACgevAQAAAAEAAAAEAAAABB9BcGxvcmlzLkJhc2UuT2JqZWN0cy5EYXRhT2JqZWN0AwAAAAkiAQAADQMHsAEAAAABAAAABAAAAAQcQXBsb3Jpcy5CYXNlLlVJLlZpc3VhbE9iamVjdAMAAAAJJAEAAA0DAbEBAACaAQAACcQCAAAEAAAAEAAAAAGyAQAAJQAAAAnFAgAABAAAABAAAAABswEAACYAAAAJxgIAAAAAAAAAAAAABbo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IAQAACgAAAAAAQEEJdgAAAAl3AAAACccCAAABAAnIAgAAAbsBAAB4AAAACgoAAAAA////AA4AAAAAAQG/AQAArQAAAAnJAgAAAQAAAAEAAAABwAEAAHUAAAAJygIAAAoHxQEAAAABAAAABAAAAAQfQXBsb3Jpcy5CYXNlLk9iamVjdHMuRGF0YU9iamVjdAMAAAAJKgEAAA0DB8YBAAAAAQAAAAQAAAAEHEFwbG9yaXMuQmFzZS5VSS5WaXN1YWxPYmplY3QDAAAACSwBAAANAwHHAQAAmgEAAAnLAgAABAAAABAAAAAByAEAACUAAAAJzAIAAAQAAAAQAAAAAckBAAAmAAAACcYCAAAAAAAAAAAAAAXQ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CQEAAAoAAAAAAEBBCXYAAAAJdwAAAAnNAgAAAQAJzgIAAAHRAQAAeAAAAAoKAAAAAP///wAOAAAAAAEB1QEAAK0AAAAJzwIAAAEAAAABAAAAAdYBAAB1AAAACdACAAAKB9sBAAAAAQAAAAQAAAAEH0FwbG9yaXMuQmFzZS5PYmplY3RzLkRhdGFPYmplY3QDAAAACTIBAAANAwfcAQAAAAEAAAAEAAAABBxBcGxvcmlzLkJhc2UuVUkuVmlzdWFsT2JqZWN0AwAAAAk0AQAADQMB3QEAADQAAAAB0QIAACEAAADKw/FCXjNZQQHSAgAAoAAAAAEAAAAAAAAAAAAAAAAJ0wIAAAAAAAAJ1AIAAAAAAdUCAACpAAAAAAAAAAHWAgAAcgAAAAAAHEIAAEBBAdcCAAAVAAAAAAAAAAAAAAAAAAAAAAAAABKDvj8G2AIAAAQxMDAlCgnZAgAACakBAAA0AwAA/////wABCgnaAgAAAQAKAAHgAQAAIwAAAAoKAAAAAABAQQl2AAAACXcAAAAJ2wIAAAAACdwCAAAB4QEAAHgAAAAKCgAAAAD///8ADgAAAAABAeUBAACtAAAACd0CAAABAAAAAQAAAAHmAQAAdQAAAAneAgAACgfnAQAAAAEAAAAEAAAABBxBcGxvcmlzLkJhc2UuVUkuVmlzdWFsT2JqZWN0AwAAAAk9AQAACd0BAAAKCgHoAQAANAAAAAHfAgAAIQAAAJjuhUNeM1lBAeACAACgAAAAAQAAAAAAAAAAAAAAAAnhAgAAAAAAAAniAgAAAAAB4wIAAKkAAAAAAAAAAeQCAAByAAAAAAAcQgAAQEEB5QIAABUAAAAAAAAAAAAAAAAAAAAAAAAAEoO+PwbmAgAABDEwMCUKCecCAAAJqQEAADQDAAD/////AAEKCegCAAABAAoAAesBAAAjAAAACgoAAAAAAEBBCXYAAAAJdwAAAAnpAgAAAAAJ6gIAAAHsAQAAeAAAAAoKAAAAAP///wAOAAAAAAEB8AEAAK0AAAAJ6wIAAAEAAAABAAAAAfEBAAB1AAAACewCAAAKB/IBAAAAAQAAAAAAAAAEH0FwbG9yaXMuQmFzZS5PYmplY3RzLkRhdGFPYmplY3QDAAAAB/MBAAAAAQAAAAQAAAAEHEFwbG9yaXMuQmFzZS5VSS5WaXN1YWxPYmplY3QDAAAACUQBAAAJ6AEAAAoKAfQBAAA0AAAAAe0CAAAhAAAAPmzPQ14zWUEB7gIAAKAAAAABAAAAAAAAAAAAAAAACe8CAAAAAAAACfACAAAAAAHxAgAAqQAAAAAAAAAB8gIAAHIAAAAAABxCAABAQQHzAgAAFQAAAAAAAAAAAAAAAAAAAAAAAAASg74/BvQCAAAEMTAwJQoJ9QIAAAmpAQAANAMAAP////8AAQoJ9gIAAAEACgAB9wEAACMAAAAKCgAAAAAAQEEJdgAAAAl3AAAACfcCAAAAAAn4AgAAAfgBAAB4AAAACgoAAAAA////AA4AAAAAAQH8AQAArQAAAAn5AgAAAQAAAAEAAAAB/QEAAHUAAAAJ+gIAAAoH/gEAAAABAAAAAAAAAAQfQXBsb3Jpcy5CYXNlLk9iamVjdHMuRGF0YU9iamVjdAMAAAAH/wEAAAABAAAABAAAAAQcQXBsb3Jpcy5CYXNlLlVJLlZpc3VhbE9iamVjdAMAAAAJSwEAAAn0AQAACgoBAAIAADQAAAAB+wIAACEAAADydAxEXjNZQQH8AgAAoAAAAAEAAAAAAAAAAAAAAAAJ/QIAAAAAAAAJ/gIAAAAAAf8CAACpAAAAAAAAAAEAAwAAcgAAAAAAAAAAAAAAAQEDAAAVAAAAAAAAAAAAAAAAAAAAAAAAAAAAAAAGAgMAAAQxMDAlCgkDAwAACakBAAA0AwAA/////wABCgkEAwAAAQAKAAEDAgAAIwAAAAoKAAAAAABAQQl2AAAACXcAAAAJBQMAAAAACQYDAAABBAIAAHgAAAAKCgAAAAD///8ADgAAAAABAQgCAACtAAAACQcDAAABAAAAAQAAAAEJAgAAdQAAAAkIAwAACgcKAgAAAAEAAAAAAAAABB9BcGxvcmlzLkJhc2UuT2JqZWN0cy5EYXRhT2JqZWN0AwAAAAcLAgAAAAEAAAAEAAAABBxBcGxvcmlzLkJhc2UuVUkuVmlzdWFsT2JqZWN0AwAAAAlSAQAACQACAAAKCgEMAgAANAAAAAEJAwAAIQAAAFrwjUKjC51DAQoDAACgAAAABQAAAAAAAAAAAAAAAAkLAwAAAAAAAAkMAwAAAAABDQMAAKkAAAAAAAAAAQ4DAAByAAAAAAAMQgAAYEEBDwMAABUAAACLLopC0UWdQ3fhDELooktBXrrZPwkjAQAACgkQAwAACakBAACEAwAA/////wEBCgkRAwAAAQAKAAENAgAAHAAAAAESAwAAIQAAAFdRW0KjC51DARMDAAAhAAAAWvCHQo+do0MJFAMAAAkVAwAAAAAAAAoBFgMAAHIAAAAAAAAAAAAAAAEXAwAAcgAAAAAAAAAAAAAAAAAAAAEYAwAAFQAAAAAAAAAAAAAAAAAAAAAAAACYAwAA/////wEBCgkZAwAAAQAKAAEOAgAAJQAAAAkaAwAAAAAAAAAAAAABDwIAACYAAAAJGwMAAAIAAAACAAAAARACAAA0AAAAARwDAAAhAAAAQQQKQ6MLnUMBHQMAAKAAAAAFAAAAAAAAAAAAAAAACR4DAAAAAAAACR8DAAAAAAEgAwAAqQAAAAAAAAABIQMAAHIAAAAAAChCAABgQQEiAwAAFQAAABddCEPRRZ1D1FUmQuiiS0Feutk/CSsBAAAKCSMDAAAJqQEAAIQDAAD/////AQEKCSQDAAABAAoAARECAAAcAAAAASUDAAAhAAAA1MDzQqMLnUMBJgMAACEAAABBBAdDj52jQwknAwAACSgDAAAAAAAACgEpAwAAcgAAAAAAAAAAAAAAASoDAAByAAAAAAAAAAAAAAAAAAAAASsDAAAVAAAAAAAAAAAAAAAAAAAAAAAAAJgDAAD/////AQEKCSwDAAABAAoAARICAAAlAAAACRoDAAAAAAAAAAAAAAETAgAAJgAAAAktAwAAAgAAAAIAAAABFAIAADQAAAABLgMAACEAAABtbVNDowudQwEvAwAAoAAAAAUAAAAAAAAAAAAAAAAJMAMAAAAAAAAJMQMAAAAAATIDAACpAAAAAAAAAAEzAwAAcgAAAAAAUEIAAGBBATQDAAAVAAAAAABSQ9FFnUPrskpC6KJLQV662T8JMwEAAAoJNQMAAAmpAQAAhAMAAP////8BAQoJNgMAAAEACgABFQIAABwAAAABNwMAACEAAACWSUNDowudQwE4AwAAIQAAAG1tUEOPnaNDCTkDAAAJOgMAAAAAAAAKATsDAAByAAAAAAAAAAAAAAABPAMAAHIAAAAAAAAAAAAAAAAAAAABPQMAABUAAAAAAAAAAAAAAAAAAAAAAAAAmAMAAP////8BAQoJPgMAAAEACgABFgIAACUAAAAJGgMAAAAAAAAAAAAAARcCAAAmAAAACT8DAAACAAAAAgAAAAEaAgAAcAAAAAoKAAAAQD8JQAMAAAlBAwAAAQAAAP7///8AAAAAAQAAAAAAAAAAAAAAAQAAAAAAAAAAAAABGwIAAHUAAAAJQgMAAAoBHgIAACMAAAAKCgAAAAAAQEEJdgAAAAl3AAAACUMDAAAAAAlEAwAAAR8CAAB4AAAACgoAAAAA////AA4AAAAAAQEkAgAArQAAAAlFAwAAAQAAAAEAAAABJQIAAHUAAAAJRgMAAAoHJgIAAAABAAAABAAAAAQcQXBsb3Jpcy5CYXNlLlVJLlZpc3VhbE9iamVjdAMAAAAJWAEAAAlZAQAACgoBKQIAAHAAAAAKCgAAAEA/CUcDAAAJSAMAAAEAAAD+////AAAAAAEAAAAAAAAAAAAAAAEAAAAAAAAAAAAAASoCAAB1AAAACUkDAAAKAS0CAAAjAAAACgoAAAAAAEBBCXYAAAAJdwAAAAlKAwAAAAAJSwMAAAEuAgAAeAAAAAoKAAAAAP///wAOAAAAAAEBMwIAAK0AAAAJTAMAAAEAAAADAAAAATQCAAB1AAAACU0DAAAKBzUCAAAAAQAAAAQAAAAEHEFwbG9yaXMuQmFzZS5VSS5WaXN1YWxPYmplY3QDAAAACV4BAAAJXwEAAAoKATgCAABwAAAACgoAAABAPwlOAwAACU8DAAABAAAA/v///wAAAAABAAAAAAAAAAAAAAABAAAAAAAAAAAAAAE5AgAAdQAAAAlQAwAACgE8AgAAIwAAAAoKAAAAAABAQQl2AAAACXcAAAAJUQMAAAAACVIDAAABPQIAAHgAAAAKCgAAAAD///8ADgAAAAABAUICAACtAAAACVMDAAABAAAAAwAAAAFDAgAAdQAAAAlUAwAACgdEAgAAAAEAAAAEAAAABBxBcGxvcmlzLkJhc2UuVUkuVmlzdWFsT2JqZWN0AwAAAAlkAQAACWUBAAAKCgFHAgAAcAAAAAoKAAAAQD8JVQMAAAlWAwAAAQAAAP7///8AAAAAAQAAAAAAAAAAAAAAAQAAAAAAAAAAAAABSAIAAHUAAAAJVwMAAAoBSwIAACMAAAAKCgAAAAAAQEEJdgAAAAl3AAAACVgDAAAAAAlZAwAAAUwCAAB4AAAACgoAAAAA////AA4AAAAAAQFRAgAArQAAAAlaAwAAAQAAAAMAAAABUgIAAHUAAAAJWwMAAAoHUwIAAAABAAAABAAAAAQcQXBsb3Jpcy5CYXNlLlVJLlZpc3VhbE9iamVjdAMAAAAJagEAAAlrAQAACgoBVgIAAHAAAAAKCgAAAEA/CVwDAAAJXQMAAAEAAAD+////AAAAAAEAAAAAAAAAAAAAAAEAAAAAAAAAAAAAAVcCAAB1AAAACV4DAAAKAVoCAAAjAAAACgoAAAAAAEBBCXYAAAAJdwAAAAlfAwAAAAAJYAMAAAFbAgAAeAAAAAoKAAAAAP///wAOAAAAAAEBYAIAAK0AAAAJYQMAAAEAAAADAAAAAWECAAB1AAAACWIDAAAKB2ICAAAAAQAAAAQAAAAEHEFwbG9yaXMuQmFzZS5VSS5WaXN1YWxPYmplY3QDAAAACXABAAAJcQEAAAoKAWUCAABwAAAACgoAAABAPwljAwAACWQDAAABAAAA/v///wAAAAABAAAAAAAAAAAAAAABAAAAAAAAAAAAAAFmAgAAdQAAAAllAwAACgFpAgAAIwAAAAoKAAAAAABAQQl2AAAACXcAAAAJZgMAAAAACWcDAAABagIAAHgAAAAKCgAAAAD///8ADgAAAAABAW8CAACtAAAACWgDAAABAAAAAwAAAAFwAgAAdQAAAAlpAwAACgdxAgAAAAEAAAAEAAAABBxBcGxvcmlzLkJhc2UuVUkuVmlzdWFsT2JqZWN0AwAAAAl2AQAACXcBAAAKCgF0AgAAcAAAAAoKAAAAQD8JagMAAAlrAwAAAQAAAP7///8AAAAAAQAAAAAAAAAAAAAAAQAAAAAAAAAAAAABdQIAAHUAAAAJbAMAAAoBeAIAACMAAAAKCgAAAAAAQEEJdgAAAAl3AAAACW0DAAAAAAluAwAAAXkCAAB4AAAACgoAAAAA////AA4AAAAAAQF+AgAArQAAAAlvAwAAAQAAAAMAAAABfwIAAHUAAAAJcAMAAAoHgAIAAAABAAAABAAAAAQcQXBsb3Jpcy5CYXNlLlVJLlZpc3VhbE9iamVjdAMAAAAJfAEAAAl9AQAACgoBgwIAAHAAAAAKCgAAAEA/CXEDAAAJcgMAAAEAAAD+////AAAAAAEAAAAAAAAAAAAAAAEAAAAAAAAAAAAAAYQCAAB1AAAACXMDAAAKAYcCAAAjAAAACgoAAAAAAEBBCXYAAAAJdwAAAAl0AwAAAAAJdQMAAAGIAgAAeAAAAAoKAAAAAP///wAOAAAAAAEBjQIAAK0AAAAJdgMAAAEAAAADAAAAAY4CAAB1AAAACXcDAAAKB48CAAAAAQAAAAQAAAAEHEFwbG9yaXMuQmFzZS5VSS5WaXN1YWxPYmplY3QDAAAACYIBAAAJgwEAAAoKAZICAABwAAAACgoAAABAPwl4AwAACXkDAAABAAAA/v///wAAAAABAAAAAAAAAAAAAAABAAAAAAAAAAAAAAGTAgAAdQAAAAl6AwAACgGWAgAAIwAAAAoKAAAAAABAQQl2AAAACXcAAAAJewMAAAAACXwDAAABlwIAAHgAAAAKCgAAAAD///8ADgAAAAABAZwCAACtAAAACX0DAAABAAAAAwAAAAGdAgAAdQAAAAl+AwAACgeeAgAAAAEAAAAEAAAABBxBcGxvcmlzLkJhc2UuVUkuVmlzdWFsT2JqZWN0AwAAAAmIAQAACYkBAAAKCgGhAgAAcAAAAAoKAAAAQD8JfwMAAAmAAwAAAQAAAP7///8AAAAAAQAAAAAAAAAAAAAAAQAAAAAAAAAAAAABogIAAHUAAAAJgQMAAAoBpQIAACMAAAAKCgAAAAAAQEEJdgAAAAl3AAAACYIDAAAAAAmDAwAAAaYCAAB4AAAACgoAAAAA////AA4AAAAAAQGrAgAArQAAAAmEAwAAAQAAAAMAAAABrAIAAHUAAAAJhQMAAAoHrQIAAAABAAAABAAAAAQcQXBsb3Jpcy5CYXNlLlVJLlZpc3VhbE9iamVjdAMAAAAJjgEAAAmPAQAACgoBsAIAAHAAAAAKCgAAAEA/CYYDAAAJhwMAAAEAAAD+////AAAAAAEAAAAAAAAAAAAAAAEAAAAAAAAAAAAAAbECAAB1AAAACYgDAAAKAbQCAAAjAAAACgoAAAAAAEBBCXYAAAAJdwAAAAmJAwAAAAAJigMAAAG1AgAAeAAAAAoKAAAAAP///wAOAAAAAAEBugIAAK0AAAAJiwMAAAEAAAADAAAAAbsCAAB1AAAACYwDAAAKB7wCAAAAAQAAAAQAAAAEHEFwbG9yaXMuQmFzZS5VSS5WaXN1YWxPYmplY3QDAAAACZQBAAAJlQEAAAoKB70CAAAAAQAAABAAAAAEHkFwbG9yaXMuQ2hhcnQuQ2hhcnREYXRhRWxlbWVudAIAAAAJjQMAAAmOAwAACY8DAAAJkAMAAA0MB74CAAAAAQAAABAAAAAEH0FwbG9yaXMuQmFzZS5PYmplY3RzLkRhdGFPYmplY3QDAAAACY0DAAAJjgMAAAmPAwAACZADAAANDAe/AgAAAAEAAAAAAAAABBxBcGxvcmlzLkJhc2UuVUkuVmlzdWFsT2JqZWN0AwAAAAHAAgAAeAAAAAoKAAAAAAAAAAANAAAAAAEBwQIAAHgAAAAKCgEAAAAAAAAA/////wABB8ICAAAAAQAAAAQAAAAEHUFwbG9yaXMuQmFzZS5PYmplY3RzLlZhcmlhYmxlAwAAAAWRAwAAHUFwbG9yaXMuQmFzZS5PYmplY3RzLlZhcmlhYmxlAgAAAAZOdW1iZXIIUG9zaXRpb24AAAgIAwAAAAEAAAAAAAAAAZIDAACRAwAAAAAAAAAAAAABkwMAAJEDAAAAAAAAAAAAAAGUAwAAkQMAAAAAAAAAAAAAD8MCAAABAAAACAAAAAAHxAIAAAABAAAAEAAAAAQeQXBsb3Jpcy5DaGFydC5DaGFydERhdGFFbGVtZW50AgAAAAmVAwAACZYDAAAJlwMAAAmYAwAADQwHxQIAAAABAAAAEAAAAAQfQXBsb3Jpcy5CYXNlLk9iamVjdHMuRGF0YU9iamVjdAMAAAAJlQMAAAmWAwAACZcDAAAJmAMAAA0MB8YCAAAAAQAAAAAAAAAEHEFwbG9yaXMuQmFzZS5VSS5WaXN1YWxPYmplY3QDAAAAAccCAAB4AAAACgoAAAAAAAAAAA0AAAAAAQHIAgAAeAAAAAoKAQAAAAAAAAD/////AAEHyQIAAAABAAAABAAAAAQdQXBsb3Jpcy5CYXNlLk9iamVjdHMuVmFyaWFibGUDAAAAAZkDAACRAwAAAQAAAAAAAAABmgMAAJEDAAAAAAAAAAAAAAGbAwAAkQMAAAAAAAAAAAAAAZwDAACRAwAAAAAAAAAAAAAPygIAAAEAAAAIAAAAAAfLAgAAAAEAAAAQAAAABB5BcGxvcmlzLkNoYXJ0LkNoYXJ0RGF0YUVsZW1lbnQCAAAACZ0DAAAJngMAAAmfAwAACaADAAANDAfMAgAAAAEAAAAQAAAABB9BcGxvcmlzLkJhc2UuT2JqZWN0cy5EYXRhT2JqZWN0AwAAAAmdAwAACZ4DAAAJnwMAAAmgAwAADQwBzQIAAHgAAAAKCgAAAAAAAAAADQAAAAABAc4CAAB4AAAACgoBAAAAAAAAAP////8AAQfPAgAAAAEAAAAEAAAABB1BcGxvcmlzLkJhc2UuT2JqZWN0cy5WYXJpYWJsZQMAAAABoQMAAJEDAAABAAAAAAAAAAGiAwAAkQMAAAAAAAAAAAAAAaMDAACRAwAAAAAAAAAAAAABpAMAAJEDAAAAAAAAAAAAAA/QAgAAAQAAAAgAAAAABdM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oBAAAKAAAAAABAQQl2AAAACXcAAAAJpQMAAAEACaYDAAAB1AIAAHgAAAAKCgAAAAD///8ADgAAAAABAdkCAACtAAAACacDAAABAAAAAQAAAAHaAgAAdQAAAAmoAwAACgHbAgAAeAAAAAoKAAAAAAAAAAANAAAAAAAB3AIAAHgAAAAKCgAAAAAAAAAADQAAAAABB90CAAAAAQAAAAQAAAAEHUFwbG9yaXMuQmFzZS5PYmplY3RzLlZhcmlhYmxlAwAAAAGpAwAAkQMAAAEAAAAAAAAAAaoDAACRAwAAAAAAAAAAAAABqwMAAJEDAAAAAAAAAAAAAAGsAwAAkQMAAAAAAAAAAAAAD94CAAABAAAACFIBAAAF4Q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CwEAAAoAAAAAAEBBCXYAAAAJdwAAAAmtAwAAAQAJrgMAAAHiAgAAeAAAAAoKAAAAAP///wAOAAAAAAEB5wIAAK0AAAAJrwMAAAEAAAADAAAAAegCAAB1AAAACbADAAAKAekCAAB4AAAACgoAAAAAAAAAAA0AAAAAAAHqAgAAeAAAAAoKAAAAAAAAAAANAAAAAAEH6wIAAAABAAAABAAAAAQdQXBsb3Jpcy5CYXNlLk9iamVjdHMuVmFyaWFibGUDAAAAAbEDAACRAwAAAQAAAAAAAAABsgMAAJEDAAAAAAAAAAAAAAGzAwAAkQMAAAAAAAAAAAAAAbQDAACRAwAAAAAAAAAAAAAP7AIAAAEAAAAITQEAAAXv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MAQAACgAAAAAAQEEJdgAAAAl3AAAACbUDAAABAAm2AwAAAfACAAB4AAAACgoAAAAA////AA4AAAAAAQH1AgAArQAAAAm3AwAAAQAAAAMAAAAB9gIAAHUAAAAJuAMAAAoB9wIAAHgAAAAKCgAAAAAAAAAADQAAAAAAAfgCAAB4AAAACgoAAAAAAAAAAA0AAAAAAQf5AgAAAAEAAAAEAAAABB1BcGxvcmlzLkJhc2UuT2JqZWN0cy5WYXJpYWJsZQMAAAABuQMAAJEDAAABAAAAAAAAAAG6AwAAkQMAAAAAAAAAAAAAAbsDAACRAwAAAAAAAAAAAAABvAMAAJEDAAAAAAAAAAAAAA/6AgAAAQAAAAjFAAAABf0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0BAAAKAAAAAABAQQl2AAAACXcAAAAJvQMAAAEACb4DAAAB/gIAAHgAAAAKCgEAAAAAAAAA/////wABAQMDAACtAAAACb8DAAABAAAAAwAAAAEEAwAAdQAAAAnAAwAACgEFAwAAeAAAAAoKAAAAAAAAAAANAAAAAAABBgMAAHgAAAAKCgAAAAAAAAAADQAAAAABBwcDAAAAAQAAAAQAAAAEHUFwbG9yaXMuQmFzZS5PYmplY3RzLlZhcmlhYmxlAwAAAAHBAwAAkQMAAAEAAAAAAAAAAcIDAACRAwAAAAAAAAAAAAABwwMAAJEDAAAAAAAAAAAAAAHEAwAAkQMAAAAAAAAAAAAADwgDAAABAAAACBwDAAABCwMAACMAAAAKCgAAAAAAQEEJdgAAAAl3AAAACcUDAAAAAAnGAwAAAQwDAAB4AAAACgoBAAAAAAAAAP////8AAQEQAwAArQAAAAnHAwAAAQAAAAEAAAABEQMAAHUAAAAJyAMAAAoBFAMAAHAAAAAKCgAAAEA/CckDAAAJygMAAAEAAAD+////AAAAAAEAAAAAAAAAAAAAAAEAAAAAAAAAAAAAARUDAABxAAAACgoJywMAAAnMAwAAAQAAAP7///8AAAAA/////wEAARkDAAB1AAAACc0DAAAKBxoDAAAAAQAAAAAAAAAEH0FwbG9yaXMuQmFzZS5PYmplY3RzLkRhdGFPYmplY3QDAAAABxsDAAAAAQAAAAQAAAAEHEFwbG9yaXMuQmFzZS5VSS5WaXN1YWxPYmplY3QDAAAACQwCAAAJDQIAAAoKAR4DAAAjAAAACgoAAAAAAEBBCXYAAAAJdwAAAAnOAwAAAAAJzwMAAAEfAwAAeAAAAAoKAQAAAAAAAAD/////AAEBIwMAAK0AAAAJ0AMAAAEAAAABAAAAASQDAAB1AAAACdEDAAAKAScDAABwAAAACgoAAABAPwnSAwAACdMDAAABAAAA/v///wAAAAABAAAAAAAAAAAAAAABAAAAAAAAAAAAAAEoAwAAcQAAAAoKCdQDAAAJ1QMAAAEAAAD+////AAAAAP////8BAAEsAwAAdQAAAAnWAwAACgctAwAAAAEAAAAEAAAABBxBcGxvcmlzLkJhc2UuVUkuVmlzdWFsT2JqZWN0AwAAAAkQAgAACRECAAAKCgEwAwAAIwAAAAoKAAAAAABAQQl2AAAACXcAAAAJ1wMAAAAACdgDAAABMQMAAHgAAAAKCgEAAAAAAAAA/////wABATUDAACtAAAACdkDAAABAAAAAQAAAAE2AwAAdQAAAAnaAwAACgE5AwAAcAAAAAoKAAAAQD8J2wMAAAncAwAAAQAAAP7///8AAAAAAQAAAAAAAAAAAAAAAQAAAAAAAAAAAAABOgMAAHEAAAAKCgndAwAACd4DAAABAAAA/v///wAAAAD/////AQABPgMAAHUAAAAJ3wMAAAoHPwMAAAABAAAABAAAAAQcQXBsb3Jpcy5CYXNlLlVJLlZpc3VhbE9iamVjdAMAAAAJFAIAAAkVAgAACgoBQAMAAHgAAAAKCgAAAAAAAAAADQAAAAAABUEDAAAaQXBsb3Jpcy5CYXNlLk9iamVjdHMuQ29sb3IHAAAAEkRhdGFPYmplY3QrbVBhcmVudBVEYXRhT2JqZWN0K21Db250YWluZXIFbVR5cGUEbVJHQhBtVGhlbWVDb2xvckluZGV4DG1BdXRvVXBkYXRlZAltTW9kaWZpZWQEAgAAAAAAH0FwbG9yaXMuQmFzZS5PYmplY3RzLkxpbmVGb3JtYXQDAAAACAgIAQEDAAAACRoCAAAKAQAAAAAAAAD/////AAEPQgMAAAEAAAAITgMAAAFDAwAAeAAAAAoKAAAAAAAAAAANAAAAAAABRAMAAHgAAAAKCgAAAAAAAAAADQAAAAABB0UDAAAAAQAAAAQAAAAEHUFwbG9yaXMuQmFzZS5PYmplY3RzLlZhcmlhYmxlAwAAAAHgAwAAkQMAAAEAAAAAAAAAAeEDAACRAwAAAAAAAAAAAAAB4gMAAJEDAAAAAAAAAAAAAAHjAwAAkQMAAAAAAAAAAAAAD0YDAAABAAAACCYAAAABRwMAAHgAAAAKCgAAAAAAAAAADQAAAAAABUgDAAAaQXBsb3Jpcy5CYXNlLk9iamVjdHMuQ29sb3IHAAAAEkRhdGFPYmplY3QrbVBhcmVudBVEYXRhT2JqZWN0K21Db250YWluZXIFbVR5cGUEbVJHQhBtVGhlbWVDb2xvckluZGV4DG1BdXRvVXBkYXRlZAltTW9kaWZpZWQEAgAAAAAAH0FwbG9yaXMuQmFzZS5PYmplY3RzLkxpbmVGb3JtYXQDAAAACAgIAQEDAAAACSkCAAAKAQAAAAAAAAD/////AAEPSQMAAAEAAAAITQMAAAFKAwAAeAAAAAoKAAAAAAAAAAANAAAAAAABSwMAAHgAAAAKCgAAAAAAAAAADQAAAAABB0wDAAAAAQAAAAQAAAAEHUFwbG9yaXMuQmFzZS5PYmplY3RzLlZhcmlhYmxlAwAAAAHkAwAAkQMAAAEAAAAAAAAAAeUDAACRAwAAAAAAAAAAAAAB5gMAAJEDAAAAAAAAAAAAAAHnAwAAkQMAAAAAAAAAAAAAD00DAAABAAAACCMAAAABTgMAAHgAAAAKCgAAAAAAAAAADQAAAAAABU8DAAAaQXBsb3Jpcy5CYXNlLk9iamVjdHMuQ29sb3IHAAAAEkRhdGFPYmplY3QrbVBhcmVudBVEYXRhT2JqZWN0K21Db250YWluZXIFbVR5cGUEbVJHQhBtVGhlbWVDb2xvckluZGV4DG1BdXRvVXBkYXRlZAltTW9kaWZpZWQEAgAAAAAAH0FwbG9yaXMuQmFzZS5PYmplY3RzLkxpbmVGb3JtYXQDAAAACAgIAQEDAAAACTgCAAAKAQAAAAAAAAD/////AAEPUAMAAAEAAAAISwMAAAFRAwAAeAAAAAoKAAAAAAAAAAANAAAAAAABUgMAAHgAAAAKCgAAAAAAAAAADQAAAAABB1MDAAAAAQAAAAQAAAAEHUFwbG9yaXMuQmFzZS5PYmplY3RzLlZhcmlhYmxlAwAAAAHoAwAAkQMAAAEAAAAAAAAAAekDAACRAwAAAAAAAAAAAAAB6gMAAJEDAAAAAAAAAAAAAAHrAwAAkQMAAAAAAAAAAAAAD1QDAAABAAAACCsAAAABVQMAAHgAAAAKCgAAAAAAAAAADQAAAAAABVYDAAAaQXBsb3Jpcy5CYXNlLk9iamVjdHMuQ29sb3IHAAAAEkRhdGFPYmplY3QrbVBhcmVudBVEYXRhT2JqZWN0K21Db250YWluZXIFbVR5cGUEbVJHQhBtVGhlbWVDb2xvckluZGV4DG1BdXRvVXBkYXRlZAltTW9kaWZpZWQEAgAAAAAAH0FwbG9yaXMuQmFzZS5PYmplY3RzLkxpbmVGb3JtYXQDAAAACAgIAQEDAAAACUcCAAAKAQAAAAAAAAD/////AAEPVwMAAAEAAAAIUQMAAAFYAwAAeAAAAAoKAAAAAAAAAAANAAAAAAABWQMAAHgAAAAKCgAAAAAAAAAADQAAAAABB1oDAAAAAQAAAAQAAAAEHUFwbG9yaXMuQmFzZS5PYmplY3RzLlZhcmlhYmxlAwAAAAHsAwAAkQMAAAEAAAAAAAAAAe0DAACRAwAAAAAAAAAAAAAB7gMAAJEDAAAAAAAAAAAAAAHvAwAAkQMAAAAAAAAAAAAAD1sDAAABAAAACCoAAAABXAMAAHgAAAAKCgAAAAAAAAAADQAAAAAABV0DAAAaQXBsb3Jpcy5CYXNlLk9iamVjdHMuQ29sb3IHAAAAEkRhdGFPYmplY3QrbVBhcmVudBVEYXRhT2JqZWN0K21Db250YWluZXIFbVR5cGUEbVJHQhBtVGhlbWVDb2xvckluZGV4DG1BdXRvVXBkYXRlZAltTW9kaWZpZWQEAgAAAAAAH0FwbG9yaXMuQmFzZS5PYmplY3RzLkxpbmVGb3JtYXQDAAAACAgIAQEDAAAACVYCAAAKAQAAAAAAAAD/////AAEPXgMAAAEAAAAIUAMAAAFfAwAAeAAAAAoKAAAAAAAAAAANAAAAAAABYAMAAHgAAAAKCgAAAAAAAAAADQAAAAABB2EDAAAAAQAAAAQAAAAEHUFwbG9yaXMuQmFzZS5PYmplY3RzLlZhcmlhYmxlAwAAAAHwAwAAkQMAAAEAAAAAAAAAAfEDAACRAwAAAAAAAAAAAAAB8gMAAJEDAAAAAAAAAAAAAAHzAwAAkQMAAAAAAAAAAAAAD2IDAAABAAAACCcAAAABYwMAAHgAAAAKCgAAAAAAAAAADQAAAAAABWQDAAAaQXBsb3Jpcy5CYXNlLk9iamVjdHMuQ29sb3IHAAAAEkRhdGFPYmplY3QrbVBhcmVudBVEYXRhT2JqZWN0K21Db250YWluZXIFbVR5cGUEbVJHQhBtVGhlbWVDb2xvckluZGV4DG1BdXRvVXBkYXRlZAltTW9kaWZpZWQEAgAAAAAAH0FwbG9yaXMuQmFzZS5PYmplY3RzLkxpbmVGb3JtYXQDAAAACAgIAQEDAAAACWUCAAAKAQAAAAAAAAD/////AAEPZQMAAAEAAAAITwMAAAFmAwAAeAAAAAoKAAAAAAAAAAANAAAAAAABZwMAAHgAAAAKCgAAAAAAAAAADQAAAAABB2gDAAAAAQAAAAQAAAAEHUFwbG9yaXMuQmFzZS5PYmplY3RzLlZhcmlhYmxlAwAAAAH0AwAAkQMAAAEAAAAAAAAAAfUDAACRAwAAAAAAAAAAAAAB9gMAAJEDAAAAAAAAAAAAAAH3AwAAkQMAAAAAAAAAAAAAD2kDAAABAAAACCkAAAABagMAAHgAAAAKCgAAAAAAAAAADQAAAAAABWsDAAAaQXBsb3Jpcy5CYXNlLk9iamVjdHMuQ29sb3IHAAAAEkRhdGFPYmplY3QrbVBhcmVudBVEYXRhT2JqZWN0K21Db250YWluZXIFbVR5cGUEbVJHQhBtVGhlbWVDb2xvckluZGV4DG1BdXRvVXBkYXRlZAltTW9kaWZpZWQEAgAAAAAAH0FwbG9yaXMuQmFzZS5PYmplY3RzLkxpbmVGb3JtYXQDAAAACAgIAQEDAAAACXQCAAAKAQAAAAAAAAD/////AAEPbAMAAAEAAAAITAMAAAFtAwAAeAAAAAoKAAAAAAAAAAANAAAAAAABbgMAAHgAAAAKCgAAAAAAAAAADQAAAAABB28DAAAAAQAAAAQAAAAEHUFwbG9yaXMuQmFzZS5PYmplY3RzLlZhcmlhYmxlAwAAAAH4AwAAkQMAAAEAAAAAAAAAAfkDAACRAwAAAAAAAAAAAAAB+gMAAJEDAAAAAAAAAAAAAAH7AwAAkQMAAAAAAAAAAAAAD3ADAAABAAAACCgAAAABcQMAAHgAAAAKCgAAAAAAAAAADQAAAAAABXIDAAAaQXBsb3Jpcy5CYXNlLk9iamVjdHMuQ29sb3IHAAAAEkRhdGFPYmplY3QrbVBhcmVudBVEYXRhT2JqZWN0K21Db250YWluZXIFbVR5cGUEbVJHQhBtVGhlbWVDb2xvckluZGV4DG1BdXRvVXBkYXRlZAltTW9kaWZpZWQEAgAAAAAAH0FwbG9yaXMuQmFzZS5PYmplY3RzLkxpbmVGb3JtYXQDAAAACAgIAQEDAAAACYMCAAAKAQAAAAAAAAD/////AAEPcwMAAAEAAAAIVQMAAAF0AwAAeAAAAAoKAAAAAAAAAAANAAAAAAABdQMAAHgAAAAKCgAAAAAAAAAADQAAAAABB3YDAAAAAQAAAAQAAAAEHUFwbG9yaXMuQmFzZS5PYmplY3RzLlZhcmlhYmxlAwAAAAH8AwAAkQMAAAEAAAAAAAAAAf0DAACRAwAAAAAAAAAAAAAB/gMAAJEDAAAAAAAAAAAAAAH/AwAAkQMAAAAAAAAAAAAAD3cDAAABAAAACCwAAAABeAMAAHgAAAAKCgAAAAAAAAAADQAAAAAABXkDAAAaQXBsb3Jpcy5CYXNlLk9iamVjdHMuQ29sb3IHAAAAEkRhdGFPYmplY3QrbVBhcmVudBVEYXRhT2JqZWN0K21Db250YWluZXIFbVR5cGUEbVJHQhBtVGhlbWVDb2xvckluZGV4DG1BdXRvVXBkYXRlZAltTW9kaWZpZWQEAgAAAAAAH0FwbG9yaXMuQmFzZS5PYmplY3RzLkxpbmVGb3JtYXQDAAAACAgIAQEDAAAACZICAAAKAQAAAAAAAAD/////AAEPegMAAAEAAAAIUgMAAAF7AwAAeAAAAAoKAAAAAAAAAAANAAAAAAABfAMAAHgAAAAKCgAAAAAAAAAADQAAAAABB30DAAAAAQAAAAQAAAAEHUFwbG9yaXMuQmFzZS5PYmplY3RzLlZhcmlhYmxlAwAAAAEABAAAkQMAAAEAAAAAAAAAAQEEAACRAwAAAAAAAAAAAAABAgQAAJEDAAAAAAAAAAAAAAEDBAAAkQMAAAAAAAAAAAAAD34DAAABAAAACC0AAAABfwMAAHgAAAAKCgAAAAAAAAAADQAAAAAABYADAAAaQXBsb3Jpcy5CYXNlLk9iamVjdHMuQ29sb3IHAAAAEkRhdGFPYmplY3QrbVBhcmVudBVEYXRhT2JqZWN0K21Db250YWluZXIFbVR5cGUEbVJHQhBtVGhlbWVDb2xvckluZGV4DG1BdXRvVXBkYXRlZAltTW9kaWZpZWQEAgAAAAAAH0FwbG9yaXMuQmFzZS5PYmplY3RzLkxpbmVGb3JtYXQDAAAACAgIAQEDAAAACaECAAAKAQAAAAAAAAD/////AAEPgQMAAAEAAAAIUwMAAAGCAwAAeAAAAAoKAAAAAAAAAAANAAAAAAABgwMAAHgAAAAKCgAAAAAAAAAADQAAAAABB4QDAAAAAQAAAAQAAAAEHUFwbG9yaXMuQmFzZS5PYmplY3RzLlZhcmlhYmxlAwAAAAEEBAAAkQMAAAEAAAAAAAAAAQUEAACRAwAAAAAAAAAAAAABBgQAAJEDAAAAAAAAAAAAAAEHBAAAkQMAAAAAAAAAAAAAD4UDAAABAAAACCUAAAABhgMAAHgAAAAKCgAAAAAAAAAADQAAAAAABYcDAAAaQXBsb3Jpcy5CYXNlLk9iamVjdHMuQ29sb3IHAAAAEkRhdGFPYmplY3QrbVBhcmVudBVEYXRhT2JqZWN0K21Db250YWluZXIFbVR5cGUEbVJHQhBtVGhlbWVDb2xvckluZGV4DG1BdXRvVXBkYXRlZAltTW9kaWZpZWQEAgAAAAAAH0FwbG9yaXMuQmFzZS5PYmplY3RzLkxpbmVGb3JtYXQDAAAACAgIAQEDAAAACbACAAAKAQAAAAAAAAD/////AAEPiAMAAAEAAAAIVAMAAAGJAwAAeAAAAAoKAAAAAAAAAAANAAAAAAABigMAAHgAAAAKCgAAAAAAAAAADQAAAAABB4sDAAAAAQAAAAQAAAAEHUFwbG9yaXMuQmFzZS5PYmplY3RzLlZhcmlhYmxlAwAAAAEIBAAAkQMAAAEAAAAAAAAAAQkEAACRAwAAAAAAAAAAAAABCgQAAJEDAAAAAAAAAAAAAAELBAAAkQMAAAAAAAAAAAAAD4wDAAABAAAACCQAAAAFjQM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MBAAACQ0EAAAKCQ4EAAAKCQcBAAAIBjGEbLzuBMo/CgAAAAAJDwQAAAkQBAAAAAAAAAAJEQQAAAkHAQAACQEAAAAJEgQAAAGOAwAAjQMAAAkTBAAACRQEAAAKCRUEAAAKCQcBAAAIBnbpMX+vjdg/CgEAAAAJFgQAAAkXBAAAAAAAAAAJGAQAAAkHAQAACQEAAAAJGQQAAAGPAwAAjQMAAAkaBAAACRsEAAAKCRwEAAAKCQcBAAAIBjhbh36zdcg/CgIAAAAJHQQAAAkeBAAAAAAAAAAJHwQAAAkHAQAACQEAAAAJIAQAAAGQAwAAjQMAAAkhBAAACSIEAAAKCSMEAAAKCQcBAAAIBik19jALyLc/CgMAAAAJJAQAAAklBAAAAAAAAAAJJgQAAAkHAQAACQEAAAAJJwQAAAGVAwAAjQMAAAkoBAAACSkEAAAKCSoEAAAKCQgBAAAIBrfLxVnmK+E/CgAAAAAJKwQAAAksBAAAAAAAAAAJLQQAAAkIAQAACQEAAAAJLgQAAAGWAwAAjQMAAAkvBAAACTAEAAAKCTEEAAAKCQgBAAAIBiV3ihbOgOA/CgEAAAAJMgQAAAkzBAAAAAAAAAAJNAQAAAkIAQAACQEAAAAJNQQAAAGXAwAAjQMAAAk2BAAACTcEAAAKCTgEAAAKCQgBAAAIBl4gk+IFMuE/CgIAAAAJOQQAAAk6BAAAAAAAAAAJOwQAAAkIAQAACQEAAAAJPAQAAAGYAwAAjQMAAAk9BAAACT4EAAAKCT8EAAAKCQgBAAAIBpgF5ItEqeE/CgMAAAAJQAQAAAlBBAAAAAAAAAAJQgQAAAkIAQAACQEAAAAJQwQAAAGdAwAAjQMAAAlEBAAACUUEAAAKCUYEAAAKCQkBAAAIBnkmPu67pdA/CgAAAAAJRwQAAAlIBAAAAAAAAAAJSQQAAAkJAQAACQEAAAAJSgQAAAGeAwAAjQMAAAlLBAAACUwEAAAKCU0EAAAKCQkBAAAIBgKh5E7Rwrk/CgEAAAAJTgQAAAlPBAAAAAAAAAAJUAQAAAkJAQAACQEAAAAJUQQAAAGfAwAAjQMAAAlSBAAACVMEAAAKCVQEAAAKCQkBAAAIBqgRlnsaYdE/CgIAAAAJVQQAAAlWBAAAAAAAAAAJVwQAAAkJAQAACQEAAAAJWAQAAAGgAwAAjQMAAAlZBAAACVoEAAAKCVsEAAAKCQkBAAAIBoVn+ht0u9Y/CgMAAAAJXAQAAAldBAAAAAAAAAAJXgQAAAkJAQAACQEAAAAJXwQAAAGlAwAAeAAAAAoKAAAAAAAAAAANAAAAAAEBpgMAAHgAAAAKCgEAAAAAAAAA/////wABB6cDAAAAAQAAAAQAAAAEHUFwbG9yaXMuQmFzZS5PYmplY3RzLlZhcmlhYmxlAwAAAAFgBAAAkQMAAAEAAAAAAAAAAWEEAACRAwAAAAAAAAAAAAABYgQAAJEDAAAAAAAAAAAAAAFjBAAAkQMAAAAAAAAAAAAAD6gDAAABAAAACAAAAAABrQMAAHgAAAAKCgAAAAAAAAAADQAAAAABAa4DAAB4AAAACgoBAAAAAAAAAP////8AAQevAwAAAAEAAAAEAAAABB1BcGxvcmlzLkJhc2UuT2JqZWN0cy5WYXJpYWJsZQMAAAABZAQAAJEDAAABAAAAAAAAAAFlBAAAkQMAAAAAAAAAAAAAAWYEAACRAwAAAAAAAAAAAAABZwQAAJEDAAAAAAAAAAAAAA+wAwAAAQAAAAgAAAAAAbUDAAB4AAAACgoAAAAAAAAAAA0AAAAAAQG2AwAAeAAAAAoKAQAAAAAAAAD/////AAEHtwMAAAABAAAABAAAAAQdQXBsb3Jpcy5CYXNlLk9iamVjdHMuVmFyaWFibGUDAAAAAWgEAACRAwAAAQAAAAAAAAABaQQAAJEDAAAAAAAAAAAAAAFqBAAAkQMAAAAAAAAAAAAAAWsEAACRAwAAAAAAAAAAAAAPuAMAAAEAAAAIAAAAAAG9AwAAeAAAAAoKAAAAAAAAAAANAAAAAAEBvgMAAHgAAAAKCgEAAAAAAAAA/////wABB78DAAAAAQAAAAQAAAAEHUFwbG9yaXMuQmFzZS5PYmplY3RzLlZhcmlhYmxlAwAAAAFsBAAAkQMAAAEAAAAAAAAAAW0EAACRAwAAAAAAAAAAAAABbgQAAJEDAAAAAAAAAAAAAAFvBAAAkQMAAAAAAAAAAAAAD8ADAAABAAAACAAAAAABxQMAAHgAAAAKCgAAAAAAAAAADQAAAAAAAcYDAAB4AAAACgoBAAAAAAAAAP////8AAQfHAwAAAAEAAAAEAAAABB1BcGxvcmlzLkJhc2UuT2JqZWN0cy5WYXJpYWJsZQMAAAABcAQAAJEDAAABAAAAAAAAAAFxBAAAkQMAAAAAAAAAAAAAAXIEAACRAwAAAAAAAAAAAAABcwQAAJEDAAAAAAAAAAAAAA/IAwAAAQAAAAhFAwAAAckDAAB4AAAACgoAAAAA////AA4AAAAAAAXKAwAAGkFwbG9yaXMuQmFzZS5PYmplY3RzLkNvbG9yBwAAABJEYXRhT2JqZWN0K21QYXJlbnQVRGF0YU9iamVjdCttQ29udGFpbmVyBW1UeXBlBG1SR0IQbVRoZW1lQ29sb3JJbmRleAxtQXV0b1VwZGF0ZWQJbU1vZGlmaWVkBAIAAAAAAB9BcGxvcmlzLkJhc2UuT2JqZWN0cy5MaW5lRm9ybWF0AwAAAAgICAEBAwAAAAkUAwAACgEAAAAAAAAA/////wABAcsDAAB4AAAACgoBAAAABSluAP////8AAAHMAwAAeAAAAAoKAQAAAP///wD/////AAAPzQMAAAEAAAAIRwMAAAHOAwAAeAAAAAoKAAAAAAAAAAANAAAAAAABzwMAAHgAAAAKCgEAAAAAAAAA/////wABB9ADAAAAAQAAAAQAAAAEHUFwbG9yaXMuQmFzZS5PYmplY3RzLlZhcmlhYmxlAwAAAAF0BAAAkQMAAAEAAAAAAAAAAXUEAACRAwAAAAAAAAAAAAABdgQAAJEDAAAAAAAAAAAAAAF3BAAAkQMAAAAAAAAAAAAAD9EDAAABAAAACEMDAAAB0gMAAHgAAAAKCgAAAAD///8ADgAAAAAABdMDAAAaQXBsb3Jpcy5CYXNlLk9iamVjdHMuQ29sb3IHAAAAEkRhdGFPYmplY3QrbVBhcmVudBVEYXRhT2JqZWN0K21Db250YWluZXIFbVR5cGUEbVJHQhBtVGhlbWVDb2xvckluZGV4DG1BdXRvVXBkYXRlZAltTW9kaWZpZWQEAgAAAAAAH0FwbG9yaXMuQmFzZS5PYmplY3RzLkxpbmVGb3JtYXQDAAAACAgIAQEDAAAACScDAAAKAQAAAAAAAAD/////AAEB1AMAAHgAAAAKCgEAAABFddQA/////wAAAdUDAAB4AAAACgoBAAAA////AP////8AAA/WAwAAAQAAAAhIAwAAAdcDAAB4AAAACgoAAAAAAAAAAA0AAAAAAAHYAwAAeAAAAAoKAQAAAAAAAAD/////AAEH2QMAAAABAAAABAAAAAQdQXBsb3Jpcy5CYXNlLk9iamVjdHMuVmFyaWFibGUDAAAAAXgEAACRAwAAAQAAAAAAAAABeQQAAJEDAAAAAAAAAAAAAAF6BAAAkQMAAAAAAAAAAAAAAXsEAACRAwAAAAAAAAAAAAAP2gMAAAEAAAAIRAMAAAHbAwAAeAAAAAoKAAAAAP///wAOAAAAAAAF3AMAABpBcGxvcmlzLkJhc2UuT2JqZWN0cy5Db2xvcgcAAAASRGF0YU9iamVjdCttUGFyZW50FURhdGFPYmplY3QrbUNvbnRhaW5lcgVtVHlwZQRtUkdCEG1UaGVtZUNvbG9ySW5kZXgMbUF1dG9VcGRhdGVkCW1Nb2RpZmllZAQCAAAAAAAfQXBsb3Jpcy5CYXNlLk9iamVjdHMuTGluZUZvcm1hdAMAAAAICAgBAQMAAAAJOQMAAAoBAAAAAAAAAP////8AAQHdAwAAeAAAAAoKAQAAAMHQ7QD/////AAAB3gMAAHgAAAAKCgEAAAD///8A/////wAAD98DAAABAAAACEYDAAABDAQAACQBAAAKWAIAAAF8BAAAnQEAAAIAAAABfQQAAJ4BAAABAAAAAX4EAAAVAAAAuuabQhJ8aUMguqtCiE5CQgF/BAAAoAEAAAAAAAAAAKBAAAGABAAAIQAAAMrD8ULy4oBDAYEEAACgAAAAAAAAAAAAAAAAAAAAAAmCBAAAAAAAAAmDBAAAAAABhAQAAKkAAAAAAAAAAYUEAAByAAAAAADQQQAAYEEBhgQAABUAAACji9ZCdNF7Q5JO2EHooktBXrrZPwaHBAAAAzIwJQoJiAQAAAmpAQAANAMAAP////8BAQoJiQQAAAEACgABDQQAABwAAAABigQAACEAAAC65pVC2oeOQwGLBAAAIQAAAG3QJkMSfGZDCYwEAAAJjQQAAAAAAAAKAY4EAAByAAAAAAAAAAAAAAABjwQAAHIAAAAAAAAAAAAAAAAAAAABkAQAABUAAAAAAAAAAAAAAAAAAAAAAAAApAEAAP////8BAQoJkQQAAAEACgAHDgQAAAABAAAAAgAAAAQaQXBsb3Jpcy5CYXNlLlVJLlZpc3VhbExpbmUDAAAACgoHDwQAAAABAAAAAwAAAAQVU3lzdGVtLkRyYXdpbmcuUG9pbnRGBAAAAAGSBAAAIQAAAMrD8ULy4oBDAZMEAAAhAAAAuuaPQvLigEMBlAQAACEAAABt0ClD8uKAQwcQBAAAAAEAAAADAAAABBdBcGxvcmlzLkJhc2UuQW5jaG9yTW9kZQMAAAABlQQAAKAAAAAAAAAAAZYEAACgAAAAAgAAAAGXBAAAoAAAAAQAAAABEQQAACUAAAAJmAQAAAAAAAAAAAAAARIEAAAmAAAACZkEAAACAAAACgAAAAETBAAAJAEAAApYAgAAAZoEAACdAQAAAgAAAAGbBAAAngEAAAEAAAABnAQAABUAAACo7mBDog45QyC6q0IkAsJCAZ0EAACgAQAAAAAAAAAAoEAAAZ4EAAAhAAAAmO6FQyuPaUMBnwQAAKAAAAAAAAAAAAAAAAAAAAAACaAEAAAAAAAACaEEAAAAAAGiBAAAqQAAAAAAAAABowQAAHIAAAAAANBBAABgQQGkBAAAFQAAAKOLfkPRRWNDkk7YQeiiS0Feutk/BqUEAAADMzglCgmmBAAACakBAAA0AwAA/////wEBCgmnBAAAAQAKAAEUBAAAHAAAAAGoBAAAIQAAAKjuXUPah45DAakEAAAhAAAA3OWcQ6IONkMJqgQAAAmrBAAAAAAAAAoBrAQAAHIAAAAAAAAAAAAAAAGtBAAAcgAAAAAAAAAAAAAAAAAAAAGuBAAAFQAAAAAAAAAAAAAAAAAAAAAAAACkAQAA/////wEBCgmvBAAAAQAKAAcVBAAAAAEAAAACAAAABBpBcGxvcmlzLkJhc2UuVUkuVmlzdWFsTGluZQMAAAAKCgcWBAAAAAEAAAADAAAABBVTeXN0ZW0uRHJhd2luZy5Qb2ludEYEAAAAAbAEAAAhAAAAmO6FQyuPaUMBsQQAACEAAACo7lpDK49pQwGyBAAAIQAAANxlnkMrj2lDBxcEAAAAAQAAAAMAAAAEF0FwbG9yaXMuQmFzZS5BbmNob3JNb2RlAwAAAAGzBAAAoAAAAAAAAAABtAQAAKAAAAACAAAAAbUEAACgAAAABAAAAAEYBAAAJQAAAAmYBAAAAAAAAAAAAAABGQQAACYAAAAJtgQAAAIAAAACAAAAARoEAAAkAQAAClgCAAABtwQAAJ0BAAACAAAAAbgEAACeAQAAAQAAAAG5BAAAFQAAAPr0uUN6wWxDILqrQug4NUIBugQAAKABAAAAAAAAAACgQAABuwQAACEAAAA+bM9DTLSBQwG8BAAAoAAAAAAAAAAAAAAAAAAAAAAJvQQAAAAAAAAJvgQAAAAAAb8EAACpAAAAAAAAAAHABAAAcgAAAAAA0EEAAGBBAcEEAAAVAAAAXXTIQy66fEOSTthB6KJLQV662T8GwgQAAAMxOSUKCcMEAAAJqQEAADQDAAD/////AQEKCcQEAAABAAoAARsEAAAcAAAAAcUEAAAhAAAA+nS4Q9qHjkMBxgQAACEAAACCY+ZDesFpQwnHBAAACcgEAAAAAAAACgHJBAAAcgAAAAAAAAAAAAAAAcoEAAByAAAAAAAAAAAAAAAAAAAAAcsEAAAVAAAAAAAAAAAAAAAAAAAAAAAAAKQBAAD/////AQEKCcwEAAABAAoABxwEAAAAAQAAAAIAAAAEGkFwbG9yaXMuQmFzZS5VSS5WaXN1YWxMaW5lAwAAAAoKBx0EAAAAAQAAAAMAAAAEFVN5c3RlbS5EcmF3aW5nLlBvaW50RgQAAAABzQQAACEAAAA+bM9DTLSBQwHOBAAAIQAAAPr0tkNMtIFDAc8EAAAhAAAAguPnQ0y0gUMHHgQAAAABAAAAAwAAAAQXQXBsb3Jpcy5CYXNlLkFuY2hvck1vZGUDAAAAAdAEAACgAAAAAAAAAAHRBAAAoAAAAAIAAAAB0gQAAKAAAAAEAAAAAR8EAAAlAAAACZgEAAAAAAAAAAAAAAEgBAAAJgAAAAnTBAAAAgAAAAIAAAABIQQAACQBAAAKWAIAAAHUBAAAnQEAAAIAAAAB1QQAAJ4BAAABAAAAAdYEAAAVAAAAULkBRFyPg0MguqtC4IeXQQHXBAAAoAEAAAAAAAAAAKBAAAHYBAAAIQAAAPJ0DESbS4hDAdkEAACgAAAAAAAAAAAAAAAAAAAAAAnaBAAAAAAAAAnbBAAAAAAB3AQAAKkAAAAAAAAAAd0EAAByAAAAAACYQQAAYEEB3gQAABUAAABd9AlEiy6FQ9hlpUHooktBXrrZPwbfBAAAAjklCgngBAAACakBAAA0AwAA/////wEBCgnhBAAAAQAKAAEiBAAAHAAAAAHiBAAAIQAAAFD5AETah45DAeMEAAAhAAAAlPAXRFwPgkMJ5AQAAAnlBAAAAAAAAAoB5gQAAHIAAAAAAAAAAAAAAAHnBAAAcgAAAAAAAAAAAAAAAAAAAAHoBAAAFQAAAAAAAAAAAAAAAAAAAAAAAACkAQAA/////wEBCgnpBAAAAQAKAAcjBAAAAAEAAAACAAAABBpBcGxvcmlzLkJhc2UuVUkuVmlzdWFsTGluZQMAAAAKCgckBAAAAAEAAAADAAAABBVTeXN0ZW0uRHJhd2luZy5Qb2ludEYEAAAAAeoEAAAhAAAA8nQMRJtLiEMB6wQAACEAAABQOQBEm0uIQwHsBAAAIQAAAJSwGESbS4hDByUEAAAAAQAAAAMAAAAEF0FwbG9yaXMuQmFzZS5BbmNob3JNb2RlAwAAAAHtBAAAoAAAAAAAAAAB7gQAAKAAAAACAAAAAe8EAACgAAAABAAAAAEmBAAAJQAAAAkKAgAAAAAAAAAAAAABJwQAACYAAAAJ8AQAAAIAAAACAAAAASgEAAAkAQAAClgCAAAB8QQAAJ0BAAACAAAAAfIEAACeAQAAAQAAAAHzBAAAFQAAALrmm0I207JCILqrQncSCkMB9AQAAKABAAAAAAAAAACgQAAB9QQAACEAAADKw/FC1nIeQwH2BAAAoAAAAAAAAAAAAAAAAAAAAAAJ9wQAAAAAAAAJ+AQAAAAAAfkEAACpAAAAAAAAAAH6BAAAcgAAAAAA0EEAAGBBAfsEAAAVAAAAo4vWQnTRF0OSTthB6KJLQV662T8G/AQAAAM1NCUKCf0EAAAJqQEAADQDAAD/////AQEKCf4EAAABAAoAASkEAAAcAAAAAf8EAAAhAAAAuuaVQhJ8ZkMBAAUAACEAAABt0CZDNtOsQgkBBQAACQIFAAAAAAAACgEDBQAAcgAAAAAAAAAAAAAAAQQFAAByAAAAAAAAAAAAAAAAAAAAAQUFAAAVAAAAAAAAAAAAAAAAAAAAAAAAAKQBAAD/////AQEKCQYFAAABAAoAByoEAAAAAQAAAAIAAAAEGkFwbG9yaXMuQmFzZS5VSS5WaXN1YWxMaW5lAwAAAAoKBysEAAAAAQAAAAMAAAAEFVN5c3RlbS5EcmF3aW5nLlBvaW50RgQAAAABBwUAACEAAADKw/FC1nIeQwEIBQAAIQAAALrmj0LWch5DAQkFAAAhAAAAbdApQ9ZyHkMHLAQAAAABAAAAAwAAAAQXQXBsb3Jpcy5CYXNlLkFuY2hvck1vZGUDAAAAAQoFAACgAAAAAAAAAAELBQAAoAAAAAIAAAABDAUAAKAAAAAEAAAAAS0EAAAlAAAACQ0FAAAAAAAAAAAAAAEuBAAAJgAAAAkOBQAAAgAAAAoAAAABLwQAACQBAAAKWAIAAAEPBQAAnQEAAAIAAAABEAUAAJ4BAAABAAAAAREFAAAVAAAAqO5gQ8BeOkIguqtC8nYEQwESBQAAoAEAAAAAAAAAAKBAAAETBQAAIQAAAJjuhUNSpuFCARQFAACgAAAAAAAAAAAAAAAAAAAAAAkVBQAAAAAAAAkWBQAAAAABFwUAAKkAAAAAAAAAARgFAAByAAAAAADQQQAAYEEBGQUAABUAAACji35DLrrUQpJO2EHooktBXrrZPwYaBQAAAzUyJQoJGwUAAAmpAQAANAMAAP////8BAQoJHAUAAAEACgABMAQAABwAAAABHQUAACEAAACo7l1Dog42QwEeBQAAIQAAANzlnEPAXi5CCR8FAAAJIAUAAAAAAAAKASEFAAByAAAAAAAAAAAAAAABIgUAAHIAAAAAAAAAAAAAAAAAAAABIwUAABUAAAAAAAAAAAAAAAAAAAAAAAAApAEAAP////8BAQoJJAUAAAEACgAHMQQAAAABAAAAAgAAAAQaQXBsb3Jpcy5CYXNlLlVJLlZpc3VhbExpbmUDAAAACgoHMgQAAAABAAAAAwAAAAQVU3lzdGVtLkRyYXdpbmcuUG9pbnRGBAAAAAElBQAAIQAAAJjuhUNSpuFCASYFAAAhAAAAqO5aQ1Km4UIBJwUAACEAAADcZZ5DUqbhQgczBAAAAAEAAAADAAAABBdBcGxvcmlzLkJhc2UuQW5jaG9yTW9kZQMAAAABKAUAAKAAAAAAAAAAASkFAACgAAAAAgAAAAEqBQAAoAAAAAQAAAABNAQAACUAAAAJDQUAAAAAAAAAAAAAATUEAAAmAAAACSsFAAACAAAAAgAAAAE2BAAAJAEAAApYAgAAASwFAACdAQAAAgAAAAEtBQAAngEAAAEAAAABLgUAABUAAAD69LlDRve4QiC6q0LXRQpDAS8FAACgAQAAAAAAAAAAoEAAATAFAAAhAAAAPmzPQ46eIUMBMQUAAKAAAAAAAAAAAAAAAAAAAAAACTIFAAAAAAAACTMFAAAAAAE0BQAAqQAAAAAAAAABNQUAAHIAAAAAANBBAABgQQE2BQAAFQAAAF10yENddBtDkk7YQeiiS0Feutk/BjcFAAADNTQlCgk4BQAACakBAAA0AwAA/////wEBCgk5BQAAAQAKAAE3BAAAHAAAAAE6BQAAIQAAAPp0uEN6wWlDATsFAAAhAAAAgmPmQ0b3skIJPAUAAAk9BQAAAAAAAAoBPgUAAHIAAAAAAAAAAAAAAAE/BQAAcgAAAAAAAAAAAAAAAAAAAAFABQAAFQAAAAAAAAAAAAAAAAAAAAAAAACkAQAA/////wEBCglBBQAAAQAKAAc4BAAAAAEAAAACAAAABBpBcGxvcmlzLkJhc2UuVUkuVmlzdWFsTGluZQMAAAAKCgc5BAAAAAEAAAADAAAABBVTeXN0ZW0uRHJhd2luZy5Qb2ludEYEAAAAAUIFAAAhAAAAPmzPQ46eIUMBQwUAACEAAAD69LZDjp4hQwFEBQAAIQAAAILj50OOniFDBzoEAAAAAQAAAAMAAAAEF0FwbG9yaXMuQmFzZS5BbmNob3JNb2RlAwAAAAFFBQAAoAAAAAAAAAABRgUAAKAAAAACAAAAAUcFAACgAAAABAAAAAE7BAAAJQAAAAkNBQAAAAAAAAAAAAABPAQAACYAAAAJSAUAAAIAAAACAAAAAT0EAAAkAQAAClgCAAABSQUAAJ0BAAACAAAAAUoFAACeAQAAAQAAAAFLBQAAFQAAAFC5AUTI4OVCILqrQlQuDkMBTAUAAKABAAAAAAAAAACgQAABTQUAACEAAADydAxEjgc6QwFOBQAAoAAAAAAAAAAAAAAAAAAAAAAJTwUAAAAAAAAJUAUAAAAAAVEFAACpAAAAAAAAAAFSBQAAcgAAAAAA0EEAAGBBAVMFAAAVAAAAowsJRAAANEOSTthB6KJLQV662T8GVAUAAAM1NSUKCVUFAAAJqQEAADQDAAD/////AQEKCVYFAAABAAoAAT4EAAAcAAAAAVcFAAAhAAAAUPkARFwPgkMBWAUAACEAAACU8BdEyODfQglZBQAACVoFAAAAAAAACgFbBQAAcgAAAAAAAAAAAAAAAVwFAAByAAAAAAAAAAAAAAAAAAAAAV0FAAAVAAAAAAAAAAAAAAAAAAAAAAAAAKQBAAD/////AQEKCV4FAAABAAoABz8EAAAAAQAAAAIAAAAEGkFwbG9yaXMuQmFzZS5VSS5WaXN1YWxMaW5lAwAAAAoKB0AEAAAAAQAAAAMAAAAEFVN5c3RlbS5EcmF3aW5nLlBvaW50RgQAAAABXwUAACEAAADydAxEjgc6QwFgBQAAIQAAAFA5AESOBzpDAWEFAAAhAAAAlLAYRI4HOkMHQQQAAAABAAAAAwAAAAQXQXBsb3Jpcy5CYXNlLkFuY2hvck1vZGUDAAAAAWIFAACgAAAAAAAAAAFjBQAAoAAAAAIAAAABZAUAAKAAAAAEAAAAAUIEAAAlAAAACQoCAAAAAAAAAAAAAAFDBAAAJgAAAAllBQAAAgAAAAIAAAABRAQAACQBAAAKWAIAAAFmBQAAnQEAAAIAAAABZwUAAJ4BAAABAAAAAWgFAAAVAAAAuuabQq+ZnEEguqtClFl/QgFpBQAAoAEAAAAAAAAAAKBAAAFqBQAAIQAAAMrD8UKi+U1CAWsFAACgAAAAAAAAAAAAAAAAAAAAAAlsBQAAAAAAAAltBQAAAAABbgUAAKkAAAAAAAAAAW8FAAByAAAAAADQQQAAYEEBcAUAABUAAACji9ZCdNE1QpJO2EHooktBXrrZPwZxBQAAAzI2JQoJcgUAAAmpAQAANAMAAP////8BAQoJcwUAAAEACgABRQQAABwAAAABdAUAACEAAAC65pVCNtOsQgF1BQAAIQAAAG3QJkOvmYRBCXYFAAAJdwUAAAAAAAAKAXgFAAByAAAAAAAAAAAAAAABeQUAAHIAAAAAAAAAAAAAAAAAAAABegUAABUAAAAAAAAAAAAAAAAAAAAAAAAApAEAAP////8BAQoJewUAAAEACgAHRgQAAAABAAAAAgAAAAQaQXBsb3Jpcy5CYXNlLlVJLlZpc3VhbExpbmUDAAAACgoHRwQAAAABAAAAAwAAAAQVU3lzdGVtLkRyYXdpbmcuUG9pbnRGBAAAAAF8BQAAIQAAAMrD8UKi+U1CAX0FAAAhAAAAuuaPQqL5TUIBfgUAACEAAABt0ClDovlNQgdIBAAAAAEAAAADAAAABBdBcGxvcmlzLkJhc2UuQW5jaG9yTW9kZQMAAAABfwUAAKAAAAAAAAAAAYAFAACgAAAAAgAAAAGBBQAAoAAAAAQAAAABSQQAACUAAAAJDQUAAAAAAAAAAAAAAUoEAAAmAAAACYIFAAACAAAACgAAAAFLBAAAJAEAAApYAgAAAYMFAACdAQAAAgAAAAGEBQAAngEAAAEAAAABhQUAABUAAACo7mBDr5mcQSC6q0LRI6hBAYYFAACgAQAAAAAAAAAAoEAAAYcFAAAhAAAAmO6FQ5ir8EEBiAUAAKAAAAAAAAAAAAAAAAAAAAAACYkFAAAAAAAACYoFAAAAAAGLBQAAqQAAAAAAAAABjAUAAHIAAAAAANBBAABgQQGNBQAAFQAAAKOLfkNGF71Bkk7YQeiiS0Feutk/Bo4FAAADMTAlCgmPBQAACakBAAA0AwAA/////wEBCgmQBQAAAQAKAAFMBAAAHAAAAAGRBQAAIQAAAKjuXUPAXi5CAZIFAAAhAAAA3OWcQ6+ZhEEJkwUAAAmUBQAAAAAAAAoBlQUAAHIAAAAAAAAAAAAAAAGWBQAAcgAAAAAAAAAAAAAAAAAAAAGXBQAAFQAAAAAAAAAAAAAAAAAAAAAAAACkAQAA/////wEBCgmYBQAAAQAKAAdNBAAAAAEAAAACAAAABBpBcGxvcmlzLkJhc2UuVUkuVmlzdWFsTGluZQMAAAAKCgdOBAAAAAEAAAADAAAABBVTeXN0ZW0uRHJhd2luZy5Qb2ludEYEAAAAAZkFAAAhAAAAmO6FQ5ir8EEBmgUAACEAAACo7lpDmKvwQQGbBQAAIQAAANxlnkOYq/BBB08EAAAAAQAAAAMAAAAEF0FwbG9yaXMuQmFzZS5BbmNob3JNb2RlAwAAAAGcBQAAoAAAAAAAAAABnQUAAKAAAAACAAAAAZ4FAACgAAAABAAAAAFQBAAAJQAAAAkNBQAAAAAAAAAAAAABUQQAACYAAAAJnwUAAAIAAAACAAAAAVIEAAAkAQAAClgCAAABoAUAAJ0BAAACAAAAAaEFAACeAQAAAQAAAAGiBQAAFQAAAPr0uUOvmZxBILqrQtrQhUIBowUAAKABAAAAAAAAAACgQAABpAUAACEAAAA+bM9Dsh1UQgGlBQAAoAAAAAAAAAAAAAAAAAAAAAAJpgUAAAAAAAAJpwUAAAAAAagFAACpAAAAAAAAAAGpBQAAcgAAAAAA0EEAAGBBAaoFAAAVAAAAXXTIQ110OUKSTthB6KJLQV662T8GqwUAAAMyNyUKCawFAAAJqQEAADQDAAD/////AQEKCa0FAAABAAoAAVMEAAAcAAAAAa4FAAAhAAAA+nS4Q0b3skIBrwUAACEAAACCY+ZDr5mEQQmwBQAACbEFAAAAAAAACgGyBQAAcgAAAAAAAAAAAAAAAbMFAAByAAAAAAAAAAAAAAAAAAAAAbQFAAAVAAAAAAAAAAAAAAAAAAAAAAAAAKQBAAD/////AQEKCbUFAAABAAoAB1QEAAAAAQAAAAIAAAAEGkFwbG9yaXMuQmFzZS5VSS5WaXN1YWxMaW5lAwAAAAoKB1UEAAAAAQAAAAMAAAAEFVN5c3RlbS5EcmF3aW5nLlBvaW50RgQAAAABtgUAACEAAAA+bM9Dsh1UQgG3BQAAIQAAAPr0tkOyHVRCAbgFAAAhAAAAguPnQ7IdVEIHVgQAAAABAAAAAwAAAAQXQXBsb3Jpcy5CYXNlLkFuY2hvck1vZGUDAAAAAbkFAACgAAAAAAAAAAG6BQAAoAAAAAIAAAABuwUAAKAAAAAEAAAAAVcEAAAlAAAACQ0FAAAAAAAAAAAAAAFYBAAAJgAAAAm8BQAAAgAAAAYAAAABWQQAACQBAAAKWAIAAAG9BQAAnQEAAAIAAAABvgUAAJ4BAAABAAAAAb8FAAAVAAAAULkBRK+ZnEEguqtCXLqyQgHABQAAoAEAAAAAAAAAAKBAAAHBBQAAIQAAAPJ0DESag4BCAcIFAACgAAAAAAAAAAAAAAAAAAAAAAnDBQAAAAAAAAnEBQAAAAABxQUAAKkAAAAAAAAAAcYFAAByAAAAAADQQQAAYEEBxwUAABUAAACjCwlELrpoQpJO2EHooktBXrrZPwbIBQAAAzM2JQoJyQUAAAmpAQAANAMAAP////8BAQoJygUAAAEACgABWgQAABwAAAABywUAACEAAABQ+QBEyODfQgHMBQAAIQAAAJTwF0SvmYRBCc0FAAAJzgUAAAAAAAAKAc8FAAByAAAAAAAAAAAAAAAB0AUAAHIAAAAAAAAAAAAAAAAAAAAB0QUAABUAAAAAAAAAAAAAAAAAAAAAAAAApAEAAP////8BAQoJ0gUAAAEACgAHWwQAAAABAAAAAgAAAAQaQXBsb3Jpcy5CYXNlLlVJLlZpc3VhbExpbmUDAAAACgoHXAQAAAABAAAAAwAAAAQVU3lzdGVtLkRyYXdpbmcuUG9pbnRGBAAAAAHTBQAAIQAAAPJ0DESag4BCAdQFAAAhAAAAUDkARJqDgEIB1QUAACEAAACUsBhEmoOAQgddBAAAAAEAAAADAAAABBdBcGxvcmlzLkJhc2UuQW5jaG9yTW9kZQMAAAAB1gUAAKAAAAAAAAAAAdcFAACgAAAAAgAAAAHYBQAAoAAAAAQAAAABXgQAACUAAAAJCgIAAAAAAAAAAAAAAV8EAAAmAAAACdkFAAACAAAAAgAAAAGCBAAAIwAAAAoKAAAAAABAQQl2AAAACXcAAAAJ2gUAAAAACdsFAAABgwQAAHgAAAAKCgEAAAAFKW4A/////wABAYgEAACtAAAACdwFAAABAAAAAwAAAAGJBAAAdQAAAAndBQAACgGMBAAAcAAAAAoKAAAAQD8J3gUAAAnfBQAAAQAAAP7///8AAAAAAQAAAAAAAAAAAAAAAQAAAAAAAAAAAAABjQQAAHEAAAAKCgngBQAACeEFAAABAAAA/v///wAAAAD/////AAABkQQAAHUAAAAJ4gUAAAoHmAQAAAABAAAAAAAAAAQfQXBsb3Jpcy5CYXNlLk9iamVjdHMuRGF0YU9iamVjdAMAAAAHmQQAAAABAAAABAAAAAQcQXBsb3Jpcy5CYXNlLlVJLlZpc3VhbE9iamVjdAMAAAAJDQQAAAkMBAAACgoBoAQAACMAAAAKCgAAAAAAQEEJdgAAAAl3AAAACeMFAAAAAAnkBQAAAaEEAAB4AAAACgoBAAAABSluAP////8AAQGmBAAArQAAAAnlBQAAAQAAAAMAAAABpwQAAHUAAAAJ5gUAAAoBqgQAAHAAAAAKCgAAAEA/CecFAAAJ6AUAAAEAAAD+////AAAAAAEAAAAAAAAAAAAAAAEAAAAAAAAAAAAAAasEAABxAAAACgoJ6QUAAAnqBQAAAQAAAP7///8AAAAA/////wAAAa8EAAB1AAAACesFAAAKB7YEAAAAAQAAAAQAAAAEHEFwbG9yaXMuQmFzZS5VSS5WaXN1YWxPYmplY3QDAAAACRQEAAAJEwQAAAoKAb0EAAAjAAAACgoAAAAAAEBBCXYAAAAJdwAAAAnsBQAAAAAJ7QUAAAG+BAAAeAAAAAoKAQAAAAUpbgD/////AAEBwwQAAK0AAAAJ7gUAAAEAAAADAAAAAcQEAAB1AAAACe8FAAAKAccEAABwAAAACgoAAABAPwnwBQAACfEFAAABAAAA/v///wAAAAABAAAAAAAAAAAAAAABAAAAAAAAAAAAAAHIBAAAcQAAAAoKCfIFAAAJ8wUAAAEAAAD+////AAAAAP////8AAAHMBAAAdQAAAAn0BQAACgfTBAAAAAEAAAAEAAAABBxBcGxvcmlzLkJhc2UuVUkuVmlzdWFsT2JqZWN0AwAAAAkbBAAACRoEAAAKCgHaBAAAIwAAAAoKAAAAAABAQQl2AAAACXcAAAAJ9QUAAAAACfYFAAAB2wQAAHgAAAAKCgEAAAAFKW4A/////wABAeAEAACtAAAACfcFAAABAAAAAwAAAAHhBAAAdQAAAAn4BQAACgHkBAAAcAAAAAoKAAAAQD8J+QUAAAn6BQAAAQAAAP7///8AAAAAAQAAAAAAAAAAAAAAAQAAAAAAAAAAAAAB5QQAAHEAAAAKCgn7BQAACfwFAAABAAAA/v///wAAAAD/////AAAB6QQAAHUAAAAJ/QUAAAoH8AQAAAABAAAABAAAAAQcQXBsb3Jpcy5CYXNlLlVJLlZpc3VhbE9iamVjdAMAAAAJIgQAAAkhBAAACgoB9wQAACMAAAAKCgAAAAAAQEEJdgAAAAl3AAAACf4FAAAAAAn/BQAAAfgEAAB4AAAACgoBAAAARXXUAP////8AAQH9BAAArQAAAAkABgAAAQAAAAMAAAAB/gQAAHUAAAAJAQYAAAoBAQUAAHAAAAAKCgAAAEA/CQIGAAAJAwYAAAEAAAD+////AAAAAAEAAAAAAAAAAAAAAAEAAAAAAAAAAAAAAQIFAABxAAAACgoJBAYAAAkFBgAAAQAAAP7///8AAAAA/////wAAAQYFAAB1AAAACQYGAAAKBw0FAAAAAQAAAAAAAAAEH0FwbG9yaXMuQmFzZS5PYmplY3RzLkRhdGFPYmplY3QDAAAABw4FAAAAAQAAAAQAAAAEHEFwbG9yaXMuQmFzZS5VSS5WaXN1YWxPYmplY3QDAAAACSkEAAAJKAQAAAoKARUFAAAjAAAACgoAAAAAAEBBCXYAAAAJdwAAAAkHBgAAAAAJCAYAAAEWBQAAeAAAAAoKAQAAAEV11AD/////AAEBGwUAAK0AAAAJCQYAAAEAAAADAAAAARwFAAB1AAAACQoGAAAKAR8FAABwAAAACgoAAABAPwkLBgAACQwGAAABAAAA/v///wAAAAABAAAAAAAAAAAAAAABAAAAAAAAAAAAAAEgBQAAcQAAAAoKCQ0GAAAJDgYAAAEAAAD+////AAAAAP////8AAAEkBQAAdQAAAAkPBgAACgcrBQAAAAEAAAAEAAAABBxBcGxvcmlzLkJhc2UuVUkuVmlzdWFsT2JqZWN0AwAAAAkwBAAACS8EAAAKCgEyBQAAIwAAAAoKAAAAAABAQQl2AAAACXcAAAAJEAYAAAAACREGAAABMwUAAHgAAAAKCgEAAABFddQA/////wABATgFAACtAAAACRIGAAABAAAAAwAAAAE5BQAAdQAAAAkTBgAACgE8BQAAcAAAAAoKAAAAQD8JFAYAAAkVBgAAAQAAAP7///8AAAAAAQAAAAAAAAAAAAAAAQAAAAAAAAAAAAABPQUAAHEAAAAKCgkWBgAACRcGAAABAAAA/v///wAAAAD/////AAABQQUAAHUAAAAJGAYAAAoHSAUAAAABAAAABAAAAAQcQXBsb3Jpcy5CYXNlLlVJLlZpc3VhbE9iamVjdAMAAAAJNwQAAAk2BAAACgoBTwUAACMAAAAKCgAAAAAAQEEJdgAAAAl3AAAACRkGAAAAAAkaBgAAAVAFAAB4AAAACgoBAAAARXXUAP////8AAQFVBQAArQAAAAkbBgAAAQAAAAMAAAABVgUAAHUAAAAJHAYAAAoBWQUAAHAAAAAKCgAAAEA/CR0GAAAJHgYAAAEAAAD+////AAAAAAEAAAAAAAAAAAAAAAEAAAAAAAAAAAAAAVoFAABxAAAACgoJHwYAAAkgBgAAAQAAAP7///8AAAAA/////wAAAV4FAAB1AAAACSEGAAAKB2UFAAAAAQAAAAQAAAAEHEFwbG9yaXMuQmFzZS5VSS5WaXN1YWxPYmplY3QDAAAACT4EAAAJPQQAAAoKAWwFAAAjAAAACgoAAAAAAEBBCXYAAAAJdwAAAAkiBgAAAAAJIwYAAAFtBQAAeAAAAAoKAQAAAMHQ7QD/////AAEBcgUAAK0AAAAJJAYAAAEAAAADAAAAAXMFAAB1AAAACSUGAAAKAXYFAABwAAAACgoAAABAPwkmBgAACScGAAABAAAA/v///wAAAAABAAAAAAAAAAAAAAABAAAAAAAAAAAAAAF3BQAAcQAAAAoKCSgGAAAJKQYAAAEAAAD+////AAAAAP////8AAAF7BQAAdQAAAAkqBgAACgeCBQAAAAEAAAAEAAAABBxBcGxvcmlzLkJhc2UuVUkuVmlzdWFsT2JqZWN0AwAAAAlFBAAACUQEAAAKCgGJBQAAIwAAAAoKAAAAAABAQQl2AAAACXcAAAAJKwYAAAAACSwGAAABigUAAHgAAAAKCgEAAADB0O0A/////wABAY8FAACtAAAACS0GAAABAAAAAwAAAAGQBQAAdQAAAAkuBgAACgGTBQAAcAAAAAoKAAAAQD8JLwYAAAkwBgAAAQAAAP7///8AAAAAAQAAAAAAAAAAAAAAAQAAAAAAAAAAAAABlAUAAHEAAAAKCgkxBgAACTIGAAABAAAA/v///wAAAAD/////AAABmAUAAHUAAAAJMwYAAAoHnwUAAAABAAAABAAAAAQcQXBsb3Jpcy5CYXNlLlVJLlZpc3VhbE9iamVjdAMAAAAJTAQAAAlLBAAACgoBpgUAACMAAAAKCgAAAAAAQEEJdgAAAAl3AAAACTQGAAAAAAk1BgAAAacFAAB4AAAACgoBAAAAwdDtAP////8AAQGsBQAArQAAAAk2BgAAAQAAAAMAAAABrQUAAHUAAAAJNwYAAAoBsAUAAHAAAAAKCgAAAEA/CTgGAAAJOQYAAAEAAAD+////AAAAAAEAAAAAAAAAAAAAAAEAAAAAAAAAAAAAAbEFAABxAAAACgoJOgYAAAk7BgAAAQAAAP7///8AAAAA/////wAAAbUFAAB1AAAACTwGAAAKB7wFAAAAAQAAAAQAAAAEHEFwbG9yaXMuQmFzZS5VSS5WaXN1YWxPYmplY3QDAAAACVMEAAAJUgQAAAoKAcMFAAAjAAAACgoAAAAAAEBBCXYAAAAJdwAAAAk9BgAAAAAJPgYAAAHEBQAAeAAAAAoKAQAAAMHQ7QD/////AAEByQUAAK0AAAAJPwYAAAEAAAADAAAAAcoFAAB1AAAACUAGAAAKAc0FAABwAAAACgoAAABAPwlBBgAACUIGAAABAAAA/v///wAAAAABAAAAAAAAAAAAAAABAAAAAAAAAAAAAAHOBQAAcQAAAAoKCUMGAAAJRAYAAAEAAAD+////AAAAAP////8AAAHSBQAAdQAAAAlFBgAACgfZBQAAAAEAAAAEAAAABBxBcGxvcmlzLkJhc2UuVUkuVmlzdWFsT2JqZWN0AwAAAAlaBAAACVkEAAAKCgHaBQAAeAAAAAoKAAAAAP///wAOAAAAAAAB2wUAAHgAAAAKCgAAAAD///8ADgAAAAABB9wFAAAAAQAAAAQAAAAEHUFwbG9yaXMuQmFzZS5PYmplY3RzLlZhcmlhYmxlAwAAAAFGBgAAkQMAAAEAAAAAAAAAAUcGAACRAwAAAAAAAAAAAAABSAYAAJEDAAAAAAAAAAAAAAFJBgAAkQMAAAAAAAAAAAAAD90FAAABAAAACDUDAAAF3gUAABpBcGxvcmlzLkJhc2UuT2JqZWN0cy5Db2xvcgcAAAASRGF0YU9iamVjdCttUGFyZW50FURhdGFPYmplY3QrbUNvbnRhaW5lcgVtVHlwZQRtUkdCEG1UaGVtZUNvbG9ySW5kZXgMbUF1dG9VcGRhdGVkCW1Nb2RpZmllZAQCAAAAAAAfQXBsb3Jpcy5CYXNlLk9iamVjdHMuTGluZUZvcm1hdAMAAAAICAgBAQMAAAAJjAQAAAoAAAAA////AA4AAAAAAAXfBQAAGkFwbG9yaXMuQmFzZS5PYmplY3RzLkNvbG9yBwAAABJEYXRhT2JqZWN0K21QYXJlbnQVRGF0YU9iamVjdCttQ29udGFpbmVyBW1UeXBlBG1SR0IQbVRoZW1lQ29sb3JJbmRleAxtQXV0b1VwZGF0ZWQJbU1vZGlmaWVkBAIAAAAAAB9BcGxvcmlzLkJhc2UuT2JqZWN0cy5MaW5lRm9ybWF0AwAAAAgICAEBAwAAAAmMBAAACgEAAAAAAAAA/////wABAeAFAAB4AAAACgoBAAAABSluAP////8AAAHhBQAAeAAAAAoKAQAAAP///wD/////AAAP4gUAAAEAAAAIJAMAAAHjBQAAeAAAAAoKAAAAAP///wAOAAAAAAAB5AUAAHgAAAAKCgAAAAD///8ADgAAAAABB+UFAAAAAQAAAAQAAAAEHUFwbG9yaXMuQmFzZS5PYmplY3RzLlZhcmlhYmxlAwAAAAFKBgAAkQMAAAEAAAAAAAAAAUsGAACRAwAAAAAAAAAAAAABTAYAAJEDAAAAAAAAAAAAAAFNBgAAkQMAAAAAAAAAAAAAD+YFAAABAAAACGoCAAAF5wUAABpBcGxvcmlzLkJhc2UuT2JqZWN0cy5Db2xvcgcAAAASRGF0YU9iamVjdCttUGFyZW50FURhdGFPYmplY3QrbUNvbnRhaW5lcgVtVHlwZQRtUkdCEG1UaGVtZUNvbG9ySW5kZXgMbUF1dG9VcGRhdGVkCW1Nb2RpZmllZAQCAAAAAAAfQXBsb3Jpcy5CYXNlLk9iamVjdHMuTGluZUZvcm1hdAMAAAAICAgBAQMAAAAJqgQAAAoAAAAA////AA4AAAAAAAXoBQAAGkFwbG9yaXMuQmFzZS5PYmplY3RzLkNvbG9yBwAAABJEYXRhT2JqZWN0K21QYXJlbnQVRGF0YU9iamVjdCttQ29udGFpbmVyBW1UeXBlBG1SR0IQbVRoZW1lQ29sb3JJbmRleAxtQXV0b1VwZGF0ZWQJbU1vZGlmaWVkBAIAAAAAAB9BcGxvcmlzLkJhc2UuT2JqZWN0cy5MaW5lRm9ybWF0AwAAAAgICAEBAwAAAAmqBAAACgEAAAAAAAAA/////wABAekFAAB4AAAACgoBAAAABSluAP////8AAAHqBQAAeAAAAAoKAQAAAP///wD/////AAAP6wUAAAEAAAAIWgIAAAHsBQAAeAAAAAoKAAAAAP///wAOAAAAAAAB7QUAAHgAAAAKCgAAAAD///8ADgAAAAABB+4FAAAAAQAAAAQAAAAEHUFwbG9yaXMuQmFzZS5PYmplY3RzLlZhcmlhYmxlAwAAAAFOBgAAkQMAAAEAAAAAAAAAAU8GAACRAwAAAAAAAAAAAAABUAYAAJEDAAAAAAAAAAAAAAFRBgAAkQMAAAAAAAAAAAAAD+8FAAABAAAACHACAAAF8AUAABpBcGxvcmlzLkJhc2UuT2JqZWN0cy5Db2xvcgcAAAASRGF0YU9iamVjdCttUGFyZW50FURhdGFPYmplY3QrbUNvbnRhaW5lcgVtVHlwZQRtUkdCEG1UaGVtZUNvbG9ySW5kZXgMbUF1dG9VcGRhdGVkCW1Nb2RpZmllZAQCAAAAAAAfQXBsb3Jpcy5CYXNlLk9iamVjdHMuTGluZUZvcm1hdAMAAAAICAgBAQMAAAAJxwQAAAoAAAAA////AA4AAAAAAAXxBQAAGkFwbG9yaXMuQmFzZS5PYmplY3RzLkNvbG9yBwAAABJEYXRhT2JqZWN0K21QYXJlbnQVRGF0YU9iamVjdCttQ29udGFpbmVyBW1UeXBlBG1SR0IQbVRoZW1lQ29sb3JJbmRleAxtQXV0b1VwZGF0ZWQJbU1vZGlmaWVkBAIAAAAAAB9BcGxvcmlzLkJhc2UuT2JqZWN0cy5MaW5lRm9ybWF0AwAAAAgICAEBAwAAAAnHBAAACgEAAAAAAAAA/////wABAfIFAAB4AAAACgoBAAAABSluAP////8AAAHzBQAAeAAAAAoKAQAAAP///wD/////AAAP9AUAAAEAAAAIWQIAAAH1BQAAeAAAAAoKAAAAAP///wAOAAAAAAAB9gUAAHgAAAAKCgAAAAD///8ADgAAAAABB/cFAAAAAQAAAAQAAAAEHUFwbG9yaXMuQmFzZS5PYmplY3RzLlZhcmlhYmxlAwAAAAFSBgAAkQMAAAEAAAAAAAAAAVMGAACRAwAAAAAAAAAAAAABVAYAAJEDAAAAAAAAAAAAAAFVBgAAkQMAAAAAAAAAAAAAD/gFAAABAAAACCADAAAF+QUAABpBcGxvcmlzLkJhc2UuT2JqZWN0cy5Db2xvcgcAAAASRGF0YU9iamVjdCttUGFyZW50FURhdGFPYmplY3QrbUNvbnRhaW5lcgVtVHlwZQRtUkdCEG1UaGVtZUNvbG9ySW5kZXgMbUF1dG9VcGRhdGVkCW1Nb2RpZmllZAQCAAAAAAAfQXBsb3Jpcy5CYXNlLk9iamVjdHMuTGluZUZvcm1hdAMAAAAICAgBAQMAAAAJ5AQAAAoAAAAA////AA4AAAAAAAX6BQAAGkFwbG9yaXMuQmFzZS5PYmplY3RzLkNvbG9yBwAAABJEYXRhT2JqZWN0K21QYXJlbnQVRGF0YU9iamVjdCttQ29udGFpbmVyBW1UeXBlBG1SR0IQbVRoZW1lQ29sb3JJbmRleAxtQXV0b1VwZGF0ZWQJbU1vZGlmaWVkBAIAAAAAAB9BcGxvcmlzLkJhc2UuT2JqZWN0cy5MaW5lRm9ybWF0AwAAAAgICAEBAwAAAAnkBAAACgEAAAAAAAAA/////wABAfsFAAB4AAAACgoBAAAABSluAP////8AAAH8BQAAeAAAAAoKAQAAAP///wD/////AAAP/QUAAAEAAAAIDAMAAAH+BQAAeAAAAAoKAAAAAP///wAOAAAAAAAB/wUAAHgAAAAKCgAAAAD///8ADgAAAAABBwAGAAAAAQAAAAQAAAAEHUFwbG9yaXMuQmFzZS5PYmplY3RzLlZhcmlhYmxlAwAAAAFWBgAAkQMAAAEAAAAAAAAAAVcGAACRAwAAAAAAAAAAAAABWAYAAJEDAAAAAAAAAAAAAAFZBgAAkQMAAAAAAAAAAAAADwEGAAABAAAACDMDAAAFAgYAABpBcGxvcmlzLkJhc2UuT2JqZWN0cy5Db2xvcgcAAAASRGF0YU9iamVjdCttUGFyZW50FURhdGFPYmplY3QrbUNvbnRhaW5lcgVtVHlwZQRtUkdCEG1UaGVtZUNvbG9ySW5kZXgMbUF1dG9VcGRhdGVkCW1Nb2RpZmllZAQCAAAAAAAfQXBsb3Jpcy5CYXNlLk9iamVjdHMuTGluZUZvcm1hdAMAAAAICAgBAQMAAAAJAQUAAAoAAAAA////AA4AAAAAAAUDBgAAGkFwbG9yaXMuQmFzZS5PYmplY3RzLkNvbG9yBwAAABJEYXRhT2JqZWN0K21QYXJlbnQVRGF0YU9iamVjdCttQ29udGFpbmVyBW1UeXBlBG1SR0IQbVRoZW1lQ29sb3JJbmRleAxtQXV0b1VwZGF0ZWQJbU1vZGlmaWVkBAIAAAAAAB9BcGxvcmlzLkJhc2UuT2JqZWN0cy5MaW5lRm9ybWF0AwAAAAgICAEBAwAAAAkBBQAACgEAAAAAAAAA/////wABAQQGAAB4AAAACgoBAAAARXXUAP////8AAAEFBgAAeAAAAAoKAQAAAP///wD/////AAAPBgYAAAEAAAAIIwMAAAEHBgAAeAAAAAoKAAAAAP///wAOAAAAAAABCAYAAHgAAAAKCgAAAAD///8ADgAAAAABBwkGAAAAAQAAAAQAAAAEHUFwbG9yaXMuQmFzZS5PYmplY3RzLlZhcmlhYmxlAwAAAAFaBgAAkQMAAAEAAAAAAAAAAVsGAACRAwAAAAAAAAAAAAABXAYAAJEDAAAAAAAAAAAAAAFdBgAAkQMAAAAAAAAAAAAADwoGAAABAAAACDICAAAFCwYAABpBcGxvcmlzLkJhc2UuT2JqZWN0cy5Db2xvcgcAAAASRGF0YU9iamVjdCttUGFyZW50FURhdGFPYmplY3QrbUNvbnRhaW5lcgVtVHlwZQRtUkdCEG1UaGVtZUNvbG9ySW5kZXgMbUF1dG9VcGRhdGVkCW1Nb2RpZmllZAQCAAAAAAAfQXBsb3Jpcy5CYXNlLk9iamVjdHMuTGluZUZvcm1hdAMAAAAICAgBAQMAAAAJHwUAAAoAAAAA////AA4AAAAAAAUMBgAAGkFwbG9yaXMuQmFzZS5PYmplY3RzLkNvbG9yBwAAABJEYXRhT2JqZWN0K21QYXJlbnQVRGF0YU9iamVjdCttQ29udGFpbmVyBW1UeXBlBG1SR0IQbVRoZW1lQ29sb3JJbmRleAxtQXV0b1VwZGF0ZWQJbU1vZGlmaWVkBAIAAAAAAB9BcGxvcmlzLkJhc2UuT2JqZWN0cy5MaW5lRm9ybWF0AwAAAAgICAEBAwAAAAkfBQAACgEAAAAAAAAA/////wABAQ0GAAB4AAAACgoBAAAARXXUAP////8AAAEOBgAAeAAAAAoKAQAAAP///wD/////AAAPDwYAAAEAAAAIBAIAAAEQBgAAeAAAAAoKAAAAAP///wAOAAAAAAABEQYAAHgAAAAKCgAAAAD///8ADgAAAAABBxIGAAAAAQAAAAQAAAAEHUFwbG9yaXMuQmFzZS5PYmplY3RzLlZhcmlhYmxlAwAAAAFeBgAAkQMAAAEAAAAAAAAAAV8GAACRAwAAAAAAAAAAAAABYAYAAJEDAAAAAAAAAAAAAAFhBgAAkQMAAAAAAAAAAAAADxMGAAABAAAACDYCAAAFFAYAABpBcGxvcmlzLkJhc2UuT2JqZWN0cy5Db2xvcgcAAAASRGF0YU9iamVjdCttUGFyZW50FURhdGFPYmplY3QrbUNvbnRhaW5lcgVtVHlwZQRtUkdCEG1UaGVtZUNvbG9ySW5kZXgMbUF1dG9VcGRhdGVkCW1Nb2RpZmllZAQCAAAAAAAfQXBsb3Jpcy5CYXNlLk9iamVjdHMuTGluZUZvcm1hdAMAAAAICAgBAQMAAAAJPAUAAAoAAAAA////AA4AAAAAAAUVBgAAGkFwbG9yaXMuQmFzZS5PYmplY3RzLkNvbG9yBwAAABJEYXRhT2JqZWN0K21QYXJlbnQVRGF0YU9iamVjdCttQ29udGFpbmVyBW1UeXBlBG1SR0IQbVRoZW1lQ29sb3JJbmRleAxtQXV0b1VwZGF0ZWQJbU1vZGlmaWVkBAIAAAAAAB9BcGxvcmlzLkJhc2UuT2JqZWN0cy5MaW5lRm9ybWF0AwAAAAgICAEBAwAAAAk8BQAACgEAAAAAAAAA/////wABARYGAAB4AAAACgoBAAAARXXUAP////8AAAEXBgAAeAAAAAoKAQAAAP///wD/////AAAPGAYAAAEAAAAIBwIAAAEZBgAAeAAAAAoKAAAAAP///wAOAAAAAAABGgYAAHgAAAAKCgAAAAD///8ADgAAAAABBxsGAAAAAQAAAAQAAAAEHUFwbG9yaXMuQmFzZS5PYmplY3RzLlZhcmlhYmxlAwAAAAFiBgAAkQMAAAEAAAAAAAAAAWMGAACRAwAAAAAAAAAAAAABZAYAAJEDAAAAAAAAAAAAAAFlBgAAkQMAAAAAAAAAAAAADxwGAAABAAAACCIDAAAFHQYAABpBcGxvcmlzLkJhc2UuT2JqZWN0cy5Db2xvcgcAAAASRGF0YU9iamVjdCttUGFyZW50FURhdGFPYmplY3QrbUNvbnRhaW5lcgVtVHlwZQRtUkdCEG1UaGVtZUNvbG9ySW5kZXgMbUF1dG9VcGRhdGVkCW1Nb2RpZmllZAQCAAAAAAAfQXBsb3Jpcy5CYXNlLk9iamVjdHMuTGluZUZvcm1hdAMAAAAICAgBAQMAAAAJWQUAAAoAAAAA////AA4AAAAAAAUeBgAAGkFwbG9yaXMuQmFzZS5PYmplY3RzLkNvbG9yBwAAABJEYXRhT2JqZWN0K21QYXJlbnQVRGF0YU9iamVjdCttQ29udGFpbmVyBW1UeXBlBG1SR0IQbVRoZW1lQ29sb3JJbmRleAxtQXV0b1VwZGF0ZWQJbU1vZGlmaWVkBAIAAAAAAB9BcGxvcmlzLkJhc2UuT2JqZWN0cy5MaW5lRm9ybWF0AwAAAAgICAEBAwAAAAlZBQAACgEAAAAAAAAA/////wABAR8GAAB4AAAACgoBAAAARXXUAP////8AAAEgBgAAeAAAAAoKAQAAAP///wD/////AAAPIQYAAAEAAAAICQMAAAEiBgAAeAAAAAoKAAAAAAAAAAANAAAAAAABIwYAAHgAAAAKCgAAAAAAAAAADQAAAAABByQGAAAAAQAAAAQAAAAEHUFwbG9yaXMuQmFzZS5PYmplY3RzLlZhcmlhYmxlAwAAAAFmBgAAkQMAAAEAAAAAAAAAAWcGAACRAwAAAAAAAAAAAAABaAYAAJEDAAAAAAAAAAAAAAFpBgAAkQMAAAAAAAAAAAAADyUGAAABAAAACDQDAAAFJgYAABpBcGxvcmlzLkJhc2UuT2JqZWN0cy5Db2xvcgcAAAASRGF0YU9iamVjdCttUGFyZW50FURhdGFPYmplY3QrbUNvbnRhaW5lcgVtVHlwZQRtUkdCEG1UaGVtZUNvbG9ySW5kZXgMbUF1dG9VcGRhdGVkCW1Nb2RpZmllZAQCAAAAAAAfQXBsb3Jpcy5CYXNlLk9iamVjdHMuTGluZUZvcm1hdAMAAAAICAgBAQMAAAAJdgUAAAoAAAAA////AA4AAAAAAAUnBgAAGkFwbG9yaXMuQmFzZS5PYmplY3RzLkNvbG9yBwAAABJEYXRhT2JqZWN0K21QYXJlbnQVRGF0YU9iamVjdCttQ29udGFpbmVyBW1UeXBlBG1SR0IQbVRoZW1lQ29sb3JJbmRleAxtQXV0b1VwZGF0ZWQJbU1vZGlmaWVkBAIAAAAAAB9BcGxvcmlzLkJhc2UuT2JqZWN0cy5MaW5lRm9ybWF0AwAAAAgICAEBAwAAAAl2BQAACgEAAAAAAAAA/////wABASgGAAB4AAAACgoBAAAAwdDtAP////8AAAEpBgAAeAAAAAoKAQAAAP///wD/////AAAPKgYAAAEAAAAIJQMAAAErBgAAeAAAAAoKAAAAAAAAAAANAAAAAAABLAYAAHgAAAAKCgAAAAAAAAAADQAAAAABBy0GAAAAAQAAAAQAAAAEHUFwbG9yaXMuQmFzZS5PYmplY3RzLlZhcmlhYmxlAwAAAAFqBgAAkQMAAAEAAAAAAAAAAWsGAACRAwAAAAAAAAAAAAABbAYAAJEDAAAAAAAAAAAAAAFtBgAAkQMAAAAAAAAAAAAADy4GAAABAAAACEkCAAAFLwYAABpBcGxvcmlzLkJhc2UuT2JqZWN0cy5Db2xvcgcAAAASRGF0YU9iamVjdCttUGFyZW50FURhdGFPYmplY3QrbUNvbnRhaW5lcgVtVHlwZQRtUkdCEG1UaGVtZUNvbG9ySW5kZXgMbUF1dG9VcGRhdGVkCW1Nb2RpZmllZAQCAAAAAAAfQXBsb3Jpcy5CYXNlLk9iamVjdHMuTGluZUZvcm1hdAMAAAAICAgBAQMAAAAJkwUAAAoAAAAA////AA4AAAAAAAUwBgAAGkFwbG9yaXMuQmFzZS5PYmplY3RzLkNvbG9yBwAAABJEYXRhT2JqZWN0K21QYXJlbnQVRGF0YU9iamVjdCttQ29udGFpbmVyBW1UeXBlBG1SR0IQbVRoZW1lQ29sb3JJbmRleAxtQXV0b1VwZGF0ZWQJbU1vZGlmaWVkBAIAAAAAAB9BcGxvcmlzLkJhc2UuT2JqZWN0cy5MaW5lRm9ybWF0AwAAAAgICAEBAwAAAAmTBQAACgEAAAAAAAAA/////wABATEGAAB4AAAACgoBAAAAwdDtAP////8AAAEyBgAAeAAAAAoKAQAAAP///wD/////AAAPMwYAAAEAAAAIFgIAAAE0BgAAeAAAAAoKAAAAAAAAAAANAAAAAAABNQYAAHgAAAAKCgAAAAAAAAAADQAAAAABBzYGAAAAAQAAAAQAAAAEHUFwbG9yaXMuQmFzZS5PYmplY3RzLlZhcmlhYmxlAwAAAAFuBgAAkQMAAAEAAAAAAAAAAW8GAACRAwAAAAAAAAAAAAABcAYAAJEDAAAAAAAAAAAAAAFxBgAAkQMAAAAAAAAAAAAADzcGAAABAAAACNsCAAAFOAYAABpBcGxvcmlzLkJhc2UuT2JqZWN0cy5Db2xvcgcAAAASRGF0YU9iamVjdCttUGFyZW50FURhdGFPYmplY3QrbUNvbnRhaW5lcgVtVHlwZQRtUkdCEG1UaGVtZUNvbG9ySW5kZXgMbUF1dG9VcGRhdGVkCW1Nb2RpZmllZAQCAAAAAAAfQXBsb3Jpcy5CYXNlLk9iamVjdHMuTGluZUZvcm1hdAMAAAAICAgBAQMAAAAJsAUAAAoAAAAA////AA4AAAAAAAU5BgAAGkFwbG9yaXMuQmFzZS5PYmplY3RzLkNvbG9yBwAAABJEYXRhT2JqZWN0K21QYXJlbnQVRGF0YU9iamVjdCttQ29udGFpbmVyBW1UeXBlBG1SR0IQbVRoZW1lQ29sb3JJbmRleAxtQXV0b1VwZGF0ZWQJbU1vZGlmaWVkBAIAAAAAAB9BcGxvcmlzLkJhc2UuT2JqZWN0cy5MaW5lRm9ybWF0AwAAAAgICAEBAwAAAAmwBQAACgEAAAAAAAAA/////wABAToGAAB4AAAACgoBAAAAwdDtAP////8AAAE7BgAAeAAAAAoKAQAAAP///wD/////AAAPPAYAAAEAAAAIzQIAAAE9BgAAeAAAAAoKAAAAAAAAAAANAAAAAAABPgYAAHgAAAAKCgAAAAAAAAAADQAAAAABBz8GAAAAAQAAAAQAAAAEHUFwbG9yaXMuQmFzZS5PYmplY3RzLlZhcmlhYmxlAwAAAAFyBgAAkQMAAAEAAAAAAAAAAXMGAACRAwAAAAAAAAAAAAABdAYAAJEDAAAAAAAAAAAAAAF1BgAAkQMAAAAAAAAAAAAAD0AGAAABAAAACB8DAAAFQQYAABpBcGxvcmlzLkJhc2UuT2JqZWN0cy5Db2xvcgcAAAASRGF0YU9iamVjdCttUGFyZW50FURhdGFPYmplY3QrbUNvbnRhaW5lcgVtVHlwZQRtUkdCEG1UaGVtZUNvbG9ySW5kZXgMbUF1dG9VcGRhdGVkCW1Nb2RpZmllZAQCAAAAAAAfQXBsb3Jpcy5CYXNlLk9iamVjdHMuTGluZUZvcm1hdAMAAAAICAgBAQMAAAAJzQUAAAoAAAAA////AA4AAAAAAAVCBgAAGkFwbG9yaXMuQmFzZS5PYmplY3RzLkNvbG9yBwAAABJEYXRhT2JqZWN0K21QYXJlbnQVRGF0YU9iamVjdCttQ29udGFpbmVyBW1UeXBlBG1SR0IQbVRoZW1lQ29sb3JJbmRleAxtQXV0b1VwZGF0ZWQJbU1vZGlmaWVkBAIAAAAAAB9BcGxvcmlzLkJhc2UuT2JqZWN0cy5MaW5lRm9ybWF0AwAAAAgICAEBAwAAAAnNBQAACgEAAAAAAAAA/////wABAUMGAAB4AAAACgoBAAAAwdDtAP////8AAAFEBgAAeAAAAAoKAQAAAP///wD/////AAAPRQYAAAEAAAAIDgMAAAs="/>
  <p:tag name="APLORISTAG" val="MqqyvQHz47eJaEyrz.519"/>
</p:tagLst>
</file>

<file path=ppt/tags/tag719.xml><?xml version="1.0" encoding="utf-8"?>
<p:tagLst xmlns:a="http://schemas.openxmlformats.org/drawingml/2006/main" xmlns:r="http://schemas.openxmlformats.org/officeDocument/2006/relationships" xmlns:p="http://schemas.openxmlformats.org/presentationml/2006/main">
  <p:tag name="APLORISTAG" val="MqqyvQHz47eJaEyrz.602"/>
</p:tagLst>
</file>

<file path=ppt/tags/tag72.xml><?xml version="1.0" encoding="utf-8"?>
<p:tagLst xmlns:a="http://schemas.openxmlformats.org/drawingml/2006/main" xmlns:r="http://schemas.openxmlformats.org/officeDocument/2006/relationships" xmlns:p="http://schemas.openxmlformats.org/presentationml/2006/main">
  <p:tag name="APLORISTAG" val="MMq8K+TY0y1GzdU7X.98"/>
</p:tagLst>
</file>

<file path=ppt/tags/tag720.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AUUAAAAGVN5c3RlbS5EcmF3aW5nLlJlY3RhbmdsZUYEAAAAAXgBeQV3aWR0aAZoZWlnaHQAAAAACwsLCwQAAAD//3////9/////f////3//ARUAAAAUAAAA//9/////f////3////9//wAAAAAABRYAAAAsQXBsb3Jpcy5DaGFydC5BeGlzQnJlYWsrQXhpc0JyZWFrRGlzcGxheU1vZGUBAAAAB3ZhbHVlX18ACAIAAAABAAAAAQEBCgoJFwAAAAoKAAAAAAAJGAAAAAoJGQAAAAAAAAAKBRoAAAAZQXBsb3Jpcy5DaGFydC5PcmllbnRhdGlvbgEAAAAHdmFsdWVfXwAIAgAAAAEAAAAJGwAAAAEcAAAAFAAAAEGoLkJeM3lBTPsSRD8+hkMABB0AAAALU3lzdGVtLkd1aWQLAAAAAl9hAl9iAl9jAl9kAl9lAl9mAl9nAl9oAl9pAl9qAl9rAAAAAAAAAAAAAAAIBwcCAgICAgICAgAAAAAAAAAAAAAAAAAAAAAACgoJHgAAAAAKCgoBAAAAAAAAAP////8AAQEfAAAAFAAAAAAAIEEAACBBPacNRAAAkUP70CtCgBEkQ9CdIEQAAJtDBSAAAAAVU3lzdGVtLkRyYXdpbmcuUG9pbnRGAgAAAAF4AXkAAAsLBAAAAAISzEN9acZDBiEAAAAQcEFuWkd2RmVmVXhNQU9NTA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wLjAuMTQ4NiwgQ3VsdHVyZT1uZXV0cmFsLCBQdWJsaWNLZXlUb2tlbj0xNmZjMTNhMjI2YzBlOTUxXV0DAAAAmwFBcGxvcmlzLkJhc2UuT2JqZWN0cy5EYXRhT2JqZWN0Q29sbGVjdGlvbmAxW1tBcGxvcmlzLkNoYXJ0LkF4aXNCcmVhaywgQXBsb3Jpcy5DaGFydCwgVmVyc2lvbj00LjAuMC4xNDg2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AuMC4xNDg2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SYAAAAWQXBsb3Jpcy5DaGFydC5BeGlzVHlwZQEAAAAHdmFsdWVfXwAIAgAAAAEAAACamRk/AAAACgkBAAAACScAAAAJKAAAAAEAAAAAAAAAAAEAAAAAAADwPwGamZmZmZm5PwAAACBBAAEJKQAAAAoJKgAAAAkrAAAACSwAAAABLQAAACAAAABBqC5C2geOQwEuAAAAIAAAANDlHUTaB45DCS8AAAAJMAAAAAkxAAAACTIAAAAAAAAAAAAAAAAAAAAJMwAAAAAAAAAAAAk0AAAACQEAAAAJAQAAAAk1AAAAAQcAAAAGAAAACQEAAAABNgAAACYAAAAAAAAAzcxMPwAAAAgBAAkBAAAACTcAAAAJOAAAAAEAAAAAAAAAAAEAAAAAAADwPwGamZmZmZm5PwAAACBBAQEJOQAAAAoJOgAAAAk7AAAACTwAAAABPQAAACAAAABBqC5C2geOQwE+AAAAIAAAAEGoLkJeM3lBCT8AAAAJQAAAAAlBAAAACUIAAAAAAAAAAAAAAAAAAAAJQwAAAAAAAAAAAAlEAAAACQEAAAAJAQAAAAlFAAAABAgAAACoAVN5c3RlbS5Db2xsZWN0aW9ucy5HZW5lcmljLkxpc3RgMVtbQXBsb3Jpcy5DaGFydC5Db2x1bW5PcmllbnRlZENoYXJ0K1VudXNlZFNlcmllcywgQXBsb3Jpcy5DaGFydCwgVmVyc2lvbj00LjAuMC4xNDg2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AuMC4xNDg2LCBDdWx0dXJlPW5ldXRyYWwsIFB1YmxpY0tleVRva2VuPTE2ZmMxM2EyMjZjMGU5NTFdXQMAAACXAVN5c3RlbS5Db2xsZWN0aW9ucy5HZW5lcmljLkxpc3RgMVtbQXBsb3Jpcy5DaGFydC5DaGFydERhdGFTZXJpZXM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RwAAAAlIAAAACQEAAAAJAQAAAAlJAAAABQoAAACmAUFwbG9yaXMuQmFzZS5PYmplY3RzLkRhdGFPYmplY3RDb2xsZWN0aW9uYDFbW0FwbG9yaXMuQ2hhcnQuQW5ub3RhdGlvbk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C4wLjE0ODYsIEN1bHR1cmU9bmV1dHJhbCwgUHVibGljS2V5VG9rZW49MTZmYzEzYTIyNmMwZTk1MV1dAwAAAJwBU3lzdGVtLkNvbGxlY3Rpb25zLkdlbmVyaWMuTGlzdGAxW1tBcGxvcmlzLkNoYXJ0LkFubm90YXRpb25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oAAAAJSwAAAAkBAAAACQEAAAAJTAAAAAULAAAAoQFBcGxvcmlzLkJhc2UuT2JqZWN0cy5EYXRhT2JqZWN0Q29sbGVjdGlvbmAxW1tBcGxvcmlzLkNoYXJ0LkFubm90YXRpb25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C4wLjE0ODYsIEN1bHR1cmU9bmV1dHJhbCwgUHVibGljS2V5VG9rZW49MTZmYzEzYTIyNmMwZTk1MV1dAwAAAJcBU3lzdGVtLkNvbGxlY3Rpb25zLkdlbmVyaWMuTGlzdGAxW1tBcGxvcmlzLkNoYXJ0LkFubm90YXRpb25Hcm91c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NAAAACU4AAAAJAQAAAAkBAAAACU8AAAAFDAAAAKABQXBsb3Jpcy5CYXNlLk9iamVjdHMuRGF0YU9iamVjdENvbGxlY3Rpb25gMVtbQXBsb3Jpcy5DaGFydC5DaGFydERhdGF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wLjAuMTQ4NiwgQ3VsdHVyZT1uZXV0cmFsLCBQdWJsaWNLZXlUb2tlbj0xNmZjMTNhMjI2YzBlOTUxXV0DAAAAlgFTeXN0ZW0uQ29sbGVjdGlvbnMuR2VuZXJpYy5MaXN0YDFbW0FwbG9yaXMuQ2hhcnQuQ2hhcnREYXRh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UAAAAAlRAAAACQEAAAAJAQAAAAlSAAAABQ0AAACaAUFwbG9yaXMuQmFzZS5PYmplY3RzLkRhdGFPYmplY3RDb2xsZWN0aW9uYDFbW0FwbG9yaXMuQ2hhcnQuRGVsdGFCYXI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C4wLjE0ODYsIEN1bHR1cmU9bmV1dHJhbCwgUHVibGljS2V5VG9rZW49MTZmYzEzYTIyNmMwZTk1MV1dAwAAAJABU3lzdGVtLkNvbGxlY3Rpb25zLkdlbmVyaWMuTGlzdGAxW1tBcGxvcmlzLkNoYXJ0LkRlbHRhQmF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MAAAAJVAAAAAkBAAAACQEAAAAJVQAAAAUOAAAAnQFBcGxvcmlzLkJhc2UuT2JqZWN0cy5EYXRhT2JqZWN0Q29sbGVjdGlvbmAxW1tBcGxvcmlzLkNoYXJ0LkRlbHRhQnJpZGdlLCBBcGxvcmlzLkNoYXJ0LCBWZXJzaW9uPTQuMC4wLjE0ODY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AuMC4xNDg2LCBDdWx0dXJlPW5ldXRyYWwsIFB1YmxpY0tleVRva2VuPTE2ZmMxM2EyMjZjMGU5NTFdXQMAAACTAVN5c3RlbS5Db2xsZWN0aW9ucy5HZW5lcmljLkxpc3RgMVtbQXBsb3Jpcy5DaGFydC5EZWx0YUJyaWRn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WAAAACVcAAAAJAQAAAAkBAAAACVgAAAAFDwAAAJ0BQXBsb3Jpcy5CYXNlLk9iamVjdHMuRGF0YU9iamVjdENvbGxlY3Rpb25gMVtbQXBsb3Jpcy5DaGFydC5Hcm93dGhBcnJvdy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wLjAuMTQ4NiwgQ3VsdHVyZT1uZXV0cmFsLCBQdWJsaWNLZXlUb2tlbj0xNmZjMTNhMjI2YzBlOTUxXV0DAAAAkwFTeXN0ZW0uQ29sbGVjdGlvbnMuR2VuZXJpYy5MaXN0YDFbW0FwbG9yaXMuQ2hhcnQuR3Jvd3RoQXJyb3c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WQAAAAlaAAAACQEAAAAJAQAAAAlbAAAABRAAAACkAUFwbG9yaXMuQmFzZS5PYmplY3RzLkRhdGFPYmplY3RDb2xsZWN0aW9uYDFbW0FwbG9yaXMuQ2hhcnQuV2F0ZXJmYWxs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wLjAuMTQ4NiwgQ3VsdHVyZT1uZXV0cmFsLCBQdWJsaWNLZXlUb2tlbj0xNmZjMTNhMjI2YzBlOTUxXV0DAAAAmgFTeXN0ZW0uQ29sbGVjdGlvbnMuR2VuZXJpYy5MaXN0YDFbW0FwbG9yaXMuQ2hhcnQuV2F0ZXJmYWxsQ29ubmVjdG9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wAAAAJXQAAAAkBAAAACQEAAAAJXgAAAAURAAAAogFBcGxvcmlzLkJhc2UuT2JqZWN0cy5EYXRhT2JqZWN0Q29sbGVjdGlvbmAxW1tBcGxvcmlzLkNoYXJ0LkVsZW1lbnRDb25uZWN0b3I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wLjAuMTQ4NiwgQ3VsdHVyZT1uZXV0cmFsLCBQdWJsaWNLZXlUb2tlbj0xNmZjMTNhMjI2YzBlOTUxXV0DAAAAmAFTeXN0ZW0uQ29sbGVjdGlvbnMuR2VuZXJpYy5MaXN0YDFbW0FwbG9yaXMuQ2hhcnQuRWxlbWVud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QAAAAgBAAAAAgAAAAMAAAAEAAAABQAAAAUb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aAAAACAAAABBqC5CXjN5QQFpAAAAIAAAANDlHUTaB45DCWoAAAAJawAAAAAAAAAKBWwAAAAUU3lzdGVtLkRyYXdpbmcuU2l6ZUYCAAAABXdpZHRoBmhlaWdodAAACwsEAAAAAAAAAAAAAAABbQAAAGwAAAAAAAAAAAAAAAAAAAABbgAAABQAAAAAAAAAAAAAAAAAAAAAAAAAFAAAAP////8BAQoJbwAAAAEACgAPHgAAAOE0AAACUEsDBBQABgAIAAAAIQBJEqz3jAEAAHg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d1OwjAUvjfxHZbemq3AhTGGwQXopZKID1DbA1vo2qan/L29ZwOMkrlJWOLNmq39/s52zobjXaGjDXjMrUlZP+mxCIy0KjfLlL3Pn+MHFmEQRgltDaRsD8jGo9ub4XzvACNCG0xZFoJ75BxlBoXAxDowtLOwvhCBbv2SOyFXYgl80Ovdc2lNABPiUHKw0XAKC7HWIXra0eODE4KzaHI4V0qlTDincykCGeXlLq/FbRpxG6POzMV2scglKCvXBVlKCD/1YkvxfxHwoLHBWY3CMXpCyMo9ZrnDu2OEV6q9zxVEM+HDiygoKN9pvrV+9WHtKmmuQ43aWR50HoTCDCAUOqnWpBC5+YN+dRh5tfQ7NlLmq4gv9DH4Jx+BPmzg1fX6UlQ0LcEx7DVgx2kPpG3KmfCg3oKnHujcwHfuFh/SFmVH4vX1/tkDJ942eaHlJKNO6fgdyBNvkz6No5m3DmlSerjcwGnilOjYERH4kEPjzPlSpDF7ueDZ0IFyjitQNdq8+m+MPgE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ABBmPgJAQAAz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zWrDMBCE74W+g9h7LdttQymRc2gp5NqmDyDktWViS0a7/fHbVyTUcSC4F9PjzqKZj5G03nx3rfjEQI13CrIkBYHO+LJxtYL33cvNAwhi7UrdeocKBiTYFNdX61dsNcdDZJueRHRxpMAy949SkrHYaUp8jy5uKh86zXEMtey12esaZZ6mKxmmHlCceYptqSBsy1sQu6GPyX97+6pqDD5789Gh4wsRkiMXRkMdamQFh/EoZkkEBXmZ4W5JBuKhjSWOEMd5Lv5+0XirA5ZvHOINTymm8hzMakkYo1vzZHXjTnWM0hxEtiTElw97soh8ghglkofN7OvI/xkm/21Gnv3B4gcAAP//AwBQSwMEFAAGAAgAAAAhAEBBgYLcAQAAFgMAAA8AAAB4bC93b3JrYm9vay54bWyMUslu2zAQvRfoPxC826QoyQkMS4HrBTXQBkGR5cxQtEWEi0BSlYKi/56RVLdOe+lpOAtn5r15q5veaPRd+qCcLXAypxhJK1yl7KnAD/f72TVGIXJbce2sLPCrDPim/Phh1Tn/8uzcC4IGNhS4jrFZEhJELQ0Pc9dIC5mj84ZHcP2JhMZLXoVaymg0YZQuiOHK4qnD0v9PD3c8KiG3TrRG2jg18VLzCOuHWjUBl6uj0vJxQoR409xyA3v3GiPNQ9xVKsqqwDm4rpPvAr5tPrVKQ5YtKM0wKX+jvPOIt9FtnAEQIdwpEVt4FJgOVQMPj0p24c+HwUX9k7KV6wqcXlEg9vXsMsrA7cbkk6piDROTZCiZYp+lOtURzsHSbBxALiaMBMKk0SI7ols32nkVtjxyONfA8AFQJBj5pYKHP1TJsOfll2+8Q3/Vpxf1bKgn51mCawEUDGZsnFFKofvgf3UV0DuQc+vu+bOWEHZWtN7DgTZQ8Isj2ccvIZYrsKj1qsA/rnKW7vJtOmP5Pp2t8x2dJYuUzRbZnuXZhrEsZz/P6jD9P/IwSngX3DHOhTNkUgYoShDZCzkK7HoSWLky/XLtRX3Yor3mJzjbBA92AZDnzchZ0uUbAAAA//8DAFBLAwQUAAYACAAAACEAKBtn0uQIAACogwAADQAAAHhsL3N0eWxlcy54bWzsXetvm0gQ/37S/Q+I6j4mPAw2RLarS1LfVepVlZKT7ivGaxuVhwW4dXq6//1mdsEY4oDxbh6qth9SHjOzs7957MKuh/H7XRQq30iaBUk8UY1LXVVI7CeLIF5N1L/vZxeOqmS5Fy+8MInJRH0gmfp++usv4yx/CMndmpBcARFxNlHXeb650rTMX5PIyy6TDYnhzjJJIy+H03SlZZuUeIsMmaJQM3V9qEVeEKtMwlXknyIk8tKv282Fn0QbLw/mQRjkD1SWqkT+1cdVnKTePARVd4bl+aVsevJIfBT4aZIly/wSxGnJchn45LGWruZqIGk6jrfRLMozxU+2cT5RB/tLCrvzcQEQDi1VYZ2+SRaghn6p/6ZqJXON0q5Tvnv3Tn+CcviYshCrFUpNx8skrnRzoePY/6uvcfI9nuEt0A0URqrpOPuhfPNCuGJgg34SJqmSg91AX3ol9iLCKG68MJinAZItvSgIH9hlEy9QUxd0UQDA40WNtcD+zpGqaMvFu6ypIF6QHQG0nEZr9946iTwkfNRYTW4p87n13x7of6wtZi9BYHU11sCKzzJ7BKklmVnS1XyizmY6/YdGqNzgjyAMlTsvzvBypykOBM1mpwoKnsD6LGH77lHQat1jHezWivYyA0+Eru9j3sQQggvTMWSfnKTxDIEpju8fNhBAMSRKhhKl66Bepd6DYdoHDBptcDqeJ+kCEnOZbTB42aXpOCTLHNBKg9Ua/8+TDfydJ3kOWWw6XgTeKom9EA61kqM4gO74JAzvMHn/s6xk25jLdsuD7AQDAYYwpjQ8hK4Uh0wiO4EWakyQdUom80kmxdtswocZCKei2RnIr86uac+r89/DYBVH5JDhS5rkxM/pqEWDsKbHgfJP69FUXjLB4FbauzD9WegNOkz/eRvNSTqjE4PKyBhI1ZlIF8AB+bj/Mld8aX0kPpBSWqJP4iPx4Un50n+k/0j/eb7xVMaXjC8ZXzK+4IGJPrzJ+bN8vmibz8vnr/bxQuIj8eEZT6X/SP+R/vN88zEZXzK+ZHzJ+Hqt5x2Zf2T+kflH5h+Zf9h+BPn+uT0fSnwkPjzjhfQf6T/Sf55vvnHWpirJxLMlTaIn0St2shZAyEFODnI8g5zMKDwZRUafjD6e6JP+I/1H+s/zPaLI+JLxJeNLxtdrLTnI/CPzj8w/Mv/I/MOWPOUWkPZ8KPGR+PCMF9J/pP9I/3m++YaMLxlfMr5kfL3WfP6t5Z83snqoHRaDYqWhDqtCOWcVhVJ2y+PVocD4ZXUoPHyiJE/JXZSJolWBaBGvpyo89ZbFJB+kIyyt5ZU1ppR1kgY/YHET6+P5UHSKsLJ2u2Wj2FVR6a+rRlYBh3H0x9LlVVYNa39WdPonVlT5nnqbe7KDGmDUuNojeHm8pQM4oW2XRqv/Cr68KsqwvfDCapGnRRe4ORqgHmvsrKzAVd49KV6wMJ368rqerhvWxGtztdGrQVekmpcHj8PQUDg2D3xMlFCC8BXsfpbqJwNtDGmBVpbgT46p/nmAqxeVCU4eq7BXremhDPk32pUDq0B14vauwChypEZJ2cG27PwiVqF1fZmDdVvF/qk6U9rgjTpZP8vAfP5NuRmd2MNU/qDca6PY637mr2CRXyj7m4Rh8p0slD+hiG0aBvFXqCBNJ/IGuN18G4R5EOO8Hmq8roPFgmC5cKz60kMQoCRGEDzOiREEVhYjCBKREEGmKLBNUWCbosA2RYFtigJ7IArsgSiwB6LAHogCeyAKbEsU2JYosC1RYFuiwLZEgY1TBSH5yBYFti0KbFsU2LYosIeiwB6KAhu/QSHE/ENRYA9FgT0SBfZIFNgjUWC7sOtNiNVceJYQIsjQRalk6OJ0gnc0gnoHc1kxkuDbIKIkCUPcEIa4IQxxQxjipjDETWGIw2c8BHmBKQxxUxjiA2GID4QhPhCG+EAY4gNhiFvCELeEIW4JQ9wShrjVD/FHbzjq7DBTaX3B8Yi9kfz789eN05+/bpL+/HVD9OfnxK+Rynu330jg/fk58Wsk6/7tc+LXSMy922+k4/78nPg1Um//9jnxa6TZ3u03kmt/fk78Gom0f/uc+Nn1Yap3+/DxscNpU39+Tvxszvxnc+I35MRvyIkfLnMePAb1xn/Iid+QE78RJ34jTvzc+puE3vi59RcIvfkNnVMBQ+fWoP6e6IwuAAuPDxqNVar+Ghi8IBq8IBq8IBq8IDZWn/qD2Fh1OkMAL4iNVaYzNOAFsbGq1F+DxmrSGQJ4QWysHp2hAS+IjdWi/ho0VonOEMALYmNV6AwN+oH4GT+oGZar9vXX5PR7i82V+i8kxT1DJUd9FKVfpG1y0I9+G5Y1cgaGaRoWeirbJHASOQ60jJx9dLj8Em2xBaEpHcdFRm4d22jQIB9i+mTkw1PI0ccZuXMK+WhPPjiBfIQvOpn0URu54zq261g6vjksyFuRLOhNfOQt6Fs7W9LjFL2gP0Uf06n0aUWnkG/hwmUhn33m+wnTlvSjPb1z1DVL2xb0tl7RH9100qTHR0qmj9PqaiB/BGA6uKrE6N0uPCm9s3dNtwsfpHf1vXwDDo/smjnoAGXAl/eFQl0Go/Q46BT0XQag9Pgaj9EbeheiI9uw6V5IxuC0BgAiivRg16IBpxNRpMc1q0J+ZweA3sT5XkHfmh0KfcwqwpxOQFE+DkBMvttpMKS3K/27IhjxMSuPczo9COmriHRb7QWuNnQd18YFV6a/AZsBWjyuZAA19gyntDDU9ykO1MMWql+TwL6zxa76vDhtP/fmIbnDD4/vd6IBxAuy9LZhfr+/OVGr47/IIthGMMYUVF+Cb0lORUzU6vgTfgUdkj9oAL8n+JTl9H9lmwYT9d8P1yP39sPMvHD0a+fCGhD7wrWvby9s6+b69nbm6qZ+8x90PArj7GpnWBN1neebK03L/DWJvOwyCvw0yZJlfunDx9WT5TLwiZZtUuItsjUheRRqpq67mqtFXhDjD2YM6yoLgSotOlsof1ddm6gHJ0x9ih+oDyiWndBoTrjDRqb/Aw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F9bkJwEEAABzDAAAGAAAAHhsL3dvcmtzaGVldHMvc2hlZXQyLnhtbIxXTY/bNhC9F+h/EHRqD7Y+LEu2YTtYWVISIIsumiY50xJlCyuJrsjd9aLof++QlB1xlDp7saX3hsN5M0N6vH53bmrrmXa8Yu3G9qaubdE2Z0XVHjb2l7+yycK2uCBtQWrW0o39Srn9bvvrL+sX1j3yI6XCAg8t39hHIU4rx+H5kTaET9mJtsCUrGuIgNfu4PBTR0mhFjW147tu6DSkam3tYdW9xQcryyqnCcufGtoK7aSjNREQPz9WJ37x1uRvcdeQ7vHpNMlZcwIX+6quxKtyaltNvvp4aFlH9jXoPnsByS++1cvIfVPlHeOsFFNw5+hAx5qXztIBT9t1UYECmXaro+XGvvNW7z3XdrZrlaCvFX3hg2dL5nvP2KMkPhYb2wUXnNY0l8otAl/PdEfremN/CKFkfyun8AgOnavH4fPFe6Yq9NBZe8LpjtXfqkIcoRWgEwpakqda/MlePtDqcBSABpADmYpV8ZpQnkMNZCiXqBMiyHbdsRcLiulBGCciW8NbRRBtLsE7iW7sSC5RQKwBaDPwxMHseest1s4zhJr3JruLyWVNgoEUA5kGZtdt3mvAV/mAAK9R+j+MUqJGlBpYDqKcoyDHFqFpkYwtItMiHVu4pkWmLQa6NDDWNTN0WbJ4/uJaBcnqGl+zjpIe9yaQt6vJ0gxm93OT5OcmqTYZphbtk2mLgWgNjEVDd/6g5SSKxKK0xr2Jr/rP9zwk1KDnc1S2xKD9CDlPezoA56VK5pF0tLD1uU+DVQraeaWO9Ocv97/FwSoJfl87pToL7gwVJtPuBtnQwDgbcyMbuAUki7Liocjj3kanJcRZMdiFb+YsMVgPnYW0Z0c50XmAgw7XwBz3gV40UK6BsXJ5A36/epTyQIrQV5BksXKkLe5ttHLPn5nidgY9mwUmnRi0F2LxPX1LfIi3zPSigXgNjMVHN8VLFotHpYt7m148aoqdwQaITQwWi0h79pbyCOU602sGwjUwFi5HFVT1wZUnWSwcbRX3Nr1wfMMb7AI1Z2Kwc3Ro0569JdwLUR0yvWigXANj5fIC+X/lksXKUcfGvY1WjuLYGaSH2MRg0dWorjbY+5ZuH529TDscyNbAWLacUQa6L+dbwbDp9cc/7pHvLncjJBkh6QjJRogc2WRyB7HpaUtPQidyoPekO1Qtt2pawg+pO43g0ur0NKVfBDvJYK09E4I16vEIczKFacmdgnHJmLi8wMVIz+ITF+rbeurgZ+OfMHBdP5p5k7swdidz+eGHkTuJIt+Lo527DF3338vs2pzfNrg2JHfoOadqUF/oQX27bs6rh09frXtWwEwM0v9o6QNoVM/fPudEjspqHIS1EKP8VME6178L2/8A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PCMwqqaBAAA6AsAABgAAAB4bC93b3Jrc2hlZXRzL3NoZWV0MS54bWyUVlFv2zYQfh+w/6AJA7pisEVSEiUZtovYcrAALRo0W/tMS7QtRBI1iY6dDvvvPZK2bMZNkLxIInn67r77juSNP+yr0nngbVeIeuLiIXIdXmciL+r1xP3n7+tB7DqdZHXOSlHzifvIO/fD9NdfxjvR3ncbzqUDCHU3cTdSNiPP67INr1g3FA2vYWUl2opJGLZrr2taznL9U1V6BCHqVayoXYMwal+DIVarIuOpyLYVr6UBaXnJJMTfbYqmO6Lt81fh5S3bAddjPGchpmalx8PBRXxVkbWiEys5zETlmdAuWSZeYvGssgugnySrYu39thkAcAPklkVZyEdN13WqbHSzrkXLliUosscBy86iZJfwr48TkKbjvIDcqoJwWr6auFd4tAhcbzrWyn0t+K47+3YkW97xkmeS51BArqMKYynEvTK8gSkEiJ02UIgsk8UDn/OynLgzArX1r/YxI6OZ9uH1Tqbj0/fR4bWuptvWWbKOz0X5rcjlBrxC1eZ8xbalPE3Gw9gnyMck7Be/iN1fvFhvJPwSQMpU5kb5Y8q7DIpJhQosM1GCO3g6VaG2BOSb7Q0z443QIaUBogq4k49KAzBa8k5eFwrZdbJtJ0V1DO4AauCAsoaD987AJUO/j/ME9wKEf4CA9xGiDwTmXhkI8NeBAIkDynnCDoH4Vuz0mArqx/D7879h9ZtnEqn1TJlk03Erdg5sSkhQ1zB1ZOBRCMWRqckrNavXIIUdzD5Mg7H3oGAOFrNLC2RbzI0F5KDHwKFtkhoTiP5kQm2ThTEBsieTqDfxgETPRNXviYmj6+rESK1OXMjvCaeH0Zx1/QNn9cvDFA2hWkkUhiSJaQhlS3zbfG4AsQ/mq+m7L2znqLy+++33WeidDxdAemUg/dinQRQlcRQQDIPEhkwtyD/OQWb0T2sYvfes9YW9voje905xglGCkzBABLjEIbadLl5wGttOk6dO7fVFcnSaDEmcUBwFMfX9GPgGiwHp3VqiQXm8IJpatUU7wRjRjAWmB9FCn1IUg1sMTsM4PJWKNp8fzC9Fmz8rWojDiEApoAAyqAY9EQ2ZWpCWKHNblPkbRAv9yA+pTzAUCYrBte108YJTW5T5q0VDwzCEWiEhjX1EEYY09k4tyWC7viCZWrVPjicbB24WbREd9xn4wiFFNIHNgaFqeq9GsoP5pWTps5JhaGagAn0U44jC4AlkakFakqW2ZOkbJCMRhgRGJMB+lPgYPTnr4NLWtA0P26ktWfoGyXxbs9PeNoqZO9uc9w1b80+sXRd155R8BccgGkau05obWH9L0ehZOCWXQsKleRxtoFPkcC+gIRTeSgh5HMDNonDvuNw2jmgLuLh18zdxG9HKlhXSdTYw/13AQpk2xcQNSBIkNCIJHDzQ6soiu1wA2JKvWfZ4aPucdlTkE7e9yfVlxvfyYyenY3g72xYw/4MOAJHIx4MrOkODUD0IjdAgigieRXOUUIT+P7ZlFTQQT/rjn/ZkFcs8vs+47o5j0zVOx9V+dPvxq/NJ5NBqQKvzuea3kAL9/e0OyOhPdeVCeOapg/X6Hn36AwAA//8DAFBLAwQUAAYACAAAACEAdKIHt04BAADgAgAAFAAAAHhsL3NoYXJlZFN0cmluZ3MueG1sjJJNS8NAEIbvgv9h2LNt0lasSpIiiiDYXmzxPCTTZmEzWzOTYP69G+vFpILHfXbmnY93ktVn5aClWqzn1MymsQHi3BeWD6nZbZ8ntwZEkQt0nik1HYlZZZcXiYhCyGVJTal6vI8iyUuqUKb+SBx+9r6uUMOzPkRyrAkLKYm0ctE8jm+iCi0byH3Dmpr5tYGG7UdDjycwuzNZIjZLNNt6RZdEmiVRD07w4VATDeGGGq3HsU9W8Fz4GznKNcw91IlhAot4SBezgJcjvOzxLB7xnRD4PWwpL9k7f+iGet+TDuG7Lei0LGiErgCdCzuqR6OO4hQcYbAkmPSvBPY8OSf8aiurVAQd1/UtDBvceNA/R3phJRbbjrLWvqAadcR/qg2LrDuwLGq16e2BPVonoB4wLy21BMgQ9oQOsGithFMFCbH428soXGj2BQAA//8DAFBLAwQUAAYACAAAACEA6UmDQJ0CAAAPBwAAGwAAAHhsL2RyYXdpbmdzL3ZtbERyYXdpbmcxLnZtbOxVTW/bMAy991cI6iEXB/5oG7SqHaDo0Ns2YO22Y6HYSqxWH4bFOE5//SjZSZMVG4rtsMsM2KZJiuR7fIDzXiuCt3GsK+i6NcyVtdDcTbUsW+vsEqal1azTip6MifZ3iXa5lKVgw2t/pH/HEdGX4rWJxnFqgIbFseblN63uw1xfW0nnJyS3zNW8EYpv7RpIx0QPBRWVBB/1YVlp3hwFSMWBFzSlsS8QH1WY591QELaNILIq6GOf4PUIWZJRUlrbVk6+iIJm6SxJovCkBGs02NfnYNeGQ11QnUSJGjOGvKNn0othRGwIrX0W5MlK42CrsLiWINowH8GBfD2yanklhYEA1z4XFHzb0hojSvDTFrRFawR1gGIP6RCOS5PsgpLh3OkRxmGESWOdBGkN4wtn1RrENSLTvF1JM1ViCWx22cD16ADbsPTsHB0bWUHN0szbtZCrGliWoP0ylaYSPUt9mU46uZBKwpbVsqqEudbOTjctb6ahOwN/cEKWUqnSKtsW9HSJl0g9ZmRJgLYVIuZrsDsWfTIuCLOz13S/Yk8hslbZDbFm4G3hynUrcLsDX3uSfyLUWCP2WwCU1sL2ZOTHT1xJTzmSNOUKmB9m4vuRvJLdLs8fw7BcGeZpm8zzGKNhrLhjY9Hw2bNb5Tf8AeVJPi+esPRD2OsnC4NWSN6zj7YT3yXUt0IpF+B57z1q8q33xpS1bcNIJInI7DIiVxG5iEgakbMMX+hM0zzu2UEmVrtBJHdI5/yOKydCfOcJ8Hr2xW7m4aA3Rt8tykSbeeLzR9uT77/2uDA3R9hBxL8U5uzvhJmlXnwHysxedZl6e6fL9ECX2X9d/htdohQvziMvTxQkGmdBnVd/KsqgvreizN4vyhj/gvMfAAAA//8DAFBLAwQUAAYACAAAACEAM1hfDjYBAAAS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FfS8MwFMXfBb9DyXubdt2GhLYDlSHiQHBD8e2S3G3B5g9JtNu3N+tmnczHyzn3xzn3VrOdapMvdF4aXZMiy0mCmhsh9aYmq+U8vSGJD6AFtEZjTfboyay5vqq4Zdw4fHbGogsSfRJJ2jNua7INwTJKPd+iAp9Fh47i2jgFIY5uQy3wD9ggHeX5lCoMICAAPQBTOxDJCSn4gLSfru0BglNsUaEOnhZZQX+9AZ3y/y70yplTybC3sdMp7jlb8KM4uHdeDsau67Ku7GPE/AV9Wzy99FVTqQ+34kiaSnDGHUIwrqno+RAP14IPi3jjtURxu28ejYawBZ08GBcBKHVFL12R2Bdg6rSZxEzs2OBHei3v7pdz0ozyYpIWozQvl/mEjadsXL4fUvwFxGAXX2y+AQAA//8DAFBLAwQUAAYACAAAACEArU7jEg8BAAAiAgAAEAAAAHhsL2NvbW1lbnRzMS54bWy8UE1LxDAUvAv+h/DubtoeZJUmiwgrggfB9QfE5nUbyEfJyy5df71v7daDJ09CCJnJvJnhtZspeHHETC5FBfWqAoGxS9bFvYL33fZmDYKKidb4FFHBCQk2+vqq7VIIGAsJNoikYChlvJeSugGDoVUaMfJPn3IwhWHeSxozGksDYgleNlV1K4NxEXRrDmVImZaH1K38oS45L46KXkJFxl7BYw1ilj1bBRX7FJxYlPm88vXBPvQpjsYruAMGXfIpCxctTsgT6/pM5m2KZRbtzJCCOZO9Cc6fZrY5E/LbseinnA6jsEhddmPhnVErOVJynJzT5aXwr7IPzf+XfcPskP7Yduk9L3pBpL8AAAD//wMAUEsDBBQABgAIAAAAIQA/byhtjgEAACo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QW/bMAyF7wP2HwTdG7lZMQyBrKJoN/SwYsGSdmdOpmOhiiSIrJfs10+OkcbpDgN2I/menz5T0te7rRc9ZnIx1PJyVkmBwcbGhU0tH9dfLj5JQQyhAR8D1nKPJK/N+3d6mWPCzA5JlIhAteyY00Ipsh1ugWZFDkVpY94ClzZvVGxbZ/Eu2pctBlbzqvqocMcYGmwu0mugHBMXPf9vaBPtwEdP630qwEbfpOSdBS5/aR6czZFiy+IBrAscqROfdxa9VlObLpwrtC/Z8d5UWk1bvbLg8bYcYVrwhFqdBvoeYVjfElwmo3te9Gg5ZkHud1ngXIqfQDiA1bKH7CBwARxsY3OofSLO5kfMz9QhMmlVDOPwUE6909pdmfnBUIpz4xAwghThHHHt2CN9a5eQ+V/EB4aRd8S5ST5mR3fAMIV8xf0Ov8Rb8YzlzelfXXimx7SO5SM8bvd8qFcdZGzKhRz100Dfl8VmP4TcdhA22Bw9fwvDq3gan765vJpVH6pyzZOZVqdHbv4AAAD//wMAUEsDBBQABgAIAAAAIQAX7MrRzQAAAJcBAAAQAAAAeGwvY2FsY0NoYWluLnhtbGyQWw7CIBBF/03cA5l/pb4fKe1HW1egCyB0tE14NECM7l5SXw36yeHcOwNpflOSXNG61mgGs2kCBLUwdasvDE7Hw2QLxHmuay6NRgZ3dJBn41EquBRFw1tNQoN2DBrvuz2lTjSouJuaDnW4ORuruA9He6Gus8hr1yB6Jek8SdZUhQLIUkEsg2oFpGWwACLDJkBfuJj3+Auq9ct7G9UmAuVPZBcZVXhWP+vTsfwPBmPDYiEyAPGU8tnxNco4UsRGMTDo50uzBwAAAP//AwBQSwECLQAUAAYACAAAACEASRKs94wBAAB4BgAAEwAAAAAAAAAAAAAAAAAAAAAAW0NvbnRlbnRfVHlwZXNdLnhtbFBLAQItABQABgAIAAAAIQBQfE7B9gAAAEwCAAALAAAAAAAAAAAAAAAAAMUDAABfcmVscy8ucmVsc1BLAQItABQABgAIAAAAIQAAQZj4CQEAAMwDAAAaAAAAAAAAAAAAAAAAAOwGAAB4bC9fcmVscy93b3JrYm9vay54bWwucmVsc1BLAQItABQABgAIAAAAIQBAQYGC3AEAABYDAAAPAAAAAAAAAAAAAAAAADUJAAB4bC93b3JrYm9vay54bWxQSwECLQAUAAYACAAAACEAKBtn0uQIAACogwAADQAAAAAAAAAAAAAAAAA+CwAAeGwvc3R5bGVzLnhtbFBLAQItABQABgAIAAAAIQDnZXW41gAAALgBAAAjAAAAAAAAAAAAAAAAAE0UAAB4bC93b3Jrc2hlZXRzL19yZWxzL3NoZWV0MS54bWwucmVsc1BLAQItABQABgAIAAAAIQAX1uQnAQQAAHMMAAAYAAAAAAAAAAAAAAAAAGQVAAB4bC93b3Jrc2hlZXRzL3NoZWV0Mi54bWxQSwECLQAUAAYACAAAACEA+2KlbZQGAACnGwAAEwAAAAAAAAAAAAAAAACbGQAAeGwvdGhlbWUvdGhlbWUxLnhtbFBLAQItABQABgAIAAAAIQDwjMKqmgQAAOgLAAAYAAAAAAAAAAAAAAAAAGAgAAB4bC93b3Jrc2hlZXRzL3NoZWV0MS54bWxQSwECLQAUAAYACAAAACEAdKIHt04BAADgAgAAFAAAAAAAAAAAAAAAAAAwJQAAeGwvc2hhcmVkU3RyaW5ncy54bWxQSwECLQAUAAYACAAAACEA6UmDQJ0CAAAPBwAAGwAAAAAAAAAAAAAAAACwJgAAeGwvZHJhd2luZ3Mvdm1sRHJhd2luZzEudm1sUEsBAi0AFAAGAAgAAAAhADNYXw42AQAAEgIAABEAAAAAAAAAAAAAAAAAhikAAGRvY1Byb3BzL2NvcmUueG1sUEsBAi0AFAAGAAgAAAAhAK1O4xIPAQAAIgIAABAAAAAAAAAAAAAAAAAA8ysAAHhsL2NvbW1lbnRzMS54bWxQSwECLQAUAAYACAAAACEAP28obY4BAAAqAwAAEAAAAAAAAAAAAAAAAAAwLQAAZG9jUHJvcHMvYXBwLnhtbFBLAQItABQABgAIAAAAIQAX7MrRzQAAAJcBAAAQAAAAAAAAAAAAAAAAAPQvAAB4bC9jYWxjQ2hhaW4ueG1sUEsFBgAAAAAPAA8A3AMAAO8wAAAAAAUi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wAAAABUFyaWFsBnEAAAAGK21uLWVhCXIAAAABAAlzAAAAByMAAAAAAQAAABEAAAAEFFN5c3RlbS5EcmF3aW5nLkNvbG9yBAAAAAV0AAAAFFN5c3RlbS5EcmF3aW5nLkNvbG9yBAAAAAV2YWx1ZQVzdGF0ZQprbm93bkNvbG9yBG5hbWUAAAABCQcHBAAAAAAAAAAAAAAAAAAAAAoBdQAAAHQAAAAAAAD//////wIAAAAKAXYAAAB0AAAA//////////8CAAAACgF3AAAAdAAAAE5BIv//////AgAAAAoBeAAAAHQAAADe3Nv//////wIAAAAKAXkAAAB0AAAAfmk///////8CAAAACgF6AAAAdAAAAIyEcv//////AgAAAAoBewAAAHQAAAAlIe3//////wIAAAAKAXwAAAB0AAAANDtG//////8CAAAACgF9AAAAdAAAAHSYw///////AgAAAAoBfgAAAHQAAAAelPf//////wIAAAAKAX8AAAB0AAAAHpT3//////8CAAAACgGAAAAAdAAAACUh7f//////AgAAAAoBgQAAAHQAAAAAAAD//////wIAAAAKAYIAAAB0AAAA//////////8CAAAACgGDAAAAdAAAAE5BIv//////AgAAAAoBhAAAAHQAAADe3Nv//////wIAAAAKBCQAAACYAVN5c3RlbS5Db2xsZWN0aW9ucy5HZW5lcmljLkxpc3RgMVtbQXBsb3Jpcy5CYXNlLk9iamVjdHMuRGF0YU9iamVjdCwgQXBsb3Jpcy5CYXNlLCBWZXJzaW9uPTQuMC4wLjE0ODYsIEN1bHR1cmU9bmV1dHJhbCwgUHVibGljS2V5VG9rZW49MTZmYzEzYTIyNmMwZTk1MV1dAwAAAAZfaXRlbXMFX3NpemUIX3ZlcnNpb24EAAAhQXBsb3Jpcy5CYXNlLk9iamVjdHMuRGF0YU9iamVjdFtdAwAAAAgICYUAAAAMAAAAEAAAAAQlAAAAlQFTeXN0ZW0uQ29sbGVjdGlvbnMuR2VuZXJpYy5MaXN0YDFbW0FwbG9yaXMuQmFzZS5VSS5WaXN1YWxPYmplY3QsIEFwbG9yaXMuQmFzZSwgVmVyc2lvbj00LjAuMC4xNDg2LCBDdWx0dXJlPW5ldXRyYWwsIFB1YmxpY0tleVRva2VuPTE2ZmMxM2EyMjZjMGU5NTFdXQMAAAAGX2l0ZW1zBV9zaXplCF92ZXJzaW9uBAAAHkFwbG9yaXMuQmFzZS5VSS5WaXN1YWxPYmplY3RbXQMAAAAICAmGAAAAAQAAAAEAAAAFJwAAAJsBQXBsb3Jpcy5CYXNlLk9iamVjdHMuRGF0YU9iamVjdENvbGxlY3Rpb25gMVtbQXBsb3Jpcy5DaGFydC5WYWx1ZUxpbmU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AuMC4xNDg2LCBDdWx0dXJlPW5ldXRyYWwsIFB1YmxpY0tleVRva2VuPTE2ZmMxM2EyMjZjMGU5NTFdXQMAAACRAVN5c3RlbS5Db2xsZWN0aW9ucy5HZW5lcmljLkxpc3RgMVtbQXBsb3Jpcy5DaGFydC5WYWx1ZUxpbm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hwAAAAmIAAAACQYAAAAJAQAAAAmJAAAABSgAAACbAUFwbG9yaXMuQmFzZS5PYmplY3RzLkRhdGFPYmplY3RDb2xsZWN0aW9uYDFbW0FwbG9yaXMuQ2hhcnQuQXhpc0JyZWFr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wLjAuMTQ4NiwgQ3VsdHVyZT1uZXV0cmFsLCBQdWJsaWNLZXlUb2tlbj0xNmZjMTNhMjI2YzBlOTUxXV0DAAAAkQFTeXN0ZW0uQ29sbGVjdGlvbnMuR2VuZXJpYy5MaXN0YDFbW0FwbG9yaXMuQ2hhcnQuQXhpc0JyZWF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YoAAAAJiwAAAAkGAAAACQEAAAAJjAAAAAUp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IAAAADAAAACWMAAAAJZAAAAAllAAAAAQAAAAAKBo0AAAABJQlmAAAAAQAAAAoAAAAAAAAAAAUsAAAAmgFBcGxvcmlzLkJhc2UuT2JqZWN0cy5EYXRhT2JqZWN0Q29sbGVjdGlvbmAxW1tBcGxvcmlzLkNoYXJ0LlRpY2tNYXJr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AuMC4xNDg2LCBDdWx0dXJlPW5ldXRyYWwsIFB1YmxpY0tleVRva2VuPTE2ZmMxM2EyMjZjMGU5NTFdXQMAAACQAVN5c3RlbS5Db2xsZWN0aW9ucy5HZW5lcmljLkxpc3RgMVtbQXBsb3Jpcy5DaGFydC5UaWNrTWFy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OAAAACY8AAAAJBgAAAAkBAAAACZAAAAAFLw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RAAAAIAAAAEGoLkLaB45DAZIAAAAgAAAA0OUdRNoHjkMJkwAAALgBAAD/////AQEKCZQAAAABAAoABzAAAAAAAQAAAAUAAAAEFVN5c3RlbS5EcmF3aW5nLlBvaW50RgQAAAABlQAAACAAAADQpR5E2geOQwGWAAAAIAAAAEGoLkI3/JVDAZcAAAAgAAAAVNCoQzf8lUMBmAAAACAAAADQ5R1EN/yVQwGZAAAAIAAAANClHkTah5BDBzEAAAAAAQAAAAUAAAAEF0FwbG9yaXMuQmFzZS5BbmNob3JNb2RlAwAAAAWaAAAAF0FwbG9yaXMuQmFzZS5BbmNob3JNb2RlAQAAAAd2YWx1ZV9fAAgDAAAABAAAAAGbAAAAmgAAAAUAAAABnAAAAJoAAAADAAAAAZ0AAACaAAAABgAAAAGeAAAAmgAAAAUAAAAPMgAAAAUAAAABAAAAAAEFMwAAABVBcGxvcmlzLkJhc2UuVUkuTGFiZWwcAAAAD21BbmNob3JQb3NpdGlvbgttQW5jaG9yTW9kZQ9tQWRkSW5uZXJNYXJnaW4WbU9mZnNldERpcmVjdGlvbkFuY2hvchdtT2Zmc2V0T3J0aG9nb25hbEFuY2hvcgttVGV4dEZvcm1hdAltUm90YXRpb24KbUJhY2tDb2xvcg1tVXNlQmFja0NvbG9yDm1Vc2V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BAQEAAEDAwEAAAAABwIAAAMA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MAAAABnwAAACAAAADQpR5E2geOQwGgAAAAmgAAAAQAAAAAAAAAAAAAAAAJoQAAAAAAAAAJogAAAAAABaMAAAAqQXBsb3Jpcy5CYXNlLlVJLkxhYmVsK0xpbmVBbGlnbm1lbnRPcHRpb25zAQAAAAd2YWx1ZV9fAAgDAAAAAAAAAAGkAAAAbAAAAAAAAAAAAAAAAaUAAAAUAAAAAAAAAAAAAAAAAAAAAAAAAAAAAAAGpgAAAA1DYXRlZ29yeSBheGlzCgmnAAAACaYAAADkAgAA/////wABCgmoAAAAAQAKAQE0AAAAJAAAAAmpAAAABgAAAAYAAAABNQAAACUAAAAJqgAAAAIAAAACAAAAATcAAAAnAAAACgmrAAAACawAAAAJBwAAAAkBAAAACa0AAAABOAAAACgAAAAKCa4AAAAJrwAAAAkHAAAACQEAAAAJsAAAAAU5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iAAAAAwAAAAljAAAACWQAAAAJZQAAAAEAAAAACgmNAAAACWYAAAAAAAAACgAAAAAA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EAAAABCWIAAAADAAAACWMAAAAJZAAAAAllAAAAAQAAAAAKBrEAAAABJQlmAAAAAAAAAAoAAAAAAA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BAAAAAQliAAAAAwAAAAljAAAACWQAAAAJZQAAAAEAAAAACgmNAAAACWYAAAABAAAACgAAAAAAAAAAATwAAAAsAAAACgmyAAAACbMAAAAJBwAAAAkBAAAACbQAAAABPwAAAC8AAAABtQAAACAAAABBqC5C2geOQwG2AAAAIAAAAEGoLkJeM3lBCbcAAAC4AQAA/////wEBCgm4AAAAAQAKAAdAAAAAAAEAAAAFAAAABBVTeXN0ZW0uRHJhd2luZy5Qb2ludEYEAAAAAbkAAAAgAAAAQaguQoztIUEBugAAACAAAAAu/yRB2geOQwG7AAAAIAAAAC7/JEF10RVDAbwAAAAgAAAALv8kQV4zeUEBvQAAACAAAAAu/yRBjO0hQQdBAAAAAAEAAAAFAAAABBdBcGxvcmlzLkJhc2UuQW5jaG9yTW9kZQMAAAABvgAAAJoAAAABAAAAAb8AAACaAAAACAAAAAHAAAAAmgAAAAIAAAABwQAAAJoAAAAGAAAAAcIAAACaAAAABwAAAA9CAAAABQAAAAEAAAAAAQFDAAAAMwAAAAHDAAAAIAAAAEGoLkKM7SFBAcQAAACaAAAAAQAAAAAAAAAAAAAAAAnFAAAAAAAAAAnGAAAAAAABxwAAAKMAAAAAAAAAAcgAAABsAAAAAAAAAAAAAAAByQAAABQAAAAAAAAAAAAAAAAAAAAAAAAAAAAAAAbKAAAAClZhbHVlIGF4aXMKCcsAAAAJygAAAOQCAAD/////AAEKCcwAAAABAAoBAUQAAAAkAAAACc0AAAAHAAAABwAAAAFFAAAAJQAAAAnOAAAAAgAAAAIAAAAHRgAAAAABAAAAAAAAAAQuQXBsb3Jpcy5DaGFydC5Db2x1bW5PcmllbnRlZENoYXJ0K1VudXNlZFNlcmllcwIAAAAERw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zwAAAAMAAABOAQAAAUgAAAAkAAAACdAAAAADAAAAewAAAAFJAAAAJQAAAAnRAAAAAAAAAAAAAAAESg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dIAAAAAAAAAAAAAAAFLAAAAJAAAAAnTAAAAAAAAAAAAAAABTAAAACUAAAAJ0QAAAAAAAAAAAAAABE0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dQAAAAAAAAAAAAAAAFOAAAAJAAAAAnTAAAAAAAAAAAAAAABTwAAACUAAAAJ0QAAAAAAAAAAAAAABFA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VAAAABAAAACwAAAABUQAAACQAAAAJ1gAAAAQAAAAcAAAAAVIAAAAlAAAACdEAAAAAAAAAAAAAAART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1wAAAAAAAAAAAAAAAVQAAAAkAAAACdMAAAAAAAAAAAAAAAFVAAAAJQAAAAnRAAAAAAAAAAAAAAAEVg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dgAAAAAAAAAAAAAAAFXAAAAJAAAAAnTAAAAAAAAAAAAAAABWAAAACUAAAAJ0QAAAAAAAAAAAAAABFk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ZAAAAAAAAAAAAAAABWgAAACQAAAAJ0wAAAAAAAAAAAAAAAVsAAAAlAAAACdEAAAAAAAAAAAAAAARc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aAAAAAAAAAAAAAAABXQAAACQAAAAJ0wAAAAAAAAAAAAAAAV4AAAAlAAAACdEAAAAAAAAAAAAAAARf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dsAAAAAAAAAAAAAAAFgAAAAJAAAAAnTAAAAAAAAAAAAAAABYQAAACUAAAAJ0QAAAAAAAAAAAAAABWo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3AAAAAndAAAAAQAAAP7///8BAAAAAQAAAAEAAAABAAAAAQAAAAEAAAAAAAEFaw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eAAAACd8AAAABAAAAAAAAAAAAAAAAAAAAAAEFbwAAAB9BcGxvcmlzLkJhc2UuT2JqZWN0cy5QZXJzSWREYXRhAgAAAANtSWQLbUN1c3RvbURhdGEHAggDAAAACeAAAAAKBXIAAAAaQXBsb3Jpcy5CYXNlLk9iamVjdHMuQ29sb3IHAAAAEkRhdGFPYmplY3QrbVBhcmVudBVEYXRhT2JqZWN0K21Db250YWluZXIFbVR5cGUEbVJHQhBtVGhlbWVDb2xvckluZGV4DG1BdXRvVXBkYXRlZAltTW9kaWZpZWQCAgAAAAAACAgIAQEDAAAACgoAAAAAAAAAAA0AAAAAAQFzAAAAcgAAAAoKAQAAAAAAAAD/////AAEHhQAAAAABAAAAEAAAAAQfQXBsb3Jpcy5CYXNlLk9iamVjdHMuRGF0YU9iamVjdAMAAAAJCQAAAAkKAAAACQsAAAAJDAAAAAkQAAAACREAAAAJDQAAAAkOAAAACQ8AAAAJBwAAAAkGAAAACRcAAAANBAeGAAAAAAEAAAAEAAAABBxBcGxvcmlzLkJhc2UuVUkuVmlzdWFsT2JqZWN0AwAAAAkbAAAADQMEhwAAAJEBU3lzdGVtLkNvbGxlY3Rpb25zLkdlbmVyaWMuTGlzdGAxW1tBcGxvcmlzLkNoYXJ0LlZhbHVlTGluZSwgQXBsb3Jpcy5DaGFydCwgVmVyc2lvbj00LjAuMC4xNDg2LCBDdWx0dXJlPW5ldXRyYWwsIFB1YmxpY0tleVRva2VuPTE2ZmMxM2EyMjZjMGU5NTFdXQMAAAAGX2l0ZW1zBV9zaXplCF92ZXJzaW9uBAAAGUFwbG9yaXMuQ2hhcnQuVmFsdWVMaW5lW10CAAAACAgJ4QAAAAAAAAAAAAAAAYgAAAAkAAAACdMAAAAAAAAAAAAAAAGJAAAAJQAAAAnRAAAAAAAAAAAAAAAEigAAAJEBU3lzdGVtLkNvbGxlY3Rpb25zLkdlbmVyaWMuTGlzdGAxW1tBcGxvcmlzLkNoYXJ0LkF4aXNCcmVhaywgQXBsb3Jpcy5DaGFydCwgVmVyc2lvbj00LjAuMC4xNDg2LCBDdWx0dXJlPW5ldXRyYWwsIFB1YmxpY0tleVRva2VuPTE2ZmMxM2EyMjZjMGU5NTFdXQMAAAAGX2l0ZW1zBV9zaXplCF92ZXJzaW9uBAAAGUFwbG9yaXMuQ2hhcnQuQXhpc0JyZWFrW10CAAAACAgJ4gAAAAAAAAAAAAAAAYsAAAAkAAAACdMAAAAAAAAAAAAAAAGMAAAAJQAAAAnRAAAAAAAAAAAAAAAEjgAAAJABU3lzdGVtLkNvbGxlY3Rpb25zLkdlbmVyaWMuTGlzdGAxW1tBcGxvcmlzLkNoYXJ0LlRpY2tNYXJrLCBBcGxvcmlzLkNoYXJ0LCBWZXJzaW9uPTQuMC4wLjE0ODYsIEN1bHR1cmU9bmV1dHJhbCwgUHVibGljS2V5VG9rZW49MTZmYzEzYTIyNmMwZTk1MV1dAwAAAAZfaXRlbXMFX3NpemUIX3ZlcnNpb24EAAAYQXBsb3Jpcy5DaGFydC5UaWNrTWFya1tdAgAAAAgICeMAAAAAAAAAAAAAAAGPAAAAJAAAAAnTAAAAAAAAAAAAAAABkAAAACUAAAAJ0QAAAAAAAAAAAAAAAZMAAABqAAAACgoAAABAPwnkAAAACeUAAAABAAAA/v///wAAAAABAAAAAAAAAAAAAAABAAAAAAAAAAAAAAGUAAAAbwAAAAnmAAAACgWh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QEEJcAAAAAlxAAAACecAAAABAAnoAAAAAaIAAAByAAAACgoBAAAAAAAAAP////8AAQSnAAAAlgFTeXN0ZW0uQ29sbGVjdGlvbnMuR2VuZXJpYy5MaXN0YDFbW0FwbG9yaXMuQmFzZS5PYmplY3RzLlZhcmlhYmxlLCBBcGxvcmlzLkJhc2UsIFZlcnNpb249NC4wLjAuMTQ4NiwgQ3VsdHVyZT1uZXV0cmFsLCBQdWJsaWNLZXlUb2tlbj0xNmZjMTNhMjI2YzBlOTUxXV0DAAAABl9pdGVtcwVfc2l6ZQhfdmVyc2lvbgQAAB9BcGxvcmlzLkJhc2UuT2JqZWN0cy5WYXJpYWJsZVtdAwAAAAgICekAAAAAAAAAAAAAAAGoAAAAbwAAAAnqAAAACgepAAAAAAEAAAAIAAAABB9BcGxvcmlzLkJhc2UuT2JqZWN0cy5EYXRhT2JqZWN0AwAAAAkpAAAACSoAAAAJKwAAAAksAAAACScAAAAJKAAAAAoKB6oAAAAAAQAAAAQAAAAEHEFwbG9yaXMuQmFzZS5VSS5WaXN1YWxPYmplY3QDAAAACS8AAAAJMwAAAAoKAasAAACHAAAACeEAAAAAAAAAAAAAAAGsAAAAJAAAAAnTAAAAAAAAAAAAAAABrQAAACUAAAAJ0QAAAAAAAAAAAAAAAa4AAACKAAAACeIAAAAAAAAAAAAAAAGvAAAAJAAAAAnTAAAAAAAAAAAAAAABsAAAACUAAAAJ0QAAAAAAAAAAAAAAAbIAAACOAAAACesAAAALAAAAIQAAAAGzAAAAJAAAAAnsAAAACwAAACEAAAABtAAAACUAAAAJ0QAAAAAAAAAAAAAAAbcAAABqAAAACgoAAABAPwntAAAACe4AAAABAAAA/v///wAAAAABAAAAAAAAAAAAAAABAAAAAAAAAAAAAAG4AAAAbwAAAAnvAAAACgXF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QEEJcAAAAAlxAAAACfAAAAABAAnxAAAAAcYAAAByAAAACgoBAAAAAAAAAP////8AAQHLAAAApwAAAAnpAAAAAAAAAAAAAAABzAAAAG8AAAAJ8gAAAAoHzQAAAAABAAAACAAAAAQfQXBsb3Jpcy5CYXNlLk9iamVjdHMuRGF0YU9iamVjdAMAAAAJOQAAAAk6AAAACTsAAAAJPAAAAAk3AAAACTgAAAAJ8wAAAAoHzgAAAAABAAAABAAAAAQcQXBsb3Jpcy5CYXNlLlVJLlZpc3VhbE9iamVjdAMAAAAJPwAAAAlDAAAACgoHzwAAAAABAAAAIAAAAAQdQXBsb3Jpcy5DaGFydC5DaGFydERhdGFTZXJpZXMCAAAACfQAAAAJ9QAAAAn2AAAADR0H0AAAAAABAAAAIAAAAAQfQXBsb3Jpcy5CYXNlLk9iamVjdHMuRGF0YU9iamVjdAMAAAAJ9gAAAAn1AAAACfQAAAANHQfRAAAAAAEAAAAAAAAABBxBcGxvcmlzLkJhc2UuVUkuVmlzdWFsT2JqZWN0AwAAAAfSAAAAAAEAAAAAAAAABCJBcGxvcmlzLkNoYXJ0LkFubm90YXRpb25EYXRhU2VyaWVzAgAAAAfTAAAAAAEAAAAAAAAABB9BcGxvcmlzLkJhc2UuT2JqZWN0cy5EYXRhT2JqZWN0AwAAAAfUAAAAAAEAAAAAAAAABB1BcGxvcmlzLkNoYXJ0LkFubm90YXRpb25Hcm91cAIAAAAH1QAAAAABAAAAEAAAAAQcQXBsb3Jpcy5DaGFydC5DaGFydERhdGFHcm91cAIAAAAJ9wAAAAn4AAAACfkAAAAJ+gAAAA0MB9YAAAAAAQAAABAAAAAEH0FwbG9yaXMuQmFzZS5PYmplY3RzLkRhdGFPYmplY3QDAAAACfcAAAAJ+QAAAAn4AAAACfoAAAANDAfXAAAAAAEAAAAAAAAABBZBcGxvcmlzLkNoYXJ0LkRlbHRhQmFyAgAAAAfYAAAAAAEAAAAAAAAABBlBcGxvcmlzLkNoYXJ0LkRlbHRhQnJpZGdlAgAAAAfZAAAAAAEAAAAAAAAABBlBcGxvcmlzLkNoYXJ0Lkdyb3d0aEFycm93AgAAAAfaAAAAAAEAAAAAAAAABCBBcGxvcmlzLkNoYXJ0LldhdGVyZmFsbENvbm5lY3RvcgIAAAAH2wAAAAABAAAAAAAAAAQeQXBsb3Jpcy5DaGFydC5FbGVtZW50Q29ubmVjdG9yAgAAAAHcAAAAcgAAAAoKAAAAAAAAAAANAAAAAAEB3QAAAHIAAAAKCgEAAAAAAAAA/////wABAd4AAAByAAAACgoBAAAA////AP////8AAQHfAAAAcgAAAAoKAQAAAAAAAAD/////AAEP4AAAAAEAAAAIAAAAAAfhAAAAAAEAAAAAAAAABBdBcGxvcmlzLkNoYXJ0LlZhbHVlTGluZQIAAAAH4gAAAAABAAAAAAAAAAQXQXBsb3Jpcy5DaGFydC5BeGlzQnJlYWsCAAAAB+MAAAAAAQAAAAAAAAAEFkFwbG9yaXMuQ2hhcnQuVGlja01hcmsCAAAABeQAAAAaQXBsb3Jpcy5CYXNlLk9iamVjdHMuQ29sb3IHAAAAEkRhdGFPYmplY3QrbVBhcmVudBVEYXRhT2JqZWN0K21Db250YWluZXIFbVR5cGUEbVJHQhBtVGhlbWVDb2xvckluZGV4DG1BdXRvVXBkYXRlZAltTW9kaWZpZWQEAgAAAAAAH0FwbG9yaXMuQmFzZS5PYmplY3RzLkxpbmVGb3JtYXQDAAAACAgIAQEDAAAACZMAAAAKAAAAAAAAAAANAAAAAAAF5QAAABpBcGxvcmlzLkJhc2UuT2JqZWN0cy5Db2xvcgcAAAASRGF0YU9iamVjdCttUGFyZW50FURhdGFPYmplY3QrbUNvbnRhaW5lcgVtVHlwZQRtUkdCEG1UaGVtZUNvbG9ySW5kZXgMbUF1dG9VcGRhdGVkCW1Nb2RpZmllZAQCAAAAAAAfQXBsb3Jpcy5CYXNlLk9iamVjdHMuTGluZUZvcm1hdAMAAAAICAgBAQMAAAAJkwAAAAoBAAAAAAAAAP////8AAQ/mAAAAAQAAAAgmAwAAAecAAAByAAAACgoAAAAAAAAAAA0AAAAAAQHoAAAAcgAAAAoKAQAAAAAAAAD/////AAEH6QAAAAABAAAAAAAAAAQdQXBsb3Jpcy5CYXNlLk9iamVjdHMuVmFyaWFibGUDAAAAD+oAAAABAAAACAAAAAAH6wAAAAABAAAAEAAAAAQWQXBsb3Jpcy5DaGFydC5UaWNrTWFyawIAAAAJ+wAAAAn8AAAACf0AAAAJ/gAAAAn/AAAACQABAAAJAQEAAAkCAQAACQMBAAAJBAEAAAkFAQAADQUH7AAAAAABAAAAEAAAAAQfQXBsb3Jpcy5CYXNlLk9iamVjdHMuRGF0YU9iamVjdAMAAAAJ+wAAAAn8AAAACf0AAAAJ/gAAAAn/AAAACQABAAAJAQEAAAkCAQAACQMBAAAJBAEAAAkFAQAADQUF7QAAABpBcGxvcmlzLkJhc2UuT2JqZWN0cy5Db2xvcgcAAAASRGF0YU9iamVjdCttUGFyZW50FURhdGFPYmplY3QrbUNvbnRhaW5lcgVtVHlwZQRtUkdCEG1UaGVtZUNvbG9ySW5kZXgMbUF1dG9VcGRhdGVkCW1Nb2RpZmllZAQCAAAAAAAfQXBsb3Jpcy5CYXNlLk9iamVjdHMuTGluZUZvcm1hdAMAAAAICAgBAQMAAAAJtwAAAAoAAAAAAAAAAA0AAAAAAAXuAAAAGkFwbG9yaXMuQmFzZS5PYmplY3RzLkNvbG9yBwAAABJEYXRhT2JqZWN0K21QYXJlbnQVRGF0YU9iamVjdCttQ29udGFpbmVyBW1UeXBlBG1SR0IQbVRoZW1lQ29sb3JJbmRleAxtQXV0b1VwZGF0ZWQJbU1vZGlmaWVkBAIAAAAAAB9BcGxvcmlzLkJhc2UuT2JqZWN0cy5MaW5lRm9ybWF0AwAAAAgICAEBAwAAAAm3AAAACgEAAAAAAAAA/////wABD+8AAAABAAAACCcDAAAB8AAAAHIAAAAKCgAAAAAAAAAADQAAAAABAfEAAAByAAAACgoBAAAAAAAAAP////8AAQ/yAAAAAQAAAAgAAAAABfM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IAAAADAAAACWMAAAAJZAAAAAllAAAAAQAAAAAKCY0AAAAJZgAAAAEAAAAKAAAAAAAAAAAF9AA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AuMC4xNDg2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AQYBAAATAAAAAAAAAAIAAAD/////CQcAAAAJBwEAAAYIAQAABUFncmVlCgoAAAAAAAAAAAAAAAAKCgAJCQEAAAkKAQAACQsBAAAAAAAAAAAAAAAAAAAAAAAAAAAJDAEAAAkBAAAACQEAAAAJDQEAAAH1AAAA9AAAAAkBAAAAAQ4BAAATAAAAAAAAAAMAAAD/////CQcAAAAJDwEAAAYQAQAAB05ldXRyYWwKCgAAAAAAAAAAAAAAAAoKAAkRAQAACRIBAAAJEwEAAAAAAAAAAQAAAAAAAAAAAAAAAAkUAQAACQEAAAAJAQAAAAkVAQAAAfYAAAD0AAAACQEAAAABFgEAABMAAAAAAAAABAAAAP////8JBwAAAAkXAQAABhgBAAAIRGlzYWdyZWUKCgAAAAAAAAAAAAAAAAoKAAkZAQAACRoBAAAJGwEAAAAAAAAAAgAAAAAAAAAAAAAAAAkcAQAACQEAAAAJAQAAAAkdAQAABfcA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GHgEAAAVUb3RhbAAFHwEAAB5BcGxvcmlzLkNoYXJ0LkNoYXJ0R3JvdXBBbmNob3IBAAAAB3ZhbHVlX18ACAIAAAAAAAAACgAAAAABAAAAAQAAAAkgAQAACSEBAAAJIgEAAAoJBwAAAAkjAQAACQEAAAAJAQAAAAkkAQAAAfgAAAD3AAAACQEAAAAGJQEAAAlJbnRlbnNpdmUAASYBAAAfAQAAAAAAAAoAAAAAAQAAAAEAAAAJJwEAAAkoAQAACSkBAAAKCQcAAAAJKgEAAAkBAAAACQEAAAAJKwEAAAH5AAAA9wAAAAkBAAAABiwBAAAITW9kZXJhdGUAAS0BAAAfAQAAAAAAAAoAAAAAAQAAAAEAAAAJLgEAAAkvAQAACTABAAAKCQcAAAAJMQEAAAkBAAAACQEAAAAJMgEAAAH6AAAA9wAAAAkBAAAABjMBAAAHTGltaXRlZAABNAEAAB8BAAAAAAAACgAAAAABAAAAAQAAAAk1AQAACTYBAAAJNwEAAAoJBwAAAAk4AQAACQEAAAAJAQAAAAk5AQAABfsAAAAWQXBsb3Jpcy5DaGFydC5UaWNrTWFyaw0AAAALbVZpc3VhbExpbmUJbUdyaWRMaW5lBm1MYWJlbAVtQXhpcwhtVmlzaWJsZQltUG9zaXRpb24LbVN0YXJ0UG9pbnQJbUVuZFBvaW50DG1IYXNHcmlkTGluZRhEYXRhT2JqZWN0K21DaGlsZE9iamVjdHMSRGF0YU9iamVjdCttUGFyZW50FURhdGFPYmplY3QrbUNvbnRhaW5lchlEYXRhT2JqZWN0K21WaXN1YWxPYmplY3RzBAQEBAAABAQAAwQEAxpBcGxvcmlzLkJhc2UuVUkuVmlzdWFsTGluZQMAAAAaQXBsb3Jpcy5CYXNlLlVJLlZpc3VhbExpbmUDAAAAFUFwbG9yaXMuQmFzZS5VSS5MYWJlbAMAAAASQXBsb3Jpcy5DaGFydC5BeGlzAgAAAAEGFVN5c3RlbS5EcmF3aW5nLlBvaW50RgQAAAAVU3lzdGVtLkRyYXdpbmcuUG9pbnRG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6AQAACgk7AQAACQcAAAABAAAAAAAAAAABPAEAACAAAABBqC5C2geOQwE9AQAAIAAAAEGoHkLaB45DAAk+AQAACQcAAAAJAQAAAAk/AQAAAfwAAAD7AAAACUABAAAKCUEBAAAJBwAAAAGamZmZmZm5PwFCAQAAIAAAAEGoLkI6m4BDAUMBAAAgAAAAQageQjqbgEMACUQBAAAJBwAAAAkBAAAACUUBAAAB/QAAAPsAAAAJRgEAAAoJRwEAAAkHAAAAAZqZmZmZmck/AUgBAAAgAAAAQaguQjRdZkMBSQEAACAAAABBqB5CNF1mQwAJSgEAAAkHAAAACQEAAAAJSwEAAAH+AAAA+wAAAAlMAQAACglNAQAACQcAAAABMzMzMzMz0z8BTgEAACAAAABBqC5C9YNLQwFPAQAAIAAAAEGoHkL1g0tDAAlQAQAACQcAAAAJAQAAAAlRAQAAAf8AAAD7AAAACVIBAAAKCVMBAAAJBwAAAAGamZmZmZnZPwFUAQAAIAAAAEGoLkK1qjBDAVUBAAAgAAAAQageQrWqMEMACVYBAAAJBwAAAAkBAAAACVcBAAABAAEAAPsAAAAJWAEAAAoJWQEAAAkHAAAAAQAAAAAAAOA/AVoBAAAgAAAAQaguQnXRFUMBWwEAACAAAABBqB5CddEVQwAJXAEAAAkHAAAACQEAAAAJXQEAAAEBAQAA+wAAAAleAQAACglfAQAACQcAAAABMzMzMzMz4z8BYAEAACAAAABBqC5CavD1QgFhAQAAIAAAAEGoHkJq8PVCAAliAQAACQcAAAAJAQAAAAljAQAAAQIBAAD7AAAACWQBAAAKCWUBAAAJBwAAAAFmZmZmZmbmPwFmAQAAIAAAAEGoLkLrPcBCAWcBAAAgAAAAQageQus9wEIACWgBAAAJBwAAAAkBAAAACWkBAAABAwEAAPsAAAAJagEAAAoJawEAAAkHAAAAAZqZmZmZmek/AWwBAAAgAAAAQaguQmuLikIBbQEAACAAAABBqB5Ca4uKQgAJbgEAAAkHAAAACQEAAAAJbwEAAAEEAQAA+wAAAAlwAQAACglxAQAACQcAAAABzczMzMzM7D8BcgEAACAAAABBqC5C17EpQgFzAQAAIAAAAEGoHkLXsSlCAAl0AQAACQcAAAAJAQAAAAl1AQAAAQUBAAD7AAAACXYBAAAKCXcBAAAJBwAAAAEAAAAAAADwPwF4AQAAIAAAAEGoLkJeM3lBAXkBAAAgAAAAQageQl4zeUEACXoBAAAJBwAAAAkBAAAACXsBAAAFBwEAAKIBQXBsb3Jpcy5CYXNlLk9iamVjdHMuRGF0YU9iamVjdENvbGxlY3Rpb25gMVtbQXBsb3Jpcy5DaGFydC5DaGFydERhdGF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C4wLjE0ODYsIEN1bHR1cmU9bmV1dHJhbCwgUHVibGljS2V5VG9rZW49MTZmYzEzYTIyNmMwZTk1MV1dAwAAAJgBU3lzdGVtLkNvbGxlY3Rpb25zLkdlbmVyaWMuTGlzdGAxW1tBcGxvcmlzLkNoYXJ0LkNoYXJ0RGF0YU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fAEAAAl9AQAACfQAAAAJAQAAAAl+AQAABQkBAAAcQXBsb3Jpcy5DaGFydC5Db25uZWN0ZWRMYWJlbCQAAAAObUNvbm5lY3RvckxpbmUQbVpPcmRlckNvbm5lY3Rvcg5tQ29ubmVjdG9yTW9kZRltQW5nbGVkQ29ubmVjdG9yRGlyZWN0aW9uEG1Db25uZWN0b3JUYXJnZXQZbUNvbm5lY3RvclRhcmdldEFyZWFTaGFwZRptQ29ubmVjdG9yRGlzcGxheVRocmVzaG9sZBNtQ29ubmVjdEFuY2hvclBvaW5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QEAAAABAAE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gAAAApYAgAABX8BAAArQXBsb3Jpcy5DaGFydC5Db25uZWN0ZWRMYWJlbCtlQ29ubmVjdG9yTW9kZQEAAAAHdmFsdWVfXwAIAgAAAAEAAAAFgAEAADZBcGxvcmlzLkNoYXJ0LkNvbm5lY3RlZExhYmVsK2VBbmdsZWRDb25uZWN0b3JEaXJlY3Rpb24BAAAAB3ZhbHVlX18ACAIAAAAAAAAAAYEBAAAUAAAAxcoARFwPg0MguqtC4IeXQQWCAQAALUFwbG9yaXMuQ2hhcnQuQ29ubmVjdGVkTGFiZWwrZVRhcmdldEFyZWFTaGFwZQEAAAAHdmFsdWVfXwAIAgAAAAAAAAAAABBBAQGDAQAAIAAAAAlCGESby4dDAYQBAACaAAAABAAAAAAAAAAAAAAAAAmFAQAAAAAAAAmGAQAAAAABhwEAAKMAAAAAAAAAAYgBAABsAAAAAAAMQgAAYEEBiQEAABQAAAAAAAAAAAAAAAAAAAAAAAAAXrrZPwkIAQAACgmKAQAABosBAAAAIAMAAP////8AAQoJjAEAAAEACgEHCgEAAAABAAAAAgAAAAQVU3lzdGVtLkRyYXdpbmcuUG9pbnRGBAAAAAGNAQAAIAAAAAlCGESby4dDAY4BAAAgAAAAQagaQvJigEMHCwEAAAABAAAAAgAAAAQXQXBsb3Jpcy5CYXNlLkFuY2hvck1vZGUDAAAAAY8BAACaAAAABAAAAAGQAQAAmgAAAAIAAAABDAEAACQAAAAJkQEAAAEAAAABAAAAAQ0BAAAlAAAACZIBAAABAAAAAQAAAAEPAQAABwEAAAoJkwEAAAmUAQAACfUAAAAJAQAAAAmVAQAAAREBAAAJAQAAClgCAAABlgEAAH8BAAABAAAAAZcBAACAAQAAAAAAAAGYAQAAFAAAAMXKAETI4ONCILqrQlQuDkMBmQEAAIIBAAAAAAAAAAAQQQEBmgEAACAAAAAJQhhEjgc5QwGbAQAAmgAAAAQAAAAAAAAAAAAAAAAJnAEAAAAAAAAJnQEAAAAAAZ4BAACjAAAAAAAAAAGfAQAAbAAAAAAAKEIAAGBBAaABAAAUAAAAAAAAAAAAAAAAAAAAAAAAAF662T8JEAEAAAoJoQEAAAmLAQAAIAMAAP////8AAQoJogEAAAEACgEHEgEAAAABAAAAAgAAAAQVU3lzdGVtLkRyYXdpbmcuUG9pbnRGBAAAAAGjAQAAIAAAAAlCGESOBzlDAaQBAAAgAAAAQagaQtZyHUMHEwEAAAABAAAAAgAAAAQXQXBsb3Jpcy5CYXNlLkFuY2hvck1vZGUDAAAAAaUBAACaAAAABAAAAAGmAQAAmgAAAAIAAAABFAEAACQAAAAJpwEAAAEAAAABAAAAARUBAAAlAAAACagBAAABAAAAAQAAAAEXAQAABwEAAAoJqQEAAAmqAQAACfYAAAAJAQAAAAmrAQAAARkBAAAJAQAAClgCAAABrAEAAH8BAAABAAAAAa0BAACAAQAAAAAAAAGuAQAAFAAAAMXKAESvmZRBILqrQly6skIBrwEAAIIBAAAAAAAAAAAQQQEBsAEAACAAAAAJQhhENAd9QgGxAQAAmgAAAAQAAAAAAAAAAAAAAAAJsgEAAAAAAAAJswEAAAAAAbQBAACjAAAAAAAAAAG1AQAAbAAAAAAAUEIAAGBBAbYBAAAUAAAAAAAAAAAAAAAAAAAAAAAAAF662T8JGAEAAAoJtwEAAAmLAQAAIAMAAP////8AAQoJuAEAAAEACgEHGgEAAAABAAAAAgAAAAQVU3lzdGVtLkRyYXdpbmcuUG9pbnRGBAAAAAG5AQAAIAAAAAlCGEQ0B31CAboBAAAgAAAAQagaQqL5SUIHGwEAAAABAAAAAgAAAAQXQXBsb3Jpcy5CYXNlLkFuY2hvck1vZGUDAAAAAbsBAACaAAAABAAAAAG8AQAAmgAAAAIAAAABHAEAACQAAAAJvQEAAAEAAAABAAAAAR0BAAAlAAAACb4BAAABAAAAAQAAAA8gAQAAAQAAAAgAAAAAByEBAAAAAQAAAAEAAAAEFUFwbG9yaXMuQmFzZS5VSS5MYWJlbAMAAAAJvwEAAAEiAQAAMwAAAAHAAQAAIAAAAGxP6kLah5BDAcEBAACaAAAAAwAAAAAAAAAAAAAAAAnCAQAAAAAAAAnDAQAAAAABxAEAAKMAAAAAAAAAAcUBAABsAAAAAADIQQAAQEEBxgEAABQAAABGF9FCo4uQQ9ehzUGjiy5BEoO+PwkeAQAACgnHAQAACYsBAAAgAwAA/////wEBCgnIAQAAAQAKAAEjAQAAJAAAAAnTAAAAAAAAAAAAAAABJAEAACUAAAAJyQEAAAIAAAAMAAAADycBAAABAAAACAAAAAAHKAEAAAABAAAAAQAAAAQVQXBsb3Jpcy5CYXNlLlVJLkxhYmVsAwAAAAnKAQAAASkBAAAzAAAAAcsBAAAgAAAAgRGEQ9qHkEMBzAEAAJoAAAADAAAAAAAAAAAAAAAACc0BAAAAAAAACc4BAAAAAAHPAQAAowAAAAAAAAAB0AEAAGwAAAAAADhCAABAQQHRAQAAFAAAAHTRcUOji5BDAi4zQqOLLkESg74/CSUBAAAKCdIBAAAJiwEAACADAAD/////AQEKCdMBAAABAAoAASoBAAAkAAAACdQBAAAAAAAAAAAAAAErAQAAJQAAAAnVAQAAAgAAAAQAAAAPLgEAAAEAAAAIAAAAAAcvAQAAAAEAAAABAAAABBVBcGxvcmlzLkJhc2UuVUkuTGFiZWwDAAAACdYBAAABMAEAADMAAAAB1wEAACAAAAAnj81D2oeQQwHYAQAAmgAAAAMAAAAAAAAAAAAAAAAJ2QEAAAAAAAAJ2gEAAAAAAdsBAACjAAAAAAAAAAHcAQAAbAAAAAAAQEIAAEBBAd0BAAAUAAAARhfCQ6OLkEPUczpCo4suQRKDvj8JLAEAAAoJ3gEAAAmLAQAAIAMAAP////8BAQoJ3wEAAAEACgABMQEAACQAAAAJ4AEAAAAAAAAAAAAAATIBAAAlAAAACeEBAAACAAAABAAAAA81AQAAAQAAAAgAAAAABzYBAAAAAQAAAAEAAAAEFUFwbG9yaXMuQmFzZS5VSS5MYWJlbAMAAAAJ4gEAAAE3AQAAMwAAAAHjAQAAIAAAAGeGC0Tah5BDAeQBAACaAAAAAwAAAAAAAAAAAAAAAAnlAQAAAAAAAAnmAQAAAAAB5wEAAKMAAAAAAAAAAegBAABsAAAAAAAUQgAAQEEB6QEAABQAAAAAAAdEo4uQQ9RzEkKjiy5BEoO+PwkzAQAACgnqAQAACYsBAAAgAwAA/////wEBCgnrAQAAAQAKAAE4AQAAJAAAAAnsAQAAAAAAAAAAAAABOQEAACUAAAAJ7QEAAAIAAAACAAAAAToBAAAvAAAAAe4BAAAgAAAAQaguQtoHjkMB7wEAACAAAABBqB5C2geOQwnwAQAAzAEAAP////8BAQoJ8QEAAAEACgABOwEAADMAAAAB8gEAACAAAABBqBhC2geOQwHzAQAAmgAAAAIAAAAAAAAAAAAAAAAJ9AEAAAAAAAAJ9QEAAAAAAfYBAACjAAAAAAAAAAH3AQAAbAAAAAAAgEEAAEBBAfgBAAAUAAAAo4uuQUYXi0N6LYxBo4suQRKDvj8G+QEAAAIwJQoJ+gEAAAmLAQAA0AIAAP////8BAQoJ+wEAAAEACgABPgEAACQAAAAJ0wAAAAAAAAAAAAAAAT8BAAAlAAAACfwBAAACAAAAAgAAAAFAAQAALwAAAAH9AQAAIAAAAEGoLkI6m4BDAf4BAAAgAAAAQageQjqbgEMJ/wEAAMwBAAD/////AQEKCQACAAABAAoAAUEBAAAzAAAAAQECAAAgAAAAQagYQjqbgEMBAgIAAJoAAAACAAAAAAAAAAAAAAAACQMCAAAAAAAACQQCAAAAAAEFAgAAowAAAAAAAAABBgIAAGwAAAAAALhBAABAQQEHAgAAFAAAANFFd0F00XtDNBa/QaOLLkESg74/BggCAAADMTAlCgkJAgAACYsBAADQAgAA/////wEBCgkKAgAAAQAKAAFEAQAAJAAAAAnTAAAAAAAAAAAAAAABRQEAACUAAAAJCwIAAAIAAAACAAAAAUYBAAAvAAAAAQwCAAAgAAAAQaguQjRdZkMBDQIAACAAAABBqB5CNF1mQwkOAgAAzAEAAP////8BAQoJDwIAAAEACgABRwEAADMAAAABEAIAACAAAABBqBhCNF1mQwERAgAAmgAAAAIAAAAAAAAAAAAAAAAJEgIAAAAAAAAJEwIAAAAAARQCAACjAAAAAAAAAAEVAgAAbAAAAAAAuEEAAEBBARYCAAAUAAAA0UV3QaOLYEM0Fr9Bo4suQRKDvj8GFwIAAAMyMCUKCRgCAAAJiwEAANACAAD/////AQEKCRkCAAABAAoAAUoBAAAkAAAACdMAAAAAAAAAAAAAAAFLAQAAJQAAAAkaAgAAAgAAAAIAAAABTAEAAC8AAAABGwIAACAAAABBqC5C9YNLQwEcAgAAIAAAAEGoHkL1g0tDCR0CAADMAQAA/////wEBCgkeAgAAAQAKAAFNAQAAMwAAAAEfAgAAIAAAAEGoGEL1g0tDASACAACaAAAAAgAAAAAAAAAAAAAAAAkhAgAAAAAAAAkiAgAAAAABIwIAAKMAAAAAAAAAASQCAABsAAAAAAC4QQAAQEEBJQIAABQAAADRRXdBiy5GQzQWv0Gjiy5BEoO+PwYmAgAAAzMwJQoJJwIAAAmLAQAA0AIAAP////8BAQoJKAIAAAEACgABUAEAACQAAAAJ0wAAAAAAAAAAAAAAAVEBAAAlAAAACSkCAAACAAAAAgAAAAFSAQAALwAAAAEqAgAAIAAAAEGoLkK1qjBDASsCAAAgAAAAQageQrWqMEMJLAIAAMwBAAD/////AQEKCS0CAAABAAoAAVMBAAAzAAAAAS4CAAAgAAAAQagYQrWqMEMBLwIAAJoAAAACAAAAAAAAAAAAAAAACTACAAAAAAAACTECAAAAAAEyAgAAowAAAAAAAAABMwIAAGwAAAAAALhBAABAQQE0AgAAFAAAANFFd0G66CpDNBa/QaOLLkESg74/BjUCAAADNDAlCgk2AgAACYsBAADQAgAA/////wEBCgk3AgAAAQAKAAFWAQAAJAAAAAnTAAAAAAAAAAAAAAABVwEAACUAAAAJOAIAAAIAAAACAAAAAVgBAAAvAAAAATkCAAAgAAAAQaguQnXRFUMBOgIAACAAAABBqB5CddEVQwk7AgAAzAEAAP////8BAQoJPAIAAAEACgABWQEAADMAAAABPQIAACAAAABBqBhCddEVQwE+AgAAmgAAAAIAAAAAAAAAAAAAAAAJPwIAAAAAAAAJQAIAAAAAAUECAACjAAAAAAAAAAFCAgAAbAAAAAAAuEEAAEBBAUMCAAAUAAAA0UV3QaOLEEM0Fr9Bo4suQRKDvj8GRAIAAAM1MCUKCUUCAAAJiwEAANACAAD/////AQEKCUYCAAABAAoAAVwBAAAkAAAACdMAAAAAAAAAAAAAAAFdAQAAJQAAAAlHAgAAAgAAAAIAAAABXgEAAC8AAAABSAIAACAAAABBqC5CavD1QgFJAgAAIAAAAEGoHkJq8PVCCUoCAADMAQAA/////wEBCglLAgAAAQAKAAFfAQAAMwAAAAFMAgAAIAAAAEGoGEJq8PVCAU0CAACaAAAAAgAAAAAAAAAAAAAAAAlOAgAAAAAAAAlPAgAAAAABUAIAAKMAAAAAAAAAAVECAABsAAAAAAC4QQAAQEEBUgIAABQAAADRRXdBo4vqQjQWv0Gjiy5BEoO+PwZTAgAAAzYwJQoJVAIAAAmLAQAA0AIAAP////8BAQoJVQIAAAEACgABYgEAACQAAAAJ0wAAAAAAAAAAAAAAAWMBAAAlAAAACVYCAAACAAAAAgAAAAFkAQAALwAAAAFXAgAAIAAAAEGoLkLrPcBCAVgCAAAgAAAAQageQus9wEIJWQIAAMwBAAD/////AQEKCVoCAAABAAoAAWUBAAAzAAAAAVsCAAAgAAAAQagYQus9wEIBXAIAAJoAAAACAAAAAAAAAAAAAAAACV0CAAAAAAAACV4CAAAAAAFfAgAAowAAAAAAAAABYAIAAGwAAAAAALhBAABAQQFhAgAAFAAAANFFd0F00bVCNBa/QaOLLkESg74/BmICAAADNzAlCgljAgAACYsBAADQAgAA/////wEBCglkAgAAAQAKAAFoAQAAJAAAAAnTAAAAAAAAAAAAAAABaQEAACUAAAAJZQIAAAIAAAACAAAAAWoBAAAvAAAAAWYCAAAgAAAAQaguQmuLikIBZwIAACAAAABBqB5Ca4uKQgloAgAAzAEAAP////8BAQoJaQIAAAEACgABawEAADMAAAABagIAACAAAABBqBhCa4uKQgFrAgAAmgAAAAIAAAAAAAAAAAAAAAAJbAIAAAAAAAAJbQIAAAAAAW4CAACjAAAAAAAAAAFvAgAAbAAAAAAAuEEAAEBBAXACAAAUAAAA0UV3QaOLfkI0Fr9Bo4suQRKDvj8GcQIAAAM4MCUKCXICAAAJiwEAANACAAD/////AQEKCXMCAAABAAoAAW4BAAAkAAAACdMAAAAAAAAAAAAAAAFvAQAAJQAAAAl0AgAAAgAAAAIAAAABcAEAAC8AAAABdQIAACAAAABBqC5C17EpQgF2AgAAIAAAAEGoHkLXsSlCCXcCAADMAQAA/////wEBCgl4AgAAAQAKAAFxAQAAMwAAAAF5AgAAIAAAAEGoGELXsSlCAXoCAACaAAAAAgAAAAAAAAAAAAAAAAl7AgAAAAAAAAl8AgAAAAABfQIAAKMAAAAAAAAAAX4CAABsAAAAAAC4QQAAQEEBfwIAABQAAADRRXdBRhcVQjQWv0Gjiy5BEoO+PwaAAgAAAzkwJQoJgQIAAAmLAQAA0AIAAP////8BAQoJggIAAAEACgABdAEAACQAAAAJ0wAAAAAAAAAAAAAAAXUBAAAlAAAACYMCAAACAAAAAgAAAAF2AQAALwAAAAGEAgAAIAAAAEGoLkJeM3lBAYUCAAAgAAAAQageQl4zeUEJhgIAAMwBAAD/////AQEKCYcCAAABAAoAAXcBAAAzAAAAAYgCAAAgAAAAQagYQl4zeUEBiQIAAJoAAAACAAAAAAAAAAAAAAAACYoCAAAAAAAACYsCAAAAAAGMAgAAowAAAAAAAAABjQIAAGwAAAAAAOhBAABAQQGOAgAAFAAAAAAAIEEAACBBHLnqQaOLLkESg74/Bo8CAAAEMTAwJQoJkAIAAAmLAQAA0AIAAP////8BAQoJkQIAAAEACgABegEAACQAAAAJ0wAAAAAAAAAAAAAAAXsBAAAlAAAACZICAAACAAAAAgAAAAR8AQAAmAFTeXN0ZW0uQ29sbGVjdGlvbnMuR2VuZXJpYy5MaXN0YDFbW0FwbG9yaXMuQ2hhcnQuQ2hhcnREYXRhRWxlbWVudCwgQXBsb3Jpcy5DaGFydCwgVmVyc2lvbj00LjAuMC4xNDg2LCBDdWx0dXJlPW5ldXRyYWwsIFB1YmxpY0tleVRva2VuPTE2ZmMxM2EyMjZjMGU5NTFdXQMAAAAGX2l0ZW1zBV9zaXplCF92ZXJzaW9uBAAAIEFwbG9yaXMuQ2hhcnQuQ2hhcnREYXRhRWxlbWVudFtdAgAAAAgICZMCAAAEAAAAEAAAAAF9AQAAJAAAAAmUAgAABAAAABAAAAABfgEAACUAAAAJlQIAAAAAAAAAAAAABYU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0AAAACgAAAAAAQEEJcAAAAAlxAAAACZYCAAABAAmXAgAAAYYBAAByAAAACgoAAAAA////AA4AAAAAAQGKAQAApwAAAAmYAgAAAQAAAAEAAAABjAEAAG8AAAAJmQIAAAoHkQEAAAABAAAABAAAAAQfQXBsb3Jpcy5CYXNlLk9iamVjdHMuRGF0YU9iamVjdAMAAAAJBwEAAA0DB5IBAAAAAQAAAAQAAAAEHEFwbG9yaXMuQmFzZS5VSS5WaXN1YWxPYmplY3QDAAAACQkBAAANAwGTAQAAfAEAAAmaAgAABAAAABAAAAABlAEAACQAAAAJmwIAAAQAAAAQAAAAAZUBAAAlAAAACZwCAAAAAAAAAAAAAAWc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QAAAAoAAAAAAEBBCXAAAAAJcQAAAAmdAgAAAQAJngIAAAGdAQAAcgAAAAoKAAAAAP///wAOAAAAAAEBoQEAAKcAAAAJnwIAAAEAAAABAAAAAaIBAABvAAAACaACAAAKB6cBAAAAAQAAAAQAAAAEH0FwbG9yaXMuQmFzZS5PYmplY3RzLkRhdGFPYmplY3QDAAAACQ8BAAANAweoAQAAAAEAAAAEAAAABBxBcGxvcmlzLkJhc2UuVUkuVmlzdWFsT2JqZWN0AwAAAAkRAQAADQMBqQEAAHwBAAAJoQIAAAQAAAAQAAAAAaoBAAAkAAAACaICAAAEAAAAEAAAAAGrAQAAJQAAAAmcAgAAAAAAAAAAAAAFs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YAAAAKAAAAAABAQQlwAAAACXEAAAAJowIAAAEACaQCAAABswEAAHIAAAAKCgAAAAD///8ADgAAAAABAbcBAACnAAAACaUCAAABAAAAAQAAAAG4AQAAbwAAAAmmAgAACge9AQAAAAEAAAAEAAAABB9BcGxvcmlzLkJhc2UuT2JqZWN0cy5EYXRhT2JqZWN0AwAAAAkXAQAADQMHvgEAAAABAAAABAAAAAQcQXBsb3Jpcy5CYXNlLlVJLlZpc3VhbE9iamVjdAMAAAAJGQEAAA0DAb8BAAAzAAAAAacCAAAgAAAAbE/qQl4zSUEBqAIAAJoAAAABAAAAAAAAAAAAAAAACakCAAAAAAAACaoCAAAAAAGrAgAAowAAAAAAAAABrAIAAGwAAAAAABxCAABAQQGtAgAAFAAAAAAAAAAAAAAAAAAAAAAAAAASg74/Bq4CAAAGMTAwLjAlCgmvAgAACYsBAAA0AwAA/////wABCgmwAgAAAQAKAAHCAQAAIgAAAAoKAAAAAAAoQQlwAAAACXEAAAAJsQIAAAAACbICAAABwwEAAHIAAAAKCgAAAAD///8ADgAAAAABAccBAACnAAAACbMCAAABAAAAAQAAAAHIAQAAbwAAAAm0AgAACgfJAQAAAAEAAAAEAAAABBxBcGxvcmlzLkJhc2UuVUkuVmlzdWFsT2JqZWN0AwAAAAkiAQAACb8BAAAKCgHKAQAAMwAAAAG1AgAAIAAAAIERhENeM0lBAbYCAACaAAAAAQAAAAAAAAAAAAAAAAm3AgAAAAAAAAm4AgAAAAABuQIAAKMAAAAAAAAAAboCAABsAAAAAAAcQgAAQEEBuwIAABQAAAAAAAAAAAAAAAAAAAAAAAAAEoO+Pwa8AgAABjEwMC4wJQoJvQIAAAmLAQAANAMAAP////8AAQoJvgIAAAEACgABzQEAACIAAAAKCgAAAAAAKEEJcAAAAAlxAAAACb8CAAAAAAnAAgAAAc4BAAByAAAACgoAAAAA////AA4AAAAAAQHSAQAApwAAAAnBAgAAAQAAAAEAAAAB0wEAAG8AAAAJwgIAAAoH1AEAAAABAAAAAAAAAAQfQXBsb3Jpcy5CYXNlLk9iamVjdHMuRGF0YU9iamVjdAMAAAAH1QEAAAABAAAABAAAAAQcQXBsb3Jpcy5CYXNlLlVJLlZpc3VhbE9iamVjdAMAAAAJKQEAAAnKAQAACgoB1gEAADMAAAABwwIAACAAAAAnj81DXjNJQQHEAgAAmgAAAAEAAAAAAAAAAAAAAAAJxQIAAAAAAAAJxgIAAAAAAccCAACjAAAAAAAAAAHIAgAAbAAAAAAAHEIAAEBBAckCAAAUAAAAAAAAAAAAAAAAAAAAAAAAABKDvj8GygIAAAYxMDAuMCUKCcsCAAAJiwEAADQDAAD/////AAEKCcwCAAABAAoAAdkBAAAiAAAACgoAAAAAAChBCXAAAAAJcQAAAAnNAgAAAAAJzgIAAAHaAQAAcgAAAAoKAAAAAP///wAOAAAAAAEB3gEAAKcAAAAJzwIAAAEAAAABAAAAAd8BAABvAAAACdACAAAKB+ABAAAAAQAAAAAAAAAEH0FwbG9yaXMuQmFzZS5PYmplY3RzLkRhdGFPYmplY3QDAAAAB+EBAAAAAQAAAAQAAAAEHEFwbG9yaXMuQmFzZS5VSS5WaXN1YWxPYmplY3QDAAAACTABAAAJ1gEAAAoKAeIBAAAzAAAAAdECAAAgAAAAZ4YLRF4zSUEB0gIAAJoAAAABAAAAAAAAAAAAAAAACdMCAAAAAAAACdQCAAAAAAHVAgAAowAAAAAAAAAB1gIAAGwAAAAAAAAAAAAAAAHXAgAAFAAAAAAAAAAAAAAAAAAAAAAAAAAAAAAABtgCAAAGMTAwLjAlCgnZAgAACYsBAAA0AwAA/////wABCgnaAgAAAQAKAAHlAQAAIgAAAAoKAAAAAAAoQQlwAAAACXEAAAAJ2wIAAAAACdwCAAAB5gEAAHIAAAAKCgAAAAD///8ADgAAAAABAeoBAACnAAAACd0CAAABAAAAAQAAAAHrAQAAbwAAAAneAgAACgfsAQAAAAEAAAAAAAAABB9BcGxvcmlzLkJhc2UuT2JqZWN0cy5EYXRhT2JqZWN0AwAAAAftAQAAAAEAAAAEAAAABBxBcGxvcmlzLkJhc2UuVUkuVmlzdWFsT2JqZWN0AwAAAAk3AQAACeIBAAAKCgHwAQAAagAAAAoKAAAAQD8J3wIAAAngAgAAAQAAAP7///8AAAAAAQAAAAAAAAAAAAAAAQAAAAAAAAAAAAAB8QEAAG8AAAAJ4QIAAAoB9AEAACIAAAAKCgAAAAAAKEEJcAAAAAlxAAAACeICAAAAAAnjAgAAAfUBAAByAAAACgoAAAAA////AA4AAAAAAQH6AQAApwAAAAnkAgAAAQAAAAEAAAAB+wEAAG8AAAAJ5QIAAAoH/AEAAAABAAAABAAAAAQcQXBsb3Jpcy5CYXNlLlVJLlZpc3VhbE9iamVjdAMAAAAJOgEAAAk7AQAACgoB/wEAAGoAAAAKCgAAAEA/CeYCAAAJ5wIAAAEAAAD+////AAAAAAEAAAAAAAAAAAAAAAEAAAAAAAAAAAAAAQACAABvAAAACegCAAAKAQMCAAAiAAAACgoAAAAAAChBCXAAAAAJcQAAAAnpAgAAAAAJ6gIAAAEEAgAAcgAAAAoKAAAAAP///wAOAAAAAAEBCQIAAKcAAAAJ6wIAAAEAAAADAAAAAQoCAABvAAAACewCAAAKBwsCAAAAAQAAAAQAAAAEHEFwbG9yaXMuQmFzZS5VSS5WaXN1YWxPYmplY3QDAAAACUABAAAJQQEAAAoKAQ4CAABqAAAACgoAAABAPwntAgAACe4CAAABAAAA/v///wAAAAABAAAAAAAAAAAAAAABAAAAAAAAAAAAAAEPAgAAbwAAAAnvAgAACgESAgAAIgAAAAoKAAAAAAAoQQlwAAAACXEAAAAJ8AIAAAAACfECAAABEwIAAHIAAAAKCgAAAAD///8ADgAAAAABARgCAACnAAAACfICAAABAAAAAwAAAAEZAgAAbwAAAAnzAgAACgcaAgAAAAEAAAAEAAAABBxBcGxvcmlzLkJhc2UuVUkuVmlzdWFsT2JqZWN0AwAAAAlGAQAACUcBAAAKCgEdAgAAagAAAAoKAAAAQD8J9AIAAAn1AgAAAQAAAP7///8AAAAAAQAAAAAAAAAAAAAAAQAAAAAAAAAAAAABHgIAAG8AAAAJ9gIAAAoBIQIAACIAAAAKCgAAAAAAKEEJcAAAAAlxAAAACfcCAAAAAAn4AgAAASICAAByAAAACgoAAAAA////AA4AAAAAAQEnAgAApwAAAAn5AgAAAQAAAAMAAAABKAIAAG8AAAAJ+gIAAAoHKQIAAAABAAAABAAAAAQcQXBsb3Jpcy5CYXNlLlVJLlZpc3VhbE9iamVjdAMAAAAJTAEAAAlNAQAACgoBLAIAAGoAAAAKCgAAAEA/CfsCAAAJ/AIAAAEAAAD+////AAAAAAEAAAAAAAAAAAAAAAEAAAAAAAAAAAAAAS0CAABvAAAACf0CAAAKATACAAAiAAAACgoAAAAAAChBCXAAAAAJcQAAAAn+AgAAAAAJ/wIAAAExAgAAcgAAAAoKAAAAAP///wAOAAAAAAEBNgIAAKcAAAAJAAMAAAEAAAADAAAAATcCAABvAAAACQEDAAAKBzgCAAAAAQAAAAQAAAAEHEFwbG9yaXMuQmFzZS5VSS5WaXN1YWxPYmplY3QDAAAACVIBAAAJUwEAAAoKATsCAABqAAAACgoAAABAPwkCAwAACQMDAAABAAAA/v///wAAAAABAAAAAAAAAAAAAAABAAAAAAAAAAAAAAE8AgAAbwAAAAkEAwAACgE/AgAAIgAAAAoKAAAAAAAoQQlwAAAACXEAAAAJBQMAAAAACQYDAAABQAIAAHIAAAAKCgAAAAD///8ADgAAAAABAUUCAACnAAAACQcDAAABAAAAAwAAAAFGAgAAbwAAAAkIAwAACgdHAgAAAAEAAAAEAAAABBxBcGxvcmlzLkJhc2UuVUkuVmlzdWFsT2JqZWN0AwAAAAlYAQAACVkBAAAKCgFKAgAAagAAAAoKAAAAQD8JCQMAAAkKAwAAAQAAAP7///8AAAAAAQAAAAAAAAAAAAAAAQAAAAAAAAAAAAABSwIAAG8AAAAJCwMAAAoBTgIAACIAAAAKCgAAAAAAKEEJcAAAAAlxAAAACQwDAAAAAAkNAwAAAU8CAAByAAAACgoAAAAA////AA4AAAAAAQFUAgAApwAAAAkOAwAAAQAAAAMAAAABVQIAAG8AAAAJDwMAAAoHVgIAAAABAAAABAAAAAQcQXBsb3Jpcy5CYXNlLlVJLlZpc3VhbE9iamVjdAMAAAAJXgEAAAlfAQAACgoBWQIAAGoAAAAKCgAAAEA/CRADAAAJEQMAAAEAAAD+////AAAAAAEAAAAAAAAAAAAAAAEAAAAAAAAAAAAAAVoCAABvAAAACRIDAAAKAV0CAAAiAAAACgoAAAAAAChBCXAAAAAJcQAAAAkTAwAAAAAJFAMAAAFeAgAAcgAAAAoKAAAAAP///wAOAAAAAAEBYwIAAKcAAAAJFQMAAAEAAAADAAAAAWQCAABvAAAACRYDAAAKB2UCAAAAAQAAAAQAAAAEHEFwbG9yaXMuQmFzZS5VSS5WaXN1YWxPYmplY3QDAAAACWQBAAAJZQEAAAoKAWgCAABqAAAACgoAAABAPwkXAwAACRgDAAABAAAA/v///wAAAAABAAAAAAAAAAAAAAABAAAAAAAAAAAAAAFpAgAAbwAAAAkZAwAACgFsAgAAIgAAAAoKAAAAAAAoQQlwAAAACXEAAAAJGgMAAAAACRsDAAABbQIAAHIAAAAKCgAAAAD///8ADgAAAAABAXICAACnAAAACRwDAAABAAAAAwAAAAFzAgAAbwAAAAkdAwAACgd0AgAAAAEAAAAEAAAABBxBcGxvcmlzLkJhc2UuVUkuVmlzdWFsT2JqZWN0AwAAAAlqAQAACWsBAAAKCgF3AgAAagAAAAoKAAAAQD8JHgMAAAkfAwAAAQAAAP7///8AAAAAAQAAAAAAAAAAAAAAAQAAAAAAAAAAAAABeAIAAG8AAAAJIAMAAAoBewIAACIAAAAKCgAAAAAAKEEJcAAAAAlxAAAACSEDAAAAAAkiAwAAAXwCAAByAAAACgoAAAAA////AA4AAAAAAQGBAgAApwAAAAkjAwAAAQAAAAMAAAABggIAAG8AAAAJJAMAAAoHgwIAAAABAAAABAAAAAQcQXBsb3Jpcy5CYXNlLlVJLlZpc3VhbE9iamVjdAMAAAAJcAEAAAlxAQAACgoBhgIAAGoAAAAKCgAAAEA/CSUDAAAJJgMAAAEAAAD+////AAAAAAEAAAAAAAAAAAAAAAEAAAAAAAAAAAAAAYcCAABvAAAACScDAAAKAYoCAAAiAAAACgoAAAAAAChBCXAAAAAJcQAAAAkoAwAAAAAJKQMAAAGLAgAAcgAAAAoKAAAAAP///wAOAAAAAAEBkAIAAKcAAAAJKgMAAAEAAAADAAAAAZECAABvAAAACSsDAAAKB5ICAAAAAQAAAAQAAAAEHEFwbG9yaXMuQmFzZS5VSS5WaXN1YWxPYmplY3QDAAAACXYBAAAJdwEAAAoKB5MCAAAAAQAAABAAAAAEHkFwbG9yaXMuQ2hhcnQuQ2hhcnREYXRhRWxlbWVudAIAAAAJLAMAAAktAwAACS4DAAAJLwMAAA0MB5QCAAAAAQAAABAAAAAEH0FwbG9yaXMuQmFzZS5PYmplY3RzLkRhdGFPYmplY3QDAAAACSwDAAAJLQMAAAkuAwAACS8DAAANDAeVAgAAAAEAAAAAAAAABBxBcGxvcmlzLkJhc2UuVUkuVmlzdWFsT2JqZWN0AwAAAAGWAgAAcgAAAAoKAAAAAAAAAAANAAAAAAEBlwIAAHIAAAAKCgEAAAAAAAAA/////wABB5gCAAAAAQAAAAQAAAAEHUFwbG9yaXMuQmFzZS5PYmplY3RzLlZhcmlhYmxlAwAAAAUwAwAAHUFwbG9yaXMuQmFzZS5PYmplY3RzLlZhcmlhYmxlAgAAAAZOdW1iZXIIUG9zaXRpb24AAAgIAwAAAAEAAAAAAAAAATEDAAAwAwAAAAAAAAAAAAABMgMAADADAAAAAAAAAAAAAAEzAwAAMAMAAAAAAAAAAAAAD5kCAAABAAAACAAAAAAHmgIAAAABAAAAEAAAAAQeQXBsb3Jpcy5DaGFydC5DaGFydERhdGFFbGVtZW50AgAAAAk0AwAACTUDAAAJNgMAAAk3AwAADQwHmwIAAAABAAAAEAAAAAQfQXBsb3Jpcy5CYXNlLk9iamVjdHMuRGF0YU9iamVjdAMAAAAJNAMAAAk1AwAACTYDAAAJNwMAAA0MB5wCAAAAAQAAAAAAAAAEHEFwbG9yaXMuQmFzZS5VSS5WaXN1YWxPYmplY3QDAAAAAZ0CAAByAAAACgoAAAAAAAAAAA0AAAAAAQGeAgAAcgAAAAoKAQAAAAAAAAD/////AAEHnwIAAAABAAAABAAAAAQdQXBsb3Jpcy5CYXNlLk9iamVjdHMuVmFyaWFibGUDAAAAATgDAAAwAwAAAQAAAAAAAAABOQMAADADAAAAAAAAAAAAAAE6AwAAMAMAAAAAAAAAAAAAATsDAAAwAwAAAAAAAAAAAAAPoAIAAAEAAAAIAAAAAAehAgAAAAEAAAAQAAAABB5BcGxvcmlzLkNoYXJ0LkNoYXJ0RGF0YUVsZW1lbnQCAAAACTwDAAAJPQMAAAk+AwAACT8DAAANDAeiAgAAAAEAAAAQAAAABB9BcGxvcmlzLkJhc2UuT2JqZWN0cy5EYXRhT2JqZWN0AwAAAAk8AwAACT0DAAAJPgMAAAk/AwAADQwBowIAAHIAAAAKCgAAAAAAAAAADQAAAAABAaQCAAByAAAACgoBAAAAAAAAAP////8AAQelAgAAAAEAAAAEAAAABB1BcGxvcmlzLkJhc2UuT2JqZWN0cy5WYXJpYWJsZQMAAAABQAMAADADAAABAAAAAAAAAAFBAwAAMAMAAAAAAAAAAAAAAUIDAAAwAwAAAAAAAAAAAAABQwMAADADAAAAAAAAAAAAAA+mAgAAAQAAAAgAAAAABak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cAAAAKAAAAAABAQQlwAAAACXEAAAAJRAMAAAEACUUDAAABqgIAAHIAAAAKCgAAAAD///8ADgAAAAABAa8CAACnAAAACUYDAAABAAAAAQAAAAGwAgAAbwAAAAlHAwAACgGxAgAAcgAAAAoKAAAAAAAAAAANAAAAAAABsgIAAHIAAAAKCgAAAAAAAAAADQAAAAABB7MCAAAAAQAAAAQAAAAEHUFwbG9yaXMuQmFzZS5PYmplY3RzLlZhcmlhYmxlAwAAAAFIAwAAMAMAAAEAAAAAAAAAAUkDAAAwAwAAAAAAAAAAAAABSgMAADADAAAAAAAAAAAAAAFLAwAAMAMAAAAAAAAAAAAAD7QCAAABAAAACFIBAAAFtw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AAAAAoAAAAAAEBBCXAAAAAJcQAAAAlMAwAAAQAJTQMAAAG4AgAAcgAAAAoKAAAAAP///wAOAAAAAAEBvQIAAKcAAAAJTgMAAAEAAAADAAAAAb4CAABvAAAACU8DAAAKAb8CAAByAAAACgoAAAAAAAAAAA0AAAAAAAHAAgAAcgAAAAoKAAAAAAAAAAANAAAAAAEHwQIAAAABAAAABAAAAAQdQXBsb3Jpcy5CYXNlLk9iamVjdHMuVmFyaWFibGUDAAAAAVADAAAwAwAAAQAAAAAAAAABUQMAADADAAAAAAAAAAAAAAFSAwAAMAMAAAAAAAAAAAAAAVMDAAAwAwAAAAAAAAAAAAAPwgIAAAEAAAAITQEAAAXF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5AAAACgAAAAAAQEEJcAAAAAlxAAAACVQDAAABAAlVAwAAAcYCAAByAAAACgoAAAAA////AA4AAAAAAQHLAgAApwAAAAlWAwAAAQAAAAMAAAABzAIAAG8AAAAJVwMAAAoBzQIAAHIAAAAKCgAAAAAAAAAADQAAAAAAAc4CAAByAAAACgoAAAAAAAAAAA0AAAAAAQfPAgAAAAEAAAAEAAAABB1BcGxvcmlzLkJhc2UuT2JqZWN0cy5WYXJpYWJsZQMAAAABWAMAADADAAABAAAAAAAAAAFZAwAAMAMAAAAAAAAAAAAAAVoDAAAwAwAAAAAAAAAAAAABWwMAADADAAAAAAAAAAAAAA/QAgAAAQAAAAjFAAAABdM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oAAAAKAAAAAABAQQlwAAAACXEAAAAJXAMAAAEACV0DAAAB1AIAAHIAAAAKCgEAAAAAAAAA/////wABAdkCAACnAAAACV4DAAABAAAAAwAAAAHaAgAAbwAAAAlfAwAACgHbAgAAcgAAAAoKAAAAAAAAAAANAAAAAAAB3AIAAHIAAAAKCgAAAAAAAAAADQAAAAABB90CAAAAAQAAAAQAAAAEHUFwbG9yaXMuQmFzZS5PYmplY3RzLlZhcmlhYmxlAwAAAAFgAwAAMAMAAAEAAAAAAAAAAWEDAAAwAwAAAAAAAAAAAAABYgMAADADAAAAAAAAAAAAAAFjAwAAMAMAAAAAAAAAAAAAD94CAAABAAAACBwDAAAB3wIAAHIAAAAKCgAAAAAAAAAADQAAAAAABeACAAAaQXBsb3Jpcy5CYXNlLk9iamVjdHMuQ29sb3IHAAAAEkRhdGFPYmplY3QrbVBhcmVudBVEYXRhT2JqZWN0K21Db250YWluZXIFbVR5cGUEbVJHQhBtVGhlbWVDb2xvckluZGV4DG1BdXRvVXBkYXRlZAltTW9kaWZpZWQEAgAAAAAAH0FwbG9yaXMuQmFzZS5PYmplY3RzLkxpbmVGb3JtYXQDAAAACAgIAQEDAAAACfABAAAKAQAAAAAAAAD/////AAEP4QIAAAEAAAAILwMAAAHiAgAAcgAAAAoKAAAAAAAAAAANAAAAAAAB4wIAAHIAAAAKCgAAAAAAAAAADQAAAAABB+QCAAAAAQAAAAQAAAAEHUFwbG9yaXMuQmFzZS5PYmplY3RzLlZhcmlhYmxlAwAAAAFkAwAAMAMAAAEAAAAAAAAAAWUDAAAwAwAAAAAAAAAAAAABZgMAADADAAAAAAAAAAAAAAFnAwAAMAMAAAAAAAAAAAAAD+UCAAABAAAACCYAAAAB5gIAAHIAAAAKCgAAAAAAAAAADQAAAAAABecCAAAaQXBsb3Jpcy5CYXNlLk9iamVjdHMuQ29sb3IHAAAAEkRhdGFPYmplY3QrbVBhcmVudBVEYXRhT2JqZWN0K21Db250YWluZXIFbVR5cGUEbVJHQhBtVGhlbWVDb2xvckluZGV4DG1BdXRvVXBkYXRlZAltTW9kaWZpZWQEAgAAAAAAH0FwbG9yaXMuQmFzZS5PYmplY3RzLkxpbmVGb3JtYXQDAAAACAgIAQEDAAAACf8BAAAKAQAAAAAAAAD/////AAEP6AIAAAEAAAAILgMAAAHpAgAAcgAAAAoKAAAAAAAAAAANAAAAAAAB6gIAAHIAAAAKCgAAAAAAAAAADQAAAAABB+sCAAAAAQAAAAQAAAAEHUFwbG9yaXMuQmFzZS5PYmplY3RzLlZhcmlhYmxlAwAAAAFoAwAAMAMAAAEAAAAAAAAAAWkDAAAwAwAAAAAAAAAAAAABagMAADADAAAAAAAAAAAAAAFrAwAAMAMAAAAAAAAAAAAAD+wCAAABAAAACCMAAAAB7QIAAHIAAAAKCgAAAAAAAAAADQAAAAAABe4CAAAaQXBsb3Jpcy5CYXNlLk9iamVjdHMuQ29sb3IHAAAAEkRhdGFPYmplY3QrbVBhcmVudBVEYXRhT2JqZWN0K21Db250YWluZXIFbVR5cGUEbVJHQhBtVGhlbWVDb2xvckluZGV4DG1BdXRvVXBkYXRlZAltTW9kaWZpZWQEAgAAAAAAH0FwbG9yaXMuQmFzZS5PYmplY3RzLkxpbmVGb3JtYXQDAAAACAgIAQEDAAAACQ4CAAAKAQAAAAAAAAD/////AAEP7wIAAAEAAAAILAMAAAHwAgAAcgAAAAoKAAAAAAAAAAANAAAAAAAB8QIAAHIAAAAKCgAAAAAAAAAADQAAAAABB/ICAAAAAQAAAAQAAAAEHUFwbG9yaXMuQmFzZS5PYmplY3RzLlZhcmlhYmxlAwAAAAFsAwAAMAMAAAEAAAAAAAAAAW0DAAAwAwAAAAAAAAAAAAABbgMAADADAAAAAAAAAAAAAAFvAwAAMAMAAAAAAAAAAAAAD/MCAAABAAAACCsAAAAB9AIAAHIAAAAKCgAAAAAAAAAADQAAAAAABfUCAAAaQXBsb3Jpcy5CYXNlLk9iamVjdHMuQ29sb3IHAAAAEkRhdGFPYmplY3QrbVBhcmVudBVEYXRhT2JqZWN0K21Db250YWluZXIFbVR5cGUEbVJHQhBtVGhlbWVDb2xvckluZGV4DG1BdXRvVXBkYXRlZAltTW9kaWZpZWQEAgAAAAAAH0FwbG9yaXMuQmFzZS5PYmplY3RzLkxpbmVGb3JtYXQDAAAACAgIAQEDAAAACR0CAAAKAQAAAAAAAAD/////AAEP9gIAAAEAAAAIKgMAAAH3AgAAcgAAAAoKAAAAAAAAAAANAAAAAAAB+AIAAHIAAAAKCgAAAAAAAAAADQAAAAABB/kCAAAAAQAAAAQAAAAEHUFwbG9yaXMuQmFzZS5PYmplY3RzLlZhcmlhYmxlAwAAAAFwAwAAMAMAAAEAAAAAAAAAAXEDAAAwAwAAAAAAAAAAAAABcgMAADADAAAAAAAAAAAAAAFzAwAAMAMAAAAAAAAAAAAAD/oCAAABAAAACCoAAAAB+wIAAHIAAAAKCgAAAAAAAAAADQAAAAAABfwCAAAaQXBsb3Jpcy5CYXNlLk9iamVjdHMuQ29sb3IHAAAAEkRhdGFPYmplY3QrbVBhcmVudBVEYXRhT2JqZWN0K21Db250YWluZXIFbVR5cGUEbVJHQhBtVGhlbWVDb2xvckluZGV4DG1BdXRvVXBkYXRlZAltTW9kaWZpZWQEAgAAAAAAH0FwbG9yaXMuQmFzZS5PYmplY3RzLkxpbmVGb3JtYXQDAAAACAgIAQEDAAAACSwCAAAKAQAAAAAAAAD/////AAEP/QIAAAEAAAAIKQMAAAH+AgAAcgAAAAoKAAAAAAAAAAANAAAAAAAB/wIAAHIAAAAKCgAAAAAAAAAADQAAAAABBwADAAAAAQAAAAQAAAAEHUFwbG9yaXMuQmFzZS5PYmplY3RzLlZhcmlhYmxlAwAAAAF0AwAAMAMAAAEAAAAAAAAAAXUDAAAwAwAAAAAAAAAAAAABdgMAADADAAAAAAAAAAAAAAF3AwAAMAMAAAAAAAAAAAAADwEDAAABAAAACCcAAAABAgMAAHIAAAAKCgAAAAAAAAAADQAAAAAABQMDAAAaQXBsb3Jpcy5CYXNlLk9iamVjdHMuQ29sb3IHAAAAEkRhdGFPYmplY3QrbVBhcmVudBVEYXRhT2JqZWN0K21Db250YWluZXIFbVR5cGUEbVJHQhBtVGhlbWVDb2xvckluZGV4DG1BdXRvVXBkYXRlZAltTW9kaWZpZWQEAgAAAAAAH0FwbG9yaXMuQmFzZS5PYmplY3RzLkxpbmVGb3JtYXQDAAAACAgIAQEDAAAACTsCAAAKAQAAAAAAAAD/////AAEPBAMAAAEAAAAIKAMAAAEFAwAAcgAAAAoKAAAAAAAAAAANAAAAAAABBgMAAHIAAAAKCgAAAAAAAAAADQAAAAABBwcDAAAAAQAAAAQAAAAEHUFwbG9yaXMuQmFzZS5PYmplY3RzLlZhcmlhYmxlAwAAAAF4AwAAMAMAAAEAAAAAAAAAAXkDAAAwAwAAAAAAAAAAAAABegMAADADAAAAAAAAAAAAAAF7AwAAMAMAAAAAAAAAAAAADwgDAAABAAAACCkAAAABCQMAAHIAAAAKCgAAAAAAAAAADQAAAAAABQoDAAAaQXBsb3Jpcy5CYXNlLk9iamVjdHMuQ29sb3IHAAAAEkRhdGFPYmplY3QrbVBhcmVudBVEYXRhT2JqZWN0K21Db250YWluZXIFbVR5cGUEbVJHQhBtVGhlbWVDb2xvckluZGV4DG1BdXRvVXBkYXRlZAltTW9kaWZpZWQEAgAAAAAAH0FwbG9yaXMuQmFzZS5PYmplY3RzLkxpbmVGb3JtYXQDAAAACAgIAQEDAAAACUoCAAAKAQAAAAAAAAD/////AAEPCwMAAAEAAAAIKwMAAAEMAwAAcgAAAAoKAAAAAAAAAAANAAAAAAABDQMAAHIAAAAKCgAAAAAAAAAADQAAAAABBw4DAAAAAQAAAAQAAAAEHUFwbG9yaXMuQmFzZS5PYmplY3RzLlZhcmlhYmxlAwAAAAF8AwAAMAMAAAEAAAAAAAAAAX0DAAAwAwAAAAAAAAAAAAABfgMAADADAAAAAAAAAAAAAAF/AwAAMAMAAAAAAAAAAAAADw8DAAABAAAACCgAAAABEAMAAHIAAAAKCgAAAAAAAAAADQAAAAAABREDAAAaQXBsb3Jpcy5CYXNlLk9iamVjdHMuQ29sb3IHAAAAEkRhdGFPYmplY3QrbVBhcmVudBVEYXRhT2JqZWN0K21Db250YWluZXIFbVR5cGUEbVJHQhBtVGhlbWVDb2xvckluZGV4DG1BdXRvVXBkYXRlZAltTW9kaWZpZWQEAgAAAAAAH0FwbG9yaXMuQmFzZS5PYmplY3RzLkxpbmVGb3JtYXQDAAAACAgIAQEDAAAACVkCAAAKAQAAAAAAAAD/////AAEPEgMAAAEAAAAIMgMAAAETAwAAcgAAAAoKAAAAAAAAAAANAAAAAAABFAMAAHIAAAAKCgAAAAAAAAAADQAAAAABBxUDAAAAAQAAAAQAAAAEHUFwbG9yaXMuQmFzZS5PYmplY3RzLlZhcmlhYmxlAwAAAAGAAwAAMAMAAAEAAAAAAAAAAYEDAAAwAwAAAAAAAAAAAAABggMAADADAAAAAAAAAAAAAAGDAwAAMAMAAAAAAAAAAAAADxYDAAABAAAACCwAAAABFwMAAHIAAAAKCgAAAAAAAAAADQAAAAAABRgDAAAaQXBsb3Jpcy5CYXNlLk9iamVjdHMuQ29sb3IHAAAAEkRhdGFPYmplY3QrbVBhcmVudBVEYXRhT2JqZWN0K21Db250YWluZXIFbVR5cGUEbVJHQhBtVGhlbWVDb2xvckluZGV4DG1BdXRvVXBkYXRlZAltTW9kaWZpZWQEAgAAAAAAH0FwbG9yaXMuQmFzZS5PYmplY3RzLkxpbmVGb3JtYXQDAAAACAgIAQEDAAAACWgCAAAKAQAAAAAAAAD/////AAEPGQMAAAEAAAAIMQMAAAEaAwAAcgAAAAoKAAAAAAAAAAANAAAAAAABGwMAAHIAAAAKCgAAAAAAAAAADQAAAAABBxwDAAAAAQAAAAQAAAAEHUFwbG9yaXMuQmFzZS5PYmplY3RzLlZhcmlhYmxlAwAAAAGEAwAAMAMAAAEAAAAAAAAAAYUDAAAwAwAAAAAAAAAAAAABhgMAADADAAAAAAAAAAAAAAGHAwAAMAMAAAAAAAAAAAAADx0DAAABAAAACC0AAAABHgMAAHIAAAAKCgAAAAAAAAAADQAAAAAABR8DAAAaQXBsb3Jpcy5CYXNlLk9iamVjdHMuQ29sb3IHAAAAEkRhdGFPYmplY3QrbVBhcmVudBVEYXRhT2JqZWN0K21Db250YWluZXIFbVR5cGUEbVJHQhBtVGhlbWVDb2xvckluZGV4DG1BdXRvVXBkYXRlZAltTW9kaWZpZWQEAgAAAAAAH0FwbG9yaXMuQmFzZS5PYmplY3RzLkxpbmVGb3JtYXQDAAAACAgIAQEDAAAACXcCAAAKAQAAAAAAAAD/////AAEPIAMAAAEAAAAILQMAAAEhAwAAcgAAAAoKAAAAAAAAAAANAAAAAAABIgMAAHIAAAAKCgAAAAAAAAAADQAAAAABByMDAAAAAQAAAAQAAAAEHUFwbG9yaXMuQmFzZS5PYmplY3RzLlZhcmlhYmxlAwAAAAGIAwAAMAMAAAEAAAAAAAAAAYkDAAAwAwAAAAAAAAAAAAABigMAADADAAAAAAAAAAAAAAGLAwAAMAMAAAAAAAAAAAAADyQDAAABAAAACCUAAAABJQMAAHIAAAAKCgAAAAAAAAAADQAAAAAABSYDAAAaQXBsb3Jpcy5CYXNlLk9iamVjdHMuQ29sb3IHAAAAEkRhdGFPYmplY3QrbVBhcmVudBVEYXRhT2JqZWN0K21Db250YWluZXIFbVR5cGUEbVJHQhBtVGhlbWVDb2xvckluZGV4DG1BdXRvVXBkYXRlZAltTW9kaWZpZWQEAgAAAAAAH0FwbG9yaXMuQmFzZS5PYmplY3RzLkxpbmVGb3JtYXQDAAAACAgIAQEDAAAACYYCAAAKAQAAAAAAAAD/////AAEPJwMAAAEAAAAIMAMAAAEoAwAAcgAAAAoKAAAAAAAAAAANAAAAAAABKQMAAHIAAAAKCgAAAAAAAAAADQAAAAABByoDAAAAAQAAAAQAAAAEHUFwbG9yaXMuQmFzZS5PYmplY3RzLlZhcmlhYmxlAwAAAAGMAwAAMAMAAAEAAAAAAAAAAY0DAAAwAwAAAAAAAAAAAAABjgMAADADAAAAAAAAAAAAAAGPAwAAMAMAAAAAAAAAAAAADysDAAABAAAACCQAAAAFLAM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mQAwAACZEDAAAKCZIDAAAKCfQAAAAIBjGEbLzuBMo/CgAAAAAJkwMAAAmUAwAAAAAAAAAJlQMAAAn0AAAACQEAAAAJlgMAAAEtAwAALAMAAAmXAwAACZgDAAAKCZkDAAAKCfQAAAAIBnbpMX+vjdg/CgEAAAAJmgMAAAmbAwAAAAAAAAAJnAMAAAn0AAAACQEAAAAJnQMAAAEuAwAALAMAAAmeAwAACZ8DAAAKCaADAAAKCfQAAAAIBjhbh36zdcg/CgIAAAAJoQMAAAmiAwAAAAAAAAAJowMAAAn0AAAACQEAAAAJpAMAAAEvAwAALAMAAAmlAwAACaYDAAAKCacDAAAKCfQAAAAIBik19jALyLc/CgMAAAAJqAMAAAmpAwAAAAAAAAAJqgMAAAn0AAAACQEAAAAJqwMAAAE0AwAALAMAAAmsAwAACa0DAAAKCa4DAAAKCfUAAAAIBrfLxVnmK+E/CgAAAAAJrwMAAAmwAwAAAAAAAAAJsQMAAAn1AAAACQEAAAAJsgMAAAE1AwAALAMAAAmzAwAACbQDAAAKCbUDAAAKCfUAAAAIBiV3ihbOgOA/CgEAAAAJtgMAAAm3AwAAAAAAAAAJuAMAAAn1AAAACQEAAAAJuQMAAAE2AwAALAMAAAm6AwAACbsDAAAKCbwDAAAKCfUAAAAIBl4gk+IFMuE/CgIAAAAJvQMAAAm+AwAAAAAAAAAJvwMAAAn1AAAACQEAAAAJwAMAAAE3AwAALAMAAAnBAwAACcIDAAAKCcMDAAAKCfUAAAAIBpgF5ItEqeE/CgMAAAAJxAMAAAnFAwAAAAAAAAAJxgMAAAn1AAAACQEAAAAJxwMAAAE8AwAALAMAAAnIAwAACckDAAAKCcoDAAAKCfYAAAAIBnkmPu67pdA/CgAAAAAJywMAAAnMAwAAAAAAAAAJzQMAAAn2AAAACQEAAAAJzgMAAAE9AwAALAMAAAnPAwAACdADAAAKCdEDAAAKCfYAAAAIBgKh5E7Rwrk/CgEAAAAJ0gMAAAnTAwAAAAAAAAAJ1AMAAAn2AAAACQEAAAAJ1QMAAAE+AwAALAMAAAnWAwAACdcDAAAKCdgDAAAKCfYAAAAIBqgRlnsaYdE/CgIAAAAJ2QMAAAnaAwAAAAAAAAAJ2wMAAAn2AAAACQEAAAAJ3AMAAAE/AwAALAMAAAndAwAACd4DAAAKCd8DAAAKCfYAAAAIBoVn+ht0u9Y/CgMAAAAJ4AMAAAnhAwAAAAAAAAAJ4gMAAAn2AAAACQEAAAAJ4wMAAAFEAwAAcgAAAAoKAAAAAAAAAAANAAAAAAEBRQMAAHIAAAAKCgEAAAAAAAAA/////wABB0YDAAAAAQAAAAQAAAAEHUFwbG9yaXMuQmFzZS5PYmplY3RzLlZhcmlhYmxlAwAAAAHkAwAAMAMAAAEAAAAAAAAAAeUDAAAwAwAAAAAAAAAAAAAB5gMAADADAAAAAAAAAAAAAAHnAwAAMAMAAAAAAAAAAAAAD0cDAAABAAAACAAAAAABTAMAAHIAAAAKCgAAAAAAAAAADQAAAAABAU0DAAByAAAACgoBAAAAAAAAAP////8AAQdOAwAAAAEAAAAEAAAABB1BcGxvcmlzLkJhc2UuT2JqZWN0cy5WYXJpYWJsZQMAAAAB6AMAADADAAABAAAAAAAAAAHpAwAAMAMAAAAAAAAAAAAAAeoDAAAwAwAAAAAAAAAAAAAB6wMAADADAAAAAAAAAAAAAA9PAwAAAQAAAAgAAAAAAVQDAAByAAAACgoAAAAAAAAAAA0AAAAAAQFVAwAAcgAAAAoKAQAAAAAAAAD/////AAEHVgMAAAABAAAABAAAAAQdQXBsb3Jpcy5CYXNlLk9iamVjdHMuVmFyaWFibGUDAAAAAewDAAAwAwAAAQAAAAAAAAAB7QMAADADAAAAAAAAAAAAAAHuAwAAMAMAAAAAAAAAAAAAAe8DAAAwAwAAAAAAAAAAAAAPVwMAAAEAAAAIAAAAAAFcAwAAcgAAAAoKAAAAAAAAAAANAAAAAAEBXQMAAHIAAAAKCgEAAAAAAAAA/////wABB14DAAAAAQAAAAQAAAAEHUFwbG9yaXMuQmFzZS5PYmplY3RzLlZhcmlhYmxlAwAAAAHwAwAAMAMAAAEAAAAAAAAAAfEDAAAwAwAAAAAAAAAAAAAB8gMAADADAAAAAAAAAAAAAAHzAwAAMAMAAAAAAAAAAAAAD18DAAABAAAACAAAAAABkAMAAAkBAAAKWAIAAAH0AwAAfwEAAAIAAAAB9QMAAIABAAABAAAAAfYDAAAUAAAAXHKUQhJ8aEMguqtCiE5CQgH3AwAAggEAAAAAAAAAAKBAAAH4AwAAIAAAAGxP6kLyYoBDAfkDAACaAAAAAAAAAAAAAAAAAAAAAAn6AwAAAAAAAAn7AwAAAAAB/AMAAKMAAAAAAAAAAf0DAABsAAAAAAAAQgAAQEEB/gMAABQAAAB00clCuuh6Q0hFAEKjiy5BEoO+Pwb/AwAABTIwLjMlCgkABAAACYsBAAA0AwAA/////wEBCgkBBAAAAQAKAAGRAwAAGwAAAAECBAAAIAAAAFxyjkLaB45DAQMEAAAgAAAAPhYjQxJ8ZUMJBAQAAAkFBAAAAAAAAAoBBgQAAGwAAAAAAAAAAAAAAAEHBAAAbAAAAAAAAAAAAAAAAAAAAAEIBAAAFAAAAAAAAAAAAAAAAAAAAAAAAACkAQAA/////wEBCgkJBAAAAQAKAAeSAwAAAAEAAAACAAAABBpBcGxvcmlzLkJhc2UuVUkuVmlzdWFsTGluZQMAAAAKCgeTAwAAAAEAAAADAAAABBVTeXN0ZW0uRHJhd2luZy5Qb2ludEYEAAAAAQoEAAAgAAAAbE/qQvJigEMBCwQAACAAAABccohC8mKAQwEMBAAAIAAAAD4WJkPyYoBDB5QDAAAAAQAAAAMAAAAEF0FwbG9yaXMuQmFzZS5BbmNob3JNb2RlAwAAAAENBAAAmgAAAAAAAAABDgQAAJoAAAACAAAAAQ8EAACaAAAABAAAAAGVAwAAJAAAAAkQBAAAAAAAAAAAAAABlgMAACUAAAAJEQQAAAIAAAAKAAAAAZcDAAAJAQAAClgCAAABEgQAAH8BAAACAAAAARMEAACAAQAAAQAAAAEUBAAAFAAAAHo0XUOiDjhDILqrQiQCwkIBFQQAAIIBAAAAAAAAAACgQAABFgQAACAAAACBEYRDK49oQwEXBAAAmgAAAAAAAAAAAAAAAAAAAAAJGAQAAAAAAAAJGQQAAAAAARoEAACjAAAAAAAAAAEbBAAAbAAAAAAAAEIAAEBBARwEAAAUAAAAiy54Q9FFY0NIRQBCo4suQRKDvj8GHQQAAAUzOC40JQoJHgQAAAmLAQAANAMAAP////8BAQoJHwQAAAEACgABmAMAABsAAAABIAQAACAAAAB6NFpD2geOQwEhBAAAIAAAAMUIm0OiDjVDCSIEAAAJIwQAAAAAAAAKASQEAABsAAAAAAAAAAAAAAABJQQAAGwAAAAAAAAAAAAAAAAAAAABJgQAABQAAAAAAAAAAAAAAAAAAAAAAAAApAEAAP////8BAQoJJwQAAAEACgAHmQMAAAABAAAAAgAAAAQaQXBsb3Jpcy5CYXNlLlVJLlZpc3VhbExpbmUDAAAACgoHmgMAAAABAAAAAwAAAAQVU3lzdGVtLkRyYXdpbmcuUG9pbnRGBAAAAAEoBAAAIAAAAIERhEMrj2hDASkEAAAgAAAAejRXQyuPaEMBKgQAACAAAADFiJxDK49oQwebAwAAAAEAAAADAAAABBdBcGxvcmlzLkJhc2UuQW5jaG9yTW9kZQMAAAABKwQAAJoAAAAAAAAAASwEAACaAAAAAgAAAAEtBAAAmgAAAAQAAAABnAMAACQAAAAJEAQAAAAAAAAAAAAAAZ0DAAAlAAAACS4EAAACAAAAAgAAAAGeAwAACQEAAApYAgAAAS8EAAB/AQAAAgAAAAEwBAAAgAEAAAEAAAABMQQAABQAAADjF7hDesFrQyC6q0LoODVCATIEAACCAQAAAAAAAAAAoEAAATMEAAAgAAAAJ4/NQ0w0gUMBNAQAAJoAAAAAAAAAAAAAAAAAAAAACTUEAAAAAAAACTYEAAAAAAE3BAAAowAAAAAAAAABOAQAAGwAAAAAAABCAABAQQE5BAAAFAAAAC66xUMuunxDSEUAQqOLLkESg74/BjoEAAAFMTkuMSUKCTsEAAAJiwEAADQDAAD/////AQEKCTwEAAABAAoAAZ8DAAAbAAAAAT0EAAAgAAAA45e2Q9oHjkMBPgQAACAAAABrhuRDesFoQwk/BAAACUAEAAAAAAAACgFBBAAAbAAAAAAAAAAAAAAAAUIEAABsAAAAAAAAAAAAAAAAAAAAAUMEAAAUAAAAAAAAAAAAAAAAAAAAAAAAAKQBAAD/////AQEKCUQEAAABAAoAB6ADAAAAAQAAAAIAAAAEGkFwbG9yaXMuQmFzZS5VSS5WaXN1YWxMaW5lAwAAAAoKB6EDAAAAAQAAAAMAAAAEFVN5c3RlbS5EcmF3aW5nLlBvaW50RgQAAAABRQQAACAAAAAnj81DTDSBQwFGBAAAIAAAAOMXtUNMNIFDAUcEAAAgAAAAawbmQ0w0gUMHogMAAAABAAAAAwAAAAQXQXBsb3Jpcy5CYXNlLkFuY2hvck1vZGUDAAAAAUgEAACaAAAAAAAAAAFJBAAAmgAAAAIAAAABSgQAAJoAAAAEAAAAAaMDAAAkAAAACRAEAAAAAAAAAAAAAAGkAwAAJQAAAAlLBAAAAgAAAAIAAAABpQMAAAkBAAAKWAIAAAFMBAAAfwEAAAIAAAABTQQAAIABAAABAAAAAU4EAAAUAAAAxcoARFwPg0MguqtC4IeXQQFPBAAAggEAAAAAAAAAAKBAAAFQBAAAIAAAAGeGC0Sby4dDAVEEAACaAAAAAAAAAAAAAAAAAAAAAAlSBAAAAAAAAAlTBAAAAAABVAQAAKMAAAAAAAAAAVUEAABsAAAAAADQQQAAQEEBVgQAABQAAADpIghEiy6FQ6jn1EGjiy5BEoO+PwZXBAAABDkuMyUKCVgEAAAJiwEAADQDAAD/////AQEKCVkEAAABAAoAAaYDAAAbAAAAAVoEAAAgAAAAxQoARNoHjkMBWwQAACAAAAAJAhdEXI+BQwlcBAAACV0EAAAAAAAACgFeBAAAbAAAAAAAAAAAAAAAAV8EAABsAAAAAAAAAAAAAAAAAAAAAWAEAAAUAAAAAAAAAAAAAAAAAAAAAAAAAKQBAAD/////AQEKCWEEAAABAAoAB6cDAAAAAQAAAAIAAAAEGkFwbG9yaXMuQmFzZS5VSS5WaXN1YWxMaW5lAwAAAAoKB6gDAAAAAQAAAAMAAAAEFVN5c3RlbS5EcmF3aW5nLlBvaW50RgQAAAABYgQAACAAAABnhgtEm8uHQwFjBAAAIAAAAIqV/kOby4dDAWQEAAAgAAAACcIXRJvLh0MHqQMAAAABAAAAAwAAAAQXQXBsb3Jpcy5CYXNlLkFuY2hvck1vZGUDAAAAAWUEAACaAAAAAAAAAAFmBAAAmgAAAAIAAAABZwQAAJoAAAAEAAAAAaoDAAAkAAAACewBAAAAAAAAAAAAAAGrAwAAJQAAAAloBAAAAgAAAAIAAAABrAMAAAkBAAAKWAIAAAFpBAAAfwEAAAIAAAABagQAAIABAAABAAAAAWsEAAAUAAAAXHKUQjbTsEIguqtCdxIKQwFsBAAAggEAAAAAAAAAAKBAAAFtBAAAIAAAAGxP6kLWch1DAW4EAACaAAAAAAAAAAAAAAAAAAAAAAlvBAAAAAAAAAlwBAAAAAABcQQAAKMAAAAAAAAAAXIEAABsAAAAAAAAQgAAQEEBcwQAABQAAAB00clCdNEXQ0hFAEKjiy5BEoO+PwZ0BAAABTUzLjclCgl1BAAACYsBAAA0AwAA/////wEBCgl2BAAAAQAKAAGtAwAAGwAAAAF3BAAAIAAAAFxyjkISfGVDAXgEAAAgAAAAPhYjQzbTqkIJeQQAAAl6BAAAAAAAAAoBewQAAGwAAAAAAAAAAAAAAAF8BAAAbAAAAAAAAAAAAAAAAAAAAAF9BAAAFAAAAAAAAAAAAAAAAAAAAAAAAACkAQAA/////wEBCgl+BAAAAQAKAAeuAwAAAAEAAAACAAAABBpBcGxvcmlzLkJhc2UuVUkuVmlzdWFsTGluZQMAAAAKCgevAwAAAAEAAAADAAAABBVTeXN0ZW0uRHJhd2luZy5Qb2ludEYEAAAAAX8EAAAgAAAAbE/qQtZyHUMBgAQAACAAAABccohC1nIdQwGBBAAAIAAAAD4WJkPWch1DB7ADAAAAAQAAAAMAAAAEF0FwbG9yaXMuQmFzZS5BbmNob3JNb2RlAwAAAAGCBAAAmgAAAAAAAAABgwQAAJoAAAACAAAAAYQEAACaAAAABAAAAAGxAwAAJAAAAAmFBAAAAAAAAAAAAAABsgMAACUAAAAJhgQAAAIAAAAKAAAAAbMDAAAJAQAAClgCAAABhwQAAH8BAAACAAAAAYgEAACAAQAAAQAAAAGJBAAAFAAAAHo0XUPAXjZCILqrQvJ2BEMBigQAAIIBAAAAAAAAAACgQAABiwQAACAAAACBEYRDUqbfQgGMBAAAmgAAAAAAAAAAAAAAAAAAAAAJjQQAAAAAAAAJjgQAAAAAAY8EAACjAAAAAAAAAAGQBAAAbAAAAAAAAEIAAEBBAZEEAAAUAAAAiy54Qy661EJIRQBCo4suQRKDvj8GkgQAAAU1MS42JQoJkwQAAAmLAQAANAMAAP////8BAQoJlAQAAAEACgABtAMAABsAAAABlQQAACAAAAB6NFpDog41QwGWBAAAIAAAAMUIm0PAXipCCZcEAAAJmAQAAAAAAAAKAZkEAABsAAAAAAAAAAAAAAABmgQAAGwAAAAAAAAAAAAAAAAAAAABmwQAABQAAAAAAAAAAAAAAAAAAAAAAAAApAEAAP////8BAQoJnAQAAAEACgAHtQMAAAABAAAAAgAAAAQaQXBsb3Jpcy5CYXNlLlVJLlZpc3VhbExpbmUDAAAACgoHtgMAAAABAAAAAwAAAAQVU3lzdGVtLkRyYXdpbmcuUG9pbnRGBAAAAAGdBAAAIAAAAIERhENSpt9CAZ4EAAAgAAAAejRXQ1Km30IBnwQAACAAAADFiJxDUqbfQge3AwAAAAEAAAADAAAABBdBcGxvcmlzLkJhc2UuQW5jaG9yTW9kZQMAAAABoAQAAJoAAAAAAAAAAaEEAACaAAAAAgAAAAGiBAAAmgAAAAQAAAABuAMAACQAAAAJhQQAAAAAAAAAAAAAAbkDAAAlAAAACaMEAAACAAAAAgAAAAG6AwAACQEAAApYAgAAAaQEAAB/AQAAAgAAAAGlBAAAgAEAAAEAAAABpgQAABQAAADjF7hDRve2QiC6q0LXRQpDAacEAACCAQAAAAAAAAAAoEAAAagEAAAgAAAAJ4/NQ46eIEMBqQQAAJoAAAAAAAAAAAAAAAAAAAAACaoEAAAAAAAACasEAAAAAAGsBAAAowAAAAAAAAABrQQAAGwAAAAAAABCAABAQQGuBAAAFAAAAC66xUNddBtDSEUAQqOLLkESg74/Bq8EAAAFNTMuNyUKCbAEAAAJiwEAADQDAAD/////AQEKCbEEAAABAAoAAbsDAAAbAAAAAbIEAAAgAAAA45e2Q3rBaEMBswQAACAAAABrhuRDRvewQgm0BAAACbUEAAAAAAAACgG2BAAAbAAAAAAAAAAAAAAAAbcEAABsAAAAAAAAAAAAAAAAAAAAAbgEAAAUAAAAAAAAAAAAAAAAAAAAAAAAAKQBAAD/////AQEKCbkEAAABAAoAB7wDAAAAAQAAAAIAAAAEGkFwbG9yaXMuQmFzZS5VSS5WaXN1YWxMaW5lAwAAAAoKB70DAAAAAQAAAAMAAAAEFVN5c3RlbS5EcmF3aW5nLlBvaW50RgQAAAABugQAACAAAAAnj81Djp4gQwG7BAAAIAAAAOMXtUOOniBDAbwEAAAgAAAAawbmQ46eIEMHvgMAAAABAAAAAwAAAAQXQXBsb3Jpcy5CYXNlLkFuY2hvck1vZGUDAAAAAb0EAACaAAAAAAAAAAG+BAAAmgAAAAIAAAABvwQAAJoAAAAEAAAAAb8DAAAkAAAACYUEAAAAAAAAAAAAAAHAAwAAJQAAAAnABAAAAgAAAAIAAAABwQMAAAkBAAAKWAIAAAHBBAAAfwEAAAIAAAABwgQAAIABAAABAAAAAcMEAAAUAAAAxcoARMjg40IguqtCVC4OQwHEBAAAggEAAAAAAAAAAKBAAAHFBAAAIAAAAGeGC0SOBzlDAcYEAACaAAAAAAAAAAAAAAAAAAAAAAnHBAAAAAAAAAnIBAAAAAAByQQAAKMAAAAAAAAAAcoEAABsAAAAAAAAQgAAQEEBywQAABQAAABddAdEAAA0Q0hFAEKjiy5BEoO+PwbMBAAABTU1LjIlCgnNBAAACYsBAAA0AwAA/////wEBCgnOBAAAAQAKAAHCAwAAGwAAAAHPBAAAIAAAAMUKAERcj4FDAdAEAAAgAAAACQIXRMjg3UIJ0QQAAAnSBAAAAAAAAAoB0wQAAGwAAAAAAAAAAAAAAAHUBAAAbAAAAAAAAAAAAAAAAAAAAAHVBAAAFAAAAAAAAAAAAAAAAAAAAAAAAACkAQAA/////wEBCgnWBAAAAQAKAAfDAwAAAAEAAAACAAAABBpBcGxvcmlzLkJhc2UuVUkuVmlzdWFsTGluZQMAAAAKCgfEAwAAAAEAAAADAAAABBVTeXN0ZW0uRHJhd2luZy5Qb2ludEYEAAAAAdcEAAAgAAAAZ4YLRI4HOUMB2AQAACAAAACKlf5Djgc5QwHZBAAAIAAAAAnCF0SOBzlDB8UDAAAAAQAAAAMAAAAEF0FwbG9yaXMuQmFzZS5BbmNob3JNb2RlAwAAAAHaBAAAmgAAAAAAAAAB2wQAAJoAAAACAAAAAdwEAACaAAAABAAAAAHGAwAAJAAAAAnsAQAAAAAAAAAAAAABxwMAACUAAAAJ3QQAAAIAAAACAAAAAcgDAAAJAQAAClgCAAAB3gQAAH8BAAACAAAAAd8EAACAAQAAAQAAAAHgBAAAFAAAAFxylEKvmZRBILqrQpRZf0IB4QQAAIIBAAAAAAAAAACgQAAB4gQAACAAAABsT+pCovlJQgHjBAAAmgAAAAAAAAAAAAAAAAAAAAAJ5AQAAAAAAAAJ5QQAAAAAAeYEAACjAAAAAAAAAAHnBAAAbAAAAAAAAEIAAEBBAegEAAAUAAAAdNHJQnTRNUJIRQBCo4suQRKDvj8G6QQAAAUyNi4wJQoJ6gQAAAmLAQAANAMAAP////8BAQoJ6wQAAAEACgAByQMAABsAAAAB7AQAACAAAABcco5CNtOqQgHtBAAAIAAAAD4WI0NeM3lBCe4EAAAJ7wQAAAAAAAAKAfAEAABsAAAAAAAAAAAAAAAB8QQAAGwAAAAAAAAAAAAAAAAAAAAB8gQAABQAAAAAAAAAAAAAAAAAAAAAAAAApAEAAP////8BAQoJ8wQAAAEACgAHygMAAAABAAAAAgAAAAQaQXBsb3Jpcy5CYXNlLlVJLlZpc3VhbExpbmUDAAAACgoHywMAAAABAAAAAwAAAAQVU3lzdGVtLkRyYXdpbmcuUG9pbnRGBAAAAAH0BAAAIAAAAGxP6kKi+UlCAfUEAAAgAAAAXHKIQqL5SUIB9gQAACAAAAA+FiZDovlJQgfMAwAAAAEAAAADAAAABBdBcGxvcmlzLkJhc2UuQW5jaG9yTW9kZQMAAAAB9wQAAJoAAAAAAAAAAfgEAACaAAAAAgAAAAH5BAAAmgAAAAQAAAABzQMAACQAAAAJhQQAAAAAAAAAAAAAAc4DAAAlAAAACfoEAAACAAAACgAAAAHPAwAACQEAAApYAgAAAfsEAAB/AQAAAgAAAAH8BAAAgAEAAAEAAAAB/QQAABQAAAB6NF1Dr5mUQSC6q0LRI6hBAf4EAACCAQAAAAAAAAAAoEAAAf8EAAAgAAAAgRGEQ5ir6EEBAAUAAJoAAAAAAAAAAAAAAAAAAAAACQEFAAAAAAAACQIFAAAAAAEDBQAAowAAAAAAAAABBAUAAGwAAAAAAABCAABAQQEFBQAAFAAAAIsueENGF71BSEUAQqOLLkESg74/BgYFAAAFMTAuMSUKCQcFAAAJiwEAADQDAAD/////AQEKCQgFAAABAAoAAdADAAAbAAAAAQkFAAAgAAAAejRaQ8BeKkIBCgUAACAAAADFCJtDXjN5QQkLBQAACQwFAAAAAAAACgENBQAAbAAAAAAAAAAAAAAAAQ4FAABsAAAAAAAAAAAAAAAAAAAAAQ8FAAAUAAAAAAAAAAAAAAAAAAAAAAAAAKQBAAD/////AQEKCRAFAAABAAoAB9EDAAAAAQAAAAIAAAAEGkFwbG9yaXMuQmFzZS5VSS5WaXN1YWxMaW5lAwAAAAoKB9IDAAAAAQAAAAMAAAAEFVN5c3RlbS5EcmF3aW5nLlBvaW50RgQAAAABEQUAACAAAACBEYRDmKvoQQESBQAAIAAAAHo0V0OYq+hBARMFAAAgAAAAxYicQ5ir6EEH0wMAAAABAAAAAwAAAAQXQXBsb3Jpcy5CYXNlLkFuY2hvck1vZGUDAAAAARQFAACaAAAAAAAAAAEVBQAAmgAAAAIAAAABFgUAAJoAAAAEAAAAAdQDAAAkAAAACYUEAAAAAAAAAAAAAAHVAwAAJQAAAAkXBQAAAgAAAAIAAAAB1gMAAAkBAAAKWAIAAAEYBQAAfwEAAAIAAAABGQUAAIABAAABAAAAARoFAAAUAAAA4xe4Q6+ZlEEguqtC2tCFQgEbBQAAggEAAAAAAAAAAKBAAAEcBQAAIAAAACePzUOyHVBCAR0FAACaAAAAAAAAAAAAAAAAAAAAAAkeBQAAAAAAAAkfBQAAAAABIAUAAKMAAAAAAAAAASEFAABsAAAAAAAAQgAAQEEBIgUAABQAAAAuusVDXXQ5QkhFAEKjiy5BEoO+PwYjBQAABTI3LjIlCgkkBQAACYsBAAA0AwAA/////wEBCgklBQAAAQAKAAHXAwAAGwAAAAEmBQAAIAAAAOOXtkNG97BCAScFAAAgAAAAa4bkQ14zeUEJKAUAAAkpBQAAAAAAAAoBKgUAAGwAAAAAAAAAAAAAAAErBQAAbAAAAAAAAAAAAAAAAAAAAAEsBQAAFAAAAAAAAAAAAAAAAAAAAAAAAACkAQAA/////wEBCgktBQAAAQAKAAfYAwAAAAEAAAACAAAABBpBcGxvcmlzLkJhc2UuVUkuVmlzdWFsTGluZQMAAAAKCgfZAwAAAAEAAAADAAAABBVTeXN0ZW0uRHJhd2luZy5Qb2ludEYEAAAAAS4FAAAgAAAAJ4/NQ7IdUEIBLwUAACAAAADjF7VDsh1QQgEwBQAAIAAAAGsG5kOyHVBCB9oDAAAAAQAAAAMAAAAEF0FwbG9yaXMuQmFzZS5BbmNob3JNb2RlAwAAAAExBQAAmgAAAAAAAAABMgUAAJoAAAACAAAAATMFAACaAAAABAAAAAHbAwAAJAAAAAmFBAAAAAAAAAAAAAAB3AMAACUAAAAJNAUAAAIAAAAGAAAAAd0DAAAJAQAAClgCAAABNQUAAH8BAAACAAAAATYFAACAAQAAAQAAAAE3BQAAFAAAAMXKAESvmZRBILqrQly6skIBOAUAAIIBAAAAAAAAAACgQAABOQUAACAAAABnhgtENAd9QgE6BQAAmgAAAAAAAAAAAAAAAAAAAAAJOwUAAAAAAAAJPAUAAAAAAT0FAACjAAAAAAAAAAE+BQAAbAAAAAAAAEIAAEBBAT8FAAAUAAAAXXQHRC66aEJIRQBCo4suQRKDvj8GQAUAAAUzNS41JQoJQQUAAAmLAQAANAMAAP////8BAQoJQgUAAAEACgAB3gMAABsAAAABQwUAACAAAADFCgBEyODdQgFEBQAAIAAAAAkCF0ReM3lBCUUFAAAJRgUAAAAAAAAKAUcFAABsAAAAAAAAAAAAAAABSAUAAGwAAAAAAAAAAAAAAAAAAAABSQUAABQAAAAAAAAAAAAAAAAAAAAAAAAApAEAAP////8BAQoJSgUAAAEACgAH3wMAAAABAAAAAgAAAAQaQXBsb3Jpcy5CYXNlLlVJLlZpc3VhbExpbmUDAAAACgoH4AMAAAABAAAAAwAAAAQVU3lzdGVtLkRyYXdpbmcuUG9pbnRGBAAAAAFLBQAAIAAAAGeGC0Q0B31CAUwFAAAgAAAAipX+QzQHfUIBTQUAACAAAAAJwhdENAd9QgfhAwAAAAEAAAADAAAABBdBcGxvcmlzLkJhc2UuQW5jaG9yTW9kZQMAAAABTgUAAJoAAAAAAAAAAU8FAACaAAAAAgAAAAFQBQAAmgAAAAQAAAAB4gMAACQAAAAJ7AEAAAAAAAAAAAAAAeMDAAAlAAAACVEFAAACAAAAAgAAAAH6AwAAIgAAAAoKAAAAAAAoQQlwAAAACXEAAAAJUgUAAAAACVMFAAAB+wMAAHIAAAAKCgEAAAAFKW4A/////wABAQAEAACnAAAACVQFAAABAAAAAwAAAAEBBAAAbwAAAAlVBQAACgEEBAAAagAAAAoKAQAAQD8JVgUAAAlXBQAAAQAAAP7///8AAAAAAQAAAAAAAAAAAAAAAQAAAAAAAAAAAAABBQQAAGsAAAAKCglYBQAACVkFAAABAAAA/v///wAAAAD/////AAABCQQAAG8AAAAJWgUAAAoHEAQAAAABAAAAAAAAAAQfQXBsb3Jpcy5CYXNlLk9iamVjdHMuRGF0YU9iamVjdAMAAAAHEQQAAAABAAAABAAAAAQcQXBsb3Jpcy5CYXNlLlVJLlZpc3VhbE9iamVjdAMAAAAJkQMAAAmQAwAACgoBGAQAACIAAAAKCgAAAAAAKEEJcAAAAAlxAAAACVsFAAAAAAlcBQAAARkEAAByAAAACgoBAAAABSluAP////8AAQEeBAAApwAAAAldBQAAAQAAAAMAAAABHwQAAG8AAAAJXgUAAAoBIgQAAGoAAAAKCgAAAEA/CV8FAAAJYAUAAAEAAAD+////AAAAAAEAAAAAAAAAAAAAAAEAAAAAAAAAAAAAASMEAABrAAAACgoJYQUAAAliBQAAAQAAAP7///8AAAAA/////wAAAScEAABvAAAACWMFAAAKBy4EAAAAAQAAAAQAAAAEHEFwbG9yaXMuQmFzZS5VSS5WaXN1YWxPYmplY3QDAAAACZgDAAAJlwMAAAoKATUEAAAiAAAACgoAAAAAAChBCXAAAAAJcQAAAAlkBQAAAAAJZQUAAAE2BAAAcgAAAAoKAQAAAAUpbgD/////AAEBOwQAAKcAAAAJZgUAAAEAAAADAAAAATwEAABvAAAACWcFAAAKAT8EAABqAAAACgoAAABAPwloBQAACWkFAAABAAAA/v///wAAAAABAAAAAAAAAAAAAAABAAAAAAAAAAAAAAFABAAAawAAAAoKCWoFAAAJawUAAAEAAAD+////AAAAAP////8AAAFEBAAAbwAAAAlsBQAACgdLBAAAAAEAAAAEAAAABBxBcGxvcmlzLkJhc2UuVUkuVmlzdWFsT2JqZWN0AwAAAAmfAwAACZ4DAAAKCgFSBAAAIgAAAAoKAAAAAAAoQQlwAAAACXEAAAAJbQUAAAAACW4FAAABUwQAAHIAAAAKCgEAAAAFKW4A/////wABAVgEAACnAAAACW8FAAABAAAAAwAAAAFZBAAAbwAAAAlwBQAACgFcBAAAagAAAAoKAAAAQD8JcQUAAAlyBQAAAQAAAP7///8AAAAAAQAAAAAAAAAAAAAAAQAAAAAAAAAAAAABXQQAAGsAAAAKCglzBQAACXQFAAABAAAA/v///wAAAAD/////AAABYQQAAG8AAAAJdQUAAAoHaAQAAAABAAAABAAAAAQcQXBsb3Jpcy5CYXNlLlVJLlZpc3VhbE9iamVjdAMAAAAJpgMAAAmlAwAACgoBbwQAACIAAAAKCgAAAAAAKEEJcAAAAAlxAAAACXYFAAAAAAl3BQAAAXAEAAByAAAACgoBAAAARXXUAP////8AAQF1BAAApwAAAAl4BQAAAQAAAAMAAAABdgQAAG8AAAAJeQUAAAoBeQQAAGoAAAAKCgEAAEA/CXoFAAAJewUAAAEAAAD+////AAAAAAEAAAAAAAAAAAAAAAEAAAAAAAAAAAAAAXoEAABrAAAACgoJfAUAAAl9BQAAAQAAAP7///8AAAAA/////wAAAX4EAABvAAAACX4FAAAKB4UEAAAAAQAAAAAAAAAEH0FwbG9yaXMuQmFzZS5PYmplY3RzLkRhdGFPYmplY3QDAAAAB4YEAAAAAQAAAAQAAAAEHEFwbG9yaXMuQmFzZS5VSS5WaXN1YWxPYmplY3QDAAAACa0DAAAJrAMAAAoKAY0EAAAiAAAACgoAAAAAAChBCXAAAAAJcQAAAAl/BQAAAAAJgAUAAAGOBAAAcgAAAAoKAQAAAEV11AD/////AAEBkwQAAKcAAAAJgQUAAAEAAAADAAAAAZQEAABvAAAACYIFAAAKAZcEAABqAAAACgoAAABAPwmDBQAACYQFAAABAAAA/v///wAAAAABAAAAAAAAAAAAAAABAAAAAAAAAAAAAAGYBAAAawAAAAoKCYUFAAAJhgUAAAEAAAD+////AAAAAP////8AAAGcBAAAbwAAAAmHBQAACgejBAAAAAEAAAAEAAAABBxBcGxvcmlzLkJhc2UuVUkuVmlzdWFsT2JqZWN0AwAAAAm0AwAACbMDAAAKCgGqBAAAIgAAAAoKAAAAAAAoQQlwAAAACXEAAAAJiAUAAAAACYkFAAABqwQAAHIAAAAKCgEAAABFddQA/////wABAbAEAACnAAAACYoFAAABAAAAAwAAAAGxBAAAbwAAAAmLBQAACgG0BAAAagAAAAoKAAAAQD8JjAUAAAmNBQAAAQAAAP7///8AAAAAAQAAAAAAAAAAAAAAAQAAAAAAAAAAAAABtQQAAGsAAAAKCgmOBQAACY8FAAABAAAA/v///wAAAAD/////AAABuQQAAG8AAAAJkAUAAAoHwAQAAAABAAAABAAAAAQcQXBsb3Jpcy5CYXNlLlVJLlZpc3VhbE9iamVjdAMAAAAJuwMAAAm6AwAACgoBxwQAACIAAAAKCgAAAAAAKEEJcAAAAAlxAAAACZEFAAAAAAmSBQAAAcgEAAByAAAACgoBAAAARXXUAP////8AAQHNBAAApwAAAAmTBQAAAQAAAAMAAAABzgQAAG8AAAAJlAUAAAoB0QQAAGoAAAAKCgAAAEA/CZUFAAAJlgUAAAEAAAD+////AAAAAAEAAAAAAAAAAAAAAAEAAAAAAAAAAAAAAdIEAABrAAAACgoJlwUAAAmYBQAAAQAAAP7///8AAAAA/////wAAAdYEAABvAAAACZkFAAAKB90EAAAAAQAAAAQAAAAEHEFwbG9yaXMuQmFzZS5VSS5WaXN1YWxPYmplY3QDAAAACcIDAAAJwQMAAAoKAeQEAAAiAAAACgoAAAAAAChBCXAAAAAJcQAAAAmaBQAAAAAJmwUAAAHlBAAAcgAAAAoKAQAAAMHQ7QD/////AAEB6gQAAKcAAAAJnAUAAAEAAAADAAAAAesEAABvAAAACZ0FAAAKAe4EAABqAAAACgoBAABAPwmeBQAACZ8FAAABAAAA/v///wAAAAABAAAAAAAAAAAAAAABAAAAAAAAAAAAAAHvBAAAawAAAAoKCaAFAAAJoQUAAAEAAAD+////AAAAAP////8AAAHzBAAAbwAAAAmiBQAACgf6BAAAAAEAAAAEAAAABBxBcGxvcmlzLkJhc2UuVUkuVmlzdWFsT2JqZWN0AwAAAAnJAwAACcgDAAAKCgEBBQAAIgAAAAoKAAAAAAAoQQlwAAAACXEAAAAJowUAAAAACaQFAAABAgUAAHIAAAAKCgEAAADB0O0A/////wABAQcFAACnAAAACaUFAAABAAAAAwAAAAEIBQAAbwAAAAmmBQAACgELBQAAagAAAAoKAAAAQD8JpwUAAAmoBQAAAQAAAP7///8AAAAAAQAAAAAAAAAAAAAAAQAAAAAAAAAAAAABDAUAAGsAAAAKCgmpBQAACaoFAAABAAAA/v///wAAAAD/////AAABEAUAAG8AAAAJqwUAAAoHFwUAAAABAAAABAAAAAQcQXBsb3Jpcy5CYXNlLlVJLlZpc3VhbE9iamVjdAMAAAAJ0AMAAAnPAwAACgoBHgUAACIAAAAKCgAAAAAAKEEJcAAAAAlxAAAACawFAAAAAAmtBQAAAR8FAAByAAAACgoBAAAAwdDtAP////8AAQEkBQAApwAAAAmuBQAAAQAAAAMAAAABJQUAAG8AAAAJrwUAAAoBKAUAAGoAAAAKCgAAAEA/CbAFAAAJsQUAAAEAAAD+////AAAAAAEAAAAAAAAAAAAAAAEAAAAAAAAAAAAAASkFAABrAAAACgoJsgUAAAmzBQAAAQAAAP7///8AAAAA/////wAAAS0FAABvAAAACbQFAAAKBzQFAAAAAQAAAAQAAAAEHEFwbG9yaXMuQmFzZS5VSS5WaXN1YWxPYmplY3QDAAAACdcDAAAJ1gMAAAoKATsFAAAiAAAACgoAAAAAAChBCXAAAAAJcQAAAAm1BQAAAAAJtgUAAAE8BQAAcgAAAAoKAQAAAMHQ7QD/////AAEBQQUAAKcAAAAJtwUAAAEAAAADAAAAAUIFAABvAAAACbgFAAAKAUUFAABqAAAACgoAAABAPwm5BQAACboFAAABAAAA/v///wAAAAABAAAAAAAAAAAAAAABAAAAAAAAAAAAAAFGBQAAawAAAAoKCbsFAAAJvAUAAAEAAAD+////AAAAAP////8AAAFKBQAAbwAAAAm9BQAACgdRBQAAAAEAAAAEAAAABBxBcGxvcmlzLkJhc2UuVUkuVmlzdWFsT2JqZWN0AwAAAAneAwAACd0DAAAKCgFSBQAAcgAAAAoKAAAAAP///wAOAAAAAAABUwUAAHIAAAAKCgAAAAD///8ADgAAAAABB1QFAAAAAQAAAAQAAAAEHUFwbG9yaXMuQmFzZS5PYmplY3RzLlZhcmlhYmxlAwAAAAG+BQAAMAMAAAEAAAAAAAAAAb8FAAAwAwAAAAAAAAAAAAABwAUAADADAAAAAAAAAAAAAAHBBQAAMAMAAAAAAAAAAAAAD1UFAAABAAAACDUDAAAFVgUAABpBcGxvcmlzLkJhc2UuT2JqZWN0cy5Db2xvcgcAAAASRGF0YU9iamVjdCttUGFyZW50FURhdGFPYmplY3QrbUNvbnRhaW5lcgVtVHlwZQRtUkdCEG1UaGVtZUNvbG9ySW5kZXgMbUF1dG9VcGRhdGVkCW1Nb2RpZmllZAQCAAAAAAAfQXBsb3Jpcy5CYXNlLk9iamVjdHMuTGluZUZvcm1hdAMAAAAICAgBAQMAAAAJBAQAAAoAAAAA////AA4AAAAAAAVXBQAAGkFwbG9yaXMuQmFzZS5PYmplY3RzLkNvbG9yBwAAABJEYXRhT2JqZWN0K21QYXJlbnQVRGF0YU9iamVjdCttQ29udGFpbmVyBW1UeXBlBG1SR0IQbVRoZW1lQ29sb3JJbmRleAxtQXV0b1VwZGF0ZWQJbU1vZGlmaWVkBAIAAAAAAB9BcGxvcmlzLkJhc2UuT2JqZWN0cy5MaW5lRm9ybWF0AwAAAAgICAEBAwAAAAkEBAAACgEAAAAAAAAA/////wABAVgFAAByAAAACgoBAAAABSluAP////8AAAFZBQAAcgAAAAoKAQAAAP///wD/////AAEPWgUAAAEAAAAIJAMAAAFbBQAAcgAAAAoKAAAAAP///wAOAAAAAAABXAUAAHIAAAAKCgAAAAD///8ADgAAAAABB10FAAAAAQAAAAQAAAAEHUFwbG9yaXMuQmFzZS5PYmplY3RzLlZhcmlhYmxlAwAAAAHCBQAAMAMAAAEAAAAAAAAAAcMFAAAwAwAAAAAAAAAAAAABxAUAADADAAAAAAAAAAAAAAHFBQAAMAMAAAAAAAAAAAAAD14FAAABAAAACGoCAAAFXwUAABpBcGxvcmlzLkJhc2UuT2JqZWN0cy5Db2xvcgcAAAASRGF0YU9iamVjdCttUGFyZW50FURhdGFPYmplY3QrbUNvbnRhaW5lcgVtVHlwZQRtUkdCEG1UaGVtZUNvbG9ySW5kZXgMbUF1dG9VcGRhdGVkCW1Nb2RpZmllZAQCAAAAAAAfQXBsb3Jpcy5CYXNlLk9iamVjdHMuTGluZUZvcm1hdAMAAAAICAgBAQMAAAAJIgQAAAoAAAAA////AA4AAAAAAAVgBQAAGkFwbG9yaXMuQmFzZS5PYmplY3RzLkNvbG9yBwAAABJEYXRhT2JqZWN0K21QYXJlbnQVRGF0YU9iamVjdCttQ29udGFpbmVyBW1UeXBlBG1SR0IQbVRoZW1lQ29sb3JJbmRleAxtQXV0b1VwZGF0ZWQJbU1vZGlmaWVkBAIAAAAAAB9BcGxvcmlzLkJhc2UuT2JqZWN0cy5MaW5lRm9ybWF0AwAAAAgICAEBAwAAAAkiBAAACgEAAAAAAAAA/////wABAWEFAAByAAAACgoBAAAABSluAP////8AAAFiBQAAcgAAAAoKAQAAAP///wD/////AAAPYwUAAAEAAAAIWgIAAAFkBQAAcgAAAAoKAAAAAP///wAOAAAAAAABZQUAAHIAAAAKCgAAAAD///8ADgAAAAABB2YFAAAAAQAAAAQAAAAEHUFwbG9yaXMuQmFzZS5PYmplY3RzLlZhcmlhYmxlAwAAAAHGBQAAMAMAAAEAAAAAAAAAAccFAAAwAwAAAAAAAAAAAAAByAUAADADAAAAAAAAAAAAAAHJBQAAMAMAAAAAAAAAAAAAD2cFAAABAAAACHACAAAFaAUAABpBcGxvcmlzLkJhc2UuT2JqZWN0cy5Db2xvcgcAAAASRGF0YU9iamVjdCttUGFyZW50FURhdGFPYmplY3QrbUNvbnRhaW5lcgVtVHlwZQRtUkdCEG1UaGVtZUNvbG9ySW5kZXgMbUF1dG9VcGRhdGVkCW1Nb2RpZmllZAQCAAAAAAAfQXBsb3Jpcy5CYXNlLk9iamVjdHMuTGluZUZvcm1hdAMAAAAICAgBAQMAAAAJPwQAAAoAAAAA////AA4AAAAAAAVpBQAAGkFwbG9yaXMuQmFzZS5PYmplY3RzLkNvbG9yBwAAABJEYXRhT2JqZWN0K21QYXJlbnQVRGF0YU9iamVjdCttQ29udGFpbmVyBW1UeXBlBG1SR0IQbVRoZW1lQ29sb3JJbmRleAxtQXV0b1VwZGF0ZWQJbU1vZGlmaWVkBAIAAAAAAB9BcGxvcmlzLkJhc2UuT2JqZWN0cy5MaW5lRm9ybWF0AwAAAAgICAEBAwAAAAk/BAAACgEAAAAAAAAA/////wABAWoFAAByAAAACgoBAAAABSluAP////8AAAFrBQAAcgAAAAoKAQAAAP///wD/////AAAPbAUAAAEAAAAIWQIAAAFtBQAAcgAAAAoKAAAAAP///wAOAAAAAAABbgUAAHIAAAAKCgAAAAD///8ADgAAAAABB28FAAAAAQAAAAQAAAAEHUFwbG9yaXMuQmFzZS5PYmplY3RzLlZhcmlhYmxlAwAAAAHKBQAAMAMAAAEAAAAAAAAAAcsFAAAwAwAAAAAAAAAAAAABzAUAADADAAAAAAAAAAAAAAHNBQAAMAMAAAAAAAAAAAAAD3AFAAABAAAACCADAAAFcQUAABpBcGxvcmlzLkJhc2UuT2JqZWN0cy5Db2xvcgcAAAASRGF0YU9iamVjdCttUGFyZW50FURhdGFPYmplY3QrbUNvbnRhaW5lcgVtVHlwZQRtUkdCEG1UaGVtZUNvbG9ySW5kZXgMbUF1dG9VcGRhdGVkCW1Nb2RpZmllZAQCAAAAAAAfQXBsb3Jpcy5CYXNlLk9iamVjdHMuTGluZUZvcm1hdAMAAAAICAgBAQMAAAAJXAQAAAoAAAAA////AA4AAAAAAAVyBQAAGkFwbG9yaXMuQmFzZS5PYmplY3RzLkNvbG9yBwAAABJEYXRhT2JqZWN0K21QYXJlbnQVRGF0YU9iamVjdCttQ29udGFpbmVyBW1UeXBlBG1SR0IQbVRoZW1lQ29sb3JJbmRleAxtQXV0b1VwZGF0ZWQJbU1vZGlmaWVkBAIAAAAAAB9BcGxvcmlzLkJhc2UuT2JqZWN0cy5MaW5lRm9ybWF0AwAAAAgICAEBAwAAAAlcBAAACgEAAAAAAAAA/////wABAXMFAAByAAAACgoBAAAABSluAP////8AAAF0BQAAcgAAAAoKAQAAAP///wD/////AAAPdQUAAAEAAAAIDAMAAAF2BQAAcgAAAAoKAAAAAP///wAOAAAAAAABdwUAAHIAAAAKCgAAAAD///8ADgAAAAABB3gFAAAAAQAAAAQAAAAEHUFwbG9yaXMuQmFzZS5PYmplY3RzLlZhcmlhYmxlAwAAAAHOBQAAMAMAAAEAAAAAAAAAAc8FAAAwAwAAAAAAAAAAAAAB0AUAADADAAAAAAAAAAAAAAHRBQAAMAMAAAAAAAAAAAAAD3kFAAABAAAACDMDAAAFegUAABpBcGxvcmlzLkJhc2UuT2JqZWN0cy5Db2xvcgcAAAASRGF0YU9iamVjdCttUGFyZW50FURhdGFPYmplY3QrbUNvbnRhaW5lcgVtVHlwZQRtUkdCEG1UaGVtZUNvbG9ySW5kZXgMbUF1dG9VcGRhdGVkCW1Nb2RpZmllZAQCAAAAAAAfQXBsb3Jpcy5CYXNlLk9iamVjdHMuTGluZUZvcm1hdAMAAAAICAgBAQMAAAAJeQQAAAoAAAAA////AA4AAAAAAAV7BQAAGkFwbG9yaXMuQmFzZS5PYmplY3RzLkNvbG9yBwAAABJEYXRhT2JqZWN0K21QYXJlbnQVRGF0YU9iamVjdCttQ29udGFpbmVyBW1UeXBlBG1SR0IQbVRoZW1lQ29sb3JJbmRleAxtQXV0b1VwZGF0ZWQJbU1vZGlmaWVkBAIAAAAAAB9BcGxvcmlzLkJhc2UuT2JqZWN0cy5MaW5lRm9ybWF0AwAAAAgICAEBAwAAAAl5BAAACgEAAAAAAAAA/////wABAXwFAAByAAAACgoBAAAARXXUAP////8AAAF9BQAAcgAAAAoKAQAAAP///wD/////AAEPfgUAAAEAAAAIIwMAAAF/BQAAcgAAAAoKAAAAAP///wAOAAAAAAABgAUAAHIAAAAKCgAAAAD///8ADgAAAAABB4EFAAAAAQAAAAQAAAAEHUFwbG9yaXMuQmFzZS5PYmplY3RzLlZhcmlhYmxlAwAAAAHSBQAAMAMAAAEAAAAAAAAAAdMFAAAwAwAAAAAAAAAAAAAB1AUAADADAAAAAAAAAAAAAAHVBQAAMAMAAAAAAAAAAAAAD4IFAAABAAAACDICAAAFgwUAABpBcGxvcmlzLkJhc2UuT2JqZWN0cy5Db2xvcgcAAAASRGF0YU9iamVjdCttUGFyZW50FURhdGFPYmplY3QrbUNvbnRhaW5lcgVtVHlwZQRtUkdCEG1UaGVtZUNvbG9ySW5kZXgMbUF1dG9VcGRhdGVkCW1Nb2RpZmllZAQCAAAAAAAfQXBsb3Jpcy5CYXNlLk9iamVjdHMuTGluZUZvcm1hdAMAAAAICAgBAQMAAAAJlwQAAAoAAAAA////AA4AAAAAAAWEBQAAGkFwbG9yaXMuQmFzZS5PYmplY3RzLkNvbG9yBwAAABJEYXRhT2JqZWN0K21QYXJlbnQVRGF0YU9iamVjdCttQ29udGFpbmVyBW1UeXBlBG1SR0IQbVRoZW1lQ29sb3JJbmRleAxtQXV0b1VwZGF0ZWQJbU1vZGlmaWVkBAIAAAAAAB9BcGxvcmlzLkJhc2UuT2JqZWN0cy5MaW5lRm9ybWF0AwAAAAgICAEBAwAAAAmXBAAACgEAAAAAAAAA/////wABAYUFAAByAAAACgoBAAAARXXUAP////8AAAGGBQAAcgAAAAoKAQAAAP///wD/////AAAPhwUAAAEAAAAIBAIAAAGIBQAAcgAAAAoKAAAAAP///wAOAAAAAAABiQUAAHIAAAAKCgAAAAD///8ADgAAAAABB4oFAAAAAQAAAAQAAAAEHUFwbG9yaXMuQmFzZS5PYmplY3RzLlZhcmlhYmxlAwAAAAHWBQAAMAMAAAEAAAAAAAAAAdcFAAAwAwAAAAAAAAAAAAAB2AUAADADAAAAAAAAAAAAAAHZBQAAMAMAAAAAAAAAAAAAD4sFAAABAAAACDYCAAAFjAUAABpBcGxvcmlzLkJhc2UuT2JqZWN0cy5Db2xvcgcAAAASRGF0YU9iamVjdCttUGFyZW50FURhdGFPYmplY3QrbUNvbnRhaW5lcgVtVHlwZQRtUkdCEG1UaGVtZUNvbG9ySW5kZXgMbUF1dG9VcGRhdGVkCW1Nb2RpZmllZAQCAAAAAAAfQXBsb3Jpcy5CYXNlLk9iamVjdHMuTGluZUZvcm1hdAMAAAAICAgBAQMAAAAJtAQAAAoAAAAA////AA4AAAAAAAWNBQAAGkFwbG9yaXMuQmFzZS5PYmplY3RzLkNvbG9yBwAAABJEYXRhT2JqZWN0K21QYXJlbnQVRGF0YU9iamVjdCttQ29udGFpbmVyBW1UeXBlBG1SR0IQbVRoZW1lQ29sb3JJbmRleAxtQXV0b1VwZGF0ZWQJbU1vZGlmaWVkBAIAAAAAAB9BcGxvcmlzLkJhc2UuT2JqZWN0cy5MaW5lRm9ybWF0AwAAAAgICAEBAwAAAAm0BAAACgEAAAAAAAAA/////wABAY4FAAByAAAACgoBAAAARXXUAP////8AAAGPBQAAcgAAAAoKAQAAAP///wD/////AAAPkAUAAAEAAAAIBwIAAAGRBQAAcgAAAAoKAAAAAP///wAOAAAAAAABkgUAAHIAAAAKCgAAAAD///8ADgAAAAABB5MFAAAAAQAAAAQAAAAEHUFwbG9yaXMuQmFzZS5PYmplY3RzLlZhcmlhYmxlAwAAAAHaBQAAMAMAAAEAAAAAAAAAAdsFAAAwAwAAAAAAAAAAAAAB3AUAADADAAAAAAAAAAAAAAHdBQAAMAMAAAAAAAAAAAAAD5QFAAABAAAACCIDAAAFlQUAABpBcGxvcmlzLkJhc2UuT2JqZWN0cy5Db2xvcgcAAAASRGF0YU9iamVjdCttUGFyZW50FURhdGFPYmplY3QrbUNvbnRhaW5lcgVtVHlwZQRtUkdCEG1UaGVtZUNvbG9ySW5kZXgMbUF1dG9VcGRhdGVkCW1Nb2RpZmllZAQCAAAAAAAfQXBsb3Jpcy5CYXNlLk9iamVjdHMuTGluZUZvcm1hdAMAAAAICAgBAQMAAAAJ0QQAAAoAAAAA////AA4AAAAAAAWWBQAAGkFwbG9yaXMuQmFzZS5PYmplY3RzLkNvbG9yBwAAABJEYXRhT2JqZWN0K21QYXJlbnQVRGF0YU9iamVjdCttQ29udGFpbmVyBW1UeXBlBG1SR0IQbVRoZW1lQ29sb3JJbmRleAxtQXV0b1VwZGF0ZWQJbU1vZGlmaWVkBAIAAAAAAB9BcGxvcmlzLkJhc2UuT2JqZWN0cy5MaW5lRm9ybWF0AwAAAAgICAEBAwAAAAnRBAAACgEAAAAAAAAA/////wABAZcFAAByAAAACgoBAAAARXXUAP////8AAAGYBQAAcgAAAAoKAQAAAP///wD/////AAAPmQUAAAEAAAAICQMAAAGaBQAAcgAAAAoKAAAAAAAAAAANAAAAAAABmwUAAHIAAAAKCgAAAAAAAAAADQAAAAABB5wFAAAAAQAAAAQAAAAEHUFwbG9yaXMuQmFzZS5PYmplY3RzLlZhcmlhYmxlAwAAAAHeBQAAMAMAAAEAAAAAAAAAAd8FAAAwAwAAAAAAAAAAAAAB4AUAADADAAAAAAAAAAAAAAHhBQAAMAMAAAAAAAAAAAAAD50FAAABAAAACDQDAAAFngUAABpBcGxvcmlzLkJhc2UuT2JqZWN0cy5Db2xvcgcAAAASRGF0YU9iamVjdCttUGFyZW50FURhdGFPYmplY3QrbUNvbnRhaW5lcgVtVHlwZQRtUkdCEG1UaGVtZUNvbG9ySW5kZXgMbUF1dG9VcGRhdGVkCW1Nb2RpZmllZAQCAAAAAAAfQXBsb3Jpcy5CYXNlLk9iamVjdHMuTGluZUZvcm1hdAMAAAAICAgBAQMAAAAJ7gQAAAoAAAAA////AA4AAAAAAAWfBQAAGkFwbG9yaXMuQmFzZS5PYmplY3RzLkNvbG9yBwAAABJEYXRhT2JqZWN0K21QYXJlbnQVRGF0YU9iamVjdCttQ29udGFpbmVyBW1UeXBlBG1SR0IQbVRoZW1lQ29sb3JJbmRleAxtQXV0b1VwZGF0ZWQJbU1vZGlmaWVkBAIAAAAAAB9BcGxvcmlzLkJhc2UuT2JqZWN0cy5MaW5lRm9ybWF0AwAAAAgICAEBAwAAAAnuBAAACgEAAAAAAAAA/////wABAaAFAAByAAAACgoBAAAAwdDtAP////8AAAGhBQAAcgAAAAoKAQAAAP///wD/////AAEPogUAAAEAAAAIJQMAAAGjBQAAcgAAAAoKAAAAAAAAAAANAAAAAAABpAUAAHIAAAAKCgAAAAAAAAAADQAAAAABB6UFAAAAAQAAAAQAAAAEHUFwbG9yaXMuQmFzZS5PYmplY3RzLlZhcmlhYmxlAwAAAAHiBQAAMAMAAAEAAAAAAAAAAeMFAAAwAwAAAAAAAAAAAAAB5AUAADADAAAAAAAAAAAAAAHlBQAAMAMAAAAAAAAAAAAAD6YFAAABAAAACEkCAAAFpwUAABpBcGxvcmlzLkJhc2UuT2JqZWN0cy5Db2xvcgcAAAASRGF0YU9iamVjdCttUGFyZW50FURhdGFPYmplY3QrbUNvbnRhaW5lcgVtVHlwZQRtUkdCEG1UaGVtZUNvbG9ySW5kZXgMbUF1dG9VcGRhdGVkCW1Nb2RpZmllZAQCAAAAAAAfQXBsb3Jpcy5CYXNlLk9iamVjdHMuTGluZUZvcm1hdAMAAAAICAgBAQMAAAAJCwUAAAoAAAAA////AA4AAAAAAAWoBQAAGkFwbG9yaXMuQmFzZS5PYmplY3RzLkNvbG9yBwAAABJEYXRhT2JqZWN0K21QYXJlbnQVRGF0YU9iamVjdCttQ29udGFpbmVyBW1UeXBlBG1SR0IQbVRoZW1lQ29sb3JJbmRleAxtQXV0b1VwZGF0ZWQJbU1vZGlmaWVkBAIAAAAAAB9BcGxvcmlzLkJhc2UuT2JqZWN0cy5MaW5lRm9ybWF0AwAAAAgICAEBAwAAAAkLBQAACgEAAAAAAAAA/////wABAakFAAByAAAACgoBAAAAwdDtAP////8AAAGqBQAAcgAAAAoKAQAAAP///wD/////AAAPqwUAAAEAAAAIFgIAAAGsBQAAcgAAAAoKAAAAAAAAAAANAAAAAAABrQUAAHIAAAAKCgAAAAAAAAAADQAAAAABB64FAAAAAQAAAAQAAAAEHUFwbG9yaXMuQmFzZS5PYmplY3RzLlZhcmlhYmxlAwAAAAHmBQAAMAMAAAEAAAAAAAAAAecFAAAwAwAAAAAAAAAAAAAB6AUAADADAAAAAAAAAAAAAAHpBQAAMAMAAAAAAAAAAAAAD68FAAABAAAACNsCAAAFsAUAABpBcGxvcmlzLkJhc2UuT2JqZWN0cy5Db2xvcgcAAAASRGF0YU9iamVjdCttUGFyZW50FURhdGFPYmplY3QrbUNvbnRhaW5lcgVtVHlwZQRtUkdCEG1UaGVtZUNvbG9ySW5kZXgMbUF1dG9VcGRhdGVkCW1Nb2RpZmllZAQCAAAAAAAfQXBsb3Jpcy5CYXNlLk9iamVjdHMuTGluZUZvcm1hdAMAAAAICAgBAQMAAAAJKAUAAAoAAAAA////AA4AAAAAAAWxBQAAGkFwbG9yaXMuQmFzZS5PYmplY3RzLkNvbG9yBwAAABJEYXRhT2JqZWN0K21QYXJlbnQVRGF0YU9iamVjdCttQ29udGFpbmVyBW1UeXBlBG1SR0IQbVRoZW1lQ29sb3JJbmRleAxtQXV0b1VwZGF0ZWQJbU1vZGlmaWVkBAIAAAAAAB9BcGxvcmlzLkJhc2UuT2JqZWN0cy5MaW5lRm9ybWF0AwAAAAgICAEBAwAAAAkoBQAACgEAAAAAAAAA/////wABAbIFAAByAAAACgoBAAAAwdDtAP////8AAAGzBQAAcgAAAAoKAQAAAP///wD/////AAAPtAUAAAEAAAAIzQIAAAG1BQAAcgAAAAoKAAAAAAAAAAANAAAAAAABtgUAAHIAAAAKCgAAAAAAAAAADQAAAAABB7cFAAAAAQAAAAQAAAAEHUFwbG9yaXMuQmFzZS5PYmplY3RzLlZhcmlhYmxlAwAAAAHqBQAAMAMAAAEAAAAAAAAAAesFAAAwAwAAAAAAAAAAAAAB7AUAADADAAAAAAAAAAAAAAHtBQAAMAMAAAAAAAAAAAAAD7gFAAABAAAACB8DAAAFuQUAABpBcGxvcmlzLkJhc2UuT2JqZWN0cy5Db2xvcgcAAAASRGF0YU9iamVjdCttUGFyZW50FURhdGFPYmplY3QrbUNvbnRhaW5lcgVtVHlwZQRtUkdCEG1UaGVtZUNvbG9ySW5kZXgMbUF1dG9VcGRhdGVkCW1Nb2RpZmllZAQCAAAAAAAfQXBsb3Jpcy5CYXNlLk9iamVjdHMuTGluZUZvcm1hdAMAAAAICAgBAQMAAAAJRQUAAAoAAAAA////AA4AAAAAAAW6BQAAGkFwbG9yaXMuQmFzZS5PYmplY3RzLkNvbG9yBwAAABJEYXRhT2JqZWN0K21QYXJlbnQVRGF0YU9iamVjdCttQ29udGFpbmVyBW1UeXBlBG1SR0IQbVRoZW1lQ29sb3JJbmRleAxtQXV0b1VwZGF0ZWQJbU1vZGlmaWVkBAIAAAAAAB9BcGxvcmlzLkJhc2UuT2JqZWN0cy5MaW5lRm9ybWF0AwAAAAgICAEBAwAAAAlFBQAACgEAAAAAAAAA/////wABAbsFAAByAAAACgoBAAAAwdDtAP////8AAAG8BQAAcgAAAAoKAQAAAP///wD/////AAAPvQUAAAEAAAAIDgMAAAs="/>
  <p:tag name="APLORISTAG" val="MqqyvQHz47eJaEyrz.601"/>
</p:tagLst>
</file>

<file path=ppt/tags/tag721.xml><?xml version="1.0" encoding="utf-8"?>
<p:tagLst xmlns:a="http://schemas.openxmlformats.org/drawingml/2006/main" xmlns:r="http://schemas.openxmlformats.org/officeDocument/2006/relationships" xmlns:p="http://schemas.openxmlformats.org/presentationml/2006/main">
  <p:tag name="APLORISTAG" val="MqqyvQHz47eJaEyrz.913"/>
</p:tagLst>
</file>

<file path=ppt/tags/tag722.xml><?xml version="1.0" encoding="utf-8"?>
<p:tagLst xmlns:a="http://schemas.openxmlformats.org/drawingml/2006/main" xmlns:r="http://schemas.openxmlformats.org/officeDocument/2006/relationships" xmlns:p="http://schemas.openxmlformats.org/presentationml/2006/main">
  <p:tag name="APLORISTAG" val="MqqyvQHz47eJaEyrz.855"/>
</p:tagLst>
</file>

<file path=ppt/tags/tag723.xml><?xml version="1.0" encoding="utf-8"?>
<p:tagLst xmlns:a="http://schemas.openxmlformats.org/drawingml/2006/main" xmlns:r="http://schemas.openxmlformats.org/officeDocument/2006/relationships" xmlns:p="http://schemas.openxmlformats.org/presentationml/2006/main">
  <p:tag name="APLORISTAG" val="MqqyvQHz47eJaEyrz.717"/>
</p:tagLst>
</file>

<file path=ppt/tags/tag724.xml><?xml version="1.0" encoding="utf-8"?>
<p:tagLst xmlns:a="http://schemas.openxmlformats.org/drawingml/2006/main" xmlns:r="http://schemas.openxmlformats.org/officeDocument/2006/relationships" xmlns:p="http://schemas.openxmlformats.org/presentationml/2006/main">
  <p:tag name="APLORISTAG" val="MqqyvQHz47eJaEyrz.856"/>
</p:tagLst>
</file>

<file path=ppt/tags/tag725.xml><?xml version="1.0" encoding="utf-8"?>
<p:tagLst xmlns:a="http://schemas.openxmlformats.org/drawingml/2006/main" xmlns:r="http://schemas.openxmlformats.org/officeDocument/2006/relationships" xmlns:p="http://schemas.openxmlformats.org/presentationml/2006/main">
  <p:tag name="APLORISTAG" val="MqqyvQHz47eJaEyrz.534"/>
</p:tagLst>
</file>

<file path=ppt/tags/tag726.xml><?xml version="1.0" encoding="utf-8"?>
<p:tagLst xmlns:a="http://schemas.openxmlformats.org/drawingml/2006/main" xmlns:r="http://schemas.openxmlformats.org/officeDocument/2006/relationships" xmlns:p="http://schemas.openxmlformats.org/presentationml/2006/main">
  <p:tag name="APLORISTAG" val="MqqyvQHz47eJaEyrz.914"/>
</p:tagLst>
</file>

<file path=ppt/tags/tag727.xml><?xml version="1.0" encoding="utf-8"?>
<p:tagLst xmlns:a="http://schemas.openxmlformats.org/drawingml/2006/main" xmlns:r="http://schemas.openxmlformats.org/officeDocument/2006/relationships" xmlns:p="http://schemas.openxmlformats.org/presentationml/2006/main">
  <p:tag name="APLORISTAG" val="MqqyvQHz47eJaEyrz.932"/>
</p:tagLst>
</file>

<file path=ppt/tags/tag728.xml><?xml version="1.0" encoding="utf-8"?>
<p:tagLst xmlns:a="http://schemas.openxmlformats.org/drawingml/2006/main" xmlns:r="http://schemas.openxmlformats.org/officeDocument/2006/relationships" xmlns:p="http://schemas.openxmlformats.org/presentationml/2006/main">
  <p:tag name="APLORISTAG" val="MqqyvQHz47eJaEyrz.933"/>
</p:tagLst>
</file>

<file path=ppt/tags/tag729.xml><?xml version="1.0" encoding="utf-8"?>
<p:tagLst xmlns:a="http://schemas.openxmlformats.org/drawingml/2006/main" xmlns:r="http://schemas.openxmlformats.org/officeDocument/2006/relationships" xmlns:p="http://schemas.openxmlformats.org/presentationml/2006/main">
  <p:tag name="APLORISTAG" val="MqqyvQHz47eJaEyrz.934"/>
</p:tagLst>
</file>

<file path=ppt/tags/tag73.xml><?xml version="1.0" encoding="utf-8"?>
<p:tagLst xmlns:a="http://schemas.openxmlformats.org/drawingml/2006/main" xmlns:r="http://schemas.openxmlformats.org/officeDocument/2006/relationships" xmlns:p="http://schemas.openxmlformats.org/presentationml/2006/main">
  <p:tag name="APLORISTAG" val="MMq8K+TY0y1GzdU7X.6"/>
</p:tagLst>
</file>

<file path=ppt/tags/tag730.xml><?xml version="1.0" encoding="utf-8"?>
<p:tagLst xmlns:a="http://schemas.openxmlformats.org/drawingml/2006/main" xmlns:r="http://schemas.openxmlformats.org/officeDocument/2006/relationships" xmlns:p="http://schemas.openxmlformats.org/presentationml/2006/main">
  <p:tag name="APLORISTAG" val="MqqyvQHz47eJaEyrz.935"/>
</p:tagLst>
</file>

<file path=ppt/tags/tag731.xml><?xml version="1.0" encoding="utf-8"?>
<p:tagLst xmlns:a="http://schemas.openxmlformats.org/drawingml/2006/main" xmlns:r="http://schemas.openxmlformats.org/officeDocument/2006/relationships" xmlns:p="http://schemas.openxmlformats.org/presentationml/2006/main">
  <p:tag name="APLORISTAG" val="MqqyvQHz47eJaEyrz.936"/>
</p:tagLst>
</file>

<file path=ppt/tags/tag732.xml><?xml version="1.0" encoding="utf-8"?>
<p:tagLst xmlns:a="http://schemas.openxmlformats.org/drawingml/2006/main" xmlns:r="http://schemas.openxmlformats.org/officeDocument/2006/relationships" xmlns:p="http://schemas.openxmlformats.org/presentationml/2006/main">
  <p:tag name="APLORISTAG" val="MqqyvQHz47eJaEyrz.937"/>
</p:tagLst>
</file>

<file path=ppt/tags/tag733.xml><?xml version="1.0" encoding="utf-8"?>
<p:tagLst xmlns:a="http://schemas.openxmlformats.org/drawingml/2006/main" xmlns:r="http://schemas.openxmlformats.org/officeDocument/2006/relationships" xmlns:p="http://schemas.openxmlformats.org/presentationml/2006/main">
  <p:tag name="APLORISTAG" val="MqqyvQHz47eJaEyrz.938"/>
</p:tagLst>
</file>

<file path=ppt/tags/tag734.xml><?xml version="1.0" encoding="utf-8"?>
<p:tagLst xmlns:a="http://schemas.openxmlformats.org/drawingml/2006/main" xmlns:r="http://schemas.openxmlformats.org/officeDocument/2006/relationships" xmlns:p="http://schemas.openxmlformats.org/presentationml/2006/main">
  <p:tag name="APLORISTAG" val="MqqyvQHz47eJaEyrz.939"/>
</p:tagLst>
</file>

<file path=ppt/tags/tag735.xml><?xml version="1.0" encoding="utf-8"?>
<p:tagLst xmlns:a="http://schemas.openxmlformats.org/drawingml/2006/main" xmlns:r="http://schemas.openxmlformats.org/officeDocument/2006/relationships" xmlns:p="http://schemas.openxmlformats.org/presentationml/2006/main">
  <p:tag name="APLORISTAG" val="MqqyvQHz47eJaEyrz.940"/>
</p:tagLst>
</file>

<file path=ppt/tags/tag736.xml><?xml version="1.0" encoding="utf-8"?>
<p:tagLst xmlns:a="http://schemas.openxmlformats.org/drawingml/2006/main" xmlns:r="http://schemas.openxmlformats.org/officeDocument/2006/relationships" xmlns:p="http://schemas.openxmlformats.org/presentationml/2006/main">
  <p:tag name="APLORISTAG" val="MqqyvQHz47eJaEyrz.941"/>
</p:tagLst>
</file>

<file path=ppt/tags/tag737.xml><?xml version="1.0" encoding="utf-8"?>
<p:tagLst xmlns:a="http://schemas.openxmlformats.org/drawingml/2006/main" xmlns:r="http://schemas.openxmlformats.org/officeDocument/2006/relationships" xmlns:p="http://schemas.openxmlformats.org/presentationml/2006/main">
  <p:tag name="APLORISTAG" val="MqqyvQHz47eJaEyrz.942"/>
</p:tagLst>
</file>

<file path=ppt/tags/tag738.xml><?xml version="1.0" encoding="utf-8"?>
<p:tagLst xmlns:a="http://schemas.openxmlformats.org/drawingml/2006/main" xmlns:r="http://schemas.openxmlformats.org/officeDocument/2006/relationships" xmlns:p="http://schemas.openxmlformats.org/presentationml/2006/main">
  <p:tag name="APLORISTAG" val="MqqyvQHz47eJaEyrz.943"/>
</p:tagLst>
</file>

<file path=ppt/tags/tag739.xml><?xml version="1.0" encoding="utf-8"?>
<p:tagLst xmlns:a="http://schemas.openxmlformats.org/drawingml/2006/main" xmlns:r="http://schemas.openxmlformats.org/officeDocument/2006/relationships" xmlns:p="http://schemas.openxmlformats.org/presentationml/2006/main">
  <p:tag name="APLORISTAG" val="MqqyvQHz47eJaEyrz.944"/>
</p:tagLst>
</file>

<file path=ppt/tags/tag74.xml><?xml version="1.0" encoding="utf-8"?>
<p:tagLst xmlns:a="http://schemas.openxmlformats.org/drawingml/2006/main" xmlns:r="http://schemas.openxmlformats.org/officeDocument/2006/relationships" xmlns:p="http://schemas.openxmlformats.org/presentationml/2006/main">
  <p:tag name="APLORISTAG" val="MMq8K+TY0y1GzdU7X.7"/>
</p:tagLst>
</file>

<file path=ppt/tags/tag740.xml><?xml version="1.0" encoding="utf-8"?>
<p:tagLst xmlns:a="http://schemas.openxmlformats.org/drawingml/2006/main" xmlns:r="http://schemas.openxmlformats.org/officeDocument/2006/relationships" xmlns:p="http://schemas.openxmlformats.org/presentationml/2006/main">
  <p:tag name="APLORISTAG" val="MqqyvQHz47eJaEyrz.35"/>
</p:tagLst>
</file>

<file path=ppt/tags/tag741.xml><?xml version="1.0" encoding="utf-8"?>
<p:tagLst xmlns:a="http://schemas.openxmlformats.org/drawingml/2006/main" xmlns:r="http://schemas.openxmlformats.org/officeDocument/2006/relationships" xmlns:p="http://schemas.openxmlformats.org/presentationml/2006/main">
  <p:tag name="APLORISTAG" val="MqqyvQHz47eJaEyrz.37"/>
</p:tagLst>
</file>

<file path=ppt/tags/tag742.xml><?xml version="1.0" encoding="utf-8"?>
<p:tagLst xmlns:a="http://schemas.openxmlformats.org/drawingml/2006/main" xmlns:r="http://schemas.openxmlformats.org/officeDocument/2006/relationships" xmlns:p="http://schemas.openxmlformats.org/presentationml/2006/main">
  <p:tag name="APLORISTAG" val="MqqyvQHz47eJaEyrz.38"/>
</p:tagLst>
</file>

<file path=ppt/tags/tag743.xml><?xml version="1.0" encoding="utf-8"?>
<p:tagLst xmlns:a="http://schemas.openxmlformats.org/drawingml/2006/main" xmlns:r="http://schemas.openxmlformats.org/officeDocument/2006/relationships" xmlns:p="http://schemas.openxmlformats.org/presentationml/2006/main">
  <p:tag name="APLORISTAG" val="MqqyvQHz47eJaEyrz.36"/>
</p:tagLst>
</file>

<file path=ppt/tags/tag744.xml><?xml version="1.0" encoding="utf-8"?>
<p:tagLst xmlns:a="http://schemas.openxmlformats.org/drawingml/2006/main" xmlns:r="http://schemas.openxmlformats.org/officeDocument/2006/relationships" xmlns:p="http://schemas.openxmlformats.org/presentationml/2006/main">
  <p:tag name="APLORISTAG" val="MqqyvQHz47eJaEyrz.40"/>
</p:tagLst>
</file>

<file path=ppt/tags/tag745.xml><?xml version="1.0" encoding="utf-8"?>
<p:tagLst xmlns:a="http://schemas.openxmlformats.org/drawingml/2006/main" xmlns:r="http://schemas.openxmlformats.org/officeDocument/2006/relationships" xmlns:p="http://schemas.openxmlformats.org/presentationml/2006/main">
  <p:tag name="APLORISTAG" val="MqqyvQHz47eJaEyrz.43"/>
</p:tagLst>
</file>

<file path=ppt/tags/tag746.xml><?xml version="1.0" encoding="utf-8"?>
<p:tagLst xmlns:a="http://schemas.openxmlformats.org/drawingml/2006/main" xmlns:r="http://schemas.openxmlformats.org/officeDocument/2006/relationships" xmlns:p="http://schemas.openxmlformats.org/presentationml/2006/main">
  <p:tag name="APLORISTAG" val="MqqyvQHz47eJaEyrz.41"/>
</p:tagLst>
</file>

<file path=ppt/tags/tag747.xml><?xml version="1.0" encoding="utf-8"?>
<p:tagLst xmlns:a="http://schemas.openxmlformats.org/drawingml/2006/main" xmlns:r="http://schemas.openxmlformats.org/officeDocument/2006/relationships" xmlns:p="http://schemas.openxmlformats.org/presentationml/2006/main">
  <p:tag name="APLORISTAG" val="MqqyvQHz47eJaEyrz.44"/>
</p:tagLst>
</file>

<file path=ppt/tags/tag748.xml><?xml version="1.0" encoding="utf-8"?>
<p:tagLst xmlns:a="http://schemas.openxmlformats.org/drawingml/2006/main" xmlns:r="http://schemas.openxmlformats.org/officeDocument/2006/relationships" xmlns:p="http://schemas.openxmlformats.org/presentationml/2006/main">
  <p:tag name="APLORISTAG" val="MqqyvQHz47eJaEyrz.39"/>
</p:tagLst>
</file>

<file path=ppt/tags/tag749.xml><?xml version="1.0" encoding="utf-8"?>
<p:tagLst xmlns:a="http://schemas.openxmlformats.org/drawingml/2006/main" xmlns:r="http://schemas.openxmlformats.org/officeDocument/2006/relationships" xmlns:p="http://schemas.openxmlformats.org/presentationml/2006/main">
  <p:tag name="APLORISTAG" val="MqqyvQHz47eJaEyrz.42"/>
</p:tagLst>
</file>

<file path=ppt/tags/tag75.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3////9/////f////3//ARUAAAAUAAAA//9/////f////3////9//wAAAAAABRYAAAAsQXBsb3Jpcy5DaGFydC5BeGlzQnJlYWsrQXhpc0JyZWFrRGlzcGxheU1vZGUBAAAAB3ZhbHVlX18ACAIAAAABAAAAAQEBCgoJFwAAAAoKAAAAAAAJGAAAAAoJGQAAAAAAAAAKBRoAAAAZQXBsb3Jpcy5DaGFydC5PcmllbnRhdGlvbgEAAAAHdmFsdWVfXwAIAgAAAAEAAAAJGwAAAAEcAAAAFAAAAF10PUJL3oNBowsERLMzv0MABB0AAAALU3lzdGVtLkd1aWQLAAAAAl9hAl9iAl9jAl9kAl9lAl9mAl9nAl9oAl9pAl9qAl9rAAAAAAAAAAAAAAAIBwcCAgICAgICAgAAAAAAAAAAAAAAAAAAAAAACgoJHgAAAAAKCgoBAAAAAAAAAP////8AAQEfAAAAFAAAAAAAIEEAACBBsXgKRIsuy0MAulhBffamQumaEkSLLtVDBSAAAAAVU3lzdGVtLkRyYXdpbmcuUG9pbnRGAgAAAAF4AXkAAAsLBAAAABbhrkMUAoRDBiEAAAAQZ2t1Mnl0OTdIVDBKMWkxdQ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wLjAuMTQ4NiwgQ3VsdHVyZT1uZXV0cmFsLCBQdWJsaWNLZXlUb2tlbj0xNmZjMTNhMjI2YzBlOTUxXV0DAAAAmwFBcGxvcmlzLkJhc2UuT2JqZWN0cy5EYXRhT2JqZWN0Q29sbGVjdGlvbmAxW1tBcGxvcmlzLkNoYXJ0LkF4aXNCcmVhaywgQXBsb3Jpcy5DaGFydCwgVmVyc2lvbj00LjAuMC4xNDg2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AuMC4xNDg2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SYAAAAWQXBsb3Jpcy5DaGFydC5BeGlzVHlwZQEAAAAHdmFsdWVfXwAIAgAAAAEAAACamRk/AAAACgkBAAAACScAAAAJKAAAAAEAAAAAAAAAAAEAAAAAAADwPwGamZmZmZm5PwAAACBBAAEJKQAAAAoJKgAAAAkrAAAACSwAAAABLQAAACAAAABddD1CmHHHQwEuAAAAIAAAAOniD0SYccdDCS8AAAAJMAAAAAkxAAAACTIAAAAAAAAAAAAAAAAAAAAJMwAAAAAAAAAAAAk0AAAACQEAAAAJAQAAAAk1AAAAAQcAAAAGAAAACQEAAAABNgAAACYAAAAAAAAAzcxMPwAAAAgBAAkBAAAACTcAAAAJOAAAAAEAAAAAAAAAAAEAAAAAAADwPwGamZmZmZm5PwAAACBBAQEJOQAAAAoJOgAAAAk7AAAACTwAAAABPQAAACAAAABddD1CmHHHQwE+AAAAIAAAAF10PUJL3oNBCT8AAAAJQAAAAAlBAAAACUIAAAAAAAAAAAAAAAAAAAAJQwAAAAAAAAAAAAlEAAAACQEAAAAJAQAAAAlFAAAABAgAAACoAVN5c3RlbS5Db2xsZWN0aW9ucy5HZW5lcmljLkxpc3RgMVtbQXBsb3Jpcy5DaGFydC5Db2x1bW5PcmllbnRlZENoYXJ0K1VudXNlZFNlcmllcywgQXBsb3Jpcy5DaGFydCwgVmVyc2lvbj00LjAuMC4xNDg2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AuMC4xNDg2LCBDdWx0dXJlPW5ldXRyYWwsIFB1YmxpY0tleVRva2VuPTE2ZmMxM2EyMjZjMGU5NTFdXQMAAACXAVN5c3RlbS5Db2xsZWN0aW9ucy5HZW5lcmljLkxpc3RgMVtbQXBsb3Jpcy5DaGFydC5DaGFydERhdGFTZXJpZXM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RwAAAAlIAAAACQEAAAAJAQAAAAlJAAAABQoAAACmAUFwbG9yaXMuQmFzZS5PYmplY3RzLkRhdGFPYmplY3RDb2xsZWN0aW9uYDFbW0FwbG9yaXMuQ2hhcnQuQW5ub3RhdGlvbk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C4wLjE0ODYsIEN1bHR1cmU9bmV1dHJhbCwgUHVibGljS2V5VG9rZW49MTZmYzEzYTIyNmMwZTk1MV1dAwAAAJwBU3lzdGVtLkNvbGxlY3Rpb25zLkdlbmVyaWMuTGlzdGAxW1tBcGxvcmlzLkNoYXJ0LkFubm90YXRpb25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oAAAAJSwAAAAkBAAAACQEAAAAJTAAAAAULAAAAoQFBcGxvcmlzLkJhc2UuT2JqZWN0cy5EYXRhT2JqZWN0Q29sbGVjdGlvbmAxW1tBcGxvcmlzLkNoYXJ0LkFubm90YXRpb25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C4wLjE0ODYsIEN1bHR1cmU9bmV1dHJhbCwgUHVibGljS2V5VG9rZW49MTZmYzEzYTIyNmMwZTk1MV1dAwAAAJcBU3lzdGVtLkNvbGxlY3Rpb25zLkdlbmVyaWMuTGlzdGAxW1tBcGxvcmlzLkNoYXJ0LkFubm90YXRpb25Hcm91c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NAAAACU4AAAAJAQAAAAkBAAAACU8AAAAFDAAAAKABQXBsb3Jpcy5CYXNlLk9iamVjdHMuRGF0YU9iamVjdENvbGxlY3Rpb25gMVtbQXBsb3Jpcy5DaGFydC5DaGFydERhdGF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wLjAuMTQ4NiwgQ3VsdHVyZT1uZXV0cmFsLCBQdWJsaWNLZXlUb2tlbj0xNmZjMTNhMjI2YzBlOTUxXV0DAAAAlgFTeXN0ZW0uQ29sbGVjdGlvbnMuR2VuZXJpYy5MaXN0YDFbW0FwbG9yaXMuQ2hhcnQuQ2hhcnREYXRh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UAAAAAlRAAAACQEAAAAJAQAAAAlSAAAABQ0AAACaAUFwbG9yaXMuQmFzZS5PYmplY3RzLkRhdGFPYmplY3RDb2xsZWN0aW9uYDFbW0FwbG9yaXMuQ2hhcnQuRGVsdGFCYXI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C4wLjE0ODYsIEN1bHR1cmU9bmV1dHJhbCwgUHVibGljS2V5VG9rZW49MTZmYzEzYTIyNmMwZTk1MV1dAwAAAJABU3lzdGVtLkNvbGxlY3Rpb25zLkdlbmVyaWMuTGlzdGAxW1tBcGxvcmlzLkNoYXJ0LkRlbHRhQmF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MAAAAJVAAAAAkBAAAACQEAAAAJVQAAAAUOAAAAnQFBcGxvcmlzLkJhc2UuT2JqZWN0cy5EYXRhT2JqZWN0Q29sbGVjdGlvbmAxW1tBcGxvcmlzLkNoYXJ0LkRlbHRhQnJpZGdlLCBBcGxvcmlzLkNoYXJ0LCBWZXJzaW9uPTQuMC4wLjE0ODY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AuMC4xNDg2LCBDdWx0dXJlPW5ldXRyYWwsIFB1YmxpY0tleVRva2VuPTE2ZmMxM2EyMjZjMGU5NTFdXQMAAACTAVN5c3RlbS5Db2xsZWN0aW9ucy5HZW5lcmljLkxpc3RgMVtbQXBsb3Jpcy5DaGFydC5EZWx0YUJyaWRn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WAAAACVcAAAAJAQAAAAkBAAAACVgAAAAFDwAAAJ0BQXBsb3Jpcy5CYXNlLk9iamVjdHMuRGF0YU9iamVjdENvbGxlY3Rpb25gMVtbQXBsb3Jpcy5DaGFydC5Hcm93dGhBcnJvdy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wLjAuMTQ4NiwgQ3VsdHVyZT1uZXV0cmFsLCBQdWJsaWNLZXlUb2tlbj0xNmZjMTNhMjI2YzBlOTUxXV0DAAAAkwFTeXN0ZW0uQ29sbGVjdGlvbnMuR2VuZXJpYy5MaXN0YDFbW0FwbG9yaXMuQ2hhcnQuR3Jvd3RoQXJyb3c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WQAAAAlaAAAACQEAAAAJAQAAAAlbAAAABRAAAACkAUFwbG9yaXMuQmFzZS5PYmplY3RzLkRhdGFPYmplY3RDb2xsZWN0aW9uYDFbW0FwbG9yaXMuQ2hhcnQuV2F0ZXJmYWxs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wLjAuMTQ4NiwgQ3VsdHVyZT1uZXV0cmFsLCBQdWJsaWNLZXlUb2tlbj0xNmZjMTNhMjI2YzBlOTUxXV0DAAAAmgFTeXN0ZW0uQ29sbGVjdGlvbnMuR2VuZXJpYy5MaXN0YDFbW0FwbG9yaXMuQ2hhcnQuV2F0ZXJmYWxsQ29ubmVjdG9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wAAAAJXQAAAAkBAAAACQEAAAAJXgAAAAURAAAAogFBcGxvcmlzLkJhc2UuT2JqZWN0cy5EYXRhT2JqZWN0Q29sbGVjdGlvbmAxW1tBcGxvcmlzLkNoYXJ0LkVsZW1lbnRDb25uZWN0b3I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wLjAuMTQ4NiwgQ3VsdHVyZT1uZXV0cmFsLCBQdWJsaWNLZXlUb2tlbj0xNmZjMTNhMjI2YzBlOTUxXV0DAAAAmAFTeXN0ZW0uQ29sbGVjdGlvbnMuR2VuZXJpYy5MaXN0YDFbW0FwbG9yaXMuQ2hhcnQuRWxlbWVud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QAAAAgBAAAAAgAAAAMAAAAEAAAABQAAAAUb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aAAAACAAAABddD1CS96DQQFpAAAAIAAAAOniD0SYccdDCWoAAAAJawAAAAAAAAAKBWwAAAAUU3lzdGVtLkRyYXdpbmcuU2l6ZUYCAAAABXdpZHRoBmhlaWdodAAACwsEAAAAAAAAAAAAAAABbQAAAGwAAAAAAAAAAAAAAAAAAAABbgAAABQAAAAAAAAAAAAAAAAAAAAAAAAAFAAAAP////8BAQoJbwAAAAEACgAPHgAAAHg0AAACUEsDBBQABgAIAAAAIQBJEqz3jAEAAHg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d1OwjAUvjfxHZbemq3AhTGGwQXopZKID1DbA1vo2qan/L29ZwOMkrlJWOLNmq39/s52zobjXaGjDXjMrUlZP+mxCIy0KjfLlL3Pn+MHFmEQRgltDaRsD8jGo9ub4XzvACNCG0xZFoJ75BxlBoXAxDowtLOwvhCBbv2SOyFXYgl80Ovdc2lNABPiUHKw0XAKC7HWIXra0eODE4KzaHI4V0qlTDincykCGeXlLq/FbRpxG6POzMV2scglKCvXBVlKCD/1YkvxfxHwoLHBWY3CMXpCyMo9ZrnDu2OEV6q9zxVEM+HDiygoKN9pvrV+9WHtKmmuQ43aWR50HoTCDCAUOqnWpBC5+YN+dRh5tfQ7NlLmq4gv9DH4Jx+BPmzg1fX6UlQ0LcEx7DVgx2kPpG3KmfCg3oKnHujcwHfuFh/SFmVH4vX1/tkDJ942eaHlJKNO6fgdyBNvkz6No5m3DmlSerjcwGnilOjYERH4kEPjzPlSpDF7ueDZ0IFyjitQNdq8+m+MPgE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ABBmPgJAQAAz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zWrDMBCE74W+g9h7LdttQymRc2gp5NqmDyDktWViS0a7/fHbVyTUcSC4F9PjzqKZj5G03nx3rfjEQI13CrIkBYHO+LJxtYL33cvNAwhi7UrdeocKBiTYFNdX61dsNcdDZJueRHRxpMAy949SkrHYaUp8jy5uKh86zXEMtey12esaZZ6mKxmmHlCceYptqSBsy1sQu6GPyX97+6pqDD5789Gh4wsRkiMXRkMdamQFh/EoZkkEBXmZ4W5JBuKhjSWOEMd5Lv5+0XirA5ZvHOINTymm8hzMakkYo1vzZHXjTnWM0hxEtiTElw97soh8ghglkofN7OvI/xkm/21Gnv3B4gcAAP//AwBQSwMEFAAGAAgAAAAhAHIQge/PAQAABAMAAA8AAAB4bC93b3JrYm9vay54bWyMUtuO0zAQfUfiHyy/t3adpFRVklXpRVRCaMVl99k4bmOtL5HtkKwQ/76ThECBF57GM+O5nDMnv+uNRt+kD8rZAq+WFCNphauUvRb4y+fTYoNRiNxWXDsrC/wsA74rX7/KO+efvjr3hKCBDQWuY2y2hARRS8PD0jXSQubivOERXH8lofGSV6GWMhpNGKVrYriyeOqw9f/Tw10uSsiDE62RNk5NvNQ8wvqhVk3AZX5RWj5MiBBvmg/cwN69xkjzEI+VirIqcAau6+QfAd82b1ulIcvWlKaYlL9Q3nvE2+j2zgCIEO6ViC08CkyHXwMPD0p24XfB4KL+UdnKdQVeQz+MnmeXUQZuNyYfVRVrYH4DhMyxd1Jd6whBlqTjAHIzYSQQJo0W2RHdrtHOq3DgkcO5BobPgGKFkd8qePhztRr2vC355IxEH3mH/ipiN0VsKCLzQMG1AB4GM3ZPKaUwQjgrWu/hHHvI/GRE9vF9iGUOFrVeFfj7m4wlx+yQLFh2Sha77EgXq3XCFuv0xLJ0z1iasR+zFkz/jxiMEt4Fd4lL4QyZdAD6EUT2Qo5y2kxyKnPTb3de1OcDOml+hSNNOGAXQDNvRmYBly8AAAD//wMAUEsDBBQABgAIAAAAIQC8o60hjwUAAMctAAANAAAAeGwvc3R5bGVzLnhtbOxaX2/jNgx/H7DvYLjYY+rYTvMPSQ5re9kOuB0KNAP2qthyIlSWAltpkxv23UdJdmwnbeLUbncd3IfWskmK/ImkVIqjT5uQGo84iglnY9O+bJsGZh73CVuMzT9n01bfNGKBmI8oZ3hsbnFsfpr8/NMoFluK75cYCwNEsHhsLoVYDS0r9pY4RPElX2EGXwIehUjAMFpY8SrCyI8lU0gtp93uWiEizNQShqFXRkiIoof1quXxcIUEmRNKxFbJMo3QG35ZMB6hOQVVN3YHealsNTgQHxIv4jEPxCWIs3gQEA8fajmwBhZImozYOpyGIjY8vmZibDq7V4b+8sUHCLsd09BG33Af1Ghftn8xrZS5QHlVpLy4uEiJrWSqySjgLJsRFkMZMnxg/IlN5SeYEdSQVJNR/N14RBTe2HJCj1MeGQJWA7RQbxgKsaa4QZTMIyLJAhQSutWvHflCLWBCFxKAU7609Az691xSJXMN5Fc9FWE+3mDAoL832wwteYgk4cFkBbmpzLfWv/w8vxFKjXvE4gMMnpMRLeZjczptqx/JkQH+sqB5DsyzDD+9TusTottFHas5xanJ9nzitZMph4nBk2BlCpEoX0xGkBMEjthUrlvyPNuuIAAYpC+9iIruBPUiQlvbucoxWGrCyWjOIx/SZZoDZPDpV5MRxYEAxCOyWMq/gq/g95wLAbllMvIJWnCGKDxaKUfyAOZ4mNJ7mVL/Cnay3R4I3wS5lAHZWUagzDPyESxJHrVAPYAJCkyDjMl5kclAqxXdTkG4Eq1HID8bXSvDs/GvlCxYiPMMdxEX2BNqK1G+VdAjp/zLeuwr3zDBjpOud7L0r0Kve2Lpv63DOY6marfOFlnGUTaq0wV6P5g+DT6QUo5EX4NPg0+VlN/4T+M/jf+83X7axFcTX018NfEF/zCpf97e+zzf5J8m/zT5p3r+sfKVIF0XypWE7MGrSkLGJni+NpQrr8jH5wtKO+6kSKRqAqqc91J9xy0tSxWc7CRnpfWFdJzzJ1lnQ2nFyVjyiHwHVlns9qAEhSPTeIrQaoY3UL9SqlmbYK8OlrNVluiP2golllxBLNVHr246+nG0Bbg/kLYA/gfSFu5o3kZbWS0u4bV2V90S6aLvSb+FXVhpW9z9U4/V5d3dKIljzVHJm+ECURAvF42yyH0QgOeZAgXC/4spcG33QUwpvQnsO9iRymFpmcX0ek7yf8HdZLgkNfOTSqRRsW+YXrljkfPOioIlx5ypENSVVZOwJQiezD0faxf673f4pFPg1HVecvp6H/886xR1MqZSVy0Z2Oec4OSmePQEt5u7cMIsFRBqZ05TijqPwwk8d0VbvKDdndcNedsP9/+cUv6EfeN3uHeOKGEP0LShjt826DRfEyoIk6dxuJddEt/Hsu9G3rycIQictx5BENT1CIKDRz2CYK+sRZBTF9hOXWA7dYHt1AW2UxfYbl1gu3WB7dYFtnse2AdBD1Ge82cA/GjMH7BDR1A1ftiVK80PibYSPxzjK/FXxM+piJ9TET/oIapkv1MRP6cifm5F/NyK+Lnn4fdN9q/QdMMtZiXV3rC/yd7hSBaQUo6itar/a59DNb7anU6v79qOY3dkytL7eynyHgCiyVWz5SnpA8hjmrzz3BlhT5muDdlKk3fLkMvkpsn7Zch7O3K3BHkPipWJ9J4kzyqbcJjyN1mfm1oYIZt2VQfc7ngFy+fjAK2pmO0+js3s+Q/sk3UI8CdUd+SRCyVibGbPX2U7HuACGkB18GsMfbLw11hHZGz+/fm6N7j9PHVa/fZ1v9Vx8VVrcHV927rq3Fzf3k4Hbad98w9YITuch9B6W6GDWHU6Q0nS7gxjCn3GUWJsovx99m5s5gZafYUfqA0opkZYau1VB/bkXwAAAP//AwBQSwMEFAAGAAgAAAAhAOdldbjWAAAAuAEAACMAAAB4bC93b3Jrc2hlZXRzL19yZWxzL3NoZWV0MS54bWwucmVsc6yQyWoDMQxA74X+g9E91kwOoZR4cgmFXEP6AcLWLHS8YLlp8vd1KIUMBHrpUdvTk7a7i5/VmbNMMRhodQOKg41uCoOB99Pb6gWUFAqO5hjYwJUFdt3z0/bIM5U6JOOURFVKEANjKekVUezInkTHxKFW+pg9lRrmARPZDxoY102zwXzPgG7BVAdnIB9cC+p0TXXz3+zY95PlfbSfnkN5sALPft5n+qrHVSrlgYsBrdH95OSu3uraC/jYaf2fTjb6m64sjH6Tra7/u2ng4t/dNwAAAP//AwBQSwMEFAAGAAgAAAAhALysdOggBAAAogoAABgAAAB4bC93b3Jrc2hlZXRzL3NoZWV0Mi54bWyMVslyo0gQvU/E/APBXVALtaAQ6rAl78s4pme6zxiVJMJAaaBkyz0x/z5JYclsB1+gePXyRVZmFpmzb4c8c15VWaW6iFzsIddRRaJXabGJ3L//upxI16lMXKziTBcqct9V5X6b//7b7E2XL9VWKeOAQlFF7taY3dT3q2Sr8rjy9E4VsLPWZR4b+Cw3frUrVbyyRnnmE4S4n8dp4TYK0/IrGnq9ThO11Mk+V4VpREqVxQb8r7bprjqq5clX5PK4fNnvJonOdyDxnGapebeirpMn05tNocv4OYNzH3AQJ0dt+zGQz9Ok1JVeGw/k/MbR4ZlDP/RBaT5bpXCCOuxOqdaRe4anj5i6/nxmA/QjVW9Va+3U8X7W+qXeuFlFLgKJSmUqqU/uxPB6VQuVZZF7GUDK/rGisARB/6TYXh/VL22GnkrnOa7UQmc/05XZQilAJazUOt5n5k/9dq3SzdYACtr29NPV+1JVCeSgduXo9TI28XxW6jcHkonBjV1clwaegt18ltToWQ0DBHUFphXAr3NKZv4r+JZ8cM5PHBC2VosBshwgFwPkcoBcDZDrAXIzQG4HyN0AuR8gDwPksY34EKZTrMh4rGoYYmUD3OHTLt+xucHkFOR6P3JJnRgbv/MGgOcp6Fh2g75oKJDgT0rYpSyHFIK6lIsRCu5SLkcovQK4GqHQrsr1CCXoUm5GKKxLuR2h8C7lboQiupT7EUovug8jlF50HxsKayWAfka3k/76hreulk2/qP8IzRWrtyOXt4V6OThvKMJev8AjLOQ0kFIGVGJK5cWkl5BFw5fNdfU4wxgzjiXnmDDBB/xlm0+8gAZICCRCjARDgRjwL9r8wEOMi5BhimXAZICB38u+/cdFbuMP8jCTBDOEEQ5wKIXssa/a6sQjFBMqKCEMM4LpwJnrNh3EQ8R5SAXGIRcsYD3xmx5b8EAgJiWhjIQB7rFve2xJGGNCopBSxInsVc1dm009FHQTNfD8vs3HXhMMEnIccBQEwzQ9tPnSw5iyEBFOeYi5pGwQ9seGH9oygMigkFEacMlYKKkQn2ftVCsUYrtaP6r0qoZHf271yNGq7g/+soZH+dA2xwwuLN61aFph06ZyVW5sy6ycRO/rRobhXCe01ZZtEz1tQOPcxRv1EJebtKicTK3BFHkCLm7ZdMnmw+hdLek8a2N0bpdbmH8UNEHkAXmttTl+wH+61vyuzH7n6DKFvmpHmsjd6dKUcWpcZwv4Lw0b2XKXRm4A1QUFSUJoEjDAmTQZboCsOpj7yti3sy/B7l8eIEQExZMzfo4mrH4QLtBECILPxQKFHKH/jqNOfvjanJPHia8OibJznWzmOgjmYfp0/8N50CsYoWCg+KNQT3BMu/75HRy2S/ASbMHH+mmd9d+O0+X8fwAAAP//AwBQSwMEFAAGAAgAAAAhAPtipW2UBgAApxsAABMAAAB4bC90aGVtZS90aGVtZTEueG1s7FlPb9s2FL8P2HcgdG9tJ7YbB3WK2LGbrU0bxG6HHmmZllhTokDSSX0b2uOAAcO6YZcBu+0wbCvQArt0nyZbh60D+hX2SEqyGMtL0gYb1tWHRCJ/fP/f4yN19dqDiKFDIiTlcdurXa56iMQ+H9M4aHt3hv1LGx6SCsdjzHhM2t6cSO/a1vvvXcWbKiQRQbA+lpu47YVKJZuVivRhGMvLPCExzE24iLCCVxFUxgIfAd2IVdaq1WYlwjT2UIwjIHt7MqE+QUNN0tvKiPcYvMZK6gGfiYEmTZwVBjue1jRCzmWXCXSIWdsDPmN+NCQPlIcYlgom2l7V/LzK1tUK3kwXMbVibWFd3/zSdemC8XTN8BTBKGda69dbV3Zy+gbA1DKu1+t1e7WcngFg3wdNrSxFmvX+Rq2T0SyA7OMy7W61Ua27+AL99SWZW51Op9FKZbFEDcg+1pfwG9VmfXvNwRuQxTeW8PXOdrfbdPAGZPHNJXz/SqtZd/EGFDIaT5fQ2qH9fko9h0w42y2FbwB8o5rCFyiIhjy6NIsJj9WqWIvwfS76ANBAhhWNkZonZIJ9iOIujkaCYs0AbxJcmLFDvlwa0ryQ9AVNVNv7MMGQEQt6r55//+r5U/Tq+ZPjh8+OH/50/OjR8cMfLS1n4S6Og+LCl99+9ufXH6M/nn7z8vEX5XhZxP/6wye//Px5ORAyaCHRiy+f/PbsyYuvPv39u8cl8G2BR0X4kEZEolvkCB3wCHQzhnElJyNxvhXDEFNnBQ6Bdgnpngod4K05ZmW4DnGNd1dA8SgDXp/dd2QdhGKmaAnnG2HkAPc4Zx0uSg1wQ/MqWHg4i4Ny5mJWxB1gfFjGu4tjx7W9WQJVMwtKx/bdkDhi7jMcKxyQmCik5/iUkBLt7lHq2HWP+oJLPlHoHkUdTEtNMqQjJ5AWi3ZpBH6Zl+kMrnZss3cXdTgr03qHHLpISAjMSoQfEuaY8TqeKRyVkRziiBUNfhOrsEzIwVz4RVxPKvB0QBhHvTGRsmzNbQH6Fpx+A0O9KnX7HptHLlIoOi2jeRNzXkTu8Gk3xFFShh3QOCxiP5BTCFGM9rkqg+9xN0P0O/gBxyvdfZcSx92nF4I7NHBEWgSInpmJEl9eJ9yJ38GcTTAxVQZKulOpIxr/XdlmFOq25fCubLe9bdjEypJn90SxXoX7D5boHTyL9wlkxfIW9a5Cv6vQ3ltfoVfl8sXX5UUphiqtGxLba5vOO1rZeE8oYwM1Z+SmNL23hA1o3IdBvc4cOkl+EEtCeNSZDAwcXCCwWYMEVx9RFQ5CnEDfXvM0kUCmpAOJEi7hvGiGS2lrPPT+yp42G/ocYiuHxGqPj+3wuh7Ojhs5GSNVYM60GaN1TeCszNavpERBt9dhVtNCnZlbzYhmiqLDLVdZm9icy8HkuWowmFsTOhsE/RBYuQnHfs0azjuYkbG2u/VR5hbjhYt0kQzxmKQ+0nov+6hmnJTFypIiWg8bDPrseIrVCtxamuwbcDuLk4rs6ivYZd57Ey9lEbzwElA7mY4sLiYni9FR22s11hoe8nHS9iZwVIbHKAGvS91MYhbAfZOvhA37U5PZZPnCm61MMTcJanD7Ye2+pLBTBxIh1Q6WoQ0NM5WGAIs1Jyv/WgPMelEKlFSjs0mxvgHB8K9JAXZ0XUsmE+KrorMLI9p29jUtpXymiBiE4yM0YjNxgMH9OlRBnzGVcONhKoJ+ges5bW0z5RbnNOmKl2IGZ8cxS0KclludolkmW7gpSLkM5q0gHuhWKrtR7vyqmJS/IFWKYfw/U0XvJ3AFsT7WHvDhdlhgpDOl7XGhQg5VKAmp3xfQOJjaAdECV7wwDUEFd9TmvyCH+r/NOUvDpDWcJNUBDZCgsB+pUBCyD2XJRN8pxGrp3mVJspSQiaiCuDKxYo/IIWFDXQObem/3UAihbqpJWgYM7mT8ue9pBo0C3eQU882pZPnea3Pgn+58bDKDUm4dNg1NZv9cxLw9WOyqdr1Znu29RUX0xKLNqmdZAcwKW0ErTfvXFOGcW62tWEsarzUy4cCLyxrDYN4QJXCRhPQf2P+o8Jn94KE31CE/gNqK4PuFJgZhA1F9yTYeSBdIOziCxskO2mDSpKxp09ZJWy3brC+40835njC2luws/j6nsfPmzGXn5OJFGju1sGNrO7bS1ODZkykKQ5PsIGMcY76UFT9m8dF9cPQOfDaYMSVNMMGnKoGhhx6YPIDktxzN0q2/AAAA//8DAFBLAwQUAAYACAAAACEAiogelX4GAACeFQAAGAAAAHhsL3dvcmtzaGVldHMvc2hlZXQxLnhtbIxYXXOjNhR970z/A+Vl2+kEI/Htsb2T2E43DrQ7m+7uM8ayzSwYL5DEaaf/vVcg2fpgM8mDgw+Hq3OurnSxJu9PZWE8kbrJq8PURJZtGuSQVZv8sJuan/++vQpNo2nTwyYtqgOZmi+kMd/Pfv5p8lzV35o9Ia0BEQ7N1Ny37XE8GjXZnpRpY1VHcoA726ou0xa+1rtRc6xJuukeKosRtm1/VKb5wewjjOu3xKi22zwjiyp7LMmh7YPUpEhb0N/s82PDo502b4q3qdNn8Mr1CBIX/Z1zPORq+so8q6um2rZWVpWjXpruMhpFks8y0wINJKtM62+PxysIfARz67zI25fOrmmU2fhud6jqdF3AjJyQm2aCylQP/3adEGk22eSQW1oQRk22U/MajROMzNFs0k3dl5w8N8K10abrB1KQrCUbqCDToJWxrqpvlHgHkA0hm45AQ6ZZmz+ROSmKqbkEdvO9G2SJxktku6EX+HSk0Xko8ZoPe9sV1cfaWKcNmVfF13zT7mFsKN4N2aaPRXsBQyt0sO0g7J1vfqqeP5B8t2/hERcyRxM43rwsSJNBTVHBoCCrChgOPo0ypysD0p6een9sNGRByKZ9oZMAt9ekaW9zGtM0ssemrUoui4XrA2EWKIJE9YFEhTwclp6hxvrRnVef6ibpIhm89U/5TgjXrwzXpbx33CV+kbbpbFJXzwYsIjpJx5QucTRGIIDmDYcwqRm9e0Nvwy3wBXgD8NPMnoyeYN4yRpkPUByZsmAUX4iCPJnTVYsyEvLPnBHIPWsGNaJmJuSawp2hs1R0fr53wxi492E5bhCJf6FMXzG6000XTce9hsQakoiIJBuyOySbwrJsLOu4YQwu2/dgdxX+FPqK0QXZGhJrSCIikmworiHZFJZlu7LsOWP0siMLiamOonB5pQpnDwjCNSTWkEREJOF0AQulzcuEwrJwpRTnjMHzjdS6YPcFnRoSa0giIpJOWBZDOiks67wsh66c54zBdeLAF6rCttX0MrogW0NiDUlERJIdDMumsCw7UOqCMbhs13Mk2cqiXTG6IFtDYg1JRESSTV95BqqCwrJsZdYXjPH2cmYPCMI1JNaQREQk4dBThoRTWBYeyfleMAbPN4rUDDOCIFRDYg1JREQSShvakNIOl6UipZksOOcs1vXkbUP2tuJ8QbsOxTqUSJAsX2mJfN9ArIuJTUzJ5IJzuHys7R2cIQpmgS9QrLMSCZIF044zUNK0ayulgZQ9YcE5XDDylF18xRkXdfc6FOtQIkGyYNprhgSzHiRmWHuVYJxecGjJrdB29K5C32poGkQDGhTrrESCZAO05wwZYL1INKDkc0FfSqmcc8ZR8Or2x/mifLHlda0g1lmJBMnyaSsaks9alChf2byXiHGo/O3s4XPy67uHqiTGp/TZoC+W7365d8d/ur9NRtvuZdFCPsYBCm0PB07oOL4ScMUDiv7EVsn8aVAiPSj7oz1L8Ke81F4j1tMg5vlV0VG2+yUn9UZVkzcwrZ1B18Je5DtuGIauEyLHkd5rZFm0J70mi/Us+HeRpfT8JWKkH+d/7o6X5/z7lhvZYYAxsiPPcVxfktfldsVDijPARrlAsc5KJEi2SruYatXz+c+Ka8S6HBTyxapSGUtOGp6BWz4DtoW8ECPPRjZyURQGobJnrHigi5t7HYp1KJEg2SDtfoLBc5NgXVEypuhZIkYaNnYnGAt8N7C9MMSOhyMXKYFWPJBoTGzLbO1oUCI9KBnDSvNW1053H7YvyaCyxy05adjgSjAYYs/zgtCOHMf2cagswhUPJBjUoViHEgmSDSrtvTMolCZm3VgyqPxCWHLSj1fhH+7v6p7x4bwqbQsjHIUocF0Xo8j2fWWAFR9ANK6/JugsepZz6Xa98f64pf/Vf0x3JEnrXX5ojIJsYfHZFqz1uj8w6a7b6tihsDuuqxZOOvi3PZzvEfgVbFvQPrdV1fIvcKBC4z6Q9vFoVHUO5yzdkd3UPFZ1W6d5C+cKgP9TwY1iccynpgvlHPkBjuAdBQ4o2zzTb0DYguzS7IUd1hn1ON9Mzfpu0x2FkFMbN+1sAv+Nxxpi/uu78KMncNDVtX9jX3n0A/uBfRUEGN0EczuC30f/8cO0Es57lFPNwZO0Ms1G5JSR7kwz7M/6ZpPyNP4YfzGSagPnQ7Bk/jqQj5CC7vrrA5jpLulZF8jrPzuxo/PJ6ux/AAAA//8DAFBLAwQUAAYACAAAACEA3ZBBbGMCAABVBgAAFAAAAHhsL3NoYXJlZFN0cmluZ3MueG1snFXBbhoxEL1Hyj+M9pSoIQsFoiYCIkREG6kpSCWtenS8s6wlr009s2n5+46BNKm3PTQ37/ObmTeeNzC6/llbeMRAxrtx1jvvZoBO+8K49Ti7X8077zIgVq5Q1jscZ1uk7HpyfDQiYpBYR+OsYt5c5TnpCmtF536DTm5KH2rF8hnWOW0CqoIqRK5t/rbbvchrZVwG2jeOx1n/MoPGme8Nzn4DkxGZyYgn79EVGEY5T0Z5RPbonbKYYnMp30an6xbxPmaE/jBN0B92BoMUHAw7wxY4HL5JeR+RCLhSDnrpVQ/YQz9FBxFtabiI6GXK7XUj3Guxezv6227Kv/MB92Lad99QBQLjYOnJsMw9DV4Zbj/jgqv2FOZKN5a38MNwBUqrAmujQRWPhsRAEJA23pF5MFYKIaWF5o21HTY1wjL4Ut5PxCgLn1mVJUxjFt8a/PSpSnQKoW0zluLmmCe/Q8eS7gMqK/L+yb8xATX7AP5QVKTnu+qxh2lRG2eIgxJK2oDIfvTEKfzF6NgSkilEAkjqA7Jjw4lx2jZxxUBJz3G9mM7i2WujGOWMrM9P07Q3KOZ6dfBTl69NMPM+iOa/PcOsMljCrduvvAwRFmUpbxDgZHa7OIUc9owV6sp569fbF4TVotXoS1v5hl/hrJ1b4WRpURECbVCbctuq87VSDA8ov2QFkg5GjrD1TQCOGwByufsyjgRo4qpcpzPZ7Upk3j6TUk6cWws7jOMKjo8+edd58lvKOzjs7A8HnUnQs6kONksjD/uT/5/vj4+elOydn2Z9OZr9ioqNn0m5/C1MfgEAAP//AwBQSwMEFAAGAAgAAAAhAOzXlByYAgAADwcAABsAAAB4bC9kcmF3aW5ncy92bWxEcmF3aW5nMS52bWzsVctu2zAQvOcrCOXgiw098mjASAaCFLm1BZo+jgEt0RYTkiuIa1nO13dJyY7doEXQHnqpAIoUd7i7MxxAeW80o2Ed74po3Vruyloa4WZGlS04WOKsBMM7o6OTEQi/A8JyqUrJh2l/pH/DEdmX8qWIoXZqxIbHsRHlN6PvQ19fWxXNT1gO3NWikVpsYY2s47LHIpKVQh/1YVUZ0RwFWCVQFFEaxT5BfJRhnndDQtw2kqmqiB76hJ4HzJIsYiVAWzn1LIsoSy+TZBreEaMcDdX1GKraCKyLyCTTRI+IAXf0Tno5tEgFsYUnyR5BWYdbTcmNQtmG/hg15POxVSsqJS0GuvBUROjLlmCtLNF3W0QtrUZSByz2lA7puDTJLiI2nDs94ji0MGnAKVRguVg40GuU18TMiHal7EzLJfLLqwavxw2EhqcJfW9UhTVPs3Na11KtauSpxz3PlK1kz1OfpVNOLZRWuOW1qippr42D2aYVzSwU5+gPTthSaV2ChraITpf0yNRTJpEkGqiIsFgj7ET0YLofQmcvcH/DXkESrYINAzvItnDlupV0uYNce41/0tOClftLQHLWAno2yuM7rpRXnDSaCY3cNzPx9VheqW6H88corFaWe9Um8zymaGgr7viYNHz2/Fb7C35P7mSfFo+U+ku41o+Ag1VY3vMP0MnvCutbqbUL9PzuPVny9e6NLWtoQ0ssmbLLq6mfUhpnNL2jQRt53PMDICW7ISJ3pOb8TmgnQ3y3E9j1/DNs5qkP+MW4d0smMXYe8o1rrz2BXmgRNifWwcK/tOXl39kyzdJjX2YHtvRWHG0ZYDtbZv9t+W9sSQ68yIIt6X0+ZZm3JE1nf2rL4L/XtgxufZstY/oLzn8AAAD//wMAUEsDBBQABgAIAAAAIQA2HqupNQEAABI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V9LwzAUxd8Fv0PJe5umwzFC24HKEHEgOFF8uyR3W7D5QxLt9u3N6qyT+Xg55/445956vtNd9ok+KGsawoqSZGiElcpsGvK8WuQzkoUIRkJnDTZkj4HM28uLWjgurMdHbx36qDBkiWQCF64h2xgdpzSILWoIRXKYJK6t1xDT6DfUgXiHDdKqLKdUYwQJEegBmLuRSI5IKUak+/DdAJCCYocaTQyUFYz+eiN6Hf5dGJQTp1Zx71KnY9xTthTf4ujeBTUa+74v+skQI+Vn9HX58DRUzZU53EogaWspuPAI0fq2pqdDOlwHIS7TjdcK5fW+vbcG4hZMdmd9AqAyNT13JeJQgOvjZpYy8e8GP9LL5OZ2tSBtVbKrnFV5yVZsyicVZ7O3Q4q/gBTs7IvtFwAAAP//AwBQSwMEFAAGAAgAAAAhAHT+6QQPAQAAIgIAABAAAAB4bC9jb21tZW50czEueG1svFDLTsMwELwj8Q/W3qmTHFBBsSs4FCFxQKJ8gIk3jSU/Iq9bpXw9W9Jw4MQJybI849mZ0babKXhxxEwuRQX1qgKBsUvWxb2C9932Zg2CionW+BRRwQkJNvr6qu1SCBgLCTaIpGAoZbyXkroBg6FVGjHyT59yMIVh3ksaMxpLA2IJXjZVdSuDcRF0aw5lSJmWh9St/KEuOS+Oil5CRcZewWMNYpY9WwUV+xScWJT5vPL1wT70KY7GK7gDBl3yKQsXLU7IE+v6TOZtimUW7cyQgjmTvQnOn2a2ORPy27Hop5wOo7BIXXZj4Z1RKzlScpyc0+Wl8K+yD83/l33D7JD+2HbpPS96QaS/AAAA//8DAFBLAwQUAAYACAAAACEA2WYniZEBAAAv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PGzEQhu9I/Q+W78RLilAVeY0QtOJQ1IgEep56Z7MWXnvlGZakv77erEI29FCpt/l4/frxePT1tvWix0QuhlJezAopMNhYubAp5dP62/kXKYghVOBjwFLukOS1+XSmlyl2mNghiWwRqJQNc7dQimyDLdAst0Pu1DG1wDlNGxXr2lm8i/a1xcBqXhRXCreMocLqvHs3lKPjouf/Na2iHfjoeb3rMrDRN13nnQXOrzQPzqZIsWbxANYFjtSIr1uLXqupTGfOFdrX5HhnCq2mqV5Z8HibrzA1eEKtjgV9jzCMbwkukdE9L3q0HJMg9zsPcC7FLyAcwErZQ3IQOAMOsjHZx74jTuZnTC/UIDJplQVjcR9OtdPYXZr5XpCDU+FgMILkxini2rFH+lEvIfG/iPcMI++Ic9P5mBzdAcMU8h13FVsUj/AmPipOgD4gfHfhhZ66dcyH8DDi06JeNZCwyr9y6B8L+j5PN/nB5LaBsMHqoPm7MazG87j/5uJyVnwu8l9PalodN938AQAA//8DAFBLAwQUAAYACAAAACEAwzyAe7EAAAAWAQAAEAAAAHhsL2NhbGNDaGFpbi54bWxkj00KwjAQhfeCdwizt2kL1h+adiF6Aj1ASEcTyE9JgujtHV1UrJuB+d7M4722fzjL7hiTCV5AVZTA0KswGH8TcDmfVltgKUs/SBs8Cnhigr5bLlolrTpoaTwjB58E6JzHPedJaXQyFWFET8o1RCczrfHG0xhRDkkjZmd5XZYNd2QAXatYFHCsNsAMhQBm35NPnDJ8+ERquvklVfNHdnNSU7nZ1/pL+NSoewEAAP//AwBQSwECLQAUAAYACAAAACEASRKs94wBAAB4BgAAEwAAAAAAAAAAAAAAAAAAAAAAW0NvbnRlbnRfVHlwZXNdLnhtbFBLAQItABQABgAIAAAAIQBQfE7B9gAAAEwCAAALAAAAAAAAAAAAAAAAAMUDAABfcmVscy8ucmVsc1BLAQItABQABgAIAAAAIQAAQZj4CQEAAMwDAAAaAAAAAAAAAAAAAAAAAOwGAAB4bC9fcmVscy93b3JrYm9vay54bWwucmVsc1BLAQItABQABgAIAAAAIQByEIHvzwEAAAQDAAAPAAAAAAAAAAAAAAAAADUJAAB4bC93b3JrYm9vay54bWxQSwECLQAUAAYACAAAACEAvKOtIY8FAADHLQAADQAAAAAAAAAAAAAAAAAxCwAAeGwvc3R5bGVzLnhtbFBLAQItABQABgAIAAAAIQDnZXW41gAAALgBAAAjAAAAAAAAAAAAAAAAAOsQAAB4bC93b3Jrc2hlZXRzL19yZWxzL3NoZWV0MS54bWwucmVsc1BLAQItABQABgAIAAAAIQC8rHToIAQAAKIKAAAYAAAAAAAAAAAAAAAAAAISAAB4bC93b3Jrc2hlZXRzL3NoZWV0Mi54bWxQSwECLQAUAAYACAAAACEA+2KlbZQGAACnGwAAEwAAAAAAAAAAAAAAAABYFgAAeGwvdGhlbWUvdGhlbWUxLnhtbFBLAQItABQABgAIAAAAIQCKiB6VfgYAAJ4VAAAYAAAAAAAAAAAAAAAAAB0dAAB4bC93b3Jrc2hlZXRzL3NoZWV0MS54bWxQSwECLQAUAAYACAAAACEA3ZBBbGMCAABVBgAAFAAAAAAAAAAAAAAAAADRIwAAeGwvc2hhcmVkU3RyaW5ncy54bWxQSwECLQAUAAYACAAAACEA7NeUHJgCAAAPBwAAGwAAAAAAAAAAAAAAAABmJgAAeGwvZHJhd2luZ3Mvdm1sRHJhd2luZzEudm1sUEsBAi0AFAAGAAgAAAAhADYeq6k1AQAAEgIAABEAAAAAAAAAAAAAAAAANykAAGRvY1Byb3BzL2NvcmUueG1sUEsBAi0AFAAGAAgAAAAhAHT+6QQPAQAAIgIAABAAAAAAAAAAAAAAAAAAoysAAHhsL2NvbW1lbnRzMS54bWxQSwECLQAUAAYACAAAACEA2WYniZEBAAAvAwAAEAAAAAAAAAAAAAAAAADgLAAAZG9jUHJvcHMvYXBwLnhtbFBLAQItABQABgAIAAAAIQDDPIB7sQAAABYBAAAQAAAAAAAAAAAAAAAAAKcvAAB4bC9jYWxjQ2hhaW4ueG1sUEsFBgAAAAAPAA8A3AMAAIYwAAAAAAUi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wAAAABUFyaWFsBnEAAAAGK21uLWVhCXIAAAABAAlzAAAAByMAAAAAAQAAABEAAAAEFFN5c3RlbS5EcmF3aW5nLkNvbG9yBAAAAAV0AAAAFFN5c3RlbS5EcmF3aW5nLkNvbG9yBAAAAAV2YWx1ZQVzdGF0ZQprbm93bkNvbG9yBG5hbWUAAAABCQcHBAAAAAAAAAAAAAAAAAAAAAoBdQAAAHQAAAAAAAD//////wIAAAAKAXYAAAB0AAAA//////////8CAAAACgF3AAAAdAAAAE5BIv//////AgAAAAoBeAAAAHQAAADe3Nv//////wIAAAAKAXkAAAB0AAAAfmk///////8CAAAACgF6AAAAdAAAAIyEcv//////AgAAAAoBewAAAHQAAAAlIe3//////wIAAAAKAXwAAAB0AAAANDtG//////8CAAAACgF9AAAAdAAAAHSYw///////AgAAAAoBfgAAAHQAAAAelPf//////wIAAAAKAX8AAAB0AAAAHpT3//////8CAAAACgGAAAAAdAAAACUh7f//////AgAAAAoBgQAAAHQAAAAAAAD//////wIAAAAKAYIAAAB0AAAA//////////8CAAAACgGDAAAAdAAAAE5BIv//////AgAAAAoBhAAAAHQAAADe3Nv//////wIAAAAKBCQAAACYAVN5c3RlbS5Db2xsZWN0aW9ucy5HZW5lcmljLkxpc3RgMVtbQXBsb3Jpcy5CYXNlLk9iamVjdHMuRGF0YU9iamVjdCwgQXBsb3Jpcy5CYXNlLCBWZXJzaW9uPTQuMC4wLjE0ODYsIEN1bHR1cmU9bmV1dHJhbCwgUHVibGljS2V5VG9rZW49MTZmYzEzYTIyNmMwZTk1MV1dAwAAAAZfaXRlbXMFX3NpemUIX3ZlcnNpb24EAAAhQXBsb3Jpcy5CYXNlLk9iamVjdHMuRGF0YU9iamVjdFtdAwAAAAgICYUAAAAMAAAADAAAAAQlAAAAlQFTeXN0ZW0uQ29sbGVjdGlvbnMuR2VuZXJpYy5MaXN0YDFbW0FwbG9yaXMuQmFzZS5VSS5WaXN1YWxPYmplY3QsIEFwbG9yaXMuQmFzZSwgVmVyc2lvbj00LjAuMC4xNDg2LCBDdWx0dXJlPW5ldXRyYWwsIFB1YmxpY0tleVRva2VuPTE2ZmMxM2EyMjZjMGU5NTFdXQMAAAAGX2l0ZW1zBV9zaXplCF92ZXJzaW9uBAAAHkFwbG9yaXMuQmFzZS5VSS5WaXN1YWxPYmplY3RbXQMAAAAICAmGAAAAAQAAAAEAAAAFJwAAAJsBQXBsb3Jpcy5CYXNlLk9iamVjdHMuRGF0YU9iamVjdENvbGxlY3Rpb25gMVtbQXBsb3Jpcy5DaGFydC5WYWx1ZUxpbmU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AuMC4xNDg2LCBDdWx0dXJlPW5ldXRyYWwsIFB1YmxpY0tleVRva2VuPTE2ZmMxM2EyMjZjMGU5NTFdXQMAAACRAVN5c3RlbS5Db2xsZWN0aW9ucy5HZW5lcmljLkxpc3RgMVtbQXBsb3Jpcy5DaGFydC5WYWx1ZUxpbm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hwAAAAmIAAAACQYAAAAJAQAAAAmJAAAABSgAAACbAUFwbG9yaXMuQmFzZS5PYmplY3RzLkRhdGFPYmplY3RDb2xsZWN0aW9uYDFbW0FwbG9yaXMuQ2hhcnQuQXhpc0JyZWFr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wLjAuMTQ4NiwgQ3VsdHVyZT1uZXV0cmFsLCBQdWJsaWNLZXlUb2tlbj0xNmZjMTNhMjI2YzBlOTUxXV0DAAAAkQFTeXN0ZW0uQ29sbGVjdGlvbnMuR2VuZXJpYy5MaXN0YDFbW0FwbG9yaXMuQ2hhcnQuQXhpc0JyZWF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YoAAAAJiwAAAAkGAAAACQEAAAAJjAAAAAUp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IAAAADAAAACWMAAAAJZAAAAAllAAAAAQAAAAAKBo0AAAABJQlmAAAAAQAAAAoAAAAAAAAAAAUsAAAAmgFBcGxvcmlzLkJhc2UuT2JqZWN0cy5EYXRhT2JqZWN0Q29sbGVjdGlvbmAxW1tBcGxvcmlzLkNoYXJ0LlRpY2tNYXJr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AuMC4xNDg2LCBDdWx0dXJlPW5ldXRyYWwsIFB1YmxpY0tleVRva2VuPTE2ZmMxM2EyMjZjMGU5NTFdXQMAAACQAVN5c3RlbS5Db2xsZWN0aW9ucy5HZW5lcmljLkxpc3RgMVtbQXBsb3Jpcy5DaGFydC5UaWNrTWFy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OAAAACY8AAAAJBgAAAAkBAAAACZAAAAAFLw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RAAAAIAAAAF10PUKYccdDAZIAAAAgAAAA6eIPRJhxx0MJkwAAALgBAAD/////AQEKCZQAAAABAAoABzAAAAAAAQAAAAUAAAAEFVN5c3RlbS5EcmF3aW5nLlBvaW50RgQAAAABlQAAACAAAADpohBEmHHHQwGWAAAAIAAAAF10PUKvTtBDAZcAAAAgAAAAL7qbQ69O0EMBmAAAACAAAADp4g9Er07QQwGZAAAAIAAAAOmiEESY8clDBzEAAAAAAQAAAAUAAAAEF0FwbG9yaXMuQmFzZS5BbmNob3JNb2RlAwAAAAWaAAAAF0FwbG9yaXMuQmFzZS5BbmNob3JNb2RlAQAAAAd2YWx1ZV9fAAgDAAAABAAAAAGbAAAAmgAAAAUAAAABnAAAAJoAAAADAAAAAZ0AAACaAAAABgAAAAGeAAAAmgAAAAUAAAAPMgAAAAUAAAABAAAAAAEFMwAAABVBcGxvcmlzLkJhc2UuVUkuTGFiZWwcAAAAD21BbmNob3JQb3NpdGlvbgttQW5jaG9yTW9kZQ9tQWRkSW5uZXJNYXJnaW4WbU9mZnNldERpcmVjdGlvbkFuY2hvchdtT2Zmc2V0T3J0aG9nb25hbEFuY2hvcgttVGV4dEZvcm1hdAltUm90YXRpb24KbUJhY2tDb2xvcg1tVXNlQmFja0NvbG9yDm1Vc2V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BAQEAAEDAwEAAAAABwIAAAMA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MAAAABnwAAACAAAADpohBEmHHHQwGgAAAAmgAAAAQAAAAAAAAAAAAAAAAJoQAAAAAAAAAJogAAAAAABaMAAAAqQXBsb3Jpcy5CYXNlLlVJLkxhYmVsK0xpbmVBbGlnbm1lbnRPcHRpb25zAQAAAAd2YWx1ZV9fAAgDAAAAAAAAAAGkAAAAbAAAAAAAAAAAAAAAAaUAAAAUAAAAAAAAAAAAAAAAAAAAAAAAAAAAAAAGpgAAAA1DYXRlZ29yeSBheGlzCgmnAAAACaYAAADkAgAA/////wABCgmoAAAAAQAKAQE0AAAAJAAAAAmpAAAABgAAAAYAAAABNQAAACUAAAAJqgAAAAIAAAACAAAAATcAAAAnAAAACgmrAAAACawAAAAJBwAAAAkBAAAACa0AAAABOAAAACgAAAAKCa4AAAAJrwAAAAkHAAAACQEAAAAJsAAAAAU5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iAAAAAwAAAAljAAAACWQAAAAJZQAAAAEAAAAACgmNAAAACWYAAAAAAAAACgAAAAAA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cAAAAJAQAAAAEAAAAACWIAAAADAAAACWMAAAAJZAAAAAllAAAAAQAAAAAKCglmAAAAAAAAAAoAAAAAAA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BAAAAAQliAAAAAwAAAAljAAAACWQAAAAJZQAAAAEAAAAACgmNAAAACWYAAAABAAAACgAAAAAAAAAAATwAAAAsAAAACgmxAAAACbIAAAAJBwAAAAkBAAAACbMAAAABPwAAAC8AAAABtAAAACAAAABddD1CmHHHQwG1AAAAIAAAAF10PUJL3oNBCbYAAAC4AQAA/////wEBCgm3AAAAAQAKAAdAAAAAAAEAAAAFAAAABBVTeXN0ZW0uRHJhd2luZy5Qb2ludEYEAAAAAbgAAAAgAAAAXXQ9QiLrIUEBuQAAACAAAAAsmiJBmHHHQwG6AAAAIAAAACyaIkF9r09DAbsAAAAgAAAALJoiQUveg0EBvAAAACAAAAAsmiJBIushQQdBAAAAAAEAAAAFAAAABBdBcGxvcmlzLkJhc2UuQW5jaG9yTW9kZQMAAAABvQAAAJoAAAABAAAAAb4AAACaAAAACAAAAAG/AAAAmgAAAAIAAAABwAAAAJoAAAAGAAAAAcEAAACaAAAABwAAAA9CAAAABQAAAAEAAAAAAQFDAAAAMwAAAAHCAAAAIAAAAF10PUIi6yFBAcMAAACaAAAAAQAAAAAAAAAAAAAAAAnEAAAAAAAAAAnFAAAAAAABxgAAAKMAAAAAAAAAAccAAABsAAAAAAAAAAAAAAAByAAAABQAAAAAAAAAAAAAAAAAAAAAAAAAAAAAAAbJAAAAClZhbHVlIGF4aXMKCcoAAAAJyQAAAOQCAAD/////AAEKCcsAAAABAAoBAUQAAAAkAAAACcwAAAAHAAAABwAAAAFFAAAAJQAAAAnNAAAAAgAAAAIAAAAHRgAAAAABAAAAAAAAAAQuQXBsb3Jpcy5DaGFydC5Db2x1bW5PcmllbnRlZENoYXJ0K1VudXNlZFNlcmllcwIAAAAERw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zgAAABQAAABbAAAAAUgAAAAkAAAACc8AAAAUAAAAIAAAAAFJAAAAJQAAAAnQAAAAAAAAAAAAAAAESg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dEAAAAAAAAAAAAAAAFLAAAAJAAAAAnSAAAAAAAAAAAAAAABTAAAACUAAAAJ0AAAAAAAAAAAAAAABE0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dMAAAAAAAAAAAAAAAFOAAAAJAAAAAnSAAAAAAAAAAAAAAABTwAAACUAAAAJ0AAAAAAAAAAAAAAABFA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UAAAABAAAAAYAAAABUQAAACQAAAAJ1QAAAAQAAAAGAAAAAVIAAAAlAAAACdAAAAAAAAAAAAAAAART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1gAAAAAAAAAAAAAAAVQAAAAkAAAACdIAAAAAAAAAAAAAAAFVAAAAJQAAAAnQAAAAAAAAAAAAAAAEVg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dcAAAAAAAAAAAAAAAFXAAAAJAAAAAnSAAAAAAAAAAAAAAABWAAAACUAAAAJ0AAAAAAAAAAAAAAABFk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YAAAAAAAAAAAAAAABWgAAACQAAAAJ0gAAAAAAAAAAAAAAAVsAAAAlAAAACdAAAAAAAAAAAAAAAARc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ZAAAAAAAAAAAAAAABXQAAACQAAAAJ0gAAAAAAAAAAAAAAAV4AAAAlAAAACdAAAAAAAAAAAAAAAARf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doAAAAAAAAAAAAAAAFgAAAAJAAAAAnSAAAAAAAAAAAAAAABYQAAACUAAAAJ0AAAAAAAAAAAAAAABWo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2wAAAAncAAAAAQAAAP7///8BAAAAAQAAAAEAAAABAAAAAQAAAAEAAAAAAAEFaw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dAAAACd4AAAABAAAAAAAAAAAAAAAAAAAAAAEFbwAAAB9BcGxvcmlzLkJhc2UuT2JqZWN0cy5QZXJzSWREYXRhAgAAAANtSWQLbUN1c3RvbURhdGEHAggDAAAACd8AAAAKBXIAAAAaQXBsb3Jpcy5CYXNlLk9iamVjdHMuQ29sb3IHAAAAEkRhdGFPYmplY3QrbVBhcmVudBVEYXRhT2JqZWN0K21Db250YWluZXIFbVR5cGUEbVJHQhBtVGhlbWVDb2xvckluZGV4DG1BdXRvVXBkYXRlZAltTW9kaWZpZWQCAgAAAAAACAgIAQEDAAAACgoAAAAAAAAAAA0AAAAAAQFzAAAAcgAAAAoKAQAAAAAAAAD/////AAEHhQAAAAABAAAAEAAAAAQfQXBsb3Jpcy5CYXNlLk9iamVjdHMuRGF0YU9iamVjdAMAAAAJCQAAAAkKAAAACQsAAAAJDAAAAAkQAAAACREAAAAJDQAAAAkOAAAACQ8AAAAJBwAAAAkGAAAACRcAAAANBAeGAAAAAAEAAAAEAAAABBxBcGxvcmlzLkJhc2UuVUkuVmlzdWFsT2JqZWN0AwAAAAkbAAAADQMEhwAAAJEBU3lzdGVtLkNvbGxlY3Rpb25zLkdlbmVyaWMuTGlzdGAxW1tBcGxvcmlzLkNoYXJ0LlZhbHVlTGluZSwgQXBsb3Jpcy5DaGFydCwgVmVyc2lvbj00LjAuMC4xNDg2LCBDdWx0dXJlPW5ldXRyYWwsIFB1YmxpY0tleVRva2VuPTE2ZmMxM2EyMjZjMGU5NTFdXQMAAAAGX2l0ZW1zBV9zaXplCF92ZXJzaW9uBAAAGUFwbG9yaXMuQ2hhcnQuVmFsdWVMaW5lW10CAAAACAgJ4AAAAAAAAAAAAAAAAYgAAAAkAAAACdIAAAAAAAAAAAAAAAGJAAAAJQAAAAnQAAAAAAAAAAAAAAAEigAAAJEBU3lzdGVtLkNvbGxlY3Rpb25zLkdlbmVyaWMuTGlzdGAxW1tBcGxvcmlzLkNoYXJ0LkF4aXNCcmVhaywgQXBsb3Jpcy5DaGFydCwgVmVyc2lvbj00LjAuMC4xNDg2LCBDdWx0dXJlPW5ldXRyYWwsIFB1YmxpY0tleVRva2VuPTE2ZmMxM2EyMjZjMGU5NTFdXQMAAAAGX2l0ZW1zBV9zaXplCF92ZXJzaW9uBAAAGUFwbG9yaXMuQ2hhcnQuQXhpc0JyZWFrW10CAAAACAgJ4QAAAAAAAAAAAAAAAYsAAAAkAAAACdIAAAAAAAAAAAAAAAGMAAAAJQAAAAnQAAAAAAAAAAAAAAAEjgAAAJABU3lzdGVtLkNvbGxlY3Rpb25zLkdlbmVyaWMuTGlzdGAxW1tBcGxvcmlzLkNoYXJ0LlRpY2tNYXJrLCBBcGxvcmlzLkNoYXJ0LCBWZXJzaW9uPTQuMC4wLjE0ODYsIEN1bHR1cmU9bmV1dHJhbCwgUHVibGljS2V5VG9rZW49MTZmYzEzYTIyNmMwZTk1MV1dAwAAAAZfaXRlbXMFX3NpemUIX3ZlcnNpb24EAAAYQXBsb3Jpcy5DaGFydC5UaWNrTWFya1tdAgAAAAgICeIAAAAAAAAAAAAAAAGPAAAAJAAAAAnSAAAAAAAAAAAAAAABkAAAACUAAAAJ0AAAAAAAAAAAAAAAAZMAAABqAAAACgoAAABAPwnjAAAACeQAAAABAAAA/v///wAAAAABAAAAAAAAAAAAAAABAAAAAAAAAAAAAAGUAAAAbwAAAAnlAAAACgWh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QEEJcAAAAAlxAAAACeYAAAABAAnnAAAAAaIAAAByAAAACgoBAAAAAAAAAP////8AAQSnAAAAlgFTeXN0ZW0uQ29sbGVjdGlvbnMuR2VuZXJpYy5MaXN0YDFbW0FwbG9yaXMuQmFzZS5PYmplY3RzLlZhcmlhYmxlLCBBcGxvcmlzLkJhc2UsIFZlcnNpb249NC4wLjAuMTQ4NiwgQ3VsdHVyZT1uZXV0cmFsLCBQdWJsaWNLZXlUb2tlbj0xNmZjMTNhMjI2YzBlOTUxXV0DAAAABl9pdGVtcwVfc2l6ZQhfdmVyc2lvbgQAAB9BcGxvcmlzLkJhc2UuT2JqZWN0cy5WYXJpYWJsZVtdAwAAAAgICegAAAAAAAAAAAAAAAGoAAAAbwAAAAnpAAAACgepAAAAAAEAAAAIAAAABB9BcGxvcmlzLkJhc2UuT2JqZWN0cy5EYXRhT2JqZWN0AwAAAAkpAAAACSoAAAAJKwAAAAksAAAACScAAAAJKAAAAAoKB6oAAAAAAQAAAAQAAAAEHEFwbG9yaXMuQmFzZS5VSS5WaXN1YWxPYmplY3QDAAAACS8AAAAJMwAAAAoKAasAAACHAAAACeAAAAAAAAAAAAAAAAGsAAAAJAAAAAnSAAAAAAAAAAAAAAABrQAAACUAAAAJ0AAAAAAAAAAAAAAAAa4AAACKAAAACeEAAAAAAAAAAAAAAAGvAAAAJAAAAAnSAAAAAAAAAAAAAAABsAAAACUAAAAJ0AAAAAAAAAAAAAAAAbEAAACOAAAACeoAAAALAAAAIQAAAAGyAAAAJAAAAAnrAAAACwAAACEAAAABswAAACUAAAAJ0AAAAAAAAAAAAAAAAbYAAABqAAAACgoAAABAPwnsAAAACe0AAAABAAAA/v///wAAAAABAAAAAAAAAAAAAAABAAAAAAAAAAAAAAG3AAAAbwAAAAnuAAAACgXE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QEEJcAAAAAlxAAAACe8AAAABAAnwAAAAAcUAAAByAAAACgoBAAAAAAAAAP////8AAQHKAAAApwAAAAnoAAAAAAAAAAAAAAABywAAAG8AAAAJ8QAAAAoHzAAAAAABAAAACAAAAAQfQXBsb3Jpcy5CYXNlLk9iamVjdHMuRGF0YU9iamVjdAMAAAAJOQAAAAk6AAAACTsAAAAJPAAAAAk3AAAACTgAAAAJ8gAAAAoHzQAAAAABAAAABAAAAAQcQXBsb3Jpcy5CYXNlLlVJLlZpc3VhbE9iamVjdAMAAAAJPwAAAAlDAAAACgoHzgAAAAABAAAAIAAAAAQdQXBsb3Jpcy5DaGFydC5DaGFydERhdGFTZXJpZXMCAAAACfMAAAAJ9AAAAAn1AAAACfYAAAAJ9wAAAAn4AAAACfkAAAAJ+gAAAAn7AAAACfwAAAAJ/QAAAAn+AAAACf8AAAAJAAEAAAkBAQAACQIBAAAJAwEAAAkEAQAACQUBAAAJBgEAAA0MB88AAAAAAQAAACAAAAAEH0FwbG9yaXMuQmFzZS5PYmplY3RzLkRhdGFPYmplY3QDAAAACfMAAAAJ9AAAAAn1AAAACfYAAAAJ9wAAAAn4AAAACfkAAAAJ+gAAAAn7AAAACfwAAAAJ/QAAAAn+AAAACf8AAAAJAAEAAAkFAQAACQQBAAAJBgEAAAkDAQAACQIBAAAJAQEAAA0MB9AAAAAAAQAAAAAAAAAEHEFwbG9yaXMuQmFzZS5VSS5WaXN1YWxPYmplY3QDAAAAB9EAAAAAAQAAAAAAAAAEIkFwbG9yaXMuQ2hhcnQuQW5ub3RhdGlvbkRhdGFTZXJpZXMCAAAAB9IAAAAAAQAAAAAAAAAEH0FwbG9yaXMuQmFzZS5PYmplY3RzLkRhdGFPYmplY3QDAAAAB9MAAAAAAQAAAAAAAAAEHUFwbG9yaXMuQ2hhcnQuQW5ub3RhdGlvbkdyb3VwAgAAAAfUAAAAAAEAAAAEAAAABBxBcGxvcmlzLkNoYXJ0LkNoYXJ0RGF0YUdyb3VwAgAAAAkHAQAACQgBAAAJCQEAAAkKAQAAB9UAAAAAAQAAAAQAAAAEH0FwbG9yaXMuQmFzZS5PYmplY3RzLkRhdGFPYmplY3QDAAAACQcBAAAJCAEAAAkJAQAACQoBAAAH1gAAAAABAAAAAAAAAAQWQXBsb3Jpcy5DaGFydC5EZWx0YUJhcgIAAAAH1wAAAAABAAAAAAAAAAQZQXBsb3Jpcy5DaGFydC5EZWx0YUJyaWRnZQIAAAAH2AAAAAABAAAAAAAAAAQZQXBsb3Jpcy5DaGFydC5Hcm93dGhBcnJvdwIAAAAH2QAAAAABAAAAAAAAAAQgQXBsb3Jpcy5DaGFydC5XYXRlcmZhbGxDb25uZWN0b3ICAAAAB9oAAAAAAQAAAAAAAAAEHkFwbG9yaXMuQ2hhcnQuRWxlbWVudENvbm5lY3RvcgIAAAAB2wAAAHIAAAAKCgAAAAAAAAAADQAAAAABAdwAAAByAAAACgoBAAAAAAAAAP////8AAQHdAAAAcgAAAAoKAQAAAP///wD/////AAEB3gAAAHIAAAAKCgEAAAAAAAAA/////wABD98AAAABAAAACAAAAAAH4AAAAAABAAAAAAAAAAQXQXBsb3Jpcy5DaGFydC5WYWx1ZUxpbmUCAAAAB+EAAAAAAQAAAAAAAAAEF0FwbG9yaXMuQ2hhcnQuQXhpc0JyZWFrAgAAAAfiAAAAAAEAAAAAAAAABBZBcGxvcmlzLkNoYXJ0LlRpY2tNYXJrAgAAAAXjAAAAGkFwbG9yaXMuQmFzZS5PYmplY3RzLkNvbG9yBwAAABJEYXRhT2JqZWN0K21QYXJlbnQVRGF0YU9iamVjdCttQ29udGFpbmVyBW1UeXBlBG1SR0IQbVRoZW1lQ29sb3JJbmRleAxtQXV0b1VwZGF0ZWQJbU1vZGlmaWVkBAIAAAAAAB9BcGxvcmlzLkJhc2UuT2JqZWN0cy5MaW5lRm9ybWF0AwAAAAgICAEBAwAAAAmTAAAACgAAAAAAAAAADQAAAAAABeQAAAAaQXBsb3Jpcy5CYXNlLk9iamVjdHMuQ29sb3IHAAAAEkRhdGFPYmplY3QrbVBhcmVudBVEYXRhT2JqZWN0K21Db250YWluZXIFbVR5cGUEbVJHQhBtVGhlbWVDb2xvckluZGV4DG1BdXRvVXBkYXRlZAltTW9kaWZpZWQEAgAAAAAAH0FwbG9yaXMuQmFzZS5PYmplY3RzLkxpbmVGb3JtYXQDAAAACAgIAQEDAAAACZMAAAAKAQAAAAAAAAD/////AAEP5QAAAAEAAAAIRwAAAAHmAAAAcgAAAAoKAAAAAAAAAAANAAAAAAEB5wAAAHIAAAAKCgEAAAAAAAAA/////wABB+gAAAAAAQAAAAAAAAAEHUFwbG9yaXMuQmFzZS5PYmplY3RzLlZhcmlhYmxlAwAAAA/pAAAAAQAAAAgAAAAAB+oAAAAAAQAAABAAAAAEFkFwbG9yaXMuQ2hhcnQuVGlja01hcmsCAAAACQsBAAAJDAEAAAkNAQAACQ4BAAAJDwEAAAkQAQAACREBAAAJEgEAAAkTAQAACRQBAAAJFQEAAA0FB+sAAAAAAQAAABAAAAAEH0FwbG9yaXMuQmFzZS5PYmplY3RzLkRhdGFPYmplY3QDAAAACQsBAAAJDAEAAAkNAQAACQ4BAAAJDwEAAAkQAQAACREBAAAJEgEAAAkTAQAACRQBAAAJFQEAAA0FBewAAAAaQXBsb3Jpcy5CYXNlLk9iamVjdHMuQ29sb3IHAAAAEkRhdGFPYmplY3QrbVBhcmVudBVEYXRhT2JqZWN0K21Db250YWluZXIFbVR5cGUEbVJHQhBtVGhlbWVDb2xvckluZGV4DG1BdXRvVXBkYXRlZAltTW9kaWZpZWQEAgAAAAAAH0FwbG9yaXMuQmFzZS5PYmplY3RzLkxpbmVGb3JtYXQDAAAACAgIAQEDAAAACbYAAAAKAAAAAAAAAAANAAAAAAAF7QAAABpBcGxvcmlzLkJhc2UuT2JqZWN0cy5Db2xvcgcAAAASRGF0YU9iamVjdCttUGFyZW50FURhdGFPYmplY3QrbUNvbnRhaW5lcgVtVHlwZQRtUkdCEG1UaGVtZUNvbG9ySW5kZXgMbUF1dG9VcGRhdGVkCW1Nb2RpZmllZAQCAAAAAAAfQXBsb3Jpcy5CYXNlLk9iamVjdHMuTGluZUZvcm1hdAMAAAAICAgBAQMAAAAJtgAAAAoBAAAAAAAAAP////8AAQ/uAAAAAQAAAAhGAAAAAe8AAAByAAAACgoAAAAAAAAAAA0AAAAAAQHwAAAAcgAAAAoKAQAAAAAAAAD/////AAEP8QAAAAEAAAAIAAAAAAXy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iAAAAAwAAAAljAAAACWQAAAAJZQAAAAEAAAAACgmNAAAACWYAAAABAAAACgAAAAAAAAAABfMAAAAdQXBsb3Jpcy5DaGFydC5DaGFydERhdGFTZXJpZXMcAAAABm1DaGFydAttU2VyaWVzVHlwZQltRXhjZWxSb3cKbUV4Y2VsUm93MgVtQXhpcw1tRGF0YUVsZW1lbnRzEm1TZXJpZXNEZXNjcmlwdGlvbhNtU2VyaWVzRGVzY3JpcHRpb24yCm1TdGFja2VkT24MbUN1c3RvbVdpZHRoD21DdXN0b21Qb3NpdGlvbg1tQ3VzdG9tWk9yZGVyCW1Qb2x5bGluZQhtUG9seWdvbhRtUmVzdG9yZUxhYmVsVmlzaWJsZQZtTGFiZWwPbUxhYmVsUG9zaXRpb25zEW1MYWJlbEFuY2hvck1vZGVzDm1MYWJlbFBvc2l0aW9uC21TbW9vdGhMaW5lDm1TYW1lVHlwZUluZGV4DG1CYXJQb3NpdGlvbhZtTGVnZW5kVXBkYXRlU3VzcGVuZGVkFG1QZW5kaW5nTGVnZW5kVXBkYXRlGERhdGFPYmplY3QrbUNoaWxkT2JqZWN0cxJEYXRhT2JqZWN0K21QYXJlbnQVRGF0YU9iamVjdCttQ29udGFpbmVyGURhdGFPYmplY3QrbVZpc3VhbE9iamVjdHMEBAAABAQBAQQAAAAEBAAEBAQAAAAAAAADBAQDIUFwbG9yaXMuQ2hhcnQuQ29sdW1uT3JpZW50ZWRDaGFydAIAAAAYQXBsb3Jpcy5DaGFydC5TZXJpZXNUeXBlAgAAAAgIJUFwbG9yaXMuQ2hhcnQuQ29sdW1uT3JpZW50ZWRDaGFydEF4aXMCAAAAogFBcGxvcmlzLkJhc2UuT2JqZWN0cy5EYXRhT2JqZWN0Q29sbGVjdGlvbmAxW1tBcGxvcmlzLkNoYXJ0LkNoYXJ0RGF0YUVsZW1lbnQsIEFwbG9yaXMuQ2hhcnQsIFZlcnNpb249NC4wLjAuMTQ4NiwgQ3VsdHVyZT1uZXV0cmFsLCBQdWJsaWNLZXlUb2tlbj0xNmZjMTNhMjI2YzBlOTUxXV0DAAAAHUFwbG9yaXMuQ2hhcnQuQ2hhcnREYXRhU2VyaWVzAgAAAAsLCB5BcGxvcmlzLkJhc2UuVUkuVmlzdWFsUG9seWxpbmUDAAAAHUFwbG9yaXMuQmFzZS5VSS5WaXN1YWxQb2x5Z29uAwAAAAEcQXBsb3Jpcy5DaGFydC5Db25uZWN0ZWRMYWJlbAIAAAAXU3lzdGVtLkRyYXdpbmcuUG9pbnRGW10EAAAAGUFwbG9yaXMuQmFzZS5BbmNob3JNb2RlW10DAAAACAEICAg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EWAQAAEwAAAAAAAAACAAAA/////wkHAAAACRcBAAAGGAEAAARNYWxlCgoAAAAAAAAAAAAAAAAKCgAJGQEAAAkaAQAACRsBAAAAAAAAAAAAAAAAAAAAAAAAAAAJHAEAAAkBAAAACQEAAAAJHQEAAAH0AAAA8wAAAAkBAAAAAR4BAAATAAAAAAAAAAMAAAD/////CQcAAAAJHwEAAAYgAQAABkZlbWFsZQoKAAAAAAAAAAAAAAAACgoACSEBAAAJIgEAAAkjAQAAAAAAAAABAAAAAAAAAAAAAAAACSQBAAAJAQAAAAkBAAAACSUBAAAB9QAAAPMAAAAJAQAAAAEmAQAAEwAAAAAAAAAEAAAA/////wkHAAAACScBAAAGKAEAAAhVbmRlciAzNQoKAAAAAAAAAAAAAAAACgoACSkBAAAJKgEAAAkrAQAAAAAAAAACAAAAAAAAAAAAAAAACSwBAAAJAQAAAAkBAAAACS0BAAAB9gAAAPMAAAAJAQAAAAEuAQAAEwAAAAAAAAAFAAAA/////wkHAAAACS8BAAAGMAEAAAUzNS00NAoKAAAAAAAAAAAAAAAACgoACTEBAAAJMgEAAAkzAQAAAAAAAAADAAAAAAAAAAAAAAAACTQBAAAJAQAAAAkBAAAACTUBAAAB9wAAAPMAAAAJAQAAAAE2AQAAEwAAAAAAAAAGAAAA/////wkHAAAACTcBAAAGOAEAAAU0NS01NAoKAAAAAAAAAAAAAAAACgoACTkBAAAJOgEAAAk7AQAAAAAAAAAEAAAAAAAAAAAAAAAACTwBAAAJAQAAAAkBAAAACT0BAAAB+AAAAPMAAAAJAQAAAAE+AQAAEwAAAAAAAAAHAAAA/////wkHAAAACT8BAAAGQAEAAAM1NSsKCgAAAAAAAAAAAAAAAAoKAAlBAQAACUIBAAAJQwEAAAAAAAAABQAAAAAAAAAAAAAAAAlEAQAACQEAAAAJAQAAAAlFAQAAAfkAAADzAAAACQEAAAABRgEAABMAAAAAAAAACAAAAP////8JBwAAAAlHAQAABkgBAAALTGVzcyB0aGFuIDEKCgAAAAAAAAAAAAAAAAoKAAlJAQAACUoBAAAJSwEAAAAAAAAABgAAAAAAAAAAAAAAAAlMAQAACQEAAAAJAQAAAAlNAQAAAfoAAADzAAAACQEAAAABTgEAABMAAAAAAAAACQAAAP////8JBwAAAAlPAQAABlABAAAGMSB0byAzCgoAAAAAAAAAAAAAAAAKCgAJUQEAAAlSAQAACVMBAAAAAAAAAAcAAAAAAAAAAAAAAAAJVAEAAAkBAAAACQEAAAAJVQEAAAH7AAAA8wAAAAkBAAAAAVYBAAATAAAAAAAAAAoAAAD/////CQcAAAAJVwEAAAZYAQAABjQgdG8gNQoKAAAAAAAAAAAAAAAACgoACVkBAAAJWgEAAAlbAQAAAAAAAAAIAAAAAAAAAAAAAAAACVwBAAAJAQAAAAkBAAAACV0BAAAB/AAAAPMAAAAJAQAAAAFeAQAAEwAAAAAAAAALAAAA/////wkHAAAACV8BAAAGYAEAAAY2IHRvIDkKCgAAAAAAAAAAAAAAAAoKAAlhAQAACWIBAAAJYwEAAAAAAAAACQAAAAAAAAAAAAAAAAlkAQAACQEAAAAJAQAAAAllAQAAAf0AAADzAAAACQEAAAABZgEAABMAAAAAAAAADAAAAP////8JBwAAAAlnAQAABmgBAAAIMTAgdG8gMTUKCgAAAAAAAAAAAAAAAAoKAAlpAQAACWoBAAAJawEAAAAAAAAACgAAAAAAAAAAAAAAAAlsAQAACQEAAAAJAQAAAAltAQAAAf4AAADzAAAACQEAAAABbgEAABMAAAAAAAAADQAAAP////8JBwAAAAlvAQAABnABAAAIMTYgdG8gMjAKCgAAAAAAAAAAAAAAAAoKAAlxAQAACXIBAAAJcwEAAAAAAAAACwAAAAAAAAAAAAAAAAl0AQAACQEAAAAJAQAAAAl1AQAAAf8AAADzAAAACQEAAAABdgEAABMAAAAAAAAADgAAAP////8JBwAAAAl3AQAABngBAAAMTW9yZSB0aGFuIDIwCgoAAAAAAAAAAAAAAAAKCgAJeQEAAAl6AQAACXsBAAAAAAAAAAwAAAAAAAAAAAAAAAAJfAEAAAkBAAAACQEAAAAJfQEAAAEAAQAA8wAAAAkBAAAAAX4BAAATAAAAAAAAAA8AAAD/////CQcAAAAJfwEAAAaAAQAABU90aGVyCgoAAAAAAAAAAAAAAAAKCgAJgQEAAAmCAQAACYMBAAAAAAAAAA0AAAAAAAAAAAAAAAAJhAEAAAkBAAAACQEAAAAJhQEAAAEBAQAA8wAAAAkBAAAAAYYBAAATAAAAAAAAABAAAAD/////CQcAAAAJhwEAAAaIAQAAFUZhY3VsdHkgd2l0aCBBZHZpc2luZwoKAAAAAAAAAAAAAAAACgoACYkBAAAJigEAAAmLAQAAAAAAAAAOAAAAAAAAAAAAAAAACYwBAAAJAQAAAAkBAAAACY0BAAABAgEAAPMAAAAJAQAAAAGOAQAAEwAAAAAAAAARAAAA/////wkHAAAACY8BAAAGkAEAABFBZHZpc29yL0NvdW5zZWxvcgoKAAAAAAAAAAAAAAAACgoACZEBAAAJkgEAAAmTAQAAAAAAAAAPAAAAAAAAAAAAAAAACZQBAAAJAQAAAAkBAAAACZUBAAABAwEAAPMAAAAJAQAAAAGWAQAAEwAAAAAAAAASAAAA/////wkHAAAACZcBAAAGmAEAACVEaXJlY3RvciBvZiBBZHZpc2luZy8NCkFkdmlzaW5nIEFkbWluCgoAAAAAAAAAAAAAAAAKCgAJmQEAAAmaAQAACZsBAAAAAAAAABAAAAAAAAAAAAAAAAAJnAEAAAkBAAAACQEAAAAJnQEAAAEEAQAA8wAAAAkBAAAAAZ4BAAATAAAAAAAAABMAAAD/////CQcAAAAJnwEAAAagAQAABERlYW4KCgAAAAAAAAAAAAAAAAoKAAmhAQAACaIBAAAJowEAAAAAAAAAEQAAAAAAAAAAAAAAAAmkAQAACQEAAAAJAQAAAAmlAQAAAQUBAADzAAAACQEAAAABpgEAABMAAAAAAAAAFAAAAP////8JBwAAAAmnAQAABqgBAAAYRGlyZWN0b3I6IA0KTm9uLUFkdmlzaW5nCgoAAAAAAAAAAAAAAAAKCgAJqQEAAAmqAQAACasBAAAAAAAAABIAAAAAAAAAAAAAAAAJrAEAAAkBAAAACQEAAAAJrQEAAAEGAQAA8wAAAAkBAAAAAa4BAAATAAAAAAAAABUAAAD/////CQcAAAAJrwEAAAawAQAAKlByb3Zvc3QsIFZpY2UgUHJvdm9zdCwgDQpvciBWaWNlIFByZXNpZGVudAoKAAAAAAAAAAAAAAAACgoACbEBAAAJsgEAAAmzAQAAAAAAAAATAAAAAAAAAAAAAAAACbQBAAAJAQAAAAkBAAAACbUBAAAFBw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a2AQAABkdlbmRlcgAFtwEAAB5BcGxvcmlzLkNoYXJ0LkNoYXJ0R3JvdXBBbmNob3IBAAAAB3ZhbHVlX18ACAIAAAAAAAAACgAAAAABAAAAAQAAAAm4AQAACbkBAAAJugEAAAoJBwAAAAm7AQAACQEAAAAJAQAAAAm8AQAAAQgBAAAHAQAACQEAAAAGvQEAAANBZ2UAAb4BAAC3AQAAAAAAAAoAAAAAAQAAAAEAAAAJvwEAAAnAAQAACcEBAAAKCQcAAAAJwgEAAAkBAAAACQEAAAAJwwEAAAEJAQAABwEAAAkBAAAABsQBAAARWWVhcnMgaW4gUG9zaXRpb24AAcUBAAC3AQAAAAAAAAoAAAAAAQAAAAEAAAAJxgEAAAnHAQAACcgBAAAKCQcAAAAJyQEAAAkBAAAACQEAAAAJygEAAAEKAQAABwEAAAkBAAAABssBAAAFVGl0bGUAAcwBAAC3AQAAAAAAAAoAAAAAAQAAAAEAAAAJzQEAAAnOAQAACc8BAAAKCQcAAAAJ0AEAAAkBAAAACQEAAAAJ0QEAAAULAQAAFkFwbG9yaXMuQ2hhcnQuVGlja01hcmsNAAAAC21WaXN1YWxMaW5lCW1HcmlkTGluZQZtTGFiZWwFbUF4aXMIbVZpc2libGUJbVBvc2l0aW9uC21TdGFydFBvaW50CW1FbmRQb2ludAxtSGFzR3JpZExpbmUYRGF0YU9iamVjdCttQ2hpbGRPYmplY3RzEkRhdGFPYmplY3QrbVBhcmVudBVEYXRhT2JqZWN0K21Db250YWluZXIZRGF0YU9iamVjdCttVmlzdWFsT2JqZWN0cwQEBAQAAAQEAAMEBAMaQXBsb3Jpcy5CYXNlLlVJLlZpc3VhbExpbmUDAAAAGkFwbG9yaXMuQmFzZS5VSS5WaXN1YWxMaW5lAwAAABVBcGxvcmlzLkJhc2UuVUkuTGFiZWwDAAAAEkFwbG9yaXMuQ2hhcnQuQXhpcwIAAAABBhVTeXN0ZW0uRHJhd2luZy5Qb2ludEYEAAAAFVN5c3RlbS5EcmF3aW5nLlBvaW50RgQAAAA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0gEAAAoJ0wEAAAkHAAAAAQAAAAAAAAAAAdQBAAAgAAAAXXQ9Qphxx0MB1QEAACAAAABddC1CmHHHQwAJ1gEAAAkHAAAACQEAAAAJ1wEAAAEMAQAACwEAAAnYAQAACgnZAQAACQcAAAABmpmZmZmZuT8B2gEAACAAAABddD1C01K0QwHbAQAAIAAAAF10LULTUrRDAAncAQAACQcAAAAJAQAAAAndAQAAAQ0BAAALAQAACd4BAAAKCd8BAAAJBwAAAAGamZmZmZnJPwHgAQAAIAAAAF10PUIONKFDAeEBAAAgAAAAXXQtQg40oUMACeIBAAAJBwAAAAkBAAAACeMBAAABDgEAAAsBAAAJ5AEAAAoJ5QEAAAkHAAAAATMzMzMzM9M/AeYBAAAgAAAAXXQ9QkkVjkMB5wEAACAAAABddC1CSRWOQwAJ6AEAAAkHAAAACQEAAAAJ6QEAAAEPAQAACwEAAAnqAQAACgnrAQAACQcAAAABmpmZmZmZ2T8B7AEAACAAAABddD1CB+11QwHtAQAAIAAAAF10LUIH7XVDAAnuAQAACQcAAAAJAQAAAAnvAQAAARABAAALAQAACfABAAAKCfEBAAAJBwAAAAEAAAAAAADgPwHyAQAAIAAAAF10PUJ9r09DAfMBAAAgAAAAXXQtQn2vT0MACfQBAAAJBwAAAAkBAAAACfUBAAABEQEAAAsBAAAJ9gEAAAoJ9wEAAAkHAAAAATMzMzMzM+M/AfgBAAAgAAAAXXQ9QvJxKUMB+QEAACAAAABddC1C8nEpQwAJ+gEAAAkHAAAACQEAAAAJ+wEAAAESAQAACwEAAAn8AQAACgn9AQAACQcAAAABZmZmZmZm5j8B/gEAACAAAABddD1CaDQDQwH/AQAAIAAAAF10LUJoNANDAAkAAgAACQcAAAAJAQAAAAkBAgAAARMBAAALAQAACQICAAAKCQMCAAAJBwAAAAGamZmZmZnpPwEEAgAAIAAAAF10PUK87blCAQUCAAAgAAAAXXQtQrztuUIACQYCAAAJBwAAAAkBAAAACQcCAAABFAEAAAsBAAAJCAIAAAoJCQIAAAkHAAAAAc3MzMzMzOw/AQoCAAAgAAAAXXQ9Qk/lWkIBCwIAACAAAABddC1CT+VaQgAJDAIAAAkHAAAACQEAAAAJDQIAAAEVAQAACwEAAAkOAgAACgkPAgAACQcAAAABAAAAAAAA8D8BEAIAACAAAABddD1CS96DQQERAgAAIAAAAF10LUJL3oNBAAkSAgAACQcAAAAJAQAAAAkTAgAABRcBAACiAUFwbG9yaXMuQmFzZS5PYmplY3RzLkRhdGFPYmplY3RDb2xsZWN0aW9uYDFbW0FwbG9yaXMuQ2hhcnQuQ2hhcnREYXRhRWxlbWVudCwgQXBsb3Jpcy5DaGFydCwgVmVyc2lvbj00LjAuMC4xNDg2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Q2hhcnREYXRhRWxlbWVudCwgQXBsb3Jpcy5DaGFydCwgVmVyc2lvbj00LjAuMC4xNDg2LCBDdWx0dXJlPW5ldXRyYWwsIFB1YmxpY0tleVRva2VuPTE2ZmMxM2EyMjZjMGU5NTFdXQMAAACYAVN5c3RlbS5Db2xsZWN0aW9ucy5HZW5lcmljLkxpc3RgMVtbQXBsb3Jpcy5DaGFydC5DaGFydERhdGF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RQCAAAJFQIAAAnzAAAACQEAAAAJFgIAAAUZAQAAHEFwbG9yaXMuQ2hhcnQuQ29ubmVjdGVkTGFiZWwkAAAADm1Db25uZWN0b3JMaW5lEG1aT3JkZXJDb25uZWN0b3IObUNvbm5lY3Rvck1vZGUZbUFuZ2xlZENvbm5lY3RvckRpcmVjdGlvbhBtQ29ubmVjdG9yVGFyZ2V0GW1Db25uZWN0b3JUYXJnZXRBcmVhU2hhcGUabUNvbm5lY3RvckRpc3BsYXlUaHJlc2hvbGQTbUNvbm5lY3RBbmNob3JQb2ludB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RMYWJlbCttTGluZUFsaWdubWVudA9MYWJlbCttVGV4dFNpemUVTGFiZWwrbUxhYmVsUmVjdGFuZ2xlG0xhYmVsK21Jbm5lck1hcmdpbkxlZnRSaWdodAtMYWJlbCttVGV4dBBMYWJlbCttVmFyaWFibGVzE0xhYmVsK21WYXJpYWJsZUxpc3QUTGFiZWwr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EBAQEAAAEBAAAAAQABAAABAQEAAEDAwEAAAAABwIAAAMAHkFwbG9yaXMuQmFzZS5VSS5WaXN1YWxQb2x5bGluZQMAAAAIK0FwbG9yaXMuQ2hhcnQuQ29ubmVjdGVkTGFiZWwrZUNvbm5lY3Rvck1vZGUCAAAANkFwbG9yaXMuQ2hhcnQuQ29ubmVjdGVkTGFiZWwrZUFuZ2xlZENvbm5lY3RvckRpcmVjdGlvbgIAAAAZU3lzdGVtLkRyYXdpbmcuUmVjdGFuZ2xlRgQAAAAtQXBsb3Jpcy5DaGFydC5Db25uZWN0ZWRMYWJlbCtlVGFyZ2V0QXJlYVNoYXBlAgAAAAsB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IAAAAKWAIAAAUXAgAAK0FwbG9yaXMuQ2hhcnQuQ29ubmVjdGVkTGFiZWwrZUNvbm5lY3Rvck1vZGUBAAAAB3ZhbHVlX18ACAIAAAABAAAABRgCAAA2QXBsb3Jpcy5DaGFydC5Db25uZWN0ZWRMYWJlbCtlQW5nbGVkQ29ubmVjdG9yRGlyZWN0aW9uAQAAAAd2YWx1ZV9fAAgCAAAAAAAAAAEZAgAAFAAAABih60NL3oNBiA6ZQgAAAAAFGgIAAC1BcGxvcmlzLkNoYXJ0LkNvbm5lY3RlZExhYmVsK2VUYXJnZXRBcmVhU2hhcGUBAAAAB3ZhbHVlX18ACAIAAAAAAAAAAAAQQQEBGwIAACAAAABd8gpES96DQQEcAgAAmgAAAAQAAAAAAAAAAAAAAAAJHQIAAAAAAAAJHgIAAAAAAR8CAACjAAAAAAAAAAEgAgAAbAAAAAAA4EEAAGBBASECAAAUAAAAAAAAAAAAAAAAAAAAAAAAAF662T8JGAEAAAoJIgIAAAYjAgAAACADAAD/////AAEKCSQCAAABAAoBBxoBAAAAAQAAAAIAAAAEFVN5c3RlbS5EcmF3aW5nLlBvaW50RgQAAAABJQIAACAAAABd8gpES96DQQEmAgAAIAAAAF10KUIsC6ZCBxsBAAAAAQAAAAIAAAAEF0FwbG9yaXMuQmFzZS5BbmNob3JNb2RlAwAAAAEnAgAAmgAAAAQAAAABKAIAAJoAAAACAAAAARwBAAAkAAAACSkCAAABAAAAAQAAAAEdAQAAJQAAAAkqAgAAAQAAAAMAAAABHwEAABcBAAAKCSsCAAAJLAIAAAn0AAAACQEAAAAJLQIAAAEhAQAAGQEAAApYAgAAAS4CAAAXAgAAAQAAAAEvAgAAGAIAAAAAAAABMAIAABQAAAAYoetDS96DQYgOmUIAAAAAATECAAAaAgAAAAAAAAAAEEEBATICAAAgAAAAXfIKREveg0EBMwIAAJoAAAAEAAAAAAAAAAAAAAAACTQCAAAAAAAACTUCAAAAAAE2AgAAowAAAAAAAAABNwIAAGwAAAAAADBCAABgQQE4AgAAFAAAAAAAAAAAAAAAAAAAAAAAAABeutk/CSABAAAKCTkCAAAJIwIAACADAAD/////AAEKCToCAAABAAoBByIBAAAAAQAAAAIAAAAEFVN5c3RlbS5EcmF3aW5nLlBvaW50RgQAAAABOwIAACAAAABd8gpES96DQQE8AgAAIAAAAF10KUKlHIlDByMBAAAAAQAAAAIAAAAEF0FwbG9yaXMuQmFzZS5BbmNob3JNb2RlAwAAAAE9AgAAmgAAAAQAAAABPgIAAJoAAAACAAAAASQBAAAkAAAACT8CAAABAAAAAQAAAAElAQAAJQAAAAlAAgAAAQAAAAMAAAABJwEAABcBAAAKCUECAAAJQgIAAAn1AAAACQEAAAAJQwIAAAEpAQAAGQEAAApYAgAAAUQCAAAXAgAAAQAAAAFFAgAAGAIAAAAAAAABRgIAABQAAAAYoetDS96DQYgOmUIAAAAAAUcCAAAaAgAAAAAAAAAAEEEBAUgCAAAgAAAAXfIKREveg0EBSQIAAJoAAAAEAAAAAAAAAAAAAAAACUoCAAAAAAAACUsCAAAAAAFMAgAAowAAAAAAAAABTQIAAGwAAAAAAFhCAABgQQFOAgAAFAAAAAAAAAAAAAAAAAAAAAAAAABeutk/CSgBAAAKCU8CAAAJIwIAACADAAD/////AAEKCVACAAABAAoBByoBAAAAAQAAAAIAAAAEFVN5c3RlbS5EcmF3aW5nLlBvaW50RgQAAAABUQIAACAAAABd8gpES96DQQFSAgAAIAAAAF10KUKYccdDBysBAAAAAQAAAAIAAAAEF0FwbG9yaXMuQmFzZS5BbmNob3JNb2RlAwAAAAFTAgAAmgAAAAQAAAABVAIAAJoAAAACAAAAASwBAAAkAAAACVUCAAABAAAAAQAAAAEtAQAAJQAAAAlWAgAAAQAAAAMAAAABLwEAABcBAAAKCVcCAAAJWAIAAAn2AAAACQEAAAAJWQIAAAExAQAAGQEAAApYAgAAAVoCAAAXAgAAAQAAAAFbAgAAGAIAAAAAAAABXAIAABQAAAAYoetDS96DQYgOmUIAAAAAAV0CAAAaAgAAAAAAAAAAEEEBAV4CAAAgAAAAXfIKREveg0EBXwIAAJoAAAAEAAAAAAAAAAAAAAAACWACAAAAAAAACWECAAAAAAFiAgAAowAAAAAAAAABYwIAAGwAAAAAAARCAABgQQFkAgAAFAAAAAAAAAAAAAAAAAAAAAAAAABeutk/CTABAAAKCWUCAAAJIwIAACADAAD/////AAEKCWYCAAABAAoBBzIBAAAAAQAAAAIAAAAEFVN5c3RlbS5EcmF3aW5nLlBvaW50RgQAAAABZwIAACAAAABd8gpES96DQQFoAgAAIAAAAF10KUKYccdDBzMBAAAAAQAAAAIAAAAEF0FwbG9yaXMuQmFzZS5BbmNob3JNb2RlAwAAAAFpAgAAmgAAAAQAAAABagIAAJoAAAACAAAAATQBAAAkAAAACWsCAAABAAAAAQAAAAE1AQAAJQAAAAlsAgAAAQAAAAMAAAABNwEAABcBAAAKCW0CAAAJbgIAAAn3AAAACQEAAAAJbwIAAAE5AQAAGQEAAApYAgAAAXACAAAXAgAAAQAAAAFxAgAAGAIAAAAAAAABcgIAABQAAAAYoetDS96DQYgOmUIAAAAAAXMCAAAaAgAAAAAAAAAAEEEBAXQCAAAgAAAAXfIKREveg0EBdQIAAJoAAAAEAAAAAAAAAAAAAAAACXYCAAAAAAAACXcCAAAAAAF4AgAAowAAAAAAAAABeQIAAGwAAAAAAARCAABgQQF6AgAAFAAAAAAAAAAAAAAAAAAAAAAAAABeutk/CTgBAAAKCXsCAAAJIwIAACADAAD/////AAEKCXwCAAABAAoBBzoBAAAAAQAAAAIAAAAEFVN5c3RlbS5EcmF3aW5nLlBvaW50RgQAAAABfQIAACAAAABd8gpES96DQQF+AgAAIAAAAF10KUKYccdDBzsBAAAAAQAAAAIAAAAEF0FwbG9yaXMuQmFzZS5BbmNob3JNb2RlAwAAAAF/AgAAmgAAAAQAAAABgAIAAJoAAAACAAAAATwBAAAkAAAACYECAAABAAAAAQAAAAE9AQAAJQAAAAmCAgAAAQAAAAMAAAABPwEAABcBAAAKCYMCAAAJhAIAAAn4AAAACQEAAAAJhQIAAAFBAQAAGQEAAApYAgAAAYYCAAAXAgAAAQAAAAGHAgAAGAIAAAAAAAABiAIAABQAAAAYoetDS96DQYgOmUIAAAAAAYkCAAAaAgAAAAAAAAAAEEEBAYoCAAAgAAAAXfIKREveg0EBiwIAAJoAAAAEAAAAAAAAAAAAAAAACYwCAAAAAAAACY0CAAAAAAGOAgAAowAAAAAAAAABjwIAAGwAAAAAALBBAABgQQGQAgAAFAAAAAAAAAAAAAAAAAAAAAAAAABeutk/CUABAAAKCZECAAAJIwIAACADAAD/////AAEKCZICAAABAAoBB0IBAAAAAQAAAAIAAAAEFVN5c3RlbS5EcmF3aW5nLlBvaW50RgQAAAABkwIAACAAAABd8gpES96DQQGUAgAAIAAAAF10KUKYccdDB0MBAAAAAQAAAAIAAAAEF0FwbG9yaXMuQmFzZS5BbmNob3JNb2RlAwAAAAGVAgAAmgAAAAQAAAABlgIAAJoAAAACAAAAAUQBAAAkAAAACZcCAAABAAAAAQAAAAFFAQAAJQAAAAmYAgAAAQAAAAUAAAABRwEAABcBAAAKCZkCAAAJmgIAAAn5AAAACQEAAAAJmwIAAAFJAQAAGQEAAApYAgAAAZwCAAAXAgAAAQAAAAGdAgAAGAIAAAAAAAABngIAABQAAAAYoetDS96DQYgOmUIAAAAAAZ8CAAAaAgAAAAAAAAAAEEEBAaACAAAgAAAAXfIKREveg0EBoQIAAJoAAAAEAAAAAAAAAAAAAAAACaICAAAAAAAACaMCAAAAAAGkAgAAowAAAAAAAAABpQIAAGwAAAAAAIhCAABgQQGmAgAAFAAAAAAAAAAAAAAAAAAAAAAAAABeutk/CUgBAAAKCacCAAAJIwIAACADAAD/////AAEKCagCAAABAAoBB0oBAAAAAQAAAAIAAAAEFVN5c3RlbS5EcmF3aW5nLlBvaW50RgQAAAABqQIAACAAAABd8gpES96DQQGqAgAAIAAAAF10KUKYccdDB0sBAAAAAQAAAAIAAAAEF0FwbG9yaXMuQmFzZS5BbmNob3JNb2RlAwAAAAGrAgAAmgAAAAQAAAABrAIAAJoAAAACAAAAAUwBAAAkAAAACa0CAAABAAAAAQAAAAFNAQAAJQAAAAmuAgAAAQAAAAUAAAABTwEAABcBAAAKCa8CAAAJsAIAAAn6AAAACQEAAAAJsQIAAAFRAQAAGQEAAApYAgAAAbICAAAXAgAAAQAAAAGzAgAAGAIAAAAAAAABtAIAABQAAAAYoetDS96DQYgOmUIAAAAAAbUCAAAaAgAAAAAAAAAAEEEBAbYCAAAgAAAAXfIKREveg0EBtwIAAJoAAAAEAAAAAAAAAAAAAAAACbgCAAAAAAAACbkCAAAAAAG6AgAAowAAAAAAAAABuwIAAGwAAAAAAARCAABgQQG8AgAAFAAAAAAAAAAAAAAAAAAAAAAAAABeutk/CVABAAAKCb0CAAAJIwIAACADAAD/////AAEKCb4CAAABAAoBB1IBAAAAAQAAAAIAAAAEFVN5c3RlbS5EcmF3aW5nLlBvaW50RgQAAAABvwIAACAAAABd8gpES96DQQHAAgAAIAAAAF10KUKYccdDB1MBAAAAAQAAAAIAAAAEF0FwbG9yaXMuQmFzZS5BbmNob3JNb2RlAwAAAAHBAgAAmgAAAAQAAAABwgIAAJoAAAACAAAAAVQBAAAkAAAACcMCAAABAAAAAQAAAAFVAQAAJQAAAAnEAgAAAQAAAAUAAAABVwEAABcBAAAKCcUCAAAJxgIAAAn7AAAACQEAAAAJxwIAAAFZAQAAGQEAAApYAgAAAcgCAAAXAgAAAQAAAAHJAgAAGAIAAAAAAAABygIAABQAAAAYoetDS96DQYgOmUIAAAAAAcsCAAAaAgAAAAAAAAAAEEEBAcwCAAAgAAAAXfIKREveg0EBzQIAAJoAAAAEAAAAAAAAAAAAAAAACc4CAAAAAAAACc8CAAAAAAHQAgAAowAAAAAAAAAB0QIAAGwAAAAAAARCAABgQQHSAgAAFAAAAAAAAAAAAAAAAAAAAAAAAABeutk/CVgBAAAKCdMCAAAJIwIAACADAAD/////AAEKCdQCAAABAAoBB1oBAAAAAQAAAAIAAAAEFVN5c3RlbS5EcmF3aW5nLlBvaW50RgQAAAAB1QIAACAAAABd8gpES96DQQHWAgAAIAAAAF10KUKYccdDB1sBAAAAAQAAAAIAAAAEF0FwbG9yaXMuQmFzZS5BbmNob3JNb2RlAwAAAAHXAgAAmgAAAAQAAAAB2AIAAJoAAAACAAAAAVwBAAAkAAAACdkCAAABAAAAAQAAAAFdAQAAJQAAAAnaAgAAAQAAAAUAAAABXwEAABcBAAAKCdsCAAAJ3AIAAAn8AAAACQEAAAAJ3QIAAAFhAQAAGQEAAApYAgAAAd4CAAAXAgAAAQAAAAHfAgAAGAIAAAAAAAAB4AIAABQAAAAYoetDS96DQYgOmUIAAAAAAeECAAAaAgAAAAAAAAAAEEEBAeICAAAgAAAAXfIKREveg0EB4wIAAJoAAAAEAAAAAAAAAAAAAAAACeQCAAAAAAAACeUCAAAAAAHmAgAAowAAAAAAAAAB5wIAAGwAAAAAAARCAABgQQHoAgAAFAAAAAAAAAAAAAAAAAAAAAAAAABeutk/CWABAAAKCekCAAAJIwIAACADAAD/////AAEKCeoCAAABAAoBB2IBAAAAAQAAAAIAAAAEFVN5c3RlbS5EcmF3aW5nLlBvaW50RgQAAAAB6wIAACAAAABd8gpES96DQQHsAgAAIAAAAF10KUKYccdDB2MBAAAAAQAAAAIAAAAEF0FwbG9yaXMuQmFzZS5BbmNob3JNb2RlAwAAAAHtAgAAmgAAAAQAAAAB7gIAAJoAAAACAAAAAWQBAAAkAAAACe8CAAABAAAAAQAAAAFlAQAAJQAAAAnwAgAAAQAAAAUAAAABZwEAABcBAAAKCfECAAAJ8gIAAAn9AAAACQEAAAAJ8wIAAAFpAQAAGQEAAApYAgAAAfQCAAAXAgAAAQAAAAH1AgAAGAIAAAAAAAAB9gIAABQAAAAYoetDS96DQYgOmUIAAAAAAfcCAAAaAgAAAAAAAAAAEEEBAfgCAAAgAAAAXfIKREveg0EB+QIAAJoAAAAEAAAAAAAAAAAAAAAACfoCAAAAAAAACfsCAAAAAAH8AgAAowAAAAAAAAAB/QIAAGwAAAAAADxCAABgQQH+AgAAFAAAAAAAAAAAAAAAAAAAAAAAAABeutk/CWgBAAAKCf8CAAAJIwIAACADAAD/////AAEKCQADAAABAAoBB2oBAAAAAQAAAAIAAAAEFVN5c3RlbS5EcmF3aW5nLlBvaW50RgQAAAABAQMAACAAAABd8gpES96DQQECAwAAIAAAAF10KUKYccdDB2sBAAAAAQAAAAIAAAAEF0FwbG9yaXMuQmFzZS5BbmNob3JNb2RlAwAAAAEDAwAAmgAAAAQAAAABBAMAAJoAAAACAAAAAWwBAAAkAAAACQUDAAABAAAAAQAAAAFtAQAAJQAAAAkGAwAAAQAAAAUAAAABbwEAABcBAAAKCQcDAAAJCAMAAAn+AAAACQEAAAAJCQMAAAFxAQAAGQEAAApYAgAAAQoDAAAXAgAAAQAAAAELAwAAGAIAAAAAAAABDAMAABQAAAAYoetDS96DQYgOmUIAAAAAAQ0DAAAaAgAAAAAAAAAAEEEBAQ4DAAAgAAAAXfIKREveg0EBDwMAAJoAAAAEAAAAAAAAAAAAAAAACRADAAAAAAAACREDAAAAAAESAwAAowAAAAAAAAABEwMAAGwAAAAAADxCAABgQQEUAwAAFAAAAAAAAAAAAAAAAAAAAAAAAABeutk/CXABAAAKCRUDAAAJIwIAACADAAD/////AAEKCRYDAAABAAoBB3IBAAAAAQAAAAIAAAAEFVN5c3RlbS5EcmF3aW5nLlBvaW50RgQAAAABFwMAACAAAABd8gpES96DQQEYAwAAIAAAAF10KUKYccdDB3MBAAAAAQAAAAIAAAAEF0FwbG9yaXMuQmFzZS5BbmNob3JNb2RlAwAAAAEZAwAAmgAAAAQAAAABGgMAAJoAAAACAAAAAXQBAAAkAAAACRsDAAABAAAAAQAAAAF1AQAAJQAAAAkcAwAAAQAAAAUAAAABdwEAABcBAAAKCR0DAAAJHgMAAAn/AAAACQEAAAAJHwMAAAF5AQAAGQEAAApYAgAAASADAAAXAgAAAQAAAAEhAwAAGAIAAAAAAAABIgMAABQAAAAYoetDS96DQYgOmUIAAAAAASMDAAAaAgAAAAAAAAAAEEEBASQDAAAgAAAAXfIKREveg0EBJQMAAJoAAAAEAAAAAAAAAAAAAAAACSYDAAAAAAAACScDAAAAAAEoAwAAowAAAAAAAAABKQMAAGwAAAAAAJpCAABgQQEqAwAAFAAAAAAAAAAAAAAAAAAAAAAAAABeutk/CXgBAAAKCSsDAAAJIwIAACADAAD/////AAEKCSwDAAABAAoBB3oBAAAAAQAAAAIAAAAEFVN5c3RlbS5EcmF3aW5nLlBvaW50RgQAAAABLQMAACAAAABd8gpES96DQQEuAwAAIAAAAF10KUKYccdDB3sBAAAAAQAAAAIAAAAEF0FwbG9yaXMuQmFzZS5BbmNob3JNb2RlAwAAAAEvAwAAmgAAAAQAAAABMAMAAJoAAAACAAAAAXwBAAAkAAAACTEDAAABAAAAAQAAAAF9AQAAJQAAAAkyAwAAAQAAAAMAAAABfwEAABcBAAAKCTMDAAAJNAMAAAkAAQAACQEAAAAJNQMAAAGBAQAAGQEAAApYAgAAATYDAAAXAgAAAQAAAAE3AwAAGAIAAAAAAAABOAMAABQAAAAYoetDS96bQYgOmUKmNmBCATkDAAAaAgAAAAAAAAAAEEEBAToDAAAgAAAAXfIKRHkKPkIBOwMAAJoAAAAEAAAAAAAAAAAAAAAACTwDAAAAAAAACT0DAAAAAAE+AwAAowAAAAAAAAABPwMAAGwAAAAAAAAAAAAAAAFAAwAAFAAAAAAAAAAAAAAAAAAAAAAAAAAAAAAACYABAAAKCUEDAAAJIwIAACADAAD/////AAEKCUIDAAABAAoBB4IBAAAAAQAAAAIAAAAEFVN5c3RlbS5EcmF3aW5nLlBvaW50RgQAAAABQwMAACAAAABd8gpEeQo+QgFEAwAAIAAAAF10KUKYccdDB4MBAAAAAQAAAAIAAAAEF0FwbG9yaXMuQmFzZS5BbmNob3JNb2RlAwAAAAFFAwAAmgAAAAQAAAABRgMAAJoAAAACAAAAAYQBAAAkAAAACUcDAAABAAAAAQAAAAGFAQAAJQAAAAlIAwAAAQAAAAEAAAABhwEAABcBAAAKCUkDAAAJSgMAAAkBAQAACQEAAAAJSwMAAAGJAQAAGQEAAApYAgAAAUwDAAAXAgAAAQAAAAFNAwAAGAIAAAAAAAABTgMAABQAAAAYoetD5hKjQogOmULQnyRBAU8DAAAaAgAAAAAAAAAAEEEBAVADAAAgAAAAXfIKRONcrUIBUQMAAJoAAAAEAAAAAAAAAAAAAAAACVIDAAAAAAAACVMDAAAAAAFUAwAAowAAAAAAAAABVQMAAGwAAAAAAAAAAAAAAAFWAwAAFAAAAAAAAAAAAAAAAAAAAAAAAAAAAAAACYgBAAAKCVcDAAAJIwIAACADAAD/////AAEKCVgDAAABAAoBB4oBAAAAAQAAAAIAAAAEFVN5c3RlbS5EcmF3aW5nLlBvaW50RgQAAAABWQMAACAAAABd8gpE41ytQgFaAwAAIAAAAF10KUKYccdDB4sBAAAAAQAAAAIAAAAEF0FwbG9yaXMuQmFzZS5BbmNob3JNb2RlAwAAAAFbAwAAmgAAAAQAAAABXAMAAJoAAAACAAAAAYwBAAAkAAAACV0DAAABAAAAAQAAAAGNAQAAJQAAAAleAwAAAQAAAAEAAAABjwEAABcBAAAKCV8DAAAJYAMAAAkCAQAACQEAAAAJYQMAAAGRAQAAGQEAAApYAgAAAWIDAAAXAgAAAQAAAAFjAwAAGAIAAAAAAAABZAMAABQAAAAYoetD4KbDQogOmUIckpZBAWUDAAAaAgAAAAAAAAAAEEEBAWYDAAAgAAAAXfIKRCR51kIBZwMAAJoAAAAEAAAAAAAAAAAAAAAACWgDAAAAAAAACWkDAAAAAAFqAwAAowAAAAAAAAABawMAAGwAAAAAAAAAAAAAAAFsAwAAFAAAAAAAAAAAAAAAAAAAAAAAAAAAAAAACZABAAAKCW0DAAAJIwIAACADAAD/////AAEKCW4DAAABAAoBB5IBAAAAAQAAAAIAAAAEFVN5c3RlbS5EcmF3aW5nLlBvaW50RgQAAAABbwMAACAAAABd8gpEJHnWQgFwAwAAIAAAAF10KUKYccdDB5MBAAAAAQAAAAIAAAAEF0FwbG9yaXMuQmFzZS5BbmNob3JNb2RlAwAAAAFxAwAAmgAAAAQAAAABcgMAAJoAAAACAAAAAZQBAAAkAAAACXMDAAABAAAAAQAAAAGVAQAAJQAAAAl0AwAAAQAAAAEAAAABlwEAABcBAAAKCXUDAAAJdgMAAAkDAQAACQEAAAAJdwMAAAGZAQAAGQEAAApYAgAAAXgDAAAXAgAAAQAAAAF5AwAAGAIAAAAAAAABegMAABQAAAAYoetDZ0v1QogOmUIWAlpCAXsDAAAaAgAAAAAAAAAAEEEBAXwDAAAgAAAAXfIKRPblFUMBfQMAAJoAAAAEAAAAAAAAAAAAAAAACX4DAAAAAAAACX8DAAAAAAGAAwAAowAAAAAAAAABgQMAAGwAAAAAAAAAAAAAAAGCAwAAFAAAAAAAAAAAAAAAAAAAAAAAAAAAAAAACZgBAAAKCYMDAAAJIwIAACADAAD/////AAEKCYQDAAABAAoBB5oBAAAAAQAAAAIAAAAEFVN5c3RlbS5EcmF3aW5nLlBvaW50RgQAAAABhQMAACAAAABd8gpE9uUVQwGGAwAAIAAAAF10KUKYccdDB5sBAAAAAQAAAAIAAAAEF0FwbG9yaXMuQmFzZS5BbmNob3JNb2RlAwAAAAGHAwAAmgAAAAQAAAABiAMAAJoAAAACAAAAAZwBAAAkAAAACYkDAAABAAAAAQAAAAGdAQAAJQAAAAmKAwAAAQAAAAEAAAABnwEAABcBAAAKCYsDAAAJjAMAAAkEAQAACQEAAAAJjQMAAAGhAQAAGQEAAApYAgAAAY4DAAAXAgAAAQAAAAGPAwAAGAIAAAAAAAABkAMAABQAAAAYoetDOSY3Q4gOmUKk7nVCAZEDAAAaAgAAAAAAAAAAEEEBAZIDAAAgAAAAXfIKRA7kVUMBkwMAAJoAAAAEAAAAAAAAAAAAAAAACZQDAAAAAAAACZUDAAAAAAGWAwAAowAAAAAAAAABlwMAAGwAAAAAAAAAAAAAAAGYAwAAFAAAAAAAAAAAAAAAAAAAAAAAAAAAAAAACaABAAAKCZkDAAAJIwIAACADAAD/////AAEKCZoDAAABAAoBB6IBAAAAAQAAAAIAAAAEFVN5c3RlbS5EcmF3aW5nLlBvaW50RgQAAAABmwMAACAAAABd8gpEDuRVQwGcAwAAIAAAAF10KUKYccdDB6MBAAAAAQAAAAIAAAAEF0FwbG9yaXMuQmFzZS5BbmNob3JNb2RlAwAAAAGdAwAAmgAAAAQAAAABngMAAJoAAAACAAAAAaQBAAAkAAAACZ8DAAABAAAAAQAAAAGlAQAAJQAAAAmgAwAAAQAAAAEAAAABpwEAABcBAAAKCaEDAAAJogMAAAkFAQAACQEAAAAJowMAAAGpAQAAGQEAAApYAgAAAaQDAAAXAgAAAQAAAAGlAwAAGAIAAAAAAAABpgMAABQAAAAYoetD4qF6Q4gOmUKAPX9CAacDAAAaAgAAAAAAAAAAEEEBAagDAAAgAAAAXfIKRMlEjUMBqQMAAJoAAAAEAAAAAAAAAAAAAAAACaoDAAAAAAAACasDAAAAAAGsAwAAowAAAAAAAAABrQMAAGwAAAAAAAAAAAAAAAGuAwAAFAAAAAAAAAAAAAAAAAAAAAAAAAAAAAAACagBAAAKCa8DAAAJIwIAACADAAD/////AAEKCbADAAABAAoBB6oBAAAAAQAAAAIAAAAEFVN5c3RlbS5EcmF3aW5nLlBvaW50RgQAAAABsQMAACAAAABd8gpEyUSNQwGyAwAAIAAAAF10KUKYccdDB6sBAAAAAQAAAAIAAAAEF0FwbG9yaXMuQmFzZS5BbmNob3JNb2RlAwAAAAGzAwAAmgAAAAQAAAABtAMAAJoAAAACAAAAAawBAAAkAAAACbUDAAABAAAAAQAAAAGtAQAAJQAAAAm2AwAAAQAAAAEAAAABrwEAABcBAAAKCbcDAAAJuAMAAAkGAQAACQEAAAAJuQMAAAGxAQAAGQEAAApYAgAAAboDAAAXAgAAAQAAAAG7AwAAGAIAAAAAAAABvAMAABQAAAAYoetDoTigQ4gOmULc45ZCAb0DAAAaAgAAAAAAAAAAEEEBAb4DAAAgAAAAXfIKRBwVs0MBvwMAAJoAAAAEAAAAAAAAAAAAAAAACcADAAAAAAAACcEDAAAAAAHCAwAAowAAAAAAAAABwwMAAGwAAAAAAAAAAAAAAAHEAwAAFAAAAAAAAAAAAAAAAAAAAAAAAAAAAAAACbABAAAKCcUDAAAJIwIAACADAAD/////AAEKCcYDAAABAAoBB7IBAAAAAQAAAAIAAAAEFVN5c3RlbS5EcmF3aW5nLlBvaW50RgQAAAABxwMAACAAAABd8gpEHBWzQwHIAwAAIAAAAF10KUKYccdDB7MBAAAAAQAAAAIAAAAEF0FwbG9yaXMuQmFzZS5BbmNob3JNb2RlAwAAAAHJAwAAmgAAAAQAAAABygMAAJoAAAACAAAAAbQBAAAkAAAACcsDAAABAAAAAQAAAAG1AQAAJQAAAAnMAwAAAQAAAAEAAAAPuAEAAAEAAAAIAAAAAAe5AQAAAAEAAAABAAAABBVBcGxvcmlzLkJhc2UuVUkuTGFiZWwDAAAACc0DAAABugEAADMAAAABzgMAACAAAADSxeJCmPHJQwHPAwAAmgAAAAMAAAAAAAAAAAAAAAAJ0AMAAAAAAAAJ0QMAAAAAAdIDAACjAAAAAAAAAAHTAwAAbAAAAAAAMEIAAGBBAdQDAAAUAAAA6KK3QnTRyUOlmy1C6KJLQV662T8JtgEAAAoJ1QMAAAkjAgAAIAMAAP////8BAQoJ1gMAAAEACgABuwEAACQAAAAJ0gAAAAAAAAAAAAAAAbwBAAAlAAAACdcDAAACAAAAAgAAAA+/AQAAAQAAAAgAAAAAB8ABAAAAAQAAAAEAAAAEFUFwbG9yaXMuQmFzZS5VSS5MYWJlbAMAAAAJ2AMAAAHBAQAAMwAAAAHZAwAAIAAAAIxudUOY8clDAdoDAACaAAAAAwAAAAAAAAAAAAAAAAnbAwAAAAAAAAncAwAAAAAB3QMAAKMAAAAAAAAAAd4DAABsAAAAAAC4QQAAYEEB3wMAABQAAADoomlDdNHJQx19wkHooktBXrrZPwm9AQAACgngAwAACSMCAAAgAwAA/////wEBCgnhAwAAAQAKAAHCAQAAJAAAAAnSAAAAAAAAAAAAAAABwwEAACUAAAAJ4gMAAAIAAAACAAAAD8YBAAABAAAACAAAAAAHxwEAAAABAAAAAQAAAAQVQXBsb3Jpcy5CYXNlLlVJLkxhYmVsAwAAAAnjAwAAAcgBAAAzAAAAAeQDAAAgAAAAF728Q5jxyUMB5QMAAJoAAAADAAAAAAAAAAAAAAAACeYDAAAAAAAACecDAAAAAAHoAwAAowAAAAAAAAAB6QMAAGwAAAAAAMZCAABgQQHqAwAAFAAAAF10pUN00clD0826QuiiS0Feutk/CcQBAAAKCesDAAAJIwIAACADAAD/////AQEKCewDAAABAAoAAckBAAAkAAAACdIAAAAAAAAAAAAAAAHKAQAAJQAAAAntAwAAAgAAAAIAAAAPzQEAAAEAAAAIAAAAAAfOAQAAAAEAAAABAAAABBVBcGxvcmlzLkJhc2UuVUkuTGFiZWwDAAAACe4DAAABzwEAADMAAAAB7wMAACAAAADpwv5DmPHJQwHwAwAAmgAAAAMAAAAAAAAAAAAAAAAJ8QMAAAAAAAAJ8gMAAAAAAfMDAACjAAAAAAAAAAH0AwAAbAAAAAAAwEEAAGBBAfUDAAAUAAAA6KL4Q3TRyUPvwslB6KJLQV662T8JywEAAAoJ9gMAAAkjAgAAIAMAAP////8BAQoJ9wMAAAEACgAB0AEAACQAAAAJ0gAAAAAAAAAAAAAAAdEBAAAlAAAACfgDAAACAAAAAgAAAAHSAQAALwAAAAH5AwAAIAAAAF10PUKYccdDAfoDAAAgAAAAXXQtQphxx0MJ+wMAAMwBAAD/////AQEKCfwDAAABAAoAAdMBAAAzAAAAAf0DAAAgAAAAXXQnQphxx0MB/gMAAJoAAAACAAAAAAAAAAAAAAAACf8DAAAAAAAACQAEAAAAAAEBBAAAowAAAAAAAAABAgQAAGwAAAAAAJhBAABgQQEDBAAAFAAAAHTRtUEXXcRD2GWlQeiiS0Feutk/BgQEAAACMCUKCQUEAAAJIwIAANACAAD/////AQEKCQYEAAABAAoAAdYBAAAkAAAACdIAAAAAAAAAAAAAAAHXAQAAJQAAAAkHBAAAAgAAAAIAAAAB2AEAAC8AAAABCAQAACAAAABddD1C01K0QwEJBAAAIAAAAF10LULTUrRDCQoEAADMAQAA/////wEBCgkLBAAAAQAKAAHZAQAAMwAAAAEMBAAAIAAAAF10J0LTUrRDAQ0EAACaAAAAAgAAAAAAAAAAAAAAAAkOBAAAAAAAAAkPBAAAAAABEAQAAKMAAAAAAAAAAREEAABsAAAAAADQQQAAYEEBEgQAABQAAAC66IJB0UWxQ5JO2EHooktBXrrZPwYTBAAAAzEwJQoJFAQAAAkjAgAA0AIAAP////8BAQoJFQQAAAEACgAB3AEAACQAAAAJ0gAAAAAAAAAAAAAAAd0BAAAlAAAACRYEAAACAAAAAgAAAAHeAQAALwAAAAEXBAAAIAAAAF10PUIONKFDARgEAAAgAAAAXXQtQg40oUMJGQQAAMwBAAD/////AQEKCRoEAAABAAoAAd8BAAAzAAAAARsEAAAgAAAAXXQnQg40oUMBHAQAAJoAAAACAAAAAAAAAAAAAAAACR0EAAAAAAAACR4EAAAAAAEfBAAAowAAAAAAAAABIAQAAGwAAAAAANBBAABgQQEhBAAAFAAAALrogkGLLp5Dkk7YQeiiS0Feutk/BiIEAAADMjAlCgkjBAAACSMCAADQAgAA/////wEBCgkkBAAAAQAKAAHiAQAAJAAAAAnSAAAAAAAAAAAAAAAB4wEAACUAAAAJJQQAAAIAAAACAAAAAeQBAAAvAAAAASYEAAAgAAAAXXQ9QkkVjkMBJwQAACAAAABddC1CSRWOQwkoBAAAzAEAAP////8BAQoJKQQAAAEACgAB5QEAADMAAAABKgQAACAAAABddCdCSRWOQwErBAAAmgAAAAIAAAAAAAAAAAAAAAAJLAQAAAAAAAAJLQQAAAAAAS4EAACjAAAAAAAAAAEvBAAAbAAAAAAA0EEAAGBBATAEAAAUAAAAuuiCQUYXi0OSTthB6KJLQV662T8GMQQAAAMzMCUKCTIEAAAJIwIAANACAAD/////AQEKCTMEAAABAAoAAegBAAAkAAAACdIAAAAAAAAAAAAAAAHpAQAAJQAAAAk0BAAAAgAAAAIAAAAB6gEAAC8AAAABNQQAACAAAABddD1CB+11QwE2BAAAIAAAAF10LUIH7XVDCTcEAADMAQAA/////wEBCgk4BAAAAQAKAAHrAQAAMwAAAAE5BAAAIAAAAF10J0IH7XVDAToEAACaAAAAAgAAAAAAAAAAAAAAAAk7BAAAAAAAAAk8BAAAAAABPQQAAKMAAAAAAAAAAT4EAABsAAAAAADQQQAAYEEBPwQAABQAAAC66IJBAABwQ5JO2EHooktBXrrZPwZABAAAAzQwJQoJQQQAAAkjAgAA0AIAAP////8BAQoJQgQAAAEACgAB7gEAACQAAAAJ0gAAAAAAAAAAAAAAAe8BAAAlAAAACUMEAAACAAAAAgAAAAHwAQAALwAAAAFEBAAAIAAAAF10PUJ9r09DAUUEAAAgAAAAXXQtQn2vT0MJRgQAAMwBAAD/////AQEKCUcEAAABAAoAAfEBAAAzAAAAAUgEAAAgAAAAXXQnQn2vT0MBSQQAAJoAAAACAAAAAAAAAAAAAAAACUoEAAAAAAAACUsEAAAAAAFMBAAAowAAAAAAAAABTQQAAGwAAAAAANBBAABgQQFOBAAAFAAAALrogkG66EhDkk7YQeiiS0Feutk/Bk8EAAADNTAlCglQBAAACSMCAADQAgAA/////wEBCglRBAAAAQAKAAH0AQAAJAAAAAnSAAAAAAAAAAAAAAAB9QEAACUAAAAJUgQAAAIAAAACAAAAAfYBAAAvAAAAAVMEAAAgAAAAXXQ9QvJxKUMBVAQAACAAAABddC1C8nEpQwlVBAAAzAEAAP////8BAQoJVgQAAAEACgAB9wEAADMAAAABVwQAACAAAABddCdC8nEpQwFYBAAAmgAAAAIAAAAAAAAAAAAAAAAJWQQAAAAAAAAJWgQAAAAAAVsEAACjAAAAAAAAAAFcBAAAbAAAAAAA0EEAAGBBAV0EAAAUAAAAuuiCQS66IkOSTthB6KJLQV662T8GXgQAAAM2MCUKCV8EAAAJIwIAANACAAD/////AQEKCWAEAAABAAoAAfoBAAAkAAAACdIAAAAAAAAAAAAAAAH7AQAAJQAAAAlhBAAAAgAAAAIAAAAB/AEAAC8AAAABYgQAACAAAABddD1CaDQDQwFjBAAAIAAAAF10LUJoNANDCWQEAADMAQAA/////wEBCgllBAAAAQAKAAH9AQAAMwAAAAFmBAAAIAAAAF10J0JoNANDAWcEAACaAAAAAgAAAAAAAAAAAAAAAAloBAAAAAAAAAlpBAAAAAABagQAAKMAAAAAAAAAAWsEAABsAAAAAADQQQAAYEEBbAQAABQAAAC66IJBRRf5QpJO2EHooktBXrrZPwZtBAAAAzcwJQoJbgQAAAkjAgAA0AIAAP////8BAQoJbwQAAAEACgABAAIAACQAAAAJ0gAAAAAAAAAAAAAAAQECAAAlAAAACXAEAAACAAAAAgAAAAECAgAALwAAAAFxBAAAIAAAAF10PUK87blCAXIEAAAgAAAAXXQtQrztuUIJcwQAAMwBAAD/////AQEKCXQEAAABAAoAAQMCAAAzAAAAAXUEAAAgAAAAXXQnQrztuUIBdgQAAJoAAAACAAAAAAAAAAAAAAAACXcEAAAAAAAACXgEAAAAAAF5BAAAowAAAAAAAAABegQAAGwAAAAAANBBAABgQQF7BAAAFAAAALrogkEuuqxCkk7YQeiiS0Feutk/BnwEAAADODAlCgl9BAAACSMCAADQAgAA/////wEBCgl+BAAAAQAKAAEGAgAAJAAAAAnSAAAAAAAAAAAAAAABBwIAACUAAAAJfwQAAAIAAAACAAAAAQgCAAAvAAAAAYAEAAAgAAAAXXQ9Qk/lWkIBgQQAACAAAABddC1CT+VaQgmCBAAAzAEAAP////8BAQoJgwQAAAEACgABCQIAADMAAAABhAQAACAAAABddCdCT+VaQgGFBAAAmgAAAAIAAAAAAAAAAAAAAAAJhgQAAAAAAAAJhwQAAAAAAYgEAACjAAAAAAAAAAGJBAAAbAAAAAAA0EEAAGBBAYoEAAAUAAAAuuiCQS66QEKSTthB6KJLQV662T8GiwQAAAM5MCUKCYwEAAAJIwIAANACAAD/////AQEKCY0EAAABAAoAAQwCAAAkAAAACdIAAAAAAAAAAAAAAAENAgAAJQAAAAmOBAAAAgAAAAIAAAABDgIAAC8AAAABjwQAACAAAABddD1CS96DQQGQBAAAIAAAAF10LUJL3oNBCZEEAADMAQAA/////wEBCgmSBAAAAQAKAAEPAgAAMwAAAAGTBAAAIAAAAF10J0JL3oNBAZQEAACaAAAAAgAAAAAAAAAAAAAAAAmVBAAAAAAAAAmWBAAAAAABlwQAAKMAAAAAAAAAAZgEAABsAAAAAAAEQgAAYEEBmQQAABQAAAAAACBBAAAgQaWbBULooktBXrrZPwaaBAAABDEwMCUKCZsEAAAJIwIAANACAAD/////AQEKCZwEAAABAAoAARICAAAkAAAACdIAAAAAAAAAAAAAAAETAgAAJQAAAAmdBAAAAgAAAAIAAAAEFAIAAJgBU3lzdGVtLkNvbGxlY3Rpb25zLkdlbmVyaWMuTGlzdGAxW1tBcGxvcmlzLkNoYXJ0LkNoYXJ0RGF0YUVsZW1lbnQsIEFwbG9yaXMuQ2hhcnQsIFZlcnNpb249NC4wLjAuMTQ4NiwgQ3VsdHVyZT1uZXV0cmFsLCBQdWJsaWNLZXlUb2tlbj0xNmZjMTNhMjI2YzBlOTUxXV0DAAAABl9pdGVtcwVfc2l6ZQhfdmVyc2lvbgQAACBBcGxvcmlzLkNoYXJ0LkNoYXJ0RGF0YUVsZW1lbnRbXQIAAAAICAmeBAAABAAAAAYAAAABFQIAACQAAAAJnwQAAAQAAAAGAAAAARYCAAAlAAAACdAAAAAAAAAAAAAAAAUd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8wAAAAoAAAAAAEBBCXAAAAAJcQAAAAmgBAAAAQAJoQQAAAEeAgAAcgAAAAoKAAAAAP///wAOAAAAAAEBIgIAAKcAAAAJogQAAAEAAAABAAAAASQCAABvAAAACaMEAAAKBykCAAAAAQAAAAQAAAAEH0FwbG9yaXMuQmFzZS5PYmplY3RzLkRhdGFPYmplY3QDAAAACRcBAAANAwcqAgAAAAEAAAAEAAAABBxBcGxvcmlzLkJhc2UuVUkuVmlzdWFsT2JqZWN0AwAAAAkZAQAADQMBKwIAABQCAAAJpAQAAAQAAAAGAAAAASwCAAAkAAAACaUEAAAEAAAABgAAAAEtAgAAJQAAAAnQAAAAAAAAAAAAAAAFNA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QAAAAKAAAAAABAQQlwAAAACXEAAAAJpgQAAAEACacEAAABNQIAAHIAAAAKCgAAAAD///8ADgAAAAABATkCAACnAAAACagEAAABAAAAAQAAAAE6AgAAbwAAAAmpBAAACgc/AgAAAAEAAAAEAAAABB9BcGxvcmlzLkJhc2UuT2JqZWN0cy5EYXRhT2JqZWN0AwAAAAkfAQAADQMHQAIAAAABAAAABAAAAAQcQXBsb3Jpcy5CYXNlLlVJLlZpc3VhbE9iamVjdAMAAAAJIQEAAA0DAUECAAAUAgAACaoEAAAEAAAABgAAAAFCAgAAJAAAAAmrBAAABAAAAAYAAAABQwIAACUAAAAJ0AAAAAAAAAAAAAAABUo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1AAAACgAAAAAAQEEJcAAAAAlxAAAACawEAAABAAmtBAAAAUsCAAByAAAACgoAAAAA////AA4AAAAAAQFPAgAApwAAAAmuBAAAAQAAAAEAAAABUAIAAG8AAAAJrwQAAAoHVQIAAAABAAAABAAAAAQfQXBsb3Jpcy5CYXNlLk9iamVjdHMuRGF0YU9iamVjdAMAAAAJJwEAAA0DB1YCAAAAAQAAAAQAAAAEHEFwbG9yaXMuQmFzZS5VSS5WaXN1YWxPYmplY3QDAAAACSkBAAANAwFXAgAAFAIAAAmwBAAABAAAAAYAAAABWAIAACQAAAAJsQQAAAQAAAAGAAAAAVkCAAAlAAAACdAAAAAAAAAAAAAAAAVg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gAAAAoAAAAAAEBBCXAAAAAJcQAAAAmyBAAAAQAJswQAAAFhAgAAcgAAAAoKAAAAAP///wAOAAAAAAEBZQIAAKcAAAAJtAQAAAEAAAABAAAAAWYCAABvAAAACbUEAAAKB2sCAAAAAQAAAAQAAAAEH0FwbG9yaXMuQmFzZS5PYmplY3RzLkRhdGFPYmplY3QDAAAACS8BAAANAwdsAgAAAAEAAAAEAAAABBxBcGxvcmlzLkJhc2UuVUkuVmlzdWFsT2JqZWN0AwAAAAkxAQAADQMBbQIAABQCAAAJtgQAAAQAAAAGAAAAAW4CAAAkAAAACbcEAAAEAAAABgAAAAFvAgAAJQAAAAnQAAAAAAAAAAAAAAAFdg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cAAAAKAAAAAABAQQlwAAAACXEAAAAJuAQAAAEACbkEAAABdwIAAHIAAAAKCgAAAAD///8ADgAAAAABAXsCAACnAAAACboEAAABAAAAAQAAAAF8AgAAbwAAAAm7BAAACgeBAgAAAAEAAAAEAAAABB9BcGxvcmlzLkJhc2UuT2JqZWN0cy5EYXRhT2JqZWN0AwAAAAk3AQAADQMHggIAAAABAAAABAAAAAQcQXBsb3Jpcy5CYXNlLlVJLlZpc3VhbE9iamVjdAMAAAAJOQEAAA0DAYMCAAAUAgAACbwEAAAEAAAABgAAAAGEAgAAJAAAAAm9BAAABAAAAAYAAAABhQIAACUAAAAJ0AAAAAAAAAAAAAAABYw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4AAAACgAAAAAAQEEJcAAAAAlxAAAACb4EAAABAAm/BAAAAY0CAAByAAAACgoAAAAA////AA4AAAAAAQGRAgAApwAAAAnABAAAAQAAAAEAAAABkgIAAG8AAAAJwQQAAAoHlwIAAAABAAAABAAAAAQfQXBsb3Jpcy5CYXNlLk9iamVjdHMuRGF0YU9iamVjdAMAAAAJPwEAAA0DB5gCAAAAAQAAAAQAAAAEHEFwbG9yaXMuQmFzZS5VSS5WaXN1YWxPYmplY3QDAAAACUEBAAANAwGZAgAAFAIAAAnCBAAABAAAAAYAAAABmgIAACQAAAAJwwQAAAQAAAAGAAAAAZsCAAAlAAAACdAAAAAAAAAAAAAAAAWi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QAAAAoAAAAAAEBBCXAAAAAJcQAAAAnEBAAAAQAJxQQAAAGjAgAAcgAAAAoKAAAAAP///wAOAAAAAAEBpwIAAKcAAAAJxgQAAAEAAAABAAAAAagCAABvAAAACccEAAAKB60CAAAAAQAAAAQAAAAEH0FwbG9yaXMuQmFzZS5PYmplY3RzLkRhdGFPYmplY3QDAAAACUcBAAANAweuAgAAAAEAAAAEAAAABBxBcGxvcmlzLkJhc2UuVUkuVmlzdWFsT2JqZWN0AwAAAAlJAQAADQMBrwIAABQCAAAJyAQAAAQAAAAGAAAAAbACAAAkAAAACckEAAAEAAAABgAAAAGxAgAAJQAAAAnQAAAAAAAAAAAAAAAFuA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oAAAAKAAAAAABAQQlwAAAACXEAAAAJygQAAAEACcsEAAABuQIAAHIAAAAKCgAAAAD///8ADgAAAAABAb0CAACnAAAACcwEAAABAAAAAQAAAAG+AgAAbwAAAAnNBAAACgfDAgAAAAEAAAAEAAAABB9BcGxvcmlzLkJhc2UuT2JqZWN0cy5EYXRhT2JqZWN0AwAAAAlPAQAADQMHxAIAAAABAAAABAAAAAQcQXBsb3Jpcy5CYXNlLlVJLlZpc3VhbE9iamVjdAMAAAAJUQEAAA0DAcUCAAAUAgAACc4EAAAEAAAABgAAAAHGAgAAJAAAAAnPBAAABAAAAAYAAAABxwIAACUAAAAJ0AAAAAAAAAAAAAAABc4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7AAAACgAAAAAAQEEJcAAAAAlxAAAACdAEAAABAAnRBAAAAc8CAAByAAAACgoAAAAA////AA4AAAAAAQHTAgAApwAAAAnSBAAAAQAAAAEAAAAB1AIAAG8AAAAJ0wQAAAoH2QIAAAABAAAABAAAAAQfQXBsb3Jpcy5CYXNlLk9iamVjdHMuRGF0YU9iamVjdAMAAAAJVwEAAA0DB9oCAAAAAQAAAAQAAAAEHEFwbG9yaXMuQmFzZS5VSS5WaXN1YWxPYmplY3QDAAAACVkBAAANAwHbAgAAFAIAAAnUBAAABAAAAAYAAAAB3AIAACQAAAAJ1QQAAAQAAAAGAAAAAd0CAAAlAAAACdAAAAAAAAAAAAAAAAXk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AAAAAoAAAAAAEBBCXAAAAAJcQAAAAnWBAAAAQAJ1wQAAAHlAgAAcgAAAAoKAAAAAP///wAOAAAAAAEB6QIAAKcAAAAJ2AQAAAEAAAABAAAAAeoCAABvAAAACdkEAAAKB+8CAAAAAQAAAAQAAAAEH0FwbG9yaXMuQmFzZS5PYmplY3RzLkRhdGFPYmplY3QDAAAACV8BAAANAwfwAgAAAAEAAAAEAAAABBxBcGxvcmlzLkJhc2UuVUkuVmlzdWFsT2JqZWN0AwAAAAlhAQAADQMB8QIAABQCAAAJ2gQAAAQAAAAGAAAAAfICAAAkAAAACdsEAAAEAAAABgAAAAHzAgAAJQAAAAnQAAAAAAAAAAAAAAAF+g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0AAAAKAAAAAABAQQlwAAAACXEAAAAJ3AQAAAEACd0EAAAB+wIAAHIAAAAKCgAAAAD///8ADgAAAAABAf8CAACnAAAACd4EAAABAAAAAQAAAAEAAwAAbwAAAAnfBAAACgcFAwAAAAEAAAAEAAAABB9BcGxvcmlzLkJhc2UuT2JqZWN0cy5EYXRhT2JqZWN0AwAAAAlnAQAADQMHBgMAAAABAAAABAAAAAQcQXBsb3Jpcy5CYXNlLlVJLlZpc3VhbE9iamVjdAMAAAAJaQEAAA0DAQcDAAAUAgAACeAEAAAEAAAABgAAAAEIAwAAJAAAAAnhBAAABAAAAAYAAAABCQMAACUAAAAJ0AAAAAAAAAAAAAAABRA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AAAACgAAAAAAQEEJcAAAAAlxAAAACeIEAAABAAnjBAAAAREDAAByAAAACgoAAAAA////AA4AAAAAAQEVAwAApwAAAAnkBAAAAQAAAAEAAAABFgMAAG8AAAAJ5QQAAAoHGwMAAAABAAAABAAAAAQfQXBsb3Jpcy5CYXNlLk9iamVjdHMuRGF0YU9iamVjdAMAAAAJbwEAAA0DBxwDAAAAAQAAAAQAAAAEHEFwbG9yaXMuQmFzZS5VSS5WaXN1YWxPYmplY3QDAAAACXEBAAANAwEdAwAAFAIAAAnmBAAABAAAAAYAAAABHgMAACQAAAAJ5wQAAAQAAAAGAAAAAR8DAAAlAAAACdAAAAAAAAAAAAAAAAUm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wAAAAoAAAAAAEBBCXAAAAAJcQAAAAnoBAAAAQAJ6QQAAAEnAwAAcgAAAAoKAAAAAP///wAOAAAAAAEBKwMAAKcAAAAJ6gQAAAEAAAABAAAAASwDAABvAAAACesEAAAKBzEDAAAAAQAAAAQAAAAEH0FwbG9yaXMuQmFzZS5PYmplY3RzLkRhdGFPYmplY3QDAAAACXcBAAANAwcyAwAAAAEAAAAEAAAABBxBcGxvcmlzLkJhc2UuVUkuVmlzdWFsT2JqZWN0AwAAAAl5AQAADQMBMwMAABQCAAAJ7AQAAAQAAAAEAAAAATQDAAAkAAAACe0EAAAEAAAABAAAAAE1AwAAJQAAAAnQAAAAAAAAAAAAAAAFPA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ABAAAKAAAAAABAQQlwAAAACXEAAAAJ7gQAAAEACe8EAAABPQMAAHIAAAAKCgEAAAAAAAAA/////wABAUEDAACnAAAACfAEAAABAAAAAQAAAAFCAwAAbwAAAAnxBAAACgdHAwAAAAEAAAAEAAAABB9BcGxvcmlzLkJhc2UuT2JqZWN0cy5EYXRhT2JqZWN0AwAAAAl/AQAADQMHSAMAAAABAAAABAAAAAQcQXBsb3Jpcy5CYXNlLlVJLlZpc3VhbE9iamVjdAMAAAAJgQEAAA0DAUkDAAAUAgAACfIEAAAEAAAABAAAAAFKAwAAJAAAAAnzBAAABAAAAAQAAAABSwMAACUAAAAJ0AAAAAAAAAAAAAAABVI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BAQAACgAAAAAAQEEJcAAAAAlxAAAACfQEAAABAAn1BAAAAVMDAAByAAAACgoBAAAAAAAAAP////8AAQFXAwAApwAAAAn2BAAAAQAAAAEAAAABWAMAAG8AAAAJ9wQAAAoHXQMAAAABAAAABAAAAAQfQXBsb3Jpcy5CYXNlLk9iamVjdHMuRGF0YU9iamVjdAMAAAAJhwEAAA0DB14DAAAAAQAAAAQAAAAEHEFwbG9yaXMuQmFzZS5VSS5WaXN1YWxPYmplY3QDAAAACYkBAAANAwFfAwAAFAIAAAn4BAAABAAAAAQAAAABYAMAACQAAAAJ+QQAAAQAAAAEAAAAAWEDAAAlAAAACdAAAAAAAAAAAAAAAAVo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AgEAAAoAAAAAAEBBCXAAAAAJcQAAAAn6BAAAAQAJ+wQAAAFpAwAAcgAAAAoKAQAAAAAAAAD/////AAEBbQMAAKcAAAAJ/AQAAAEAAAABAAAAAW4DAABvAAAACf0EAAAKB3MDAAAAAQAAAAQAAAAEH0FwbG9yaXMuQmFzZS5PYmplY3RzLkRhdGFPYmplY3QDAAAACY8BAAANAwd0AwAAAAEAAAAEAAAABBxBcGxvcmlzLkJhc2UuVUkuVmlzdWFsT2JqZWN0AwAAAAmRAQAADQMBdQMAABQCAAAJ/gQAAAQAAAAEAAAAAXYDAAAkAAAACf8EAAAEAAAABAAAAAF3AwAAJQAAAAnQAAAAAAAAAAAAAAAFfg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MBAAAKAAAAAABAQQlwAAAACXEAAAAJAAUAAAEACQEFAAABfwMAAHIAAAAKCgEAAAAAAAAA/////wABAYMDAACnAAAACQIFAAABAAAAAQAAAAGEAwAAbwAAAAkDBQAACgeJAwAAAAEAAAAEAAAABB9BcGxvcmlzLkJhc2UuT2JqZWN0cy5EYXRhT2JqZWN0AwAAAAmXAQAADQMHigMAAAABAAAABAAAAAQcQXBsb3Jpcy5CYXNlLlVJLlZpc3VhbE9iamVjdAMAAAAJmQEAAA0DAYsDAAAUAgAACQQFAAAEAAAABAAAAAGMAwAAJAAAAAkFBQAABAAAAAQAAAABjQMAACUAAAAJ0AAAAAAAAAAAAAAABZQ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EAQAACgAAAAAAQEEJcAAAAAlxAAAACQYFAAABAAkHBQAAAZUDAAByAAAACgoBAAAAAAAAAP////8AAQGZAwAApwAAAAkIBQAAAQAAAAEAAAABmgMAAG8AAAAJCQUAAAoHnwMAAAABAAAABAAAAAQfQXBsb3Jpcy5CYXNlLk9iamVjdHMuRGF0YU9iamVjdAMAAAAJnwEAAA0DB6ADAAAAAQAAAAQAAAAEHEFwbG9yaXMuQmFzZS5VSS5WaXN1YWxPYmplY3QDAAAACaEBAAANAwGhAwAAFAIAAAkKBQAABAAAAAQAAAABogMAACQAAAAJCwUAAAQAAAAEAAAAAaMDAAAlAAAACdAAAAAAAAAAAAAAAAWq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BQEAAAoAAAAAAEBBCXAAAAAJcQAAAAkMBQAAAQAJDQUAAAGrAwAAcgAAAAoKAQAAAAAAAAD/////AAEBrwMAAKcAAAAJDgUAAAEAAAABAAAAAbADAABvAAAACQ8FAAAKB7UDAAAAAQAAAAQAAAAEH0FwbG9yaXMuQmFzZS5PYmplY3RzLkRhdGFPYmplY3QDAAAACacBAAANAwe2AwAAAAEAAAAEAAAABBxBcGxvcmlzLkJhc2UuVUkuVmlzdWFsT2JqZWN0AwAAAAmpAQAADQMBtwMAABQCAAAJEAUAAAQAAAAEAAAAAbgDAAAkAAAACREFAAAEAAAABAAAAAG5AwAAJQAAAAnQAAAAAAAAAAAAAAAFwA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YBAAAKAAAAAABAQQlwAAAACXEAAAAJEgUAAAEACRMFAAABwQMAAHIAAAAKCgEAAAAAAAAA/////wABAcUDAACnAAAACRQFAAABAAAAAQAAAAHGAwAAbwAAAAkVBQAACgfLAwAAAAEAAAAEAAAABB9BcGxvcmlzLkJhc2UuT2JqZWN0cy5EYXRhT2JqZWN0AwAAAAmvAQAADQMHzAMAAAABAAAABAAAAAQcQXBsb3Jpcy5CYXNlLlVJLlZpc3VhbE9iamVjdAMAAAAJsQEAAA0DAc0DAAAzAAAAARYFAAAgAAAA0sXiQpa8V0EBFwUAAJoAAAABAAAAAAAAAAAAAAAACRgFAAAAAAAACRkFAAAAAAEaBQAAowAAAAAAAAABGwUAAGwAAAAAAJBBAABgQQEcBQAAFAAAAAAAAAAAAAAAAAAAAAAAAABeutk/Bh0FAAADMS4wCgkeBQAACSMCAAA0AwAA/////wABCgkfBQAAAQAKAAHQAwAAIgAAAAoKAAAAAABAQQlwAAAACXEAAAAJIAUAAAAACSEFAAAB0QMAAHIAAAAKCgAAAAD///8ADgAAAAABAdUDAACnAAAACSIFAAABAAAAAQAAAAHWAwAAbwAAAAkjBQAACgfXAwAAAAEAAAAEAAAABBxBcGxvcmlzLkJhc2UuVUkuVmlzdWFsT2JqZWN0AwAAAAm6AQAACc0DAAAKCgHYAwAAMwAAAAEkBQAAIAAAAIxudUOWvFdBASUFAACaAAAAAQAAAAAAAAAAAAAAAAkmBQAAAAAAAAknBQAAAAABKAUAAKMAAAAAAAAAASkFAABsAAAAAACQQQAAYEEBKgUAABQAAAAAAAAAAAAAAAAAAAAAAAAAXrrZPwYrBQAAAzEuMAoJLAUAAAkjAgAANAMAAP////8AAQoJLQUAAAEACgAB2wMAACIAAAAKCgAAAAAAQEEJcAAAAAlxAAAACS4FAAAAAAkvBQAAAdwDAAByAAAACgoAAAAA////AA4AAAAAAQHgAwAApwAAAAkwBQAAAQAAAAEAAAAB4QMAAG8AAAAJMQUAAAoH4gMAAAABAAAABAAAAAQcQXBsb3Jpcy5CYXNlLlVJLlZpc3VhbE9iamVjdAMAAAAJwQEAAAnYAwAACgoB4wMAADMAAAABMgUAACAAAAAXvbxDlrxXQQEzBQAAmgAAAAEAAAAAAAAAAAAAAAAJNAUAAAAAAAAJNQUAAAAAATYFAACjAAAAAAAAAAE3BQAAbAAAAAAAkEEAAGBBATgFAAAUAAAAAAAAAAAAAAAAAAAAAAAAAF662T8GOQUAAAMxLjAKCToFAAAJIwIAADQDAAD/////AAEKCTsFAAABAAoAAeYDAAAiAAAACgoAAAAAAEBBCXAAAAAJcQAAAAk8BQAAAAAJPQUAAAHnAwAAcgAAAAoKAAAAAP///wAOAAAAAAEB6wMAAKcAAAAJPgUAAAEAAAABAAAAAewDAABvAAAACT8FAAAKB+0DAAAAAQAAAAQAAAAEHEFwbG9yaXMuQmFzZS5VSS5WaXN1YWxPYmplY3QDAAAACcgBAAAJ4wMAAAoKAe4DAAAzAAAAAUAFAAAgAAAA6cL+Q5a8V0EBQQUAAJoAAAABAAAAAAAAAAAAAAAACUIFAAAAAAAACUMFAAAAAAFEBQAAowAAAAAAAAABRQUAAGwAAAAAAAAAAAAAAAFGBQAAFAAAAAAAAAAAAAAAAAAAAAAAAAAAAAAABkcFAAADMS4wCglIBQAACSMCAAA0AwAA/////wABCglJBQAAAQAKAAHxAwAAIgAAAAoKAAAAAABAQQlwAAAACXEAAAAJSgUAAAAACUsFAAAB8gMAAHIAAAAKCgAAAAD///8ADgAAAAABAfYDAACnAAAACUwFAAABAAAAAQAAAAH3AwAAbwAAAAlNBQAACgf4AwAAAAEAAAAEAAAABBxBcGxvcmlzLkJhc2UuVUkuVmlzdWFsT2JqZWN0AwAAAAnPAQAACe4DAAAKCgH7AwAAagAAAAoKAAAAQD8JTgUAAAlPBQAAAQAAAP7///8AAAAAAQAAAAAAAAAAAAAAAQAAAAAAAAAAAAAB/AMAAG8AAAAJUAUAAAoB/wMAACIAAAAKCgAAAAAAQEEJcAAAAAlxAAAACVEFAAAAAAlSBQAAAQAEAAByAAAACgoAAAAA////AA4AAAAAAQEFBAAApwAAAAlTBQAAAQAAAAEAAAABBgQAAG8AAAAJVAUAAAoHBwQAAAABAAAABAAAAAQcQXBsb3Jpcy5CYXNlLlVJLlZpc3VhbE9iamVjdAMAAAAJ0gEAAAnTAQAACgoBCgQAAGoAAAAKCgAAAEA/CVUFAAAJVgUAAAEAAAD+////AAAAAAEAAAAAAAAAAAAAAAEAAAAAAAAAAAAAAQsEAABvAAAACVcFAAAKAQ4EAAAiAAAACgoAAAAAAEBBCXAAAAAJcQAAAAlYBQAAAAAJWQUAAAEPBAAAcgAAAAoKAAAAAP///wAOAAAAAAEBFAQAAKcAAAAJWgUAAAEAAAADAAAAARUEAABvAAAACVsFAAAKBxYEAAAAAQAAAAQAAAAEHEFwbG9yaXMuQmFzZS5VSS5WaXN1YWxPYmplY3QDAAAACdgBAAAJ2QEAAAoKARkEAABqAAAACgoAAABAPwlcBQAACV0FAAABAAAA/v///wAAAAABAAAAAAAAAAAAAAABAAAAAAAAAAAAAAEaBAAAbwAAAAleBQAACgEdBAAAIgAAAAoKAAAAAABAQQlwAAAACXEAAAAJXwUAAAAACWAFAAABHgQAAHIAAAAKCgAAAAD///8ADgAAAAABASMEAACnAAAACWEFAAABAAAAAwAAAAEkBAAAbwAAAAliBQAACgclBAAAAAEAAAAEAAAABBxBcGxvcmlzLkJhc2UuVUkuVmlzdWFsT2JqZWN0AwAAAAneAQAACd8BAAAKCgEoBAAAagAAAAoKAAAAQD8JYwUAAAlkBQAAAQAAAP7///8AAAAAAQAAAAAAAAAAAAAAAQAAAAAAAAAAAAABKQQAAG8AAAAJZQUAAAoBLAQAACIAAAAKCgAAAAAAQEEJcAAAAAlxAAAACWYFAAAAAAlnBQAAAS0EAAByAAAACgoAAAAA////AA4AAAAAAQEyBAAApwAAAAloBQAAAQAAAAMAAAABMwQAAG8AAAAJaQUAAAoHNAQAAAABAAAABAAAAAQcQXBsb3Jpcy5CYXNlLlVJLlZpc3VhbE9iamVjdAMAAAAJ5AEAAAnlAQAACgoBNwQAAGoAAAAKCgAAAEA/CWoFAAAJawUAAAEAAAD+////AAAAAAEAAAAAAAAAAAAAAAEAAAAAAAAAAAAAATgEAABvAAAACWwFAAAKATsEAAAiAAAACgoAAAAAAEBBCXAAAAAJcQAAAAltBQAAAAAJbgUAAAE8BAAAcgAAAAoKAAAAAP///wAOAAAAAAEBQQQAAKcAAAAJbwUAAAEAAAADAAAAAUIEAABvAAAACXAFAAAKB0MEAAAAAQAAAAQAAAAEHEFwbG9yaXMuQmFzZS5VSS5WaXN1YWxPYmplY3QDAAAACeoBAAAJ6wEAAAoKAUYEAABqAAAACgoAAABAPwlxBQAACXIFAAABAAAA/v///wAAAAABAAAAAAAAAAAAAAABAAAAAAAAAAAAAAFHBAAAbwAAAAlzBQAACgFKBAAAIgAAAAoKAAAAAABAQQlwAAAACXEAAAAJdAUAAAAACXUFAAABSwQAAHIAAAAKCgAAAAD///8ADgAAAAABAVAEAACnAAAACXYFAAABAAAAAwAAAAFRBAAAbwAAAAl3BQAACgdSBAAAAAEAAAAEAAAABBxBcGxvcmlzLkJhc2UuVUkuVmlzdWFsT2JqZWN0AwAAAAnwAQAACfEBAAAKCgFVBAAAagAAAAoKAAAAQD8JeAUAAAl5BQAAAQAAAP7///8AAAAAAQAAAAAAAAAAAAAAAQAAAAAAAAAAAAABVgQAAG8AAAAJegUAAAoBWQQAACIAAAAKCgAAAAAAQEEJcAAAAAlxAAAACXsFAAAAAAl8BQAAAVoEAAByAAAACgoAAAAA////AA4AAAAAAQFfBAAApwAAAAl9BQAAAQAAAAMAAAABYAQAAG8AAAAJfgUAAAoHYQQAAAABAAAABAAAAAQcQXBsb3Jpcy5CYXNlLlVJLlZpc3VhbE9iamVjdAMAAAAJ9gEAAAn3AQAACgoBZAQAAGoAAAAKCgAAAEA/CX8FAAAJgAUAAAEAAAD+////AAAAAAEAAAAAAAAAAAAAAAEAAAAAAAAAAAAAAWUEAABvAAAACYEFAAAKAWgEAAAiAAAACgoAAAAAAEBBCXAAAAAJcQAAAAmCBQAAAAAJgwUAAAFpBAAAcgAAAAoKAAAAAP///wAOAAAAAAEBbgQAAKcAAAAJhAUAAAEAAAADAAAAAW8EAABvAAAACYUFAAAKB3AEAAAAAQAAAAQAAAAEHEFwbG9yaXMuQmFzZS5VSS5WaXN1YWxPYmplY3QDAAAACfwBAAAJ/QEAAAoKAXMEAABqAAAACgoAAABAPwmGBQAACYcFAAABAAAA/v///wAAAAABAAAAAAAAAAAAAAABAAAAAAAAAAAAAAF0BAAAbwAAAAmIBQAACgF3BAAAIgAAAAoKAAAAAABAQQlwAAAACXEAAAAJiQUAAAAACYoFAAABeAQAAHIAAAAKCgAAAAD///8ADgAAAAABAX0EAACnAAAACYsFAAABAAAAAwAAAAF+BAAAbwAAAAmMBQAACgd/BAAAAAEAAAAEAAAABBxBcGxvcmlzLkJhc2UuVUkuVmlzdWFsT2JqZWN0AwAAAAkCAgAACQMCAAAKCgGCBAAAagAAAAoKAAAAQD8JjQUAAAmOBQAAAQAAAP7///8AAAAAAQAAAAAAAAAAAAAAAQAAAAAAAAAAAAABgwQAAG8AAAAJjwUAAAoBhgQAACIAAAAKCgAAAAAAQEEJcAAAAAlxAAAACZAFAAAAAAmRBQAAAYcEAAByAAAACgoAAAAA////AA4AAAAAAQGMBAAApwAAAAmSBQAAAQAAAAMAAAABjQQAAG8AAAAJkwUAAAoHjgQAAAABAAAABAAAAAQcQXBsb3Jpcy5CYXNlLlVJLlZpc3VhbE9iamVjdAMAAAAJCAIAAAkJAgAACgoBkQQAAGoAAAAKCgAAAEA/CZQFAAAJlQUAAAEAAAD+////AAAAAAEAAAAAAAAAAAAAAAEAAAAAAAAAAAAAAZIEAABvAAAACZYFAAAKAZUEAAAiAAAACgoAAAAAAEBBCXAAAAAJcQAAAAmXBQAAAAAJmAUAAAGWBAAAcgAAAAoKAAAAAP///wAOAAAAAAEBmwQAAKcAAAAJmQUAAAEAAAADAAAAAZwEAABvAAAACZoFAAAKB50EAAAAAQAAAAQAAAAEHEFwbG9yaXMuQmFzZS5VSS5WaXN1YWxPYmplY3QDAAAACQ4CAAAJDwIAAAoKB54EAAAAAQAAAAQAAAAEHkFwbG9yaXMuQ2hhcnQuQ2hhcnREYXRhRWxlbWVudAIAAAAJmwUAAAmcBQAACZ0FAAAJngUAAAefBAAAAAEAAAAEAAAABB9BcGxvcmlzLkJhc2UuT2JqZWN0cy5EYXRhT2JqZWN0AwAAAAmbBQAACZwFAAAJnQUAAAmeBQAAAaAEAAByAAAACgoAAAAAAAAAAA0AAAAAAQGhBAAAcgAAAAoKAQAAAAAAAAD/////AAEHogQAAAABAAAABAAAAAQdQXBsb3Jpcy5CYXNlLk9iamVjdHMuVmFyaWFibGUDAAAABZ8FAAAdQXBsb3Jpcy5CYXNlLk9iamVjdHMuVmFyaWFibGUCAAAABk51bWJlcghQb3NpdGlvbgAACAgDAAAAAQAAAAAAAAABoAUAAJ8FAAAAAAAAAAAAAAGhBQAAnwUAAAAAAAAAAAAAAaIFAACfBQAAAAAAAAAAAAAPowQAAAEAAAAIAAAAAAekBAAAAAEAAAAEAAAABB5BcGxvcmlzLkNoYXJ0LkNoYXJ0RGF0YUVsZW1lbnQCAAAACaMFAAAJpAUAAAmlBQAACaYFAAAHpQQAAAABAAAABAAAAAQfQXBsb3Jpcy5CYXNlLk9iamVjdHMuRGF0YU9iamVjdAMAAAAJowUAAAmkBQAACaUFAAAJpgUAAAGmBAAAcgAAAAoKAAAAAAAAAAANAAAAAAEBpwQAAHIAAAAKCgEAAAAAAAAA/////wABB6gEAAAAAQAAAAQAAAAEHUFwbG9yaXMuQmFzZS5PYmplY3RzLlZhcmlhYmxlAwAAAAGnBQAAnwUAAAEAAAAAAAAAAagFAACfBQAAAAAAAAAAAAABqQUAAJ8FAAAAAAAAAAAAAAGqBQAAnwUAAAAAAAAAAAAAD6kEAAABAAAACAAAAAAHqgQAAAABAAAABAAAAAQeQXBsb3Jpcy5DaGFydC5DaGFydERhdGFFbGVtZW50AgAAAAmrBQAACawFAAAJrQUAAAmuBQAAB6sEAAAAAQAAAAQAAAAEH0FwbG9yaXMuQmFzZS5PYmplY3RzLkRhdGFPYmplY3QDAAAACasFAAAJrAUAAAmtBQAACa4FAAABrAQAAHIAAAAKCgAAAAAAAAAADQAAAAABAa0EAAByAAAACgoBAAAAAAAAAP////8AAQeuBAAAAAEAAAAEAAAABB1BcGxvcmlzLkJhc2UuT2JqZWN0cy5WYXJpYWJsZQMAAAABrwUAAJ8FAAABAAAAAAAAAAGwBQAAnwUAAAAAAAAAAAAAAbEFAACfBQAAAAAAAAAAAAABsgUAAJ8FAAAAAAAAAAAAAA+vBAAAAQAAAAgAAAAAB7AEAAAAAQAAAAQAAAAEHkFwbG9yaXMuQ2hhcnQuQ2hhcnREYXRhRWxlbWVudAIAAAAJswUAAAm0BQAACbUFAAAJtgUAAAexBAAAAAEAAAAEAAAABB9BcGxvcmlzLkJhc2UuT2JqZWN0cy5EYXRhT2JqZWN0AwAAAAmzBQAACbQFAAAJtQUAAAm2BQAAAbIEAAByAAAACgoAAAAAAAAAAA0AAAAAAQGzBAAAcgAAAAoKAQAAAAAAAAD/////AAEHtAQAAAABAAAABAAAAAQdQXBsb3Jpcy5CYXNlLk9iamVjdHMuVmFyaWFibGUDAAAAAbcFAACfBQAAAQAAAAAAAAABuAUAAJ8FAAAAAAAAAAAAAAG5BQAAnwUAAAAAAAAAAAAAAboFAACfBQAAAAAAAAAAAAAPtQQAAAEAAAAIAAAAAAe2BAAAAAEAAAAEAAAABB5BcGxvcmlzLkNoYXJ0LkNoYXJ0RGF0YUVsZW1lbnQCAAAACbsFAAAJvAUAAAm9BQAACb4FAAAHtwQAAAABAAAABAAAAAQfQXBsb3Jpcy5CYXNlLk9iamVjdHMuRGF0YU9iamVjdAMAAAAJuwUAAAm8BQAACb0FAAAJvgUAAAG4BAAAcgAAAAoKAAAAAAAAAAANAAAAAAEBuQQAAHIAAAAKCgEAAAAAAAAA/////wABB7oEAAAAAQAAAAQAAAAEHUFwbG9yaXMuQmFzZS5PYmplY3RzLlZhcmlhYmxlAwAAAAG/BQAAnwUAAAEAAAAAAAAAAcAFAACfBQAAAAAAAAAAAAABwQUAAJ8FAAAAAAAAAAAAAAHCBQAAnwUAAAAAAAAAAAAAD7sEAAABAAAACAAAAAAHvAQAAAABAAAABAAAAAQeQXBsb3Jpcy5DaGFydC5DaGFydERhdGFFbGVtZW50AgAAAAnDBQAACcQFAAAJxQUAAAnGBQAAB70EAAAAAQAAAAQAAAAEH0FwbG9yaXMuQmFzZS5PYmplY3RzLkRhdGFPYmplY3QDAAAACcMFAAAJxAUAAAnFBQAACcYFAAABvgQAAHIAAAAKCgAAAAAAAAAADQAAAAABAb8EAAByAAAACgoBAAAAAAAAAP////8AAQfABAAAAAEAAAAEAAAABB1BcGxvcmlzLkJhc2UuT2JqZWN0cy5WYXJpYWJsZQMAAAABxwUAAJ8FAAABAAAAAAAAAAHIBQAAnwUAAAAAAAAAAAAAAckFAACfBQAAAAAAAAAAAAABygUAAJ8FAAAAAAAAAAAAAA/BBAAAAQAAAAgAAAAAB8IEAAAAAQAAAAQAAAAEHkFwbG9yaXMuQ2hhcnQuQ2hhcnREYXRhRWxlbWVudAIAAAAJywUAAAnMBQAACc0FAAAJzgUAAAfDBAAAAAEAAAAEAAAABB9BcGxvcmlzLkJhc2UuT2JqZWN0cy5EYXRhT2JqZWN0AwAAAAnLBQAACcwFAAAJzQUAAAnOBQAAAcQEAAByAAAACgoAAAAAAAAAAA0AAAAAAQHFBAAAcgAAAAoKAQAAAAAAAAD/////AAEHxgQAAAABAAAABAAAAAQdQXBsb3Jpcy5CYXNlLk9iamVjdHMuVmFyaWFibGUDAAAAAc8FAACfBQAAAQAAAAAAAAAB0AUAAJ8FAAAAAAAAAAAAAAHRBQAAnwUAAAAAAAAAAAAAAdIFAACfBQAAAAAAAAAAAAAPxwQAAAEAAAAIAAAAAAfIBAAAAAEAAAAEAAAABB5BcGxvcmlzLkNoYXJ0LkNoYXJ0RGF0YUVsZW1lbnQCAAAACdMFAAAJ1AUAAAnVBQAACdYFAAAHyQQAAAABAAAABAAAAAQfQXBsb3Jpcy5CYXNlLk9iamVjdHMuRGF0YU9iamVjdAMAAAAJ0wUAAAnUBQAACdUFAAAJ1gUAAAHKBAAAcgAAAAoKAAAAAAAAAAANAAAAAAEBywQAAHIAAAAKCgEAAAAAAAAA/////wABB8wEAAAAAQAAAAQAAAAEHUFwbG9yaXMuQmFzZS5PYmplY3RzLlZhcmlhYmxlAwAAAAHXBQAAnwUAAAEAAAAAAAAAAdgFAACfBQAAAAAAAAAAAAAB2QUAAJ8FAAAAAAAAAAAAAAHaBQAAnwUAAAAAAAAAAAAAD80EAAABAAAACAAAAAAHzgQAAAABAAAABAAAAAQeQXBsb3Jpcy5DaGFydC5DaGFydERhdGFFbGVtZW50AgAAAAnbBQAACdwFAAAJ3QUAAAneBQAAB88EAAAAAQAAAAQAAAAEH0FwbG9yaXMuQmFzZS5PYmplY3RzLkRhdGFPYmplY3QDAAAACdsFAAAJ3AUAAAndBQAACd4FAAAB0AQAAHIAAAAKCgAAAAAAAAAADQAAAAABAdEEAAByAAAACgoBAAAAAAAAAP////8AAQfSBAAAAAEAAAAEAAAABB1BcGxvcmlzLkJhc2UuT2JqZWN0cy5WYXJpYWJsZQMAAAAB3wUAAJ8FAAABAAAAAAAAAAHgBQAAnwUAAAAAAAAAAAAAAeEFAACfBQAAAAAAAAAAAAAB4gUAAJ8FAAAAAAAAAAAAAA/TBAAAAQAAAAgAAAAAB9QEAAAAAQAAAAQAAAAEHkFwbG9yaXMuQ2hhcnQuQ2hhcnREYXRhRWxlbWVudAIAAAAJ4wUAAAnkBQAACeUFAAAJ5gUAAAfVBAAAAAEAAAAEAAAABB9BcGxvcmlzLkJhc2UuT2JqZWN0cy5EYXRhT2JqZWN0AwAAAAnjBQAACeQFAAAJ5QUAAAnmBQAAAdYEAAByAAAACgoAAAAAAAAAAA0AAAAAAQHXBAAAcgAAAAoKAQAAAAAAAAD/////AAEH2AQAAAABAAAABAAAAAQdQXBsb3Jpcy5CYXNlLk9iamVjdHMuVmFyaWFibGUDAAAAAecFAACfBQAAAQAAAAAAAAAB6AUAAJ8FAAAAAAAAAAAAAAHpBQAAnwUAAAAAAAAAAAAAAeoFAACfBQAAAAAAAAAAAAAP2QQAAAEAAAAIAAAAAAfaBAAAAAEAAAAEAAAABB5BcGxvcmlzLkNoYXJ0LkNoYXJ0RGF0YUVsZW1lbnQCAAAACesFAAAJ7AUAAAntBQAACe4FAAAH2wQAAAABAAAABAAAAAQfQXBsb3Jpcy5CYXNlLk9iamVjdHMuRGF0YU9iamVjdAMAAAAJ6wUAAAnsBQAACe0FAAAJ7gUAAAHcBAAAcgAAAAoKAAAAAAAAAAANAAAAAAEB3QQAAHIAAAAKCgEAAAAAAAAA/////wABB94EAAAAAQAAAAQAAAAEHUFwbG9yaXMuQmFzZS5PYmplY3RzLlZhcmlhYmxlAwAAAAHvBQAAnwUAAAEAAAAAAAAAAfAFAACfBQAAAAAAAAAAAAAB8QUAAJ8FAAAAAAAAAAAAAAHyBQAAnwUAAAAAAAAAAAAAD98EAAABAAAACAAAAAAH4AQAAAABAAAABAAAAAQeQXBsb3Jpcy5DaGFydC5DaGFydERhdGFFbGVtZW50AgAAAAnzBQAACfQFAAAJ9QUAAAn2BQAAB+EEAAAAAQAAAAQAAAAEH0FwbG9yaXMuQmFzZS5PYmplY3RzLkRhdGFPYmplY3QDAAAACfMFAAAJ9AUAAAn1BQAACfYFAAAB4gQAAHIAAAAKCgAAAAAAAAAADQAAAAABAeMEAAByAAAACgoBAAAAAAAAAP////8AAQfkBAAAAAEAAAAEAAAABB1BcGxvcmlzLkJhc2UuT2JqZWN0cy5WYXJpYWJsZQMAAAAB9wUAAJ8FAAABAAAAAAAAAAH4BQAAnwUAAAAAAAAAAAAAAfkFAACfBQAAAAAAAAAAAAAB+gUAAJ8FAAAAAAAAAAAAAA/lBAAAAQAAAAgAAAAAB+YEAAAAAQAAAAQAAAAEHkFwbG9yaXMuQ2hhcnQuQ2hhcnREYXRhRWxlbWVudAIAAAAJ+wUAAAn8BQAACf0FAAAJ/gUAAAfnBAAAAAEAAAAEAAAABB9BcGxvcmlzLkJhc2UuT2JqZWN0cy5EYXRhT2JqZWN0AwAAAAn7BQAACfwFAAAJ/QUAAAn+BQAAAegEAAByAAAACgoAAAAAAAAAAA0AAAAAAQHpBAAAcgAAAAoKAQAAAAAAAAD/////AAEH6gQAAAABAAAABAAAAAQdQXBsb3Jpcy5CYXNlLk9iamVjdHMuVmFyaWFibGUDAAAAAf8FAACfBQAAAQAAAAAAAAABAAYAAJ8FAAAAAAAAAAAAAAEBBgAAnwUAAAAAAAAAAAAAAQIGAACfBQAAAAAAAAAAAAAP6wQAAAEAAAAIAAAAAAfsBAAAAAEAAAAEAAAABB5BcGxvcmlzLkNoYXJ0LkNoYXJ0RGF0YUVsZW1lbnQCAAAACQMGAAAJBAYAAAkFBgAACQYGAAAH7QQAAAABAAAABAAAAAQfQXBsb3Jpcy5CYXNlLk9iamVjdHMuRGF0YU9iamVjdAMAAAAJAwYAAAkEBgAACQUGAAAJBgYAAAHuBAAAcgAAAAoKAAAAAAAAAAANAAAAAAEB7wQAAHIAAAAKCgEAAAAAAAAA/////wABB/AEAAAAAQAAAAQAAAAEHUFwbG9yaXMuQmFzZS5PYmplY3RzLlZhcmlhYmxlAwAAAAEHBgAAnwUAAAEAAAAAAAAAAQgGAACfBQAAAAAAAAAAAAABCQYAAJ8FAAAAAAAAAAAAAAEKBgAAnwUAAAAAAAAAAAAAD/EEAAABAAAACAAAAAAH8gQAAAABAAAABAAAAAQeQXBsb3Jpcy5DaGFydC5DaGFydERhdGFFbGVtZW50AgAAAAkLBgAACQwGAAAJDQYAAAkOBgAAB/MEAAAAAQAAAAQAAAAEH0FwbG9yaXMuQmFzZS5PYmplY3RzLkRhdGFPYmplY3QDAAAACQsGAAAJDAYAAAkNBgAACQ4GAAAB9AQAAHIAAAAKCgAAAAAAAAAADQAAAAABAfUEAAByAAAACgoBAAAAAAAAAP////8AAQf2BAAAAAEAAAAEAAAABB1BcGxvcmlzLkJhc2UuT2JqZWN0cy5WYXJpYWJsZQMAAAABDwYAAJ8FAAABAAAAAAAAAAEQBgAAnwUAAAAAAAAAAAAAAREGAACfBQAAAAAAAAAAAAABEgYAAJ8FAAAAAAAAAAAAAA/3BAAAAQAAAAgAAAAAB/gEAAAAAQAAAAQAAAAEHkFwbG9yaXMuQ2hhcnQuQ2hhcnREYXRhRWxlbWVudAIAAAAJEwYAAAkUBgAACRUGAAAJFgYAAAf5BAAAAAEAAAAEAAAABB9BcGxvcmlzLkJhc2UuT2JqZWN0cy5EYXRhT2JqZWN0AwAAAAkTBgAACRQGAAAJFQYAAAkWBgAAAfoEAAByAAAACgoAAAAAAAAAAA0AAAAAAQH7BAAAcgAAAAoKAQAAAAAAAAD/////AAEH/AQAAAABAAAABAAAAAQdQXBsb3Jpcy5CYXNlLk9iamVjdHMuVmFyaWFibGUDAAAAARcGAACfBQAAAQAAAAAAAAABGAYAAJ8FAAAAAAAAAAAAAAEZBgAAnwUAAAAAAAAAAAAAARoGAACfBQAAAAAAAAAAAAAP/QQAAAEAAAAIAAAAAAf+BAAAAAEAAAAEAAAABB5BcGxvcmlzLkNoYXJ0LkNoYXJ0RGF0YUVsZW1lbnQCAAAACRsGAAAJHAYAAAkdBgAACR4GAAAH/wQAAAABAAAABAAAAAQfQXBsb3Jpcy5CYXNlLk9iamVjdHMuRGF0YU9iamVjdAMAAAAJGwYAAAkcBgAACR0GAAAJHgYAAAEABQAAcgAAAAoKAAAAAAAAAAANAAAAAAEBAQUAAHIAAAAKCgEAAAAAAAAA/////wABBwIFAAAAAQAAAAQAAAAEHUFwbG9yaXMuQmFzZS5PYmplY3RzLlZhcmlhYmxlAwAAAAEfBgAAnwUAAAEAAAAAAAAAASAGAACfBQAAAAAAAAAAAAABIQYAAJ8FAAAAAAAAAAAAAAEiBgAAnwUAAAAAAAAAAAAADwMFAAABAAAACAAAAAAHBAUAAAABAAAABAAAAAQeQXBsb3Jpcy5DaGFydC5DaGFydERhdGFFbGVtZW50AgAAAAkjBgAACSQGAAAJJQYAAAkmBgAABwUFAAAAAQAAAAQAAAAEH0FwbG9yaXMuQmFzZS5PYmplY3RzLkRhdGFPYmplY3QDAAAACSMGAAAJJAYAAAklBgAACSYGAAABBgUAAHIAAAAKCgAAAAAAAAAADQAAAAABAQcFAAByAAAACgoBAAAAAAAAAP////8AAQcIBQAAAAEAAAAEAAAABB1BcGxvcmlzLkJhc2UuT2JqZWN0cy5WYXJpYWJsZQMAAAABJwYAAJ8FAAABAAAAAAAAAAEoBgAAnwUAAAAAAAAAAAAAASkGAACfBQAAAAAAAAAAAAABKgYAAJ8FAAAAAAAAAAAAAA8JBQAAAQAAAAgAAAAABwoFAAAAAQAAAAQAAAAEHkFwbG9yaXMuQ2hhcnQuQ2hhcnREYXRhRWxlbWVudAIAAAAJKwYAAAksBgAACS0GAAAJLgYAAAcLBQAAAAEAAAAEAAAABB9BcGxvcmlzLkJhc2UuT2JqZWN0cy5EYXRhT2JqZWN0AwAAAAkrBgAACSwGAAAJLQYAAAkuBgAAAQwFAAByAAAACgoAAAAAAAAAAA0AAAAAAQENBQAAcgAAAAoKAQAAAAAAAAD/////AAEHDgUAAAABAAAABAAAAAQdQXBsb3Jpcy5CYXNlLk9iamVjdHMuVmFyaWFibGUDAAAAAS8GAACfBQAAAQAAAAAAAAABMAYAAJ8FAAAAAAAAAAAAAAExBgAAnwUAAAAAAAAAAAAAATIGAACfBQAAAAAAAAAAAAAPDwUAAAEAAAAIAAAAAAcQBQAAAAEAAAAEAAAABB5BcGxvcmlzLkNoYXJ0LkNoYXJ0RGF0YUVsZW1lbnQCAAAACTMGAAAJNAYAAAk1BgAACTYGAAAHEQUAAAABAAAABAAAAAQfQXBsb3Jpcy5CYXNlLk9iamVjdHMuRGF0YU9iamVjdAMAAAAJMwYAAAk0BgAACTUGAAAJNgYAAAESBQAAcgAAAAoKAAAAAAAAAAANAAAAAAEBEwUAAHIAAAAKCgEAAAAAAAAA/////wABBxQFAAAAAQAAAAQAAAAEHUFwbG9yaXMuQmFzZS5PYmplY3RzLlZhcmlhYmxlAwAAAAE3BgAAnwUAAAEAAAAAAAAAATgGAACfBQAAAAAAAAAAAAABOQYAAJ8FAAAAAAAAAAAAAAE6BgAAnwUAAAAAAAAAAAAADxUFAAABAAAACAAAAAAFGAU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BwEAAAoAAAAAAEBBCXAAAAAJcQAAAAk7BgAAAQAJPAYAAAEZBQAAcgAAAAoKAAAAAP///wAOAAAAAAEBHgUAAKcAAAAJPQYAAAEAAAABAAAAAR8FAABvAAAACT4GAAAKASAFAAByAAAACgoAAAAAAAAAAA0AAAAAAAEhBQAAcgAAAAoKAAAAAAAAAAANAAAAAAEHIgUAAAABAAAABAAAAAQdQXBsb3Jpcy5CYXNlLk9iamVjdHMuVmFyaWFibGUDAAAAAT8GAACfBQAAAQAAAAAAAAABQAYAAJ8FAAAAAAAAAAAAAAFBBgAAnwUAAAAAAAAAAAAAAUIGAACfBQAAAAAAAAAAAAAPIwUAAAEAAAAIMAAAAAUmB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IAQAACgAAAAAAQEEJcAAAAAlxAAAACUMGAAABAAlEBgAAAScFAAByAAAACgoAAAAA////AA4AAAAAAQEsBQAApwAAAAlFBgAAAQAAAAMAAAABLQUAAG8AAAAJRgYAAAoBLgUAAHIAAAAKCgAAAAAAAAAADQAAAAAAAS8FAAByAAAACgoAAAAAAAAAAA0AAAAAAQcwBQAAAAEAAAAEAAAABB1BcGxvcmlzLkJhc2UuT2JqZWN0cy5WYXJpYWJsZQMAAAABRwYAAJ8FAAABAAAAAAAAAAFIBgAAnwUAAAAAAAAAAAAAAUkGAACfBQAAAAAAAAAAAAABSgYAAJ8FAAAAAAAAAAAAAA8xBQAAAQAAAAgxAAAABTQF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kBAAAKAAAAAABAQQlwAAAACXEAAAAJSwYAAAEACUwGAAABNQUAAHIAAAAKCgAAAAD///8ADgAAAAABAToFAACnAAAACU0GAAABAAAAAwAAAAE7BQAAbwAAAAlOBgAACgE8BQAAcgAAAAoKAAAAAAAAAAANAAAAAAABPQUAAHIAAAAKCgAAAAAAAAAADQAAAAABBz4FAAAAAQAAAAQAAAAEHUFwbG9yaXMuQmFzZS5PYmplY3RzLlZhcmlhYmxlAwAAAAFPBgAAnwUAAAEAAAAAAAAAAVAGAACfBQAAAAAAAAAAAAABUQYAAJ8FAAAAAAAAAAAAAAFSBgAAnwUAAAAAAAAAAAAADz8FAAABAAAACC4AAAAFQgU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CgEAAAoAAAAAAEBBCXAAAAAJcQAAAAlTBgAAAQAJVAYAAAFDBQAAcgAAAAoKAQAAAAAAAAD/////AAEBSAUAAKcAAAAJVQYAAAEAAAADAAAAAUkFAABvAAAACVYGAAAKAUoFAAByAAAACgoAAAAAAAAAAA0AAAAAAAFLBQAAcgAAAAoKAAAAAAAAAAANAAAAAAEHTAUAAAABAAAABAAAAAQdQXBsb3Jpcy5CYXNlLk9iamVjdHMuVmFyaWFibGUDAAAAAVcGAACfBQAAAQAAAAAAAAABWAYAAJ8FAAAAAAAAAAAAAAFZBgAAnwUAAAAAAAAAAAAAAVoGAACfBQAAAAAAAAAAAAAPTQUAAAEAAAAILwAAAAFOBQAAcgAAAAoKAAAAAAAAAAANAAAAAAAFTwUAABpBcGxvcmlzLkJhc2UuT2JqZWN0cy5Db2xvcgcAAAASRGF0YU9iamVjdCttUGFyZW50FURhdGFPYmplY3QrbUNvbnRhaW5lcgVtVHlwZQRtUkdCEG1UaGVtZUNvbG9ySW5kZXgMbUF1dG9VcGRhdGVkCW1Nb2RpZmllZAQCAAAAAAAfQXBsb3Jpcy5CYXNlLk9iamVjdHMuTGluZUZvcm1hdAMAAAAICAgBAQMAAAAJ+wMAAAoBAAAAAAAAAP////8AAQ9QBQAAAQAAAAhNAAAAAVEFAAByAAAACgoAAAAAAAAAAA0AAAAAAAFSBQAAcgAAAAoKAAAAAAAAAAANAAAAAAEHUwUAAAABAAAABAAAAAQdQXBsb3Jpcy5CYXNlLk9iamVjdHMuVmFyaWFibGUDAAAAAVsGAACfBQAAAQAAAAAAAAABXAYAAJ8FAAAAAAAAAAAAAAFdBgAAnwUAAAAAAAAAAAAAAV4GAACfBQAAAAAAAAAAAAAPVAUAAAEAAAAIJgAAAAFVBQAAcgAAAAoKAAAAAAAAAAANAAAAAAAFVgUAABpBcGxvcmlzLkJhc2UuT2JqZWN0cy5Db2xvcgcAAAASRGF0YU9iamVjdCttUGFyZW50FURhdGFPYmplY3QrbUNvbnRhaW5lcgVtVHlwZQRtUkdCEG1UaGVtZUNvbG9ySW5kZXgMbUF1dG9VcGRhdGVkCW1Nb2RpZmllZAQCAAAAAAAfQXBsb3Jpcy5CYXNlLk9iamVjdHMuTGluZUZvcm1hdAMAAAAICAgBAQMAAAAJCgQAAAoBAAAAAAAAAP////8AAQ9XBQAAAQAAAAhMAAAAAVgFAAByAAAACgoAAAAAAAAAAA0AAAAAAAFZBQAAcgAAAAoKAAAAAAAAAAANAAAAAAEHWgUAAAABAAAABAAAAAQdQXBsb3Jpcy5CYXNlLk9iamVjdHMuVmFyaWFibGUDAAAAAV8GAACfBQAAAQAAAAAAAAABYAYAAJ8FAAAAAAAAAAAAAAFhBgAAnwUAAAAAAAAAAAAAAWIGAACfBQAAAAAAAAAAAAAPWwUAAAEAAAAIIwAAAAFcBQAAcgAAAAoKAAAAAAAAAAANAAAAAAAFXQUAABpBcGxvcmlzLkJhc2UuT2JqZWN0cy5Db2xvcgcAAAASRGF0YU9iamVjdCttUGFyZW50FURhdGFPYmplY3QrbUNvbnRhaW5lcgVtVHlwZQRtUkdCEG1UaGVtZUNvbG9ySW5kZXgMbUF1dG9VcGRhdGVkCW1Nb2RpZmllZAQCAAAAAAAfQXBsb3Jpcy5CYXNlLk9iamVjdHMuTGluZUZvcm1hdAMAAAAICAgBAQMAAAAJGQQAAAoBAAAAAAAAAP////8AAQ9eBQAAAQAAAAhJAAAAAV8FAAByAAAACgoAAAAAAAAAAA0AAAAAAAFgBQAAcgAAAAoKAAAAAAAAAAANAAAAAAEHYQUAAAABAAAABAAAAAQdQXBsb3Jpcy5CYXNlLk9iamVjdHMuVmFyaWFibGUDAAAAAWMGAACfBQAAAQAAAAAAAAABZAYAAJ8FAAAAAAAAAAAAAAFlBgAAnwUAAAAAAAAAAAAAAWYGAACfBQAAAAAAAAAAAAAPYgUAAAEAAAAIKwAAAAFjBQAAcgAAAAoKAAAAAAAAAAANAAAAAAAFZAUAABpBcGxvcmlzLkJhc2UuT2JqZWN0cy5Db2xvcgcAAAASRGF0YU9iamVjdCttUGFyZW50FURhdGFPYmplY3QrbUNvbnRhaW5lcgVtVHlwZQRtUkdCEG1UaGVtZUNvbG9ySW5kZXgMbUF1dG9VcGRhdGVkCW1Nb2RpZmllZAQCAAAAAAAfQXBsb3Jpcy5CYXNlLk9iamVjdHMuTGluZUZvcm1hdAMAAAAICAgBAQMAAAAJKAQAAAoBAAAAAAAAAP////8AAQ9lBQAAAQAAAAhRAAAAAWYFAAByAAAACgoAAAAAAAAAAA0AAAAAAAFnBQAAcgAAAAoKAAAAAAAAAAANAAAAAAEHaAUAAAABAAAABAAAAAQdQXBsb3Jpcy5CYXNlLk9iamVjdHMuVmFyaWFibGUDAAAAAWcGAACfBQAAAQAAAAAAAAABaAYAAJ8FAAAAAAAAAAAAAAFpBgAAnwUAAAAAAAAAAAAAAWoGAACfBQAAAAAAAAAAAAAPaQUAAAEAAAAIKgAAAAFqBQAAcgAAAAoKAAAAAAAAAAANAAAAAAAFawUAABpBcGxvcmlzLkJhc2UuT2JqZWN0cy5Db2xvcgcAAAASRGF0YU9iamVjdCttUGFyZW50FURhdGFPYmplY3QrbUNvbnRhaW5lcgVtVHlwZQRtUkdCEG1UaGVtZUNvbG9ySW5kZXgMbUF1dG9VcGRhdGVkCW1Nb2RpZmllZAQCAAAAAAAfQXBsb3Jpcy5CYXNlLk9iamVjdHMuTGluZUZvcm1hdAMAAAAICAgBAQMAAAAJNwQAAAoBAAAAAAAAAP////8AAQ9sBQAAAQAAAAhKAAAAAW0FAAByAAAACgoAAAAAAAAAAA0AAAAAAAFuBQAAcgAAAAoKAAAAAAAAAAANAAAAAAEHbwUAAAABAAAABAAAAAQdQXBsb3Jpcy5CYXNlLk9iamVjdHMuVmFyaWFibGUDAAAAAWsGAACfBQAAAQAAAAAAAAABbAYAAJ8FAAAAAAAAAAAAAAFtBgAAnwUAAAAAAAAAAAAAAW4GAACfBQAAAAAAAAAAAAAPcAUAAAEAAAAIJwAAAAFxBQAAcgAAAAoKAAAAAAAAAAANAAAAAAAFcgUAABpBcGxvcmlzLkJhc2UuT2JqZWN0cy5Db2xvcgcAAAASRGF0YU9iamVjdCttUGFyZW50FURhdGFPYmplY3QrbUNvbnRhaW5lcgVtVHlwZQRtUkdCEG1UaGVtZUNvbG9ySW5kZXgMbUF1dG9VcGRhdGVkCW1Nb2RpZmllZAQCAAAAAAAfQXBsb3Jpcy5CYXNlLk9iamVjdHMuTGluZUZvcm1hdAMAAAAICAgBAQMAAAAJRgQAAAoBAAAAAAAAAP////8AAQ9zBQAAAQAAAAhLAAAAAXQFAAByAAAACgoAAAAAAAAAAA0AAAAAAAF1BQAAcgAAAAoKAAAAAAAAAAANAAAAAAEHdgUAAAABAAAABAAAAAQdQXBsb3Jpcy5CYXNlLk9iamVjdHMuVmFyaWFibGUDAAAAAW8GAACfBQAAAQAAAAAAAAABcAYAAJ8FAAAAAAAAAAAAAAFxBgAAnwUAAAAAAAAAAAAAAXIGAACfBQAAAAAAAAAAAAAPdwUAAAEAAAAIKQAAAAF4BQAAcgAAAAoKAAAAAAAAAAANAAAAAAAFeQUAABpBcGxvcmlzLkJhc2UuT2JqZWN0cy5Db2xvcgcAAAASRGF0YU9iamVjdCttUGFyZW50FURhdGFPYmplY3QrbUNvbnRhaW5lcgVtVHlwZQRtUkdCEG1UaGVtZUNvbG9ySW5kZXgMbUF1dG9VcGRhdGVkCW1Nb2RpZmllZAQCAAAAAAAfQXBsb3Jpcy5CYXNlLk9iamVjdHMuTGluZUZvcm1hdAMAAAAICAgBAQMAAAAJVQQAAAoBAAAAAAAAAP////8AAQ96BQAAAQAAAAhIAAAAAXsFAAByAAAACgoAAAAAAAAAAA0AAAAAAAF8BQAAcgAAAAoKAAAAAAAAAAANAAAAAAEHfQUAAAABAAAABAAAAAQdQXBsb3Jpcy5CYXNlLk9iamVjdHMuVmFyaWFibGUDAAAAAXMGAACfBQAAAQAAAAAAAAABdAYAAJ8FAAAAAAAAAAAAAAF1BgAAnwUAAAAAAAAAAAAAAXYGAACfBQAAAAAAAAAAAAAPfgUAAAEAAAAIKAAAAAF/BQAAcgAAAAoKAAAAAAAAAAANAAAAAAAFgAUAABpBcGxvcmlzLkJhc2UuT2JqZWN0cy5Db2xvcgcAAAASRGF0YU9iamVjdCttUGFyZW50FURhdGFPYmplY3QrbUNvbnRhaW5lcgVtVHlwZQRtUkdCEG1UaGVtZUNvbG9ySW5kZXgMbUF1dG9VcGRhdGVkCW1Nb2RpZmllZAQCAAAAAAAfQXBsb3Jpcy5CYXNlLk9iamVjdHMuTGluZUZvcm1hdAMAAAAICAgBAQMAAAAJZAQAAAoBAAAAAAAAAP////8AAQ+BBQAAAQAAAAhQAAAAAYIFAAByAAAACgoAAAAAAAAAAA0AAAAAAAGDBQAAcgAAAAoKAAAAAAAAAAANAAAAAAEHhAUAAAABAAAABAAAAAQdQXBsb3Jpcy5CYXNlLk9iamVjdHMuVmFyaWFibGUDAAAAAXcGAACfBQAAAQAAAAAAAAABeAYAAJ8FAAAAAAAAAAAAAAF5BgAAnwUAAAAAAAAAAAAAAXoGAACfBQAAAAAAAAAAAAAPhQUAAAEAAAAILAAAAAGGBQAAcgAAAAoKAAAAAAAAAAANAAAAAAAFhwUAABpBcGxvcmlzLkJhc2UuT2JqZWN0cy5Db2xvcgcAAAASRGF0YU9iamVjdCttUGFyZW50FURhdGFPYmplY3QrbUNvbnRhaW5lcgVtVHlwZQRtUkdCEG1UaGVtZUNvbG9ySW5kZXgMbUF1dG9VcGRhdGVkCW1Nb2RpZmllZAQCAAAAAAAfQXBsb3Jpcy5CYXNlLk9iamVjdHMuTGluZUZvcm1hdAMAAAAICAgBAQMAAAAJcwQAAAoBAAAAAAAAAP////8AAQ+IBQAAAQAAAAhSAAAAAYkFAAByAAAACgoAAAAAAAAAAA0AAAAAAAGKBQAAcgAAAAoKAAAAAAAAAAANAAAAAAEHiwUAAAABAAAABAAAAAQdQXBsb3Jpcy5CYXNlLk9iamVjdHMuVmFyaWFibGUDAAAAAXsGAACfBQAAAQAAAAAAAAABfAYAAJ8FAAAAAAAAAAAAAAF9BgAAnwUAAAAAAAAAAAAAAX4GAACfBQAAAAAAAAAAAAAPjAUAAAEAAAAILQAAAAGNBQAAcgAAAAoKAAAAAAAAAAANAAAAAAAFjgUAABpBcGxvcmlzLkJhc2UuT2JqZWN0cy5Db2xvcgcAAAASRGF0YU9iamVjdCttUGFyZW50FURhdGFPYmplY3QrbUNvbnRhaW5lcgVtVHlwZQRtUkdCEG1UaGVtZUNvbG9ySW5kZXgMbUF1dG9VcGRhdGVkCW1Nb2RpZmllZAQCAAAAAAAfQXBsb3Jpcy5CYXNlLk9iamVjdHMuTGluZUZvcm1hdAMAAAAICAgBAQMAAAAJggQAAAoBAAAAAAAAAP////8AAQ+PBQAAAQAAAAhOAAAAAZAFAAByAAAACgoAAAAAAAAAAA0AAAAAAAGRBQAAcgAAAAoKAAAAAAAAAAANAAAAAAEHkgUAAAABAAAABAAAAAQdQXBsb3Jpcy5CYXNlLk9iamVjdHMuVmFyaWFibGUDAAAAAX8GAACfBQAAAQAAAAAAAAABgAYAAJ8FAAAAAAAAAAAAAAGBBgAAnwUAAAAAAAAAAAAAAYIGAACfBQAAAAAAAAAAAAAPkwUAAAEAAAAIJQAAAAGUBQAAcgAAAAoKAAAAAAAAAAANAAAAAAAFlQUAABpBcGxvcmlzLkJhc2UuT2JqZWN0cy5Db2xvcgcAAAASRGF0YU9iamVjdCttUGFyZW50FURhdGFPYmplY3QrbUNvbnRhaW5lcgVtVHlwZQRtUkdCEG1UaGVtZUNvbG9ySW5kZXgMbUF1dG9VcGRhdGVkCW1Nb2RpZmllZAQCAAAAAAAfQXBsb3Jpcy5CYXNlLk9iamVjdHMuTGluZUZvcm1hdAMAAAAICAgBAQMAAAAJkQQAAAoBAAAAAAAAAP////8AAQ+WBQAAAQAAAAhPAAAAAZcFAAByAAAACgoAAAAAAAAAAA0AAAAAAAGYBQAAcgAAAAoKAAAAAAAAAAANAAAAAAEHmQUAAAABAAAABAAAAAQdQXBsb3Jpcy5CYXNlLk9iamVjdHMuVmFyaWFibGUDAAAAAYMGAACfBQAAAQAAAAAAAAABhAYAAJ8FAAAAAAAAAAAAAAGFBgAAnwUAAAAAAAAAAAAAAYYGAACfBQAAAAAAAAAAAAAPmgUAAAEAAAAIJAAAAAWbBQ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YcGAAAJiAYAAAoJiQYAAAoJ8wAAAAgGEoPAyqFF1j8KAAAAAAmKBgAACYsGAAAAAAAAAAmMBgAACfMAAAAJAQAAAAmNBgAAAZwFAACbBQAACgoKCY4GAAAKCfMAAAAKCgEAAAAJjwYAAAmQBgAAAAAAAAAJkQYAAAnzAAAACQEAAAAJkgYAAAGdBQAAmwUAAAoKCgmTBgAACgnzAAAACgoCAAAACZQGAAAJlQYAAAAAAAAACZYGAAAJ8wAAAAkBAAAACZcGAAABngUAAJsFAAAKCgoJmAYAAAoJ8wAAAAoKAwAAAAoKAAAAAAAJmQYAAAnzAAAACQEAAAAJmgYAAAGjBQAAmwUAAAmbBgAACZwGAAAKCZ0GAAAKCfQAAAAIBne+nxov3eQ/CgAAAAAJngYAAAmfBgAAAAAAAAAJoAYAAAn0AAAACQEAAAAJoQYAAAGkBQAAmwUAAAoKCgmiBgAACgn0AAAACgoBAAAACaMGAAAJpAYAAAAAAAAACaUGAAAJ9AAAAAkBAAAACaYGAAABpQUAAJsFAAAKCgoJpwYAAAoJ9AAAAAoKAgAAAAmoBgAACakGAAAAAAAAAAmqBgAACfQAAAAJAQAAAAmrBgAAAaYFAACbBQAACgoKCawGAAAKCfQAAAAKCgMAAAAKCgAAAAAACa0GAAAJ9AAAAAkBAAAACa4GAAABqwUAAJsFAAAKCgoJrwYAAAoJ9QAAAAoKAAAAAAoKAAAAAAAJsAYAAAn1AAAACQEAAAAJsQYAAAGsBQAAmwUAAAmyBgAACbMGAAAKCbQGAAAKCfUAAAAIBlpkO99Pjbc/CgEAAAAJtQYAAAm2BgAAAAAAAAAJtwYAAAn1AAAACQEAAAAJuAYAAAGtBQAAmwUAAAoKCgm5BgAACgn1AAAACgoCAAAACgoAAAAAAAm6BgAACfUAAAAJAQAAAAm7BgAAAa4FAACbBQAACgoKCbwGAAAKCfUAAAAKCgMAAAAKCgAAAAAACb0GAAAJ9QAAAAkBAAAACb4GAAABswUAAJsFAAAKCgoJvwYAAAoJ9gAAAAoKAAAAAAoKAAAAAAAJwAYAAAn2AAAACQEAAAAJwQYAAAG0BQAAmwUAAAnCBgAACcMGAAAKCcQGAAAKCfYAAAAIBgrXo3A9Csc/CgEAAAAJxQYAAAnGBgAAAAAAAAAJxwYAAAn2AAAACQEAAAAJyAYAAAG1BQAAmwUAAAoKCgnJBgAACgn2AAAACgoCAAAACgoAAAAAAAnKBgAACfYAAAAJAQAAAAnLBgAAAbYFAACbBQAACgoKCcwGAAAKCfYAAAAKCgMAAAAKCgAAAAAACc0GAAAJ9gAAAAkBAAAACc4GAAABuwUAAJsFAAAKCgoJzwYAAAoJ9wAAAAoKAAAAAAoKAAAAAAAJ0AYAAAn3AAAACQEAAAAJ0QYAAAG8BQAAmwUAAAnSBgAACdMGAAAKCdQGAAAKCfcAAAAIBkSLbOf7qdE/CgEAAAAJ1QYAAAnWBgAAAAAAAAAJ1wYAAAn3AAAACQEAAAAJ2AYAAAG9BQAAmwUAAAoKCgnZBgAACgn3AAAACgoCAAAACgoAAAAAAAnaBgAACfcAAAAJAQAAAAnbBgAAAb4FAACbBQAACgoKCdwGAAAKCfcAAAAKCgMAAAAKCgAAAAAACd0GAAAJ9wAAAAkBAAAACd4GAAABwwUAAJsFAAAKCgoJ3wYAAAoJ+AAAAAoKAAAAAAoKAAAAAAAJ4AYAAAn4AAAACQEAAAAJ4QYAAAHEBQAAmwUAAAniBgAACeMGAAAKCeQGAAAKCfgAAAAIBsuhRbbz/dw/CgEAAAAJ5QYAAAnmBgAAAAAAAAAJ5wYAAAn4AAAACQEAAAAJ6AYAAAHFBQAAmwUAAAoKCgnpBgAACgn4AAAACgoCAAAACgoAAAAAAAnqBgAACfgAAAAJAQAAAAnrBgAAAcYFAACbBQAACgoKCewGAAAKCfgAAAAKCgMAAAAKCgAAAAAACe0GAAAJ+AAAAAkBAAAACe4GAAABywUAAJsFAAAKCgoJ7wYAAAoJ+QAAAAoKAAAAAAoKAAAAAAAJ8AYAAAn5AAAACQEAAAAJ8QYAAAHMBQAAmwUAAAoKCgnyBgAACgn5AAAACgoBAAAACgoAAAAAAAnzBgAACfkAAAAJAQAAAAn0BgAAAc0FAACbBQAACfUGAAAJ9gYAAAoJ9wYAAAoJ+QAAAAgGWmQ730+Ntz8KAgAAAAn4BgAACfkGAAAAAAAAAAn6BgAACfkAAAAJAQAAAAn7BgAAAc4FAACbBQAACgoKCfwGAAAKCfkAAAAKCgMAAAAKCgAAAAAACf0GAAAJ+QAAAAkBAAAACf4GAAAB0wUAAJsFAAAKCgoJ/wYAAAoJ+gAAAAoKAAAAAAoKAAAAAAAJAAcAAAn6AAAACQEAAAAJAQcAAAHUBQAAmwUAAAoKCgkCBwAACgn6AAAACgoBAAAACgoAAAAAAAkDBwAACfoAAAAJAQAAAAkEBwAAAdUFAACbBQAACQUHAAAJBgcAAAoJBwcAAAoJ+gAAAAgGppvEILByyD8KAgAAAAkIBwAACQkHAAAAAAAAAAkKBwAACfoAAAAJAQAAAAkLBwAAAdYFAACbBQAACgoKCQwHAAAKCfoAAAAKCgMAAAAKCgAAAAAACQ0HAAAJ+gAAAAkBAAAACQ4HAAAB2wUAAJsFAAAKCgoJDwcAAAoJ+wAAAAoKAAAAAAoKAAAAAAAJEAcAAAn7AAAACQEAAAAJEQcAAAHcBQAAmwUAAAoKCgkSBwAACgn7AAAACgoBAAAACgoAAAAAAAkTBwAACfsAAAAJAQAAAAkUBwAAAd0FAACbBQAACRUHAAAJFgcAAAoJFwcAAAoJ+wAAAAgG46WbxCCwwj8KAgAAAAkYBwAACRkHAAAAAAAAAAkaBwAACfsAAAAJAQAAAAkbBwAAAd4FAACbBQAACgoKCRwHAAAKCfsAAAAKCgMAAAAKCgAAAAAACR0HAAAJ+wAAAAkBAAAACR4HAAAB4wUAAJsFAAAKCgoJHwcAAAoJ/AAAAAoKAAAAAAoKAAAAAAAJIAcAAAn8AAAACQEAAAAJIQcAAAHkBQAAmwUAAAoKCgkiBwAACgn8AAAACgoBAAAACgoAAAAAAAkjBwAACfwAAAAJAQAAAAkkBwAAAeUFAACbBQAACSUHAAAJJgcAAAoJJwcAAAoJ/AAAAAgGgZVDi2znyz8KAgAAAAkoBwAACSkHAAAAAAAAAAkqBwAACfwAAAAJAQAAAAkrBwAAAeYFAACbBQAACgoKCSwHAAAKCfwAAAAKCgMAAAAKCgAAAAAACS0HAAAJ/AAAAAkBAAAACS4HAAAB6wUAAJsFAAAKCgoJLwcAAAoJ/QAAAAoKAAAAAAoKAAAAAAAJMAcAAAn9AAAACQEAAAAJMQcAAAHsBQAAmwUAAAoKCgkyBwAACgn9AAAACgoBAAAACgoAAAAAAAkzBwAACf0AAAAJAQAAAAk0BwAAAe0FAACbBQAACTUHAAAJNgcAAAoJNwcAAAoJ/QAAAAgGg8DKoUW2wz8KAgAAAAk4BwAACTkHAAAAAAAAAAk6BwAACf0AAAAJAQAAAAk7BwAAAe4FAACbBQAACgoKCTwHAAAKCf0AAAAKCgMAAAAKCgAAAAAACT0HAAAJ/QAAAAkBAAAACT4HAAAB8wUAAJsFAAAKCgoJPwcAAAoJ/gAAAAoKAAAAAAoKAAAAAAAJQAcAAAn+AAAACQEAAAAJQQcAAAH0BQAAmwUAAAoKCglCBwAACgn+AAAACgoBAAAACgoAAAAAAAlDBwAACf4AAAAJAQAAAAlEBwAAAfUFAACbBQAACUUHAAAJRgcAAAoJRwcAAAoJ/gAAAAgGy6FFtvP9tD8KAgAAAAlIBwAACUkHAAAAAAAAAAlKBwAACf4AAAAJAQAAAAlLBwAAAfYFAACbBQAACgoKCUwHAAAKCf4AAAAKCgMAAAAKCgAAAAAACU0HAAAJ/gAAAAkBAAAACU4HAAAB+wUAAJsFAAAKCgoJTwcAAAoJ/wAAAAoKAAAAAAoKAAAAAAAJUAcAAAn/AAAACQEAAAAJUQcAAAH8BQAAmwUAAAoKCglSBwAACgn/AAAACgoBAAAACgoAAAAAAAlTBwAACf8AAAAJAQAAAAlUBwAAAf0FAACbBQAACVUHAAAJVgcAAAoJVwcAAAoJ/wAAAAgGwcqhRbbzvT8KAgAAAAlYBwAACVkHAAAAAAAAAAlaBwAACf8AAAAJAQAAAAlbBwAAAf4FAACbBQAACgoKCVwHAAAKCf8AAAAKCgMAAAAKCgAAAAAACV0HAAAJ/wAAAAkBAAAACV4HAAABAwYAAJsFAAAKCgoJXwcAAAoJAAEAAAoKAAAAAAoKAAAAAAAJYAcAAAkAAQAACQEAAAAJYQcAAAEEBgAAmwUAAAoKCgliBwAACgkAAQAACgoBAAAACgoAAAAAAAljBwAACQABAAAJAQAAAAlkBwAAAQUGAACbBQAACgoKCWUHAAAKCQABAAAKCgIAAAAKCgAAAAAACWYHAAAJAAEAAAkBAAAACWcHAAABBgYAAJsFAAAJaAcAAAlpBwAACglqBwAACgkAAQAACAY4ZFuQUsXEPwoDAAAACWsHAAAJbAcAAAAAAAAACW0HAAAJAAEAAAkBAAAACW4HAAABCwYAAJsFAAAKCgoJbwcAAAoJAQEAAAoKAAAAAAoKAAAAAAAJcAcAAAkBAQAACQEAAAAJcQcAAAEMBgAAmwUAAAoKCglyBwAACgkBAQAACgoBAAAACgoAAAAAAAlzBwAACQEBAAAJAQAAAAl0BwAAAQ0GAACbBQAACgoKCXUHAAAKCQEBAAAKCgIAAAAKCgAAAAAACXYHAAAJAQEAAAkBAAAACXcHAAABDgYAAJsFAAAJeAcAAAl5BwAACgl6BwAACgkBAQAACAZuXMZKMM+lPwoDAAAACXsHAAAJfAcAAAAAAAAACX0HAAAJAQEAAAkBAAAACX4HAAABEwYAAJsFAAAKCgoJfwcAAAoJAgEAAAoKAAAAAAoKAAAAAAAJgAcAAAkCAQAACQEAAAAJgQcAAAEUBgAAmwUAAAoKCgmCBwAACgkCAQAACgoBAAAACgoAAAAAAAmDBwAACQIBAAAJAQAAAAmEBwAAARUGAACbBQAACgoKCYUHAAAKCQIBAAAKCgIAAAAKCgAAAAAACYYHAAAJAgEAAAkBAAAACYcHAAABFgYAAJsFAAAJiAcAAAmJBwAACgmKBwAACgkCAQAACAZgg6+m252wPwoDAAAACYsHAAAJjAcAAAAAAAAACY0HAAAJAgEAAAkBAAAACY4HAAABGwYAAJsFAAAKCgoJjwcAAAoJAwEAAAoKAAAAAAoKAAAAAAAJkAcAAAkDAQAACQEAAAAJkQcAAAEcBgAAmwUAAAoKCgmSBwAACgkDAQAACgoBAAAACgoAAAAAAAmTBwAACQMBAAAJAQAAAAmUBwAAAR0GAACbBQAACgoKCZUHAAAKCQMBAAAKCgIAAAAKCgAAAAAACZYHAAAJAwEAAAkBAAAACZcHAAABHgYAAJsFAAAJmAcAAAmZBwAACgmaBwAACgkDAQAACAYd6CWzY0DEPwoDAAAACZsHAAAJnAcAAAAAAAAACZ0HAAAJAwEAAAkBAAAACZ4HAAABIwYAAJsFAAAKCgoJnwcAAAoJBAEAAAoKAAAAAAoKAAAAAAAJoAcAAAkEAQAACQEAAAAJoQcAAAEkBgAAmwUAAAoKCgmiBwAACgkEAQAACgoBAAAACgoAAAAAAAmjBwAACQQBAAAJAQAAAAmkBwAAASUGAACbBQAACgoKCaUHAAAKCQQBAAAKCgIAAAAKCgAAAAAACaYHAAAJBAEAAAkBAAAACacHAAABJgYAAJsFAAAJqAcAAAmpBwAACgmqBwAACgkEAQAACAaXlpaWlpbGPwoDAAAACasHAAAJrAcAAAAAAAAACa0HAAAJBAEAAAkBAAAACa4HAAABKwYAAJsFAAAKCgoJrwcAAAoJBQEAAAoKAAAAAAoKAAAAAAAJsAcAAAkFAQAACQEAAAAJsQcAAAEsBgAAmwUAAAoKCgmyBwAACgkFAQAACgoBAAAACgoAAAAAAAmzBwAACQUBAAAJAQAAAAm0BwAAAS0GAACbBQAACgoKCbUHAAAKCQUBAAAKCgIAAAAKCgAAAAAACbYHAAAJBQEAAAkBAAAACbcHAAABLgYAAJsFAAAJuAcAAAm5BwAACgm6BwAACgkFAQAACAa/0Gbi/F3HPwoDAAAACbsHAAAJvAcAAAAAAAAACb0HAAAJBQEAAAkBAAAACb4HAAABMwYAAJsFAAAKCgoJvwcAAAoJBgEAAAoKAAAAAAoKAAAAAAAJwAcAAAkGAQAACQEAAAAJwQcAAAE0BgAAmwUAAAoKCgnCBwAACgkGAQAACgoBAAAACgoAAAAAAAnDBwAACQYBAAAJAQAAAAnEBwAAATUGAACbBQAACgoKCcUHAAAKCQYBAAAKCgIAAAAKCgAAAAAACcYHAAAJBgEAAAkBAAAACccHAAABNgYAAJsFAAAJyAcAAAnJBwAACgnKBwAACgkGAQAACAaI83dd/ELLPwoDAAAACcsHAAAJzAcAAAAAAAAACc0HAAAJBgEAAAkBAAAACc4HAAABOwYAAHIAAAAKCgAAAAAAAAAADQAAAAABATwGAAByAAAACgoBAAAAAAAAAP////8AAQc9BgAAAAEAAAAEAAAABB1BcGxvcmlzLkJhc2UuT2JqZWN0cy5WYXJpYWJsZQMAAAABzwcAAJ8FAAABAAAAAAAAAAHQBwAAnwUAAAAAAAAAAAAAAdEHAACfBQAAAAAAAAAAAAAB0gcAAJ8FAAAAAAAAAAAAAA8+BgAAAQAAAAgAAAAAAUMGAAByAAAACgoAAAAAAAAAAA0AAAAAAQFEBgAAcgAAAAoKAQAAAAAAAAD/////AAEHRQYAAAABAAAABAAAAAQdQXBsb3Jpcy5CYXNlLk9iamVjdHMuVmFyaWFibGUDAAAAAdMHAACfBQAAAQAAAAAAAAAB1AcAAJ8FAAAAAAAAAAAAAAHVBwAAnwUAAAAAAAAAAAAAAdYHAACfBQAAAAAAAAAAAAAPRgYAAAEAAAAIAAAAAAFLBgAAcgAAAAoKAAAAAAAAAAANAAAAAAEBTAYAAHIAAAAKCgEAAAAAAAAA/////wABB00GAAAAAQAAAAQAAAAEHUFwbG9yaXMuQmFzZS5PYmplY3RzLlZhcmlhYmxlAwAAAAHXBwAAnwUAAAEAAAAAAAAAAdgHAACfBQAAAAAAAAAAAAAB2QcAAJ8FAAAAAAAAAAAAAAHaBwAAnwUAAAAAAAAAAAAAD04GAAABAAAACAAAAAABUwYAAHIAAAAKCgAAAAAAAAAADQAAAAABAVQGAAByAAAACgoBAAAAAAAAAP////8AAQdVBgAAAAEAAAAEAAAABB1BcGxvcmlzLkJhc2UuT2JqZWN0cy5WYXJpYWJsZQMAAAAB2wcAAJ8FAAABAAAAAAAAAAHcBwAAnwUAAAAAAAAAAAAAAd0HAACfBQAAAAAAAAAAAAAB3gcAAJ8FAAAAAAAAAAAAAA9WBgAAAQAAAAgAAAAAAYcGAAAZAQAAClgCAAAB3wcAABcCAAACAAAAAeAHAAAYAgAAAQAAAAHhBwAAFAAAAIw+lkJL3ptBjA6ZQjQn/kIB4gcAABoCAAAAAAAAAACgQAAB4wcAACAAAADSxeJCLAumQgHkBwAAmgAAAAAAAAAAAAAAAAAAAAAJ5QcAAAAAAAAJ5gcAAAAAAecHAACjAAAAAAAAAAHoBwAAbAAAAAAAAEIAAMhBAekHAAAUAAAAo4vCQumij0JIRQBCdNG1QRKDvj8G6gcAAAtNYWxlDQozNC44JQoJ6wcAAAbsBwAAAg0KNAMAAP////8BAQoJ7QcAAAEACgEBiAYAABsAAAAB7gcAACAAAACMPpBCY48VQwHvBwAAIAAAAIymGkNL3oNBCfAHAAAJ8QcAAAAAAAAKAfIHAABsAAAAAAAAAAAAAAAB8wcAAGwAAAAAAAAAAAAAAAAAAAAB9AcAABQAAAAAAAAAAAAAAAAAAAAAAAAApAEAAP////8BAQoJ9QcAAAEACgAHiQYAAAABAAAAAgAAAAQaQXBsb3Jpcy5CYXNlLlVJLlZpc3VhbExpbmUDAAAACgoHigYAAAABAAAAAwAAAAQVU3lzdGVtLkRyYXdpbmcuUG9pbnRGBAAAAAH2BwAAIAAAANLF4kIsC6ZCAfcHAAAgAAAAjD6KQiwLpkIB+AcAACAAAACMph1DLAumQgeLBgAAAAEAAAADAAAABBdBcGxvcmlzLkJhc2UuQW5jaG9yTW9kZQMAAAAB+QcAAJoAAAAAAAAAAfoHAACaAAAAAgAAAAH7BwAAmgAAAAQAAAABjAYAACQAAAAJ0gAAAAAAAAAAAAAAAY0GAAAlAAAACfwHAAACAAAAAgAAAAeOBgAAAAEAAAACAAAABBpBcGxvcmlzLkJhc2UuVUkuVmlzdWFsTGluZQMAAAAKCgePBgAAAAEAAAADAAAABBVTeXN0ZW0uRHJhd2luZy5Qb2ludEYEAAAAAf0HAAAgAAAAXfSnQ35CZEMB/gcAACAAAAAfjIVDfkJkQwH/BwAAIAAAAJtcykN+QmRDB5AGAAAAAQAAAAMAAAAEF0FwbG9yaXMuQmFzZS5BbmNob3JNb2RlAwAAAAEACAAAmgAAAAAAAAABAQgAAJoAAAACAAAAAQIIAACaAAAABAAAAAGRBgAAJAAAAAnSAAAAAAAAAAAAAAABkgYAACUAAAAJAwgAAAAAAAAEAAAAB5MGAAAAAQAAAAIAAAAEGkFwbG9yaXMuQmFzZS5VSS5WaXN1YWxMaW5lAwAAAAoKB5QGAAAAAQAAAAMAAAAEFVN5c3RlbS5EcmF3aW5nLlBvaW50RgQAAAABBAgAACAAAAD4oAhExFkEQwEFCAAAIAAAALLZ7kPEWQRDAQYIAAAgAAAAF9UZRMRZBEMHlQYAAAABAAAAAwAAAAQXQXBsb3Jpcy5CYXNlLkFuY2hvck1vZGUDAAAAAQcIAACaAAAAAAAAAAEICAAAmgAAAAIAAAABCQgAAJoAAAAEAAAAAZYGAAAkAAAACdIAAAAAAAAAAAAAAAGXBgAAJQAAAAkKCAAAAAAAAAQAAAAHmAYAAAABAAAAAgAAAAQaQXBsb3Jpcy5CYXNlLlVJLlZpc3VhbExpbmUDAAAACgoBmQYAACQAAAAJ0gAAAAAAAAAAAAAAAZoGAAAlAAAACdAAAAAAAAAAAAAAAAGbBgAAGQEAAApYAgAAAQsIAAAXAgAAAgAAAAEMCAAAGAIAAAEAAAABDQgAABQAAACMPpZCY48YQ4wOmULNU3NDAQ4IAAAaAgAAAAAAAAAAoEAAAQ8IAAAgAAAA0sXiQqUciUMBEAgAAJoAAAAAAAAAAAAAAAAAAAAACREIAAAAAAAACRIIAAAAAAETCAAAowAAAAAAAAABFAgAAGwAAAAAABhCAADIQQEVCAAAFAAAAEYXvUIXXYNDvRYWQnTRtUESg74/BhYIAAANRmVtYWxlDQo2NS4yJQoJFwgAAAYYCAAAAg0KNAMAAP////8BAQoJGQgAAAEACgEBnAYAABsAAAABGggAACAAAACMPpBCmHHHQwEbCAAAIAAAAIymGkNjjxVDCRwIAAAJHQgAAAAAAAAKAR4IAABsAAAAAAAAAAAAAAABHwgAAGwAAAAAAAAAAAAAAAAAAAABIAgAABQAAAAAAAAAAAAAAAAAAAAAAAAApAEAAP////8BAQoJIQgAAAEACgAHnQYAAAABAAAAAgAAAAQaQXBsb3Jpcy5CYXNlLlVJLlZpc3VhbExpbmUDAAAACgoHngYAAAABAAAAAwAAAAQVU3lzdGVtLkRyYXdpbmcuUG9pbnRGBAAAAAEiCAAAIAAAANLF4kKlHIlDASMIAAAgAAAAjD6KQqUciUMBJAgAACAAAACMph1DpRyJQwefBgAAAAEAAAADAAAABBdBcGxvcmlzLkJhc2UuQW5jaG9yTW9kZQMAAAABJQgAAJoAAAAAAAAAASYIAACaAAAAAgAAAAEnCAAAmgAAAAQAAAABoAYAACQAAAAJ0gAAAAAAAAAAAAAAAaEGAAAlAAAACSgIAAACAAAAAgAAAAeiBgAAAAEAAAACAAAABBpBcGxvcmlzLkJhc2UuVUkuVmlzdWFsTGluZQMAAAAKCgejBgAAAAEAAAADAAAABBVTeXN0ZW0uRHJhd2luZy5Qb2ludEYEAAAAASkIAAAgAAAAXfSnQwO7rUMBKggAACAAAAAfjIVDA7utQwErCAAAIAAAAJtcykMDu61DB6QGAAAAAQAAAAMAAAAEF0FwbG9yaXMuQmFzZS5BbmNob3JNb2RlAwAAAAEsCAAAmgAAAAAAAAABLQgAAJoAAAACAAAAAS4IAACaAAAABAAAAAGlBgAAJAAAAAnSAAAAAAAAAAAAAAABpgYAACUAAAAJLwgAAAAAAAAEAAAAB6cGAAAAAQAAAAIAAAAEGkFwbG9yaXMuQmFzZS5VSS5WaXN1YWxMaW5lAwAAAAoKB6gGAAAAAQAAAAMAAAAEFVN5c3RlbS5EcmF3aW5nLlBvaW50RgQAAAABMAgAACAAAAD4oAhE2DubQwExCAAAIAAAALLZ7kPYO5tDATIIAAAgAAAAF9UZRNg7m0MHqQYAAAABAAAAAwAAAAQXQXBsb3Jpcy5CYXNlLkFuY2hvck1vZGUDAAAAATMIAACaAAAAAAAAAAE0CAAAmgAAAAIAAAABNQgAAJoAAAAEAAAAAaoGAAAkAAAACdIAAAAAAAAAAAAAAAGrBgAAJQAAAAk2CAAAAAAAAAQAAAAHrAYAAAABAAAAAgAAAAQaQXBsb3Jpcy5CYXNlLlVJLlZpc3VhbExpbmUDAAAACgoBrQYAACQAAAAJ0gAAAAAAAAAAAAAAAa4GAAAlAAAACdAAAAAAAAAAAAAAAAevBgAAAAEAAAACAAAABBpBcGxvcmlzLkJhc2UuVUkuVmlzdWFsTGluZQMAAAAKCgGwBgAAJAAAAAnSAAAAAAAAAAAAAAABsQYAACUAAAAJ0AAAAAAAAAAAAAAAAbIGAAAZAQAAClgCAAABNwgAABcCAAACAAAAATgIAAAYAgAAAQAAAAE5CAAAFAAAAOkqT0NL3ptBjg6ZQggr6UEBOggAABoCAAAAAAAAAACgQAABOwgAACAAAACMbnVD6DkIQgE8CAAAmgAAAAAAAAAAAAAAAAAAAAAJPQgAAAAAAAAJPggAAAAAAT8IAACjAAAAAAAAAAFACAAAbAAAAAAAPEIAAMhBAUEIAAAUAAAALrpeQ3TRtUHr0DZCdNG1QRKDvj8GQggAAA5VbmRlciAzNQ0KOS4yJQoJQwgAAAZECAAAAg0KNAMAAP////8BAQoJRQgAAAEACgEBswYAABsAAAABRggAACAAAADpKkxDqoROQgFHCAAAIAAAABhZj0NL3oNBCUgIAAAJSQgAAAAAAAAKAUoIAABsAAAAAAAAAAAAAAABSwgAAGwAAAAAAAAAAAAAAAAAAAABTAgAABQAAAAAAAAAAAAAAAAAAAAAAAAApAEAAP////8BAQoJTQgAAAEACgAHtAYAAAABAAAAAgAAAAQaQXBsb3Jpcy5CYXNlLlVJLlZpc3VhbExpbmUDAAAACgoHtQYAAAABAAAAAwAAAAQVU3lzdGVtLkRyYXdpbmcuUG9pbnRGBAAAAAFOCAAAIAAAAIxudUPoOQhCAU8IAAAgAAAA6SpJQ+g5CEIBUAgAACAAAAAY2ZBD6DkIQge2BgAAAAEAAAADAAAABBdBcGxvcmlzLkJhc2UuQW5jaG9yTW9kZQMAAAABUQgAAJoAAAAAAAAAAVIIAACaAAAAAgAAAAFTCAAAmgAAAAQAAAABtwYAACQAAAAJ0gAAAAAAAAAAAAAAAbgGAAAlAAAACVQIAAACAAAAAgAAAAe5BgAAAAEAAAACAAAABBpBcGxvcmlzLkJhc2UuVUkuVmlzdWFsTGluZQMAAAAKCgG6BgAAJAAAAAnSAAAAAAAAAAAAAAABuwYAACUAAAAJ0AAAAAAAAAAAAAAAB7wGAAAAAQAAAAIAAAAEGkFwbG9yaXMuQmFzZS5VSS5WaXN1YWxMaW5lAwAAAAoKAb0GAAAkAAAACdIAAAAAAAAAAAAAAAG+BgAAJQAAAAnQAAAAAAAAAAAAAAAHvwYAAAABAAAAAgAAAAQaQXBsb3Jpcy5CYXNlLlVJLlZpc3VhbExpbmUDAAAACgoBwAYAACQAAAAJ0gAAAAAAAAAAAAAAAcEGAAAlAAAACdAAAAAAAAAAAAAAAAHCBgAAGQEAAApYAgAAAVUIAAAXAgAAAgAAAAFWCAAAGAIAAAEAAAABVwgAABQAAADpKk9DqoRaQo4OmUJGDntCAVgIAAAaAgAAAAAAAAAAoEAAAVkIAAAgAAAAjG51Q+YFrEIBWggAAJoAAAAAAAAAAAAAAAAAAAAACVsIAAAAAAAACVwIAAAAAAFdCAAAowAAAAAAAAABXggAAGwAAAAAAABCAADIQQFfCAAAFAAAAEUXZUNGF5VCSEUAQnTRtUESg74/BmAIAAAMMzUtNDQNCjE4LjAlCglhCAAABmIIAAACDQo0AwAA/////wEBCgljCAAAAQAKAQHDBgAAGwAAAAFkCAAAIAAAAOkqTEN4yfBCAWUIAAAgAAAAGFmPQ6qETkIJZggAAAlnCAAAAAAAAAoBaAgAAGwAAAAAAAAAAAAAAAFpCAAAbAAAAAAAAAAAAAAAAAAAAAFqCAAAFAAAAAAAAAAAAAAAAAAAAAAAAACkAQAA/////wEBCglrCAAAAQAKAAfEBgAAAAEAAAACAAAABBpBcGxvcmlzLkJhc2UuVUkuVmlzdWFsTGluZQMAAAAKCgfFBgAAAAEAAAADAAAABBVTeXN0ZW0uRHJhd2luZy5Qb2ludEYEAAAAAWwIAAAgAAAAjG51Q+YFrEIBbQgAACAAAADpKklD5gWsQgFuCAAAIAAAABjZkEPmBaxCB8YGAAAAAQAAAAMAAAAEF0FwbG9yaXMuQmFzZS5BbmNob3JNb2RlAwAAAAFvCAAAmgAAAAAAAAABcAgAAJoAAAACAAAAAXEIAACaAAAABAAAAAHHBgAAJAAAAAnSAAAAAAAAAAAAAAAByAYAACUAAAAJcggAAAIAAAACAAAAB8kGAAAAAQAAAAIAAAAEGkFwbG9yaXMuQmFzZS5VSS5WaXN1YWxMaW5lAwAAAAoKAcoGAAAkAAAACdIAAAAAAAAAAAAAAAHLBgAAJQAAAAnQAAAAAAAAAAAAAAAHzAYAAAABAAAAAgAAAAQaQXBsb3Jpcy5CYXNlLlVJLlZpc3VhbExpbmUDAAAACgoBzQYAACQAAAAJ0gAAAAAAAAAAAAAAAc4GAAAlAAAACdAAAAAAAAAAAAAAAAfPBgAAAAEAAAACAAAABBpBcGxvcmlzLkJhc2UuVUkuVmlzdWFsTGluZQMAAAAKCgHQBgAAJAAAAAnSAAAAAAAAAAAAAAAB0QYAACUAAAAJ0AAAAAAAAAAAAAAAAdIGAAAZAQAAClgCAAABcwgAABcCAAACAAAAAXQIAAAYAgAAAQAAAAF1CAAAFAAAAOkqT0N4yfZCjg6ZQkjgxkIBdggAABoCAAAAAAAAAACgQAABdwgAACAAAACMbnVDzhwtQwF4CAAAmgAAAAAAAAAAAAAAAAAAAAAJeQgAAAAAAAAJeggAAAAAAXsIAACjAAAAAAAAAAF8CAAAbAAAAAAAAEIAAMhBAX0IAAAUAAAARRdlQ3TRIUNIRQBCdNG1QRKDvj8GfggAAAw0NS01NA0KMjcuNiUKCX8IAAAGgAgAAAINCjQDAAD/////AQEKCYEIAAABAAoBAdMGAAAbAAAAAYIIAAAgAAAA6SpMQ+DUYUMBgwgAACAAAAAYWY9DeMnwQgmECAAACYUIAAAAAAAACgGGCAAAbAAAAAAAAAAAAAAAAYcIAABsAAAAAAAAAAAAAAAAAAAAAYgIAAAUAAAAAAAAAAAAAAAAAAAAAAAAAKQBAAD/////AQEKCYkIAAABAAoAB9QGAAAAAQAAAAIAAAAEGkFwbG9yaXMuQmFzZS5VSS5WaXN1YWxMaW5lAwAAAAoKB9UGAAAAAQAAAAMAAAAEFVN5c3RlbS5EcmF3aW5nLlBvaW50RgQAAAABiggAACAAAACMbnVDzhwtQwGLCAAAIAAAAOkqSUPOHC1DAYwIAAAgAAAAGNmQQ84cLUMH1gYAAAABAAAAAwAAAAQXQXBsb3Jpcy5CYXNlLkFuY2hvck1vZGUDAAAAAY0IAACaAAAAAAAAAAGOCAAAmgAAAAIAAAABjwgAAJoAAAAEAAAAAdcGAAAkAAAACdIAAAAAAAAAAAAAAAHYBgAAJQAAAAmQCAAAAgAAAAIAAAAH2QYAAAABAAAAAgAAAAQaQXBsb3Jpcy5CYXNlLlVJLlZpc3VhbExpbmUDAAAACgoB2gYAACQAAAAJ0gAAAAAAAAAAAAAAAdsGAAAlAAAACdAAAAAAAAAAAAAAAAfcBgAAAAEAAAACAAAABBpBcGxvcmlzLkJhc2UuVUkuVmlzdWFsTGluZQMAAAAKCgHdBgAAJAAAAAnSAAAAAAAAAAAAAAAB3gYAACUAAAAJ0AAAAAAAAAAAAAAAB98GAAAAAQAAAAIAAAAEGkFwbG9yaXMuQmFzZS5VSS5WaXN1YWxMaW5lAwAAAAoKAeAGAAAkAAAACdIAAAAAAAAAAAAAAAHhBgAAJQAAAAnQAAAAAAAAAAAAAAAB4gYAABkBAAAKWAIAAAGRCAAAFwIAAAIAAAABkggAABgCAAABAAAAAZMIAAAUAAAA6SpPQ+DUZEOODplCUA4nQwGUCAAAGgIAAAAAAAAAAKBAAAGVCAAAIAAAAIxudUMELpxDAZYIAACaAAAAAAAAAAAAAAAAAAAAAAmXCAAAAAAAAAmYCAAAAAABmQgAAKMAAAAAAAAAAZoIAABsAAAAAAAAQgAAyEEBmwgAABQAAABFF2VDXXSWQ0hFAEJ00bVBEoO+PwacCAAACjU1Kw0KNDUuMyUKCZ0IAAAGnggAAAINCjQDAAD/////AQEKCZ8IAAABAAoBAeMGAAAbAAAAAaAIAAAgAAAA6SpMQ5hxx0MBoQgAACAAAAAYWY9D4NRhQwmiCAAACaMIAAAAAAAACgGkCAAAbAAAAAAAAAAAAAAAAaUIAABsAAAAAAAAAAAAAAAAAAAAAaYIAAAUAAAAAAAAAAAAAAAAAAAAAAAAAKQBAAD/////AQEKCacIAAABAAoAB+QGAAAAAQAAAAIAAAAEGkFwbG9yaXMuQmFzZS5VSS5WaXN1YWxMaW5lAwAAAAoKB+UGAAAAAQAAAAMAAAAEFVN5c3RlbS5EcmF3aW5nLlBvaW50RgQAAAABqAgAACAAAACMbnVDBC6cQwGpCAAAIAAAAOkqSUMELpxDAaoIAAAgAAAAGNmQQwQunEMH5gYAAAABAAAAAwAAAAQXQXBsb3Jpcy5CYXNlLkFuY2hvck1vZGUDAAAAAasIAACaAAAAAAAAAAGsCAAAmgAAAAIAAAABrQgAAJoAAAAEAAAAAecGAAAkAAAACdIAAAAAAAAAAAAAAAHoBgAAJQAAAAmuCAAAAgAAAAIAAAAH6QYAAAABAAAAAgAAAAQaQXBsb3Jpcy5CYXNlLlVJLlZpc3VhbExpbmUDAAAACgoB6gYAACQAAAAJ0gAAAAAAAAAAAAAAAesGAAAlAAAACdAAAAAAAAAAAAAAAAfsBgAAAAEAAAACAAAABBpBcGxvcmlzLkJhc2UuVUkuVmlzdWFsTGluZQMAAAAKCgHtBgAAJAAAAAnSAAAAAAAAAAAAAAAB7gYAACUAAAAJ0AAAAAAAAAAAAAAAB+8GAAAAAQAAAAIAAAAEGkFwbG9yaXMuQmFzZS5VSS5WaXN1YWxMaW5lAwAAAAoKAfAGAAAkAAAACdIAAAAAAAAAAAAAAAHxBgAAJQAAAAnQAAAAAAAAAAAAAAAH8gYAAAABAAAAAgAAAAQaQXBsb3Jpcy5CYXNlLlVJLlZpc3VhbExpbmUDAAAACgoB8wYAACQAAAAJ0gAAAAAAAAAAAAAAAfQGAAAlAAAACdAAAAAAAAAAAAAAAAH1BgAAGQEAAApYAgAAAa8IAAAXAgAAAgAAAAGwCAAAGAIAAAEAAAABsQgAABQAAABGm6lDS96bQYgOmUIEc+lBAbIIAAAaAgAAAAAAAAAAoEAAAbMIAAAgAAAAF728Q+ZLCEIBtAgAAJoAAAAAAAAAAAAAAAAAAAAACbUIAAAAAAAACbYIAAAAAAG3CAAAowAAAAAAAAABuAgAAGwAAAAAAGxCAADIQQG5CAAAFAAAAKOLrkN00bVB1HNiQnTRtUESg74/BroIAAARTGVzcyB0aGFuIDENCjkuMiUKCbsIAAAGvAgAAAINCjQDAAD/////AQEKCb0IAAABAAoBAfYGAAAbAAAAAb4IAAAgAAAARhuoQ6eoTkIBvwgAACAAAADoXtFDS96DQQnACAAACcEIAAAAAAAACgHCCAAAbAAAAAAAAAAAAAAAAcMIAABsAAAAAAAAAAAAAAAAAAAAAcQIAAAUAAAAAAAAAAAAAAAAAAAAAAAAAKQBAAD/////AQEKCcUIAAABAAoAB/cGAAAAAQAAAAIAAAAEGkFwbG9yaXMuQmFzZS5VSS5WaXN1YWxMaW5lAwAAAAoKB/gGAAAAAQAAAAMAAAAEFVN5c3RlbS5EcmF3aW5nLlBvaW50RgQAAAABxggAACAAAAAXvbxD5ksIQgHHCAAAIAAAAEabpkPmSwhCAcgIAAAgAAAA6N7SQ+ZLCEIH+QYAAAABAAAAAwAAAAQXQXBsb3Jpcy5CYXNlLkFuY2hvck1vZGUDAAAAAckIAACaAAAAAAAAAAHKCAAAmgAAAAIAAAABywgAAJoAAAAEAAAAAfoGAAAkAAAACdIAAAAAAAAAAAAAAAH7BgAAJQAAAAnMCAAAAgAAAAIAAAAH/AYAAAABAAAAAgAAAAQaQXBsb3Jpcy5CYXNlLlVJLlZpc3VhbExpbmUDAAAACgoB/QYAACQAAAAJ0gAAAAAAAAAAAAAAAf4GAAAlAAAACdAAAAAAAAAAAAAAAAf/BgAAAAEAAAACAAAABBpBcGxvcmlzLkJhc2UuVUkuVmlzdWFsTGluZQMAAAAKCgEABwAAJAAAAAnSAAAAAAAAAAAAAAABAQcAACUAAAAJ0AAAAAAAAAAAAAAABwIHAAAAAQAAAAIAAAAEGkFwbG9yaXMuQmFzZS5VSS5WaXN1YWxMaW5lAwAAAAoKAQMHAAAkAAAACdIAAAAAAAAAAAAAAAEEBwAAJQAAAAnQAAAAAAAAAAAAAAABBQcAABkBAAAKWAIAAAHNCAAAFwIAAAIAAAABzggAABgCAAABAAAAAc8IAAAUAAAARpupQ6eoWkKIDplCDBSGQgHQCAAAGgIAAAAAAAAAAKBAAAHRCAAAIAAAABe9vENZXrBCAdIIAACaAAAAAAAAAAAAAAAAAAAAAAnTCAAAAAAAAAnUCAAAAAAB1QgAAKMAAAAAAAAAAdYIAABsAAAAAAAAQgAAyEEB1wgAABQAAAC66LRDo4uaQkhFAEJ00bVBEoO+PwbYCAAADTEgdG8gMw0KMTkuMSUKCdkIAAAG2ggAAAINCjQDAAD/////AQEKCdsIAAABAAoBAQYHAAAbAAAAAdwIAAAgAAAARhuoQ19o+UIB3QgAACAAAADoXtFDp6hOQgneCAAACd8IAAAAAAAACgHgCAAAbAAAAAAAAAAAAAAAAeEIAABsAAAAAAAAAAAAAAAAAAAAAeIIAAAUAAAAAAAAAAAAAAAAAAAAAAAAAKQBAAD/////AQEKCeMIAAABAAoABwcHAAAAAQAAAAIAAAAEGkFwbG9yaXMuQmFzZS5VSS5WaXN1YWxMaW5lAwAAAAoKBwgHAAAAAQAAAAMAAAAEFVN5c3RlbS5EcmF3aW5nLlBvaW50RgQAAAAB5AgAACAAAAAXvbxDWV6wQgHlCAAAIAAAAEabpkNZXrBCAeYIAAAgAAAA6N7SQ1lesEIHCQcAAAABAAAAAwAAAAQXQXBsb3Jpcy5CYXNlLkFuY2hvck1vZGUDAAAAAecIAACaAAAAAAAAAAHoCAAAmgAAAAIAAAAB6QgAAJoAAAAEAAAAAQoHAAAkAAAACdIAAAAAAAAAAAAAAAELBwAAJQAAAAnqCAAAAgAAAAIAAAAHDAcAAAABAAAAAgAAAAQaQXBsb3Jpcy5CYXNlLlVJLlZpc3VhbExpbmUDAAAACgoBDQcAACQAAAAJ0gAAAAAAAAAAAAAAAQ4HAAAlAAAACdAAAAAAAAAAAAAAAAcPBwAAAAEAAAACAAAABBpBcGxvcmlzLkJhc2UuVUkuVmlzdWFsTGluZQMAAAAKCgEQBwAAJAAAAAnSAAAAAAAAAAAAAAABEQcAACUAAAAJ0AAAAAAAAAAAAAAABxIHAAAAAQAAAAIAAAAEGkFwbG9yaXMuQmFzZS5VSS5WaXN1YWxMaW5lAwAAAAoKARMHAAAkAAAACdIAAAAAAAAAAAAAAAEUBwAAJQAAAAnQAAAAAAAAAAAAAAABFQcAABkBAAAKWAIAAAHrCAAAFwIAAAIAAAAB7AgAABgCAAABAAAAAe0IAAAUAAAARpupQ19o/0KIDplC6lJHQgHuCAAAGgIAAAAAAAAAAKBAAAHvCAAAIAAAABe9vEONnhhDAfAIAACaAAAAAAAAAAAAAAAAAAAAAAnxCAAAAAAAAAnyCAAAAAAB8wgAAKMAAAAAAAAAAfQIAABsAAAAAAAAQgAAyEEB9QgAABQAAAC66LRDuugMQ0hFAEJ00bVBEoO+Pwb2CAAADTQgdG8gNQ0KMTQuNiUKCfcIAAAG+AgAAAINCjQDAAD/////AQEKCfkIAAABAAoBARYHAAAbAAAAAfoIAAAgAAAARhuoQ+qINEMB+wgAACAAAADoXtFDX2j5Qgn8CAAACf0IAAAAAAAACgH+CAAAbAAAAAAAAAAAAAAAAf8IAABsAAAAAAAAAAAAAAAAAAAAAQAJAAAUAAAAAAAAAAAAAAAAAAAAAAAAAKQBAAD/////AQEKCQEJAAABAAoABxcHAAAAAQAAAAIAAAAEGkFwbG9yaXMuQmFzZS5VSS5WaXN1YWxMaW5lAwAAAAoKBxgHAAAAAQAAAAMAAAAEFVN5c3RlbS5EcmF3aW5nLlBvaW50RgQAAAABAgkAACAAAAAXvbxDjZ4YQwEDCQAAIAAAAEabpkONnhhDAQQJAAAgAAAA6N7SQ42eGEMHGQcAAAABAAAAAwAAAAQXQXBsb3Jpcy5CYXNlLkFuY2hvck1vZGUDAAAAAQUJAACaAAAAAAAAAAEGCQAAmgAAAAIAAAABBwkAAJoAAAAEAAAAARoHAAAkAAAACdIAAAAAAAAAAAAAAAEbBwAAJQAAAAkICQAAAgAAAAIAAAAHHAcAAAABAAAAAgAAAAQaQXBsb3Jpcy5CYXNlLlVJLlZpc3VhbExpbmUDAAAACgoBHQcAACQAAAAJ0gAAAAAAAAAAAAAAAR4HAAAlAAAACdAAAAAAAAAAAAAAAAcfBwAAAAEAAAACAAAABBpBcGxvcmlzLkJhc2UuVUkuVmlzdWFsTGluZQMAAAAKCgEgBwAAJAAAAAnSAAAAAAAAAAAAAAABIQcAACUAAAAJ0AAAAAAAAAAAAAAAByIHAAAAAQAAAAIAAAAEGkFwbG9yaXMuQmFzZS5VSS5WaXN1YWxMaW5lAwAAAAoKASMHAAAkAAAACdIAAAAAAAAAAAAAAAEkBwAAJQAAAAnQAAAAAAAAAAAAAAABJQcAABkBAAAKWAIAAAEJCQAAFwIAAAIAAAABCgkAABgCAAABAAAAAQsJAAAUAAAARpupQ+qIN0OIDplCZLqaQgEMCQAAGgIAAAAAAAAAAKBAAAENCQAAIAAAABe9vEODN15DAQ4JAACaAAAAAAAAAAAAAAAAAAAAAAkPCQAAAAAAAAkQCQAAAAABEQkAAKMAAAAAAAAAARIJAABsAAAAAAAAQgAAyEEBEwkAABQAAAC66LRDuuhSQ0hFAEJ00bVBEoO+PwYUCQAADTYgdG8gOQ0KMjEuOCUKCRUJAAAGFgkAAAINCjQDAAD/////AQEKCRcJAAABAAoBASYHAAAbAAAAARgJAAAgAAAARhuoQw7zg0MBGQkAACAAAADoXtFD6og0QwkaCQAACRsJAAAAAAAACgEcCQAAbAAAAAAAAAAAAAAAAR0JAABsAAAAAAAAAAAAAAAAAAAAAR4JAAAUAAAAAAAAAAAAAAAAAAAAAAAAAKQBAAD/////AQEKCR8JAAABAAoABycHAAAAAQAAAAIAAAAEGkFwbG9yaXMuQmFzZS5VSS5WaXN1YWxMaW5lAwAAAAoKBygHAAAAAQAAAAMAAAAEFVN5c3RlbS5EcmF3aW5nLlBvaW50RgQAAAABIAkAACAAAAAXvbxDgzdeQwEhCQAAIAAAAEabpkODN15DASIJAAAgAAAA6N7SQ4M3XkMHKQcAAAABAAAAAwAAAAQXQXBsb3Jpcy5CYXNlLkFuY2hvck1vZGUDAAAAASMJAACaAAAAAAAAAAEkCQAAmgAAAAIAAAABJQkAAJoAAAAEAAAAASoHAAAkAAAACdIAAAAAAAAAAAAAAAErBwAAJQAAAAkmCQAAAgAAAAIAAAAHLAcAAAABAAAAAgAAAAQaQXBsb3Jpcy5CYXNlLlVJLlZpc3VhbExpbmUDAAAACgoBLQcAACQAAAAJ0gAAAAAAAAAAAAAAAS4HAAAlAAAACdAAAAAAAAAAAAAAAAcvBwAAAAEAAAACAAAABBpBcGxvcmlzLkJhc2UuVUkuVmlzdWFsTGluZQMAAAAKCgEwBwAAJAAAAAnSAAAAAAAAAAAAAAABMQcAACUAAAAJ0AAAAAAAAAAAAAAABzIHAAAAAQAAAAIAAAAEGkFwbG9yaXMuQmFzZS5VSS5WaXN1YWxMaW5lAwAAAAoKATMHAAAkAAAACdIAAAAAAAAAAAAAAAE0BwAAJQAAAAnQAAAAAAAAAAAAAAABNQcAABkBAAAKWAIAAAEnCQAAFwIAAAIAAAABKAkAABgCAAABAAAAASkJAAAUAAAARpupQw5zhUOIDplCkI9TQgEqCQAAGgIAAAAAAAAAAKBAAAErCQAAIAAAABe9vEMHrJJDASwJAACaAAAAAAAAAAAAAAAAAAAAAAktCQAAAAAAAAkuCQAAAAABLwkAAKMAAAAAAAAAATAJAABsAAAAAAAkQgAAyEEBMQkAABQAAADoorJDuuiMQ3f/IEJ00bVBEoO+PwYyCQAADzEwIHRvIDE1DQoxNS40JQoJMwkAAAY0CQAAAg0KNAMAAP////8BAQoJNQkAAAEACgEBNgcAABsAAAABNgkAACAAAABGG6hDAGWhQwE3CQAAIAAAAOhe0UMO84NDCTgJAAAJOQkAAAAAAAAKAToJAABsAAAAAAAAAAAAAAABOwkAAGwAAAAAAAAAAAAAAAAAAAABPAkAABQAAAAAAAAAAAAAAAAAAAAAAAAApAEAAP////8BAQoJPQkAAAEACgAHNwcAAAABAAAAAgAAAAQaQXBsb3Jpcy5CYXNlLlVJLlZpc3VhbExpbmUDAAAACgoHOAcAAAABAAAAAwAAAAQVU3lzdGVtLkRyYXdpbmcuUG9pbnRGBAAAAAE+CQAAIAAAABe9vEMHrJJDAT8JAAAgAAAARpumQweskkMBQAkAACAAAADo3tJDB6ySQwc5BwAAAAEAAAADAAAABBdBcGxvcmlzLkJhc2UuQW5jaG9yTW9kZQMAAAABQQkAAJoAAAAAAAAAAUIJAACaAAAAAgAAAAFDCQAAmgAAAAQAAAABOgcAACQAAAAJ0gAAAAAAAAAAAAAAATsHAAAlAAAACUQJAAACAAAAAgAAAAc8BwAAAAEAAAACAAAABBpBcGxvcmlzLkJhc2UuVUkuVmlzdWFsTGluZQMAAAAKCgE9BwAAJAAAAAnSAAAAAAAAAAAAAAABPgcAACUAAAAJ0AAAAAAAAAAAAAAABz8HAAAAAQAAAAIAAAAEGkFwbG9yaXMuQmFzZS5VSS5WaXN1YWxMaW5lAwAAAAoKAUAHAAAkAAAACdIAAAAAAAAAAAAAAAFBBwAAJQAAAAnQAAAAAAAAAAAAAAAHQgcAAAABAAAAAgAAAAQaQXBsb3Jpcy5CYXNlLlVJLlZpc3VhbExpbmUDAAAACgoBQwcAACQAAAAJ0gAAAAAAAAAAAAAAAUQHAAAlAAAACdAAAAAAAAAAAAAAAAFFBwAAGQEAAApYAgAAAUUJAAAXAgAAAgAAAAFGCQAAGAIAAAEAAAABRwkAABQAAABGm6lDAOWiQ4gOmUJg28pBAUgJAAAaAgAAAAAAAAAAoEAAAUkJAAAgAAAAF728Q9s7qUMBSgkAAJoAAAAAAAAAAAAAAAAAAAAACUsJAAAAAAAACUwJAAAAAAFNCQAAowAAAAAAAAABTgkAAGwAAAAAACRCAADIQQFPCQAAFAAAAOiiskPooqNDd/8gQnTRtUESg74/BlAJAAAOMTYgdG8gMjANCjguMiUKCVEJAAAGUgkAAAINCjQDAAD/////AQEKCVMJAAABAAoBAUYHAAAbAAAAAVQJAAAgAAAARhuoQ7YSsUMBVQkAACAAAADoXtFDAGWhQwlWCQAACVcJAAAAAAAACgFYCQAAbAAAAAAAAAAAAAAAAVkJAABsAAAAAAAAAAAAAAAAAAAAAVoJAAAUAAAAAAAAAAAAAAAAAAAAAAAAAKQBAAD/////AQEKCVsJAAABAAoAB0cHAAAAAQAAAAIAAAAEGkFwbG9yaXMuQmFzZS5VSS5WaXN1YWxMaW5lAwAAAAoKB0gHAAAAAQAAAAMAAAAEFVN5c3RlbS5EcmF3aW5nLlBvaW50RgQAAAABXAkAACAAAAAXvbxD2zupQwFdCQAAIAAAAEabpkPbO6lDAV4JAAAgAAAA6N7SQ9s7qUMHSQcAAAABAAAAAwAAAAQXQXBsb3Jpcy5CYXNlLkFuY2hvck1vZGUDAAAAAV8JAACaAAAAAAAAAAFgCQAAmgAAAAIAAAABYQkAAJoAAAAEAAAAAUoHAAAkAAAACdIAAAAAAAAAAAAAAAFLBwAAJQAAAAliCQAAAgAAAAIAAAAHTAcAAAABAAAAAgAAAAQaQXBsb3Jpcy5CYXNlLlVJLlZpc3VhbExpbmUDAAAACgoBTQcAACQAAAAJ0gAAAAAAAAAAAAAAAU4HAAAlAAAACdAAAAAAAAAAAAAAAAdPBwAAAAEAAAACAAAABBpBcGxvcmlzLkJhc2UuVUkuVmlzdWFsTGluZQMAAAAKCgFQBwAAJAAAAAnSAAAAAAAAAAAAAAABUQcAACUAAAAJ0AAAAAAAAAAAAAAAB1IHAAAAAQAAAAIAAAAEGkFwbG9yaXMuQmFzZS5VSS5WaXN1YWxMaW5lAwAAAAoKAVMHAAAkAAAACdIAAAAAAAAAAAAAAAFUBwAAJQAAAAnQAAAAAAAAAAAAAAABVQcAABkBAAAKWAIAAAFjCQAAFwIAAAIAAAABZAkAABgCAAABAAAAAWUJAAAUAAAARpupQ7aSskOIDplCEPcaQgFmCQAAGgIAAAAAAAAAAKBAAAFnCQAAIAAAABe9vEMnQrxDAWgJAACaAAAAAAAAAAAAAAAAAAAAAAlpCQAAAAAAAAlqCQAAAAABawkAAKMAAAAAAAAAAWwJAABsAAAAAACIQgAAyEEBbQkAABQAAAAuuqxDLrq2QwGXgUJ00bVBEoO+PwZuCQAAE01vcmUgdGhhbiAyMA0KMTEuNyUKCW8JAAAGcAkAAAINCjQDAAD/////AQEKCXEJAAABAAoBAVYHAAAbAAAAAXIJAAAgAAAARhuoQ5hxx0MBcwkAACAAAADoXtFDthKxQwl0CQAACXUJAAAAAAAACgF2CQAAbAAAAAAAAAAAAAAAAXcJAABsAAAAAAAAAAAAAAAAAAAAAXgJAAAUAAAAAAAAAAAAAAAAAAAAAAAAAKQBAAD/////AQEKCXkJAAABAAoAB1cHAAAAAQAAAAIAAAAEGkFwbG9yaXMuQmFzZS5VSS5WaXN1YWxMaW5lAwAAAAoKB1gHAAAAAQAAAAMAAAAEFVN5c3RlbS5EcmF3aW5nLlBvaW50RgQAAAABegkAACAAAAAXvbxDJ0K8QwF7CQAAIAAAAEabpkMnQrxDAXwJAAAgAAAA6N7SQydCvEMHWQcAAAABAAAAAwAAAAQXQXBsb3Jpcy5CYXNlLkFuY2hvck1vZGUDAAAAAX0JAACaAAAAAAAAAAF+CQAAmgAAAAIAAAABfwkAAJoAAAAEAAAAAVoHAAAkAAAACdIAAAAAAAAAAAAAAAFbBwAAJQAAAAmACQAAAgAAAAIAAAAHXAcAAAABAAAAAgAAAAQaQXBsb3Jpcy5CYXNlLlVJLlZpc3VhbExpbmUDAAAACgoBXQcAACQAAAAJ0gAAAAAAAAAAAAAAAV4HAAAlAAAACdAAAAAAAAAAAAAAAAdfBwAAAAEAAAACAAAABBpBcGxvcmlzLkJhc2UuVUkuVmlzdWFsTGluZQMAAAAKCgFgBwAAJAAAAAnSAAAAAAAAAAAAAAABYQcAACUAAAAJ0AAAAAAAAAAAAAAAB2IHAAAAAQAAAAIAAAAEGkFwbG9yaXMuQmFzZS5VSS5WaXN1YWxMaW5lAwAAAAoKAWMHAAAkAAAACdIAAAAAAAAAAAAAAAFkBwAAJQAAAAnQAAAAAAAAAAAAAAAHZQcAAAABAAAAAgAAAAQaQXBsb3Jpcy5CYXNlLlVJLlZpc3VhbExpbmUDAAAACgoBZgcAACQAAAAJ0gAAAAAAAAAAAAAAAWcHAAAlAAAACdAAAAAAAAAAAAAAAAFoBwAAGQEAAApYAgAAAYEJAAAXAgAAAgAAAAGCCQAAGAIAAAEAAAABgwkAABQAAAAYoetDS96bQYgOmUKmNmBCAYQJAAAaAgAAAAAAAAAAoEAAAYUJAAAgAAAA6cL+Q3kKPkIBhgkAAJoAAAAAAAAAAAAAAAAAAAAACYcJAAAAAAAACYgJAAAAAAGJCQAAowAAAAAAAAABigkAAGwAAAAAAABCAADIQQGLCQAAFAAAAHTR9kNddBFCSEUAQnTRtUESg74/BowJAAAMT3RoZXINCjE2LjIlCgmNCQAABo4JAAACDQo0AwAA/////wEBCgmPCQAAAQAKAQFpBwAAGwAAAAGQCQAAIAAAABgh6kPmEp1CAZEJAAAgAAAAXbIJREveg0EJkgkAAAmTCQAAAAAAAAoBlAkAAGwAAAAAAAAAAAAAAAGVCQAAbAAAAAAAAAAAAAAAAAAAAAGWCQAAFAAAAAAAAAAAAAAAAAAAAAAAAACkAQAA/////wEBCgmXCQAAAQAKAAdqBwAAAAEAAAACAAAABBpBcGxvcmlzLkJhc2UuVUkuVmlzdWFsTGluZQMAAAAKCgdrBwAAAAEAAAADAAAABBVTeXN0ZW0uRHJhd2luZy5Qb2ludEYEAAAAAZgJAAAgAAAA6cL+Q3kKPkIBmQkAACAAAAAYoehDeQo+QgGaCQAAIAAAAF1yCkR5Cj5CB2wHAAAAAQAAAAMAAAAEF0FwbG9yaXMuQmFzZS5BbmNob3JNb2RlAwAAAAGbCQAAmgAAAAAAAAABnAkAAJoAAAACAAAAAZ0JAACaAAAABAAAAAFtBwAAJAAAAAnSAAAAAAAAAAAAAAABbgcAACUAAAAJngkAAAIAAAACAAAAB28HAAAAAQAAAAIAAAAEGkFwbG9yaXMuQmFzZS5VSS5WaXN1YWxMaW5lAwAAAAoKAXAHAAAkAAAACdIAAAAAAAAAAAAAAAFxBwAAJQAAAAnQAAAAAAAAAAAAAAAHcgcAAAABAAAAAgAAAAQaQXBsb3Jpcy5CYXNlLlVJLlZpc3VhbExpbmUDAAAACgoBcwcAACQAAAAJ0gAAAAAAAAAAAAAAAXQHAAAlAAAACdAAAAAAAAAAAAAAAAd1BwAAAAEAAAACAAAABBpBcGxvcmlzLkJhc2UuVUkuVmlzdWFsTGluZQMAAAAKCgF2BwAAJAAAAAnSAAAAAAAAAAAAAAABdwcAACUAAAAJ0AAAAAAAAAAAAAAAAXgHAAAZAQAAClgCAAABnwkAABcCAAACAAAAAaAJAAAYAgAAAQAAAAGhCQAAFAAAABih60PmEqNCiA6ZQtCfJEEBogkAABoCAAAAAAAAAACgQAABowkAACAAAADpwv5D41ytQgGkCQAAmgAAAAAAAAAAAAAAAAAAAAAJpQkAAAAAAAAJpgkAAAEAAacJAACjAAAAAgAAAAGoCQAAbAAAAAAA1kIAAMhBAakJAAAUAAAAo4vlQ7rolkK7f8hCdNG1QRKDvj8GqgkAABtGYWN1bHR5IHdpdGggQWR2aXNpbmcNCjQuMyUKCasJAAAGrAkAAAINCjQDAAD/////AQEKCa0JAAABAAoBAXkHAAAbAAAAAa4JAAAgAAAAGCHqQ+CmvUIBrwkAACAAAABdsglE5hKdQgmwCQAACbEJAAAAAAAACgGyCQAAbAAAAAAAAAAAAAAAAbMJAABsAAAAAAAAAAAAAAAAAAAAAbQJAAAUAAAAAAAAAAAAAAAAAAAAAAAAAKQBAAD/////AQEKCbUJAAABAAoAB3oHAAAAAQAAAAIAAAAEGkFwbG9yaXMuQmFzZS5VSS5WaXN1YWxMaW5lAwAAAAoKB3sHAAAAAQAAAAMAAAAEFVN5c3RlbS5EcmF3aW5nLlBvaW50RgQAAAABtgkAACAAAADpwv5D41ytQgG3CQAAIAAAABih6EPjXK1CAbgJAAAgAAAAXXIKRONcrUIHfAcAAAABAAAAAwAAAAQXQXBsb3Jpcy5CYXNlLkFuY2hvck1vZGUDAAAAAbkJAACaAAAAAAAAAAG6CQAAmgAAAAIAAAABuwkAAJoAAAAEAAAAAX0HAAAkAAAACdIAAAAAAAAAAAAAAAF+BwAAJQAAAAm8CQAAAgAAAAYAAAAHfwcAAAABAAAAAgAAAAQaQXBsb3Jpcy5CYXNlLlVJLlZpc3VhbExpbmUDAAAACgoBgAcAACQAAAAJ0gAAAAAAAAAAAAAAAYEHAAAlAAAACdAAAAAAAAAAAAAAAAeCBwAAAAEAAAACAAAABBpBcGxvcmlzLkJhc2UuVUkuVmlzdWFsTGluZQMAAAAKCgGDBwAAJAAAAAnSAAAAAAAAAAAAAAABhAcAACUAAAAJ0AAAAAAAAAAAAAAAB4UHAAAAAQAAAAIAAAAEGkFwbG9yaXMuQmFzZS5VSS5WaXN1YWxMaW5lAwAAAAoKAYYHAAAkAAAACdIAAAAAAAAAAAAAAAGHBwAAJQAAAAnQAAAAAAAAAAAAAAABiAcAABkBAAAKWAIAAAG9CQAAFwIAAAIAAAABvgkAABgCAAABAAAAAb8JAAAUAAAAGKHrQ+Cmw0KIDplCHJKWQQHACQAAGgIAAAAAAAAAAKBAAAHBCQAAIAAAAOnC/kMkedZCAcIJAACaAAAAAAAAAAAAAAAAAACgQAnDCQAAAAAAAAnECQAAAQABxQkAAKMAAAAAAAAAAcYJAABsAAAAAAC8QgAAyEEBxwkAABQAAAAuuuhDdNHJQtLcsEJ00bVBEoO+PwbICQAAF0Fkdmlzb3IvQ291bnNlbG9yDQo2LjUlCgnJCQAABsoJAAACDQo0AwAA/////wEBCgnLCQAAAQAKAQGJBwAAGwAAAAHMCQAAIAAAABgh6kNnS+9CAc0JAAAgAAAAXbIJROCmvUIJzgkAAAnPCQAAAAAAAAoB0AkAAGwAAAAAAAAAAAAAAAHRCQAAbAAAAAAAAAAAAAAAAAAAAAHSCQAAFAAAAAAAAAAAAAAAAAAAAAAAAACkAQAA/////wEBCgnTCQAAAQAKAAeKBwAAAAEAAAACAAAABBpBcGxvcmlzLkJhc2UuVUkuVmlzdWFsTGluZQMAAAAKCgeLBwAAAAEAAAADAAAABBVTeXN0ZW0uRHJhd2luZy5Qb2ludEYEAAAAAdQJAAAgAAAA6cL+QyR51kIB1QkAACAAAAAYoehDJHnWQgHWCQAAIAAAAF1yCkQkedZCB4wHAAAAAQAAAAMAAAAEF0FwbG9yaXMuQmFzZS5BbmNob3JNb2RlAwAAAAHXCQAAmgAAAAAAAAAB2AkAAJoAAAACAAAAAdkJAACaAAAABAAAAAGNBwAAJAAAAAnSAAAAAAAAAAAAAAABjgcAACUAAAAJ2gkAAAIAAAAEAAAAB48HAAAAAQAAAAIAAAAEGkFwbG9yaXMuQmFzZS5VSS5WaXN1YWxMaW5lAwAAAAoKAZAHAAAkAAAACdIAAAAAAAAAAAAAAAGRBwAAJQAAAAnQAAAAAAAAAAAAAAAHkgcAAAABAAAAAgAAAAQaQXBsb3Jpcy5CYXNlLlVJLlZpc3VhbExpbmUDAAAACgoBkwcAACQAAAAJ0gAAAAAAAAAAAAAAAZQHAAAlAAAACdAAAAAAAAAAAAAAAAeVBwAAAAEAAAACAAAABBpBcGxvcmlzLkJhc2UuVUkuVmlzdWFsTGluZQMAAAAKCgGWBwAAJAAAAAnSAAAAAAAAAAAAAAABlwcAACUAAAAJ0AAAAAAAAAAAAAAAAZgHAAAZAQAAClgCAAAB2wkAABcCAAACAAAAAdwJAAAYAgAAAQAAAAHdCQAAFAAAABih60NnS/VCiA6ZQhYCWkIB3gkAABoCAAAAAAAAAACgQAAB3wkAACAAAADpwv5D9uUVQwHgCQAAmgAAAAAAAAAAAAAAAAAAAAAJ4QkAAAAAAAAJ4gkAAAEAAeMJAACjAAAAAAAAAAHkCQAAbAAAAAAAzkIAABhCAeUJAAAUAAAAXXTmQy66BEPpOcFCiy4KQhKDvj8G5gkAACxEaXJlY3RvciBvZiBBZHZpc2luZy8NCkFkdmlzaW5nIEFkbWluDQoxNS44JQoJ5wkAAAboCQAAAg0KNAMAAP////8BAQoJ6QkAAAEACgEBmQcAABsAAAAB6gkAACAAAAAYIepDOSY0QwHrCQAAIAAAAF2yCURnS+9CCewJAAAJ7QkAAAAAAAAKAe4JAABsAAAAAAAAAAAAAAAB7wkAAGwAAAAAAAAAAAAAAAAAAAAB8AkAABQAAAAAAAAAAAAAAAAAAAAAAAAApAEAAP////8BAQoJ8QkAAAEACgAHmgcAAAABAAAAAgAAAAQaQXBsb3Jpcy5CYXNlLlVJLlZpc3VhbExpbmUDAAAACgoHmwcAAAABAAAAAwAAAAQVU3lzdGVtLkRyYXdpbmcuUG9pbnRGBAAAAAHyCQAAIAAAAOnC/kP25RVDAfMJAAAgAAAAGKHoQ/blFUMB9AkAACAAAABdcgpE9uUVQwecBwAAAAEAAAADAAAABBdBcGxvcmlzLkJhc2UuQW5jaG9yTW9kZQMAAAAB9QkAAJoAAAAAAAAAAfYJAACaAAAAAgAAAAH3CQAAmgAAAAQAAAABnQcAACQAAAAJ0gAAAAAAAAAAAAAAAZ4HAAAlAAAACfgJAAACAAAAAgAAAAefBwAAAAEAAAACAAAABBpBcGxvcmlzLkJhc2UuVUkuVmlzdWFsTGluZQMAAAAKCgGgBwAAJAAAAAnSAAAAAAAAAAAAAAABoQcAACUAAAAJ0AAAAAAAAAAAAAAAB6IHAAAAAQAAAAIAAAAEGkFwbG9yaXMuQmFzZS5VSS5WaXN1YWxMaW5lAwAAAAoKAaMHAAAkAAAACdIAAAAAAAAAAAAAAAGkBwAAJQAAAAnQAAAAAAAAAAAAAAAHpQcAAAABAAAAAgAAAAQaQXBsb3Jpcy5CYXNlLlVJLlZpc3VhbExpbmUDAAAACgoBpgcAACQAAAAJ0gAAAAAAAAAAAAAAAacHAAAlAAAACdAAAAAAAAAAAAAAAAGoBwAAGQEAAApYAgAAAfkJAAAXAgAAAgAAAAH6CQAAGAIAAAEAAAAB+wkAABQAAAAYoetDOSY3Q4gOmUKk7nVCAfwJAAAaAgAAAAAAAAAAoEAAAf0JAAAgAAAA6cL+Qw7kVUMB/gkAAJoAAAAAAAAAAAAAAAAAAAAACf8JAAAAAAAACQAKAAAAAAEBCgAAowAAAAAAAAABAgoAAGwAAAAAAABCAADIQQEDCgAAFAAAAHTR9kMuukpDSEUAQnTRtUESg74/BgQKAAALRGVhbg0KMTcuNiUKCQUKAAAGBgoAAAINCjQDAAD/////AQEKCQcKAAABAAoBAakHAAAbAAAAAQgKAAAgAAAAGCHqQ+Khd0MBCQoAACAAAABdsglEOSY0QwkKCgAACQsKAAAAAAAACgEMCgAAbAAAAAAAAAAAAAAAAQ0KAABsAAAAAAAAAAAAAAAAAAAAAQ4KAAAUAAAAAAAAAAAAAAAAAAAAAAAAAKQBAAD/////AQEKCQ8KAAABAAoAB6oHAAAAAQAAAAIAAAAEGkFwbG9yaXMuQmFzZS5VSS5WaXN1YWxMaW5lAwAAAAoKB6sHAAAAAQAAAAMAAAAEFVN5c3RlbS5EcmF3aW5nLlBvaW50RgQAAAABEAoAACAAAADpwv5DDuRVQwERCgAAIAAAABih6EMO5FVDARIKAAAgAAAAXXIKRA7kVUMHrAcAAAABAAAAAwAAAAQXQXBsb3Jpcy5CYXNlLkFuY2hvck1vZGUDAAAAARMKAACaAAAAAAAAAAEUCgAAmgAAAAIAAAABFQoAAJoAAAAEAAAAAa0HAAAkAAAACdIAAAAAAAAAAAAAAAGuBwAAJQAAAAkWCgAAAgAAAAIAAAAHrwcAAAABAAAAAgAAAAQaQXBsb3Jpcy5CYXNlLlVJLlZpc3VhbExpbmUDAAAACgoBsAcAACQAAAAJ0gAAAAAAAAAAAAAAAbEHAAAlAAAACdAAAAAAAAAAAAAAAAeyBwAAAAEAAAACAAAABBpBcGxvcmlzLkJhc2UuVUkuVmlzdWFsTGluZQMAAAAKCgGzBwAAJAAAAAnSAAAAAAAAAAAAAAABtAcAACUAAAAJ0AAAAAAAAAAAAAAAB7UHAAAAAQAAAAIAAAAEGkFwbG9yaXMuQmFzZS5VSS5WaXN1YWxMaW5lAwAAAAoKAbYHAAAkAAAACdIAAAAAAAAAAAAAAAG3BwAAJQAAAAnQAAAAAAAAAAAAAAABuAcAABkBAAAKWAIAAAEXCgAAFwIAAAIAAAABGAoAABgCAAABAAAAARkKAAAUAAAAGKHrQ+KhekOIDplCgD1/QgEaCgAAGgIAAAAAAAAAAKBAAAEbCgAAIAAAAOnC/kPJRI1DARwKAACaAAAAAAAAAAAAAAAAAAAAAAkdCgAAAAAAAAkeCgAAAAABHwoAAKMAAAAAAAAAASAKAABsAAAAAACIQgAAGEIBIQoAABQAAADoou5DLrqEQwGXgUKLLgpCEoO+PwYiCgAAH0RpcmVjdG9yOiANCk5vbi1BZHZpc2luZw0KMTguMyUKCSMKAAAGJAoAAAINCjQDAAD/////AQEKCSUKAAABAAoBAbkHAAAbAAAAASYKAAAgAAAAGCHqQ6G4nkMBJwoAACAAAABdsglE4qF3QwkoCgAACSkKAAAAAAAACgEqCgAAbAAAAAAAAAAAAAAAASsKAABsAAAAAAAAAAAAAAAAAAAAASwKAAAUAAAAAAAAAAAAAAAAAAAAAAAAAKQBAAD/////AQEKCS0KAAABAAoAB7oHAAAAAQAAAAIAAAAEGkFwbG9yaXMuQmFzZS5VSS5WaXN1YWxMaW5lAwAAAAoKB7sHAAAAAQAAAAMAAAAEFVN5c3RlbS5EcmF3aW5nLlBvaW50RgQAAAABLgoAACAAAADpwv5DyUSNQwEvCgAAIAAAABih6EPJRI1DATAKAAAgAAAAXXIKRMlEjUMHvAcAAAABAAAAAwAAAAQXQXBsb3Jpcy5CYXNlLkFuY2hvck1vZGUDAAAAATEKAACaAAAAAAAAAAEyCgAAmgAAAAIAAAABMwoAAJoAAAAEAAAAAb0HAAAkAAAACdIAAAAAAAAAAAAAAAG+BwAAJQAAAAk0CgAAAgAAAAIAAAAHvwcAAAABAAAAAgAAAAQaQXBsb3Jpcy5CYXNlLlVJLlZpc3VhbExpbmUDAAAACgoBwAcAACQAAAAJ0gAAAAAAAAAAAAAAAcEHAAAlAAAACdAAAAAAAAAAAAAAAAfCBwAAAAEAAAACAAAABBpBcGxvcmlzLkJhc2UuVUkuVmlzdWFsTGluZQMAAAAKCgHDBwAAJAAAAAnSAAAAAAAAAAAAAAABxAcAACUAAAAJ0AAAAAAAAAAAAAAAB8UHAAAAAQAAAAIAAAAEGkFwbG9yaXMuQmFzZS5VSS5WaXN1YWxMaW5lAwAAAAoKAcYHAAAkAAAACdIAAAAAAAAAAAAAAAHHBwAAJQAAAAnQAAAAAAAAAAAAAAAByAcAABkBAAAKWAIAAAE1CgAAFwIAAAIAAAABNgoAABgCAAABAAAAATcKAAAUAAAAGKHrQ6E4oEOIDplC3OOWQgE4CgAAGgIAAAAAAAAAAKBAAAE5CgAAIAAAAOnC/kMcFbNDAToKAACaAAAAAAAAAAAAAAAAAAAAAAk7CgAAAAAAAAk8CgAAAQABPQoAAKMAAAAAAAAAAT4KAABsAAAAAADoQgAAGEIBPwoAABQAAAAuuuNDXXSqQ9Lc2EKLLgpCEoO+PwZACgAAMVByb3Zvc3QsIFZpY2UgUHJvdm9zdCwgDQpvciBWaWNlIFByZXNpZGVudA0KMjEuMyUKCUEKAAAGQgoAAAINCjQDAAD/////AQEKCUMKAAABAAoBAckHAAAbAAAAAUQKAAAgAAAAGCHqQ5hxx0MBRQoAACAAAABdsglEobieQwlGCgAACUcKAAAAAAAACgFICgAAbAAAAAAAAAAAAAAAAUkKAABsAAAAAAAAAAAAAAAAAAAAAUoKAAAUAAAAAAAAAAAAAAAAAAAAAAAAAKQBAAD/////AQEKCUsKAAABAAoAB8oHAAAAAQAAAAIAAAAEGkFwbG9yaXMuQmFzZS5VSS5WaXN1YWxMaW5lAwAAAAoKB8sHAAAAAQAAAAMAAAAEFVN5c3RlbS5EcmF3aW5nLlBvaW50RgQAAAABTAoAACAAAADpwv5DHBWzQwFNCgAAIAAAABih6EMcFbNDAU4KAAAgAAAAXXIKRBwVs0MHzAcAAAABAAAAAwAAAAQXQXBsb3Jpcy5CYXNlLkFuY2hvck1vZGUDAAAAAU8KAACaAAAAAAAAAAFQCgAAmgAAAAIAAAABUQoAAJoAAAAEAAAAAc0HAAAkAAAACdIAAAAAAAAAAAAAAAHOBwAAJQAAAAlSCgAAAgAAAAIAAAAB5QcAACIAAAAKCgAAAAAAKEEJcAAAAAlxAAAACVMKAAAAAAlUCgAAAeYHAAByAAAACgoAAAAAP2l+AAUAAAAAAQHrBwAApwAAAAlVCgAAAgAAAAgAAAAB7QcAAG8AAAAJVgoAAAoB8AcAAGoAAAAKCgAAAEA/CVcKAAAJWAoAAAEAAAD+////AAAAAAEAAAAAAAAAAAAAAAEAAAAAAAAAAAAAAfEHAABrAAAACgoJWQoAAAlaCgAAAQAAAAAAAAAAAAAA/////wEAAfUHAABvAAAACVsKAAAKB/wHAAAAAQAAAAQAAAAEHEFwbG9yaXMuQmFzZS5VSS5WaXN1YWxPYmplY3QDAAAACYgGAAAJhwYAAAoKBwMIAAAAAQAAAAQAAAAEHEFwbG9yaXMuQmFzZS5VSS5WaXN1YWxPYmplY3QDAAAADQQHCggAAAABAAAABAAAAAQcQXBsb3Jpcy5CYXNlLlVJLlZpc3VhbE9iamVjdAMAAAANBAERCAAAIgAAAAoKAAAAAAAoQQlwAAAACXEAAAAJXAoAAAAACV0KAAABEggAAHIAAAAKCgAAAAByhIwABgAAAAABARcIAACnAAAACV4KAAACAAAACAAAAAEZCAAAbwAAAAlfCgAACgEcCAAAagAAAAoKAAAAQD8JYAoAAAlhCgAAAQAAAP7///8AAAAAAQAAAAAAAAAAAAAAAQAAAAAAAAAAAAABHQgAAGsAAAAKCgliCgAACWMKAAABAAAAAAAAAAAAAAD/////AQABIQgAAG8AAAAJZAoAAAoHKAgAAAABAAAABAAAAAQcQXBsb3Jpcy5CYXNlLlVJLlZpc3VhbE9iamVjdAMAAAAJnAYAAAmbBgAACgoHLwgAAAABAAAABAAAAAQcQXBsb3Jpcy5CYXNlLlVJLlZpc3VhbE9iamVjdAMAAAANBAc2CAAAAAEAAAAEAAAABBxBcGxvcmlzLkJhc2UuVUkuVmlzdWFsT2JqZWN0AwAAAA0EAT0IAAAiAAAACgoAAAAAAChBCXAAAAAJcQAAAAllCgAAAAAJZgoAAAE+CAAAcgAAAAoKAAAAAO0hJQAHAAAAAAEBQwgAAKcAAAAJZwoAAAIAAAAIAAAAAUUIAABvAAAACWgKAAAKAUgIAABqAAAACgoAAABAPwlpCgAACWoKAAABAAAA/v///wAAAAABAAAAAAAAAAAAAAABAAAAAAAAAAAAAAFJCAAAawAAAAoKCWsKAAAJbAoAAAEAAAAAAAAAAAAAAP////8BAAFNCAAAbwAAAAltCgAACgdUCAAAAAEAAAAEAAAABBxBcGxvcmlzLkJhc2UuVUkuVmlzdWFsT2JqZWN0AwAAAAmzBgAACbIGAAAKCgFbCAAAIgAAAAoKAAAAAAAoQQlwAAAACXEAAAAJbgoAAAAACW8KAAABXAgAAHIAAAAKCgAAAABGOzQACAAAAAABAWEIAACnAAAACXAKAAACAAAACAAAAAFjCAAAbwAAAAlxCgAACgFmCAAAagAAAAoKAAAAQD8JcgoAAAlzCgAAAQAAAP7///8AAAAAAQAAAAAAAAAAAAAAAQAAAAAAAAAAAAABZwgAAGsAAAAKCgl0CgAACXUKAAABAAAAAAAAAAAAAAD/////AQABawgAAG8AAAAJdgoAAAoHcggAAAABAAAABAAAAAQcQXBsb3Jpcy5CYXNlLlVJLlZpc3VhbE9iamVjdAMAAAAJwwYAAAnCBgAACgoBeQgAACIAAAAKCgAAAAAAKEEJcAAAAAlxAAAACXcKAAAAAAl4CgAAAXoIAAByAAAACgoAAAAAw5h0AAkAAAAAAQF/CAAApwAAAAl5CgAAAgAAAAgAAAABgQgAAG8AAAAJegoAAAoBhAgAAGoAAAAKCgAAAEA/CXsKAAAJfAoAAAEAAAD+////AAAAAAEAAAAAAAAAAAAAAAEAAAAAAAAAAAAAAYUIAABrAAAACgoJfQoAAAl+CgAAAQAAAAAAAAAAAAAA/////wEAAYkIAABvAAAACX8KAAAKB5AIAAAAAQAAAAQAAAAEHEFwbG9yaXMuQmFzZS5VSS5WaXN1YWxPYmplY3QDAAAACdMGAAAJ0gYAAAoKAZcIAAAiAAAACgoAAAAAAChBCXAAAAAJcQAAAAmACgAAAAAJgQoAAAGYCAAAcgAAAAoKAAAAAPeUHgAKAAAAAAEBnQgAAKcAAAAJggoAAAIAAAAGAAAAAZ8IAABvAAAACYMKAAAKAaIIAABqAAAACgoAAABAPwmECgAACYUKAAABAAAA/v///wAAAAABAAAAAAAAAAAAAAABAAAAAAAAAAAAAAGjCAAAawAAAAoKCYYKAAAJhwoAAAEAAAAAAAAAAAAAAP////8BAAGnCAAAbwAAAAmICgAACgeuCAAAAAEAAAAEAAAABBxBcGxvcmlzLkJhc2UuVUkuVmlzdWFsT2JqZWN0AwAAAAnjBgAACeIGAAAKCgG1CAAAIgAAAAoKAAAAAAAoQQlwAAAACXEAAAAJiQoAAAAACYoKAAABtggAAHIAAAAKCgAAAAA/aX4ABQAAAAABAbsIAACnAAAACYsKAAACAAAACAAAAAG9CAAAbwAAAAmMCgAACgHACAAAagAAAAoKAAAAQD8JjQoAAAmOCgAAAQAAAP7///8AAAAAAQAAAAAAAAAAAAAAAQAAAAAAAAAAAAABwQgAAGsAAAAKCgmPCgAACZAKAAABAAAAAAAAAAAAAAD/////AQABxQgAAG8AAAAJkQoAAAoHzAgAAAABAAAABAAAAAQcQXBsb3Jpcy5CYXNlLlVJLlZpc3VhbE9iamVjdAMAAAAJ9gYAAAn1BgAACgoB0wgAACIAAAAKCgAAAAAAKEEJcAAAAAlxAAAACZIKAAAAAAmTCgAAAdQIAAByAAAACgoAAAAAcoSMAAYAAAAAAQHZCAAApwAAAAmUCgAAAgAAAAgAAAAB2wgAAG8AAAAJlQoAAAoB3ggAAGoAAAAKCgAAAEA/CZYKAAAJlwoAAAEAAAD+////AAAAAAEAAAAAAAAAAAAAAAEAAAAAAAAAAAAAAd8IAABrAAAACgoJmAoAAAmZCgAAAQAAAAAAAAAAAAAA/////wEAAeMIAABvAAAACZoKAAAKB+oIAAAAAQAAAAQAAAAEHEFwbG9yaXMuQmFzZS5VSS5WaXN1YWxPYmplY3QDAAAACQYHAAAJBQcAAAoKAfEIAAAiAAAACgoAAAAAAChBCXAAAAAJcQAAAAmbCgAAAAAJnAoAAAHyCAAAcgAAAAoKAAAAAO0hJQAHAAAAAAEB9wgAAKcAAAAJnQoAAAIAAAAIAAAAAfkIAABvAAAACZ4KAAAKAfwIAABqAAAACgoAAABAPwmfCgAACaAKAAABAAAA/v///wAAAAABAAAAAAAAAAAAAAABAAAAAAAAAAAAAAH9CAAAawAAAAoKCaEKAAAJogoAAAEAAAAAAAAAAAAAAP////8BAAEBCQAAbwAAAAmjCgAACgcICQAAAAEAAAAEAAAABBxBcGxvcmlzLkJhc2UuVUkuVmlzdWFsT2JqZWN0AwAAAAkWBwAACRUHAAAKCgEPCQAAIgAAAAoKAAAAAAAoQQlwAAAACXEAAAAJpAoAAAAACaUKAAABEAkAAHIAAAAKCgAAAABGOzQACAAAAAABARUJAACnAAAACaYKAAACAAAACAAAAAEXCQAAbwAAAAmnCgAACgEaCQAAagAAAAoKAAAAQD8JqAoAAAmpCgAAAQAAAP7///8AAAAAAQAAAAAAAAAAAAAAAQAAAAAAAAAAAAABGwkAAGsAAAAKCgmqCgAACasKAAABAAAAAAAAAAAAAAD/////AQABHwkAAG8AAAAJrAoAAAoHJgkAAAABAAAABAAAAAQcQXBsb3Jpcy5CYXNlLlVJLlZpc3VhbE9iamVjdAMAAAAJJgcAAAklBwAACgoBLQkAACIAAAAKCgAAAAAAKEEJcAAAAAlxAAAACa0KAAAAAAmuCgAAAS4JAAByAAAACgoAAAAAw5h0AAkAAAAAAQEzCQAApwAAAAmvCgAAAgAAAAgAAAABNQkAAG8AAAAJsAoAAAoBOAkAAGoAAAAKCgAAAEA/CbEKAAAJsgoAAAEAAAD+////AAAAAAEAAAAAAAAAAAAAAAEAAAAAAAAAAAAAATkJAABrAAAACgoJswoAAAm0CgAAAQAAAAAAAAAAAAAA/////wEAAT0JAABvAAAACbUKAAAKB0QJAAAAAQAAAAQAAAAEHEFwbG9yaXMuQmFzZS5VSS5WaXN1YWxPYmplY3QDAAAACTYHAAAJNQcAAAoKAUsJAAAiAAAACgoAAAAAAChBCXAAAAAJcQAAAAm2CgAAAAAJtwoAAAFMCQAAcgAAAAoKAAAAAPeUHgAKAAAAAAEBUQkAAKcAAAAJuAoAAAIAAAAIAAAAAVMJAABvAAAACbkKAAAKAVYJAABqAAAACgoAAABAPwm6CgAACbsKAAABAAAA/v///wAAAAABAAAAAAAAAAAAAAABAAAAAAAAAAAAAAFXCQAAawAAAAoKCbwKAAAJvQoAAAEAAAAAAAAAAAAAAP////8BAAFbCQAAbwAAAAm+CgAACgdiCQAAAAEAAAAEAAAABBxBcGxvcmlzLkJhc2UuVUkuVmlzdWFsT2JqZWN0AwAAAAlGBwAACUUHAAAKCgFpCQAAIgAAAAoKAAAAAAAoQQlwAAAACXEAAAAJvwoAAAAACcAKAAABagkAAHIAAAAKCgAAAAA/aX4ABQAAAAABAW8JAACnAAAACcEKAAACAAAABgAAAAFxCQAAbwAAAAnCCgAACgF0CQAAagAAAAoKAAAAQD8JwwoAAAnECgAAAQAAAP7///8AAAAAAQAAAAAAAAAAAAAAAQAAAAAAAAAAAAABdQkAAGsAAAAKCgnFCgAACcYKAAABAAAAAAAAAAAAAAD/////AQABeQkAAG8AAAAJxwoAAAoHgAkAAAABAAAABAAAAAQcQXBsb3Jpcy5CYXNlLlVJLlZpc3VhbE9iamVjdAMAAAAJVgcAAAlVBwAACgoBhwkAACIAAAAKCgAAAAAAKEEJcAAAAAlxAAAACcgKAAAAAAnJCgAAAYgJAAByAAAACgoAAAAAcoSMAAYAAAAAAQGNCQAApwAAAAnKCgAAAgAAAAQAAAABjwkAAG8AAAAJywoAAAoBkgkAAGoAAAAKCgAAAEA/CcwKAAAJzQoAAAEAAAD+////AAAAAAEAAAAAAAAAAAAAAAEAAAAAAAAAAAAAAZMJAABrAAAACgoJzgoAAAnPCgAAAQAAAAAAAAAAAAAA/////wEAAZcJAABvAAAACdAKAAAKB54JAAAAAQAAAAQAAAAEHEFwbG9yaXMuQmFzZS5VSS5WaXN1YWxPYmplY3QDAAAACWkHAAAJaAcAAAoKAaUJAAAiAAAACgoAAAAAAChBCXAAAAAJcQAAAAnRCgAAAAAJ0goAAAGmCQAAcgAAAAoKAAAAAO0hJQAHAAAAAAABqwkAAKcAAAAJ0woAAAIAAAAGAAAAAa0JAABvAAAACdQKAAAKAbAJAABqAAAACgoAAABAPwnVCgAACdYKAAABAAAA/v///wAAAAABAAAAAAAAAAAAAAABAAAAAAAAAAAAAAGxCQAAawAAAAoKCdcKAAAJ2AoAAAEAAAAAAAAAAAAAAP////8BAAG1CQAAbwAAAAnZCgAACge8CQAAAAEAAAAEAAAABBxBcGxvcmlzLkJhc2UuVUkuVmlzdWFsT2JqZWN0AwAAAAl5BwAACXgHAAAKCgHDCQAAIgAAAAoKAAAAAAAoQQlwAAAACXEAAAAJ2goAAAAACdsKAAABxAkAAHIAAAAKCgAAAABGOzQACAAAAAAAAckJAACnAAAACdwKAAACAAAABgAAAAHLCQAAbwAAAAndCgAACgHOCQAAagAAAAoKAAAAQD8J3goAAAnfCgAAAQAAAP7///8AAAAAAQAAAAAAAAAAAAAAAQAAAAAAAAAAAAABzwkAAGsAAAAKCgngCgAACeEKAAABAAAAAAAAAAAAAAD/////AQAB0wkAAG8AAAAJ4goAAAoH2gkAAAABAAAABAAAAAQcQXBsb3Jpcy5CYXNlLlVJLlZpc3VhbE9iamVjdAMAAAAJiQcAAAmIBwAACgoB4QkAACIAAAAKCgAAAAAAKEEJcAAAAAlxAAAACeMKAAAAAAnkCgAAAeIJAAByAAAACgoAAAAAw5h0AAkAAAAAAAHnCQAApwAAAAnlCgAAAgAAAAYAAAAB6QkAAG8AAAAJ5goAAAoB7AkAAGoAAAAKCgAAAEA/CecKAAAJ6AoAAAEAAAD+////AAAAAAEAAAAAAAAAAAAAAAEAAAAAAAAAAAAAAe0JAABrAAAACgoJ6QoAAAnqCgAAAQAAAAAAAAAAAAAA/////wEAAfEJAABvAAAACesKAAAKB/gJAAAAAQAAAAQAAAAEHEFwbG9yaXMuQmFzZS5VSS5WaXN1YWxPYmplY3QDAAAACZkHAAAJmAcAAAoKAf8JAAAiAAAACgoAAAAAAChBCXAAAAAJcQAAAAnsCgAAAAAJ7QoAAAEACgAAcgAAAAoKAAAAAPeUHgAKAAAAAAEBBQoAAKcAAAAJ7goAAAIAAAAGAAAAAQcKAABvAAAACe8KAAAKAQoKAABqAAAACgoAAABAPwnwCgAACfEKAAABAAAA/v///wAAAAABAAAAAAAAAAAAAAABAAAAAAAAAAAAAAELCgAAawAAAAoKCfIKAAAJ8woAAAEAAAAAAAAAAAAAAP////8BAAEPCgAAbwAAAAn0CgAACgcWCgAAAAEAAAAEAAAABBxBcGxvcmlzLkJhc2UuVUkuVmlzdWFsT2JqZWN0AwAAAAmpBwAACagHAAAKCgEdCgAAIgAAAAoKAAAAAAAoQQlwAAAACXEAAAAJ9QoAAAAACfYKAAABHgoAAHIAAAAKCgAAAAA/aX4ABQAAAAABASMKAACnAAAACfcKAAACAAAABgAAAAElCgAAbwAAAAn4CgAACgEoCgAAagAAAAoKAAAAQD8J+QoAAAn6CgAAAQAAAP7///8AAAAAAQAAAAAAAAAAAAAAAQAAAAAAAAAAAAABKQoAAGsAAAAKCgn7CgAACfwKAAABAAAAAAAAAAAAAAD/////AQABLQoAAG8AAAAJ/QoAAAoHNAoAAAABAAAABAAAAAQcQXBsb3Jpcy5CYXNlLlVJLlZpc3VhbE9iamVjdAMAAAAJuQcAAAm4BwAACgoBOwoAACIAAAAKCgAAAAAAKEEJcAAAAAlxAAAACf4KAAAAAAn/CgAAATwKAAByAAAACgoAAAAAcoSMAAYAAAAAAAFBCgAApwAAAAkACwAAAgAAAAYAAAABQwoAAG8AAAAJAQsAAAoBRgoAAGoAAAAKCgAAAEA/CQILAAAJAwsAAAEAAAD+////AAAAAAEAAAAAAAAAAAAAAAEAAAAAAAAAAAAAAUcKAABrAAAACgoJBAsAAAkFCwAAAQAAAAAAAAAAAAAA/////wEAAUsKAABvAAAACQYLAAAKB1IKAAAAAQAAAAQAAAAEHEFwbG9yaXMuQmFzZS5VSS5WaXN1YWxPYmplY3QDAAAACckHAAAJyAcAAAoKAVMKAAByAAAACgoAAAAA////AA4AAAAAAAFUCgAAcgAAAAoKAAAAAP///wAOAAAAAAEHVQoAAAABAAAABAAAAAQdQXBsb3Jpcy5CYXNlLk9iamVjdHMuVmFyaWFibGUDAAAAAQcLAACfBQAAAwAAAAAAAAABCAsAAJ8FAAACAAAAAgAAAAEJCwAAnwUAAAAAAAAAAAAAAQoLAACfBQAAAAAAAAAAAAAPVgoAAAEAAAAIPAAAAAVXCgAAGkFwbG9yaXMuQmFzZS5PYmplY3RzLkNvbG9yBwAAABJEYXRhT2JqZWN0K21QYXJlbnQVRGF0YU9iamVjdCttQ29udGFpbmVyBW1UeXBlBG1SR0IQbVRoZW1lQ29sb3JJbmRleAxtQXV0b1VwZGF0ZWQJbU1vZGlmaWVkBAIAAAAAAB9BcGxvcmlzLkJhc2UuT2JqZWN0cy5MaW5lRm9ybWF0AwAAAAgICAEBAwAAAAnwBwAACgAAAAD///8ADgAAAAAABVgKAAAaQXBsb3Jpcy5CYXNlLk9iamVjdHMuQ29sb3IHAAAAEkRhdGFPYmplY3QrbVBhcmVudBVEYXRhT2JqZWN0K21Db250YWluZXIFbVR5cGUEbVJHQhBtVGhlbWVDb2xvckluZGV4DG1BdXRvVXBkYXRlZAltTW9kaWZpZWQEAgAAAAAAH0FwbG9yaXMuQmFzZS5PYmplY3RzLkxpbmVGb3JtYXQDAAAACAgIAQEDAAAACfAHAAAKAQAAAAAAAAD/////AAEBWQoAAHIAAAAKCgAAAAA/aX4ABQAAAAAAAVoKAAByAAAACgoBAAAAAAAAAP////8AAQ9bCgAAAQAAAAgUAAAAAVwKAAByAAAACgoAAAAA////AA4AAAAAAAFdCgAAcgAAAAoKAAAAAP///wAOAAAAAAEHXgoAAAABAAAABAAAAAQdQXBsb3Jpcy5CYXNlLk9iamVjdHMuVmFyaWFibGUDAAAAAQsLAACfBQAAAwAAAAAAAAABDAsAAJ8FAAACAAAAAgAAAAENCwAAnwUAAAAAAAAAAAAAAQ4LAACfBQAAAAAAAAAAAAAPXwoAAAEAAAAIRQAAAAVgCgAAGkFwbG9yaXMuQmFzZS5PYmplY3RzLkNvbG9yBwAAABJEYXRhT2JqZWN0K21QYXJlbnQVRGF0YU9iamVjdCttQ29udGFpbmVyBW1UeXBlBG1SR0IQbVRoZW1lQ29sb3JJbmRleAxtQXV0b1VwZGF0ZWQJbU1vZGlmaWVkBAIAAAAAAB9BcGxvcmlzLkJhc2UuT2JqZWN0cy5MaW5lRm9ybWF0AwAAAAgICAEBAwAAAAkcCAAACgAAAAD///8ADgAAAAAABWEKAAAaQXBsb3Jpcy5CYXNlLk9iamVjdHMuQ29sb3IHAAAAEkRhdGFPYmplY3QrbVBhcmVudBVEYXRhT2JqZWN0K21Db250YWluZXIFbVR5cGUEbVJHQhBtVGhlbWVDb2xvckluZGV4DG1BdXRvVXBkYXRlZAltTW9kaWZpZWQEAgAAAAAAH0FwbG9yaXMuQmFzZS5PYmplY3RzLkxpbmVGb3JtYXQDAAAACAgIAQEDAAAACRwIAAAKAQAAAAAAAAD/////AAEBYgoAAHIAAAAKCgAAAAByhIwABgAAAAAAAWMKAAByAAAACgoBAAAAAAAAAP////8AAQ9kCgAAAQAAAAgTAAAAAWUKAAByAAAACgoAAAAA////AA4AAAAAAAFmCgAAcgAAAAoKAAAAAP///wAOAAAAAAEHZwoAAAABAAAABAAAAAQdQXBsb3Jpcy5CYXNlLk9iamVjdHMuVmFyaWFibGUDAAAAAQ8LAACfBQAAAwAAAAAAAAABEAsAAJ8FAAACAAAAAgAAAAERCwAAnwUAAAAAAAAAAAAAARILAACfBQAAAAAAAAAAAAAPaAoAAAEAAAAIQgAAAAVpCgAAGkFwbG9yaXMuQmFzZS5PYmplY3RzLkNvbG9yBwAAABJEYXRhT2JqZWN0K21QYXJlbnQVRGF0YU9iamVjdCttQ29udGFpbmVyBW1UeXBlBG1SR0IQbVRoZW1lQ29sb3JJbmRleAxtQXV0b1VwZGF0ZWQJbU1vZGlmaWVkBAIAAAAAAB9BcGxvcmlzLkJhc2UuT2JqZWN0cy5MaW5lRm9ybWF0AwAAAAgICAEBAwAAAAlICAAACgAAAAD///8ADgAAAAAABWoKAAAaQXBsb3Jpcy5CYXNlLk9iamVjdHMuQ29sb3IHAAAAEkRhdGFPYmplY3QrbVBhcmVudBVEYXRhT2JqZWN0K21Db250YWluZXIFbVR5cGUEbVJHQhBtVGhlbWVDb2xvckluZGV4DG1BdXRvVXBkYXRlZAltTW9kaWZpZWQEAgAAAAAAH0FwbG9yaXMuQmFzZS5PYmplY3RzLkxpbmVGb3JtYXQDAAAACAgIAQEDAAAACUgIAAAKAQAAAAAAAAD/////AAEBawoAAHIAAAAKCgAAAADtISUABwAAAAAAAWwKAAByAAAACgoBAAAAAAAAAP////8AAQ9tCgAAAQAAAAgSAAAAAW4KAAByAAAACgoAAAAA////AA4AAAAAAAFvCgAAcgAAAAoKAAAAAP///wAOAAAAAAEHcAoAAAABAAAABAAAAAQdQXBsb3Jpcy5CYXNlLk9iamVjdHMuVmFyaWFibGUDAAAAARMLAACfBQAAAwAAAAAAAAABFAsAAJ8FAAACAAAAAgAAAAEVCwAAnwUAAAAAAAAAAAAAARYLAACfBQAAAAAAAAAAAAAPcQoAAAEAAAAINQAAAAVyCgAAGkFwbG9yaXMuQmFzZS5PYmplY3RzLkNvbG9yBwAAABJEYXRhT2JqZWN0K21QYXJlbnQVRGF0YU9iamVjdCttQ29udGFpbmVyBW1UeXBlBG1SR0IQbVRoZW1lQ29sb3JJbmRleAxtQXV0b1VwZGF0ZWQJbU1vZGlmaWVkBAIAAAAAAB9BcGxvcmlzLkJhc2UuT2JqZWN0cy5MaW5lRm9ybWF0AwAAAAgICAEBAwAAAAlmCAAACgAAAAD///8ADgAAAAAABXMKAAAaQXBsb3Jpcy5CYXNlLk9iamVjdHMuQ29sb3IHAAAAEkRhdGFPYmplY3QrbVBhcmVudBVEYXRhT2JqZWN0K21Db250YWluZXIFbVR5cGUEbVJHQhBtVGhlbWVDb2xvckluZGV4DG1BdXRvVXBkYXRlZAltTW9kaWZpZWQEAgAAAAAAH0FwbG9yaXMuQmFzZS5PYmplY3RzLkxpbmVGb3JtYXQDAAAACAgIAQEDAAAACWYIAAAKAQAAAAAAAAD/////AAEBdAoAAHIAAAAKCgAAAABGOzQACAAAAAAAAXUKAAByAAAACgoBAAAAAAAAAP////8AAQ92CgAAAQAAAAgRAAAAAXcKAAByAAAACgoAAAAAAAAAAA0AAAAAAAF4CgAAcgAAAAoKAAAAAAAAAAANAAAAAAEHeQoAAAABAAAABAAAAAQdQXBsb3Jpcy5CYXNlLk9iamVjdHMuVmFyaWFibGUDAAAAARcLAACfBQAAAwAAAAAAAAABGAsAAJ8FAAACAAAAAgAAAAEZCwAAnwUAAAAAAAAAAAAAARoLAACfBQAAAAAAAAAAAAAPegoAAAEAAAAINAAAAAV7CgAAGkFwbG9yaXMuQmFzZS5PYmplY3RzLkNvbG9yBwAAABJEYXRhT2JqZWN0K21QYXJlbnQVRGF0YU9iamVjdCttQ29udGFpbmVyBW1UeXBlBG1SR0IQbVRoZW1lQ29sb3JJbmRleAxtQXV0b1VwZGF0ZWQJbU1vZGlmaWVkBAIAAAAAAB9BcGxvcmlzLkJhc2UuT2JqZWN0cy5MaW5lRm9ybWF0AwAAAAgICAEBAwAAAAmECAAACgAAAAD///8ADgAAAAAABXwKAAAaQXBsb3Jpcy5CYXNlLk9iamVjdHMuQ29sb3IHAAAAEkRhdGFPYmplY3QrbVBhcmVudBVEYXRhT2JqZWN0K21Db250YWluZXIFbVR5cGUEbVJHQhBtVGhlbWVDb2xvckluZGV4DG1BdXRvVXBkYXRlZAltTW9kaWZpZWQEAgAAAAAAH0FwbG9yaXMuQmFzZS5PYmplY3RzLkxpbmVGb3JtYXQDAAAACAgIAQEDAAAACYQIAAAKAQAAAAAAAAD/////AAEBfQoAAHIAAAAKCgAAAADDmHQACQAAAAAAAX4KAAByAAAACgoBAAAAAAAAAP////8AAQ9/CgAAAQAAAAgQAAAAAYAKAAByAAAACgoAAAAAAAAAAA0AAAAAAAGBCgAAcgAAAAoKAAAAAAAAAAANAAAAAAEHggoAAAABAAAABAAAAAQdQXBsb3Jpcy5CYXNlLk9iamVjdHMuVmFyaWFibGUDAAAAARsLAACfBQAAAwAAAAAAAAABHAsAAJ8FAAACAAAAAgAAAAEdCwAAnwUAAAAAAAAAAAAAAR4LAACfBQAAAAAAAAAAAAAPgwoAAAEAAAAIMgAAAAWECgAAGkFwbG9yaXMuQmFzZS5PYmplY3RzLkNvbG9yBwAAABJEYXRhT2JqZWN0K21QYXJlbnQVRGF0YU9iamVjdCttQ29udGFpbmVyBW1UeXBlBG1SR0IQbVRoZW1lQ29sb3JJbmRleAxtQXV0b1VwZGF0ZWQJbU1vZGlmaWVkBAIAAAAAAB9BcGxvcmlzLkJhc2UuT2JqZWN0cy5MaW5lRm9ybWF0AwAAAAgICAEBAwAAAAmiCAAACgAAAAD///8ADgAAAAAABYUKAAAaQXBsb3Jpcy5CYXNlLk9iamVjdHMuQ29sb3IHAAAAEkRhdGFPYmplY3QrbVBhcmVudBVEYXRhT2JqZWN0K21Db250YWluZXIFbVR5cGUEbVJHQhBtVGhlbWVDb2xvckluZGV4DG1BdXRvVXBkYXRlZAltTW9kaWZpZWQEAgAAAAAAH0FwbG9yaXMuQmFzZS5PYmplY3RzLkxpbmVGb3JtYXQDAAAACAgIAQEDAAAACaIIAAAKAQAAAAAAAAD/////AAEBhgoAAHIAAAAKCgAAAAD3lB4ACgAAAAAAAYcKAAByAAAACgoBAAAAAAAAAP////8AAQ+ICgAAAQAAAAgFAAAAAYkKAAByAAAACgoAAAAA////AA4AAAAAAAGKCgAAcgAAAAoKAAAAAP///wAOAAAAAAEHiwoAAAABAAAABAAAAAQdQXBsb3Jpcy5CYXNlLk9iamVjdHMuVmFyaWFibGUDAAAAAR8LAACfBQAAAwAAAAAAAAABIAsAAJ8FAAACAAAAAgAAAAEhCwAAnwUAAAAAAAAAAAAAASILAACfBQAAAAAAAAAAAAAPjAoAAAEAAAAIOAAAAAWNCgAAGkFwbG9yaXMuQmFzZS5PYmplY3RzLkNvbG9yBwAAABJEYXRhT2JqZWN0K21QYXJlbnQVRGF0YU9iamVjdCttQ29udGFpbmVyBW1UeXBlBG1SR0IQbVRoZW1lQ29sb3JJbmRleAxtQXV0b1VwZGF0ZWQJbU1vZGlmaWVkBAIAAAAAAB9BcGxvcmlzLkJhc2UuT2JqZWN0cy5MaW5lRm9ybWF0AwAAAAgICAEBAwAAAAnACAAACgAAAAD///8ADgAAAAAABY4KAAAaQXBsb3Jpcy5CYXNlLk9iamVjdHMuQ29sb3IHAAAAEkRhdGFPYmplY3QrbVBhcmVudBVEYXRhT2JqZWN0K21Db250YWluZXIFbVR5cGUEbVJHQhBtVGhlbWVDb2xvckluZGV4DG1BdXRvVXBkYXRlZAltTW9kaWZpZWQEAgAAAAAAH0FwbG9yaXMuQmFzZS5PYmplY3RzLkxpbmVGb3JtYXQDAAAACAgIAQEDAAAACcAIAAAKAQAAAAAAAAD/////AAEBjwoAAHIAAAAKCgAAAAA/aX4ABQAAAAAAAZAKAAByAAAACgoBAAAAAAAAAP////8AAQ+RCgAAAQAAAAgGAAAAAZIKAAByAAAACgoAAAAA////AA4AAAAAAAGTCgAAcgAAAAoKAAAAAP///wAOAAAAAAEHlAoAAAABAAAABAAAAAQdQXBsb3Jpcy5CYXNlLk9iamVjdHMuVmFyaWFibGUDAAAAASMLAACfBQAAAwAAAAAAAAABJAsAAJ8FAAACAAAAAgAAAAElCwAAnwUAAAAAAAAAAAAAASYLAACfBQAAAAAAAAAAAAAPlQoAAAEAAAAINgAAAAWWCgAAGkFwbG9yaXMuQmFzZS5PYmplY3RzLkNvbG9yBwAAABJEYXRhT2JqZWN0K21QYXJlbnQVRGF0YU9iamVjdCttQ29udGFpbmVyBW1UeXBlBG1SR0IQbVRoZW1lQ29sb3JJbmRleAxtQXV0b1VwZGF0ZWQJbU1vZGlmaWVkBAIAAAAAAB9BcGxvcmlzLkJhc2UuT2JqZWN0cy5MaW5lRm9ybWF0AwAAAAgICAEBAwAAAAneCAAACgAAAAD///8ADgAAAAAABZcKAAAaQXBsb3Jpcy5CYXNlLk9iamVjdHMuQ29sb3IHAAAAEkRhdGFPYmplY3QrbVBhcmVudBVEYXRhT2JqZWN0K21Db250YWluZXIFbVR5cGUEbVJHQhBtVGhlbWVDb2xvckluZGV4DG1BdXRvVXBkYXRlZAltTW9kaWZpZWQEAgAAAAAAH0FwbG9yaXMuQmFzZS5PYmplY3RzLkxpbmVGb3JtYXQDAAAACAgIAQEDAAAACd4IAAAKAQAAAAAAAAD/////AAEBmAoAAHIAAAAKCgAAAAByhIwABgAAAAAAAZkKAAByAAAACgoBAAAAAAAAAP////8AAQ+aCgAAAQAAAAgHAAAAAZsKAAByAAAACgoAAAAA////AA4AAAAAAAGcCgAAcgAAAAoKAAAAAP///wAOAAAAAAEHnQoAAAABAAAABAAAAAQdQXBsb3Jpcy5CYXNlLk9iamVjdHMuVmFyaWFibGUDAAAAAScLAACfBQAAAwAAAAAAAAABKAsAAJ8FAAACAAAAAgAAAAEpCwAAnwUAAAAAAAAAAAAAASoLAACfBQAAAAAAAAAAAAAPngoAAAEAAAAINwAAAAWfCgAAGkFwbG9yaXMuQmFzZS5PYmplY3RzLkNvbG9yBwAAABJEYXRhT2JqZWN0K21QYXJlbnQVRGF0YU9iamVjdCttQ29udGFpbmVyBW1UeXBlBG1SR0IQbVRoZW1lQ29sb3JJbmRleAxtQXV0b1VwZGF0ZWQJbU1vZGlmaWVkBAIAAAAAAB9BcGxvcmlzLkJhc2UuT2JqZWN0cy5MaW5lRm9ybWF0AwAAAAgICAEBAwAAAAn8CAAACgAAAAD///8ADgAAAAAABaAKAAAaQXBsb3Jpcy5CYXNlLk9iamVjdHMuQ29sb3IHAAAAEkRhdGFPYmplY3QrbVBhcmVudBVEYXRhT2JqZWN0K21Db250YWluZXIFbVR5cGUEbVJHQhBtVGhlbWVDb2xvckluZGV4DG1BdXRvVXBkYXRlZAltTW9kaWZpZWQEAgAAAAAAH0FwbG9yaXMuQmFzZS5PYmplY3RzLkxpbmVGb3JtYXQDAAAACAgIAQEDAAAACfwIAAAKAQAAAAAAAAD/////AAEBoQoAAHIAAAAKCgAAAADtISUABwAAAAAAAaIKAAByAAAACgoBAAAAAAAAAP////8AAQ+jCgAAAQAAAAgEAAAAAaQKAAByAAAACgoAAAAA////AA4AAAAAAAGlCgAAcgAAAAoKAAAAAP///wAOAAAAAAEHpgoAAAABAAAABAAAAAQdQXBsb3Jpcy5CYXNlLk9iamVjdHMuVmFyaWFibGUDAAAAASsLAACfBQAAAwAAAAAAAAABLAsAAJ8FAAACAAAAAgAAAAEtCwAAnwUAAAAAAAAAAAAAAS4LAACfBQAAAAAAAAAAAAAPpwoAAAEAAAAIOQAAAAWoCgAAGkFwbG9yaXMuQmFzZS5PYmplY3RzLkNvbG9yBwAAABJEYXRhT2JqZWN0K21QYXJlbnQVRGF0YU9iamVjdCttQ29udGFpbmVyBW1UeXBlBG1SR0IQbVRoZW1lQ29sb3JJbmRleAxtQXV0b1VwZGF0ZWQJbU1vZGlmaWVkBAIAAAAAAB9BcGxvcmlzLkJhc2UuT2JqZWN0cy5MaW5lRm9ybWF0AwAAAAgICAEBAwAAAAkaCQAACgAAAAD///8ADgAAAAAABakKAAAaQXBsb3Jpcy5CYXNlLk9iamVjdHMuQ29sb3IHAAAAEkRhdGFPYmplY3QrbVBhcmVudBVEYXRhT2JqZWN0K21Db250YWluZXIFbVR5cGUEbVJHQhBtVGhlbWVDb2xvckluZGV4DG1BdXRvVXBkYXRlZAltTW9kaWZpZWQEAgAAAAAAH0FwbG9yaXMuQmFzZS5PYmplY3RzLkxpbmVGb3JtYXQDAAAACAgIAQEDAAAACRoJAAAKAQAAAAAAAAD/////AAEBqgoAAHIAAAAKCgAAAABGOzQACAAAAAAAAasKAAByAAAACgoBAAAAAAAAAP////8AAQ+sCgAAAQAAAAgBAAAAAa0KAAByAAAACgoAAAAAAAAAAA0AAAAAAAGuCgAAcgAAAAoKAAAAAAAAAAANAAAAAAEHrwoAAAABAAAABAAAAAQdQXBsb3Jpcy5CYXNlLk9iamVjdHMuVmFyaWFibGUDAAAAAS8LAACfBQAAAwAAAAAAAAABMAsAAJ8FAAACAAAAAgAAAAExCwAAnwUAAAAAAAAAAAAAATILAACfBQAAAAAAAAAAAAAPsAoAAAEAAAAIMwAAAAWxCgAAGkFwbG9yaXMuQmFzZS5PYmplY3RzLkNvbG9yBwAAABJEYXRhT2JqZWN0K21QYXJlbnQVRGF0YU9iamVjdCttQ29udGFpbmVyBW1UeXBlBG1SR0IQbVRoZW1lQ29sb3JJbmRleAxtQXV0b1VwZGF0ZWQJbU1vZGlmaWVkBAIAAAAAAB9BcGxvcmlzLkJhc2UuT2JqZWN0cy5MaW5lRm9ybWF0AwAAAAgICAEBAwAAAAk4CQAACgAAAAD///8ADgAAAAAABbIKAAAaQXBsb3Jpcy5CYXNlLk9iamVjdHMuQ29sb3IHAAAAEkRhdGFPYmplY3QrbVBhcmVudBVEYXRhT2JqZWN0K21Db250YWluZXIFbVR5cGUEbVJHQhBtVGhlbWVDb2xvckluZGV4DG1BdXRvVXBkYXRlZAltTW9kaWZpZWQEAgAAAAAAH0FwbG9yaXMuQmFzZS5PYmplY3RzLkxpbmVGb3JtYXQDAAAACAgIAQEDAAAACTgJAAAKAQAAAAAAAAD/////AAEBswoAAHIAAAAKCgAAAADDmHQACQAAAAAAAbQKAAByAAAACgoBAAAAAAAAAP////8AAQ+1CgAAAQAAAAgCAAAAAbYKAAByAAAACgoAAAAAAAAAAA0AAAAAAAG3CgAAcgAAAAoKAAAAAAAAAAANAAAAAAEHuAoAAAABAAAABAAAAAQdQXBsb3Jpcy5CYXNlLk9iamVjdHMuVmFyaWFibGUDAAAAATMLAACfBQAAAwAAAAAAAAABNAsAAJ8FAAACAAAAAgAAAAE1CwAAnwUAAAAAAAAAAAAAATYLAACfBQAAAAAAAAAAAAAPuQoAAAEAAAAIQwAAAAW6CgAAGkFwbG9yaXMuQmFzZS5PYmplY3RzLkNvbG9yBwAAABJEYXRhT2JqZWN0K21QYXJlbnQVRGF0YU9iamVjdCttQ29udGFpbmVyBW1UeXBlBG1SR0IQbVRoZW1lQ29sb3JJbmRleAxtQXV0b1VwZGF0ZWQJbU1vZGlmaWVkBAIAAAAAAB9BcGxvcmlzLkJhc2UuT2JqZWN0cy5MaW5lRm9ybWF0AwAAAAgICAEBAwAAAAlWCQAACgAAAAD///8ADgAAAAAABbsKAAAaQXBsb3Jpcy5CYXNlLk9iamVjdHMuQ29sb3IHAAAAEkRhdGFPYmplY3QrbVBhcmVudBVEYXRhT2JqZWN0K21Db250YWluZXIFbVR5cGUEbVJHQhBtVGhlbWVDb2xvckluZGV4DG1BdXRvVXBkYXRlZAltTW9kaWZpZWQEAgAAAAAAH0FwbG9yaXMuQmFzZS5PYmplY3RzLkxpbmVGb3JtYXQDAAAACAgIAQEDAAAACVYJAAAKAQAAAAAAAAD/////AAEBvAoAAHIAAAAKCgAAAAD3lB4ACgAAAAAAAb0KAAByAAAACgoBAAAAAAAAAP////8AAQ++CgAAAQAAAAgDAAAAAb8KAAByAAAACgoAAAAA////AA4AAAAAAAHACgAAcgAAAAoKAAAAAP///wAOAAAAAAEHwQoAAAABAAAABAAAAAQdQXBsb3Jpcy5CYXNlLk9iamVjdHMuVmFyaWFibGUDAAAAATcLAACfBQAAAwAAAAAAAAABOAsAAJ8FAAACAAAAAgAAAAE5CwAAnwUAAAAAAAAAAAAAAToLAACfBQAAAAAAAAAAAAAPwgoAAAEAAAAIQAAAAAXDCgAAGkFwbG9yaXMuQmFzZS5PYmplY3RzLkNvbG9yBwAAABJEYXRhT2JqZWN0K21QYXJlbnQVRGF0YU9iamVjdCttQ29udGFpbmVyBW1UeXBlBG1SR0IQbVRoZW1lQ29sb3JJbmRleAxtQXV0b1VwZGF0ZWQJbU1vZGlmaWVkBAIAAAAAAB9BcGxvcmlzLkJhc2UuT2JqZWN0cy5MaW5lRm9ybWF0AwAAAAgICAEBAwAAAAl0CQAACgAAAAD///8ADgAAAAAABcQKAAAaQXBsb3Jpcy5CYXNlLk9iamVjdHMuQ29sb3IHAAAAEkRhdGFPYmplY3QrbVBhcmVudBVEYXRhT2JqZWN0K21Db250YWluZXIFbVR5cGUEbVJHQhBtVGhlbWVDb2xvckluZGV4DG1BdXRvVXBkYXRlZAltTW9kaWZpZWQEAgAAAAAAH0FwbG9yaXMuQmFzZS5PYmplY3RzLkxpbmVGb3JtYXQDAAAACAgIAQEDAAAACXQJAAAKAQAAAAAAAAD/////AAEBxQoAAHIAAAAKCgAAAAA/aX4ABQAAAAAAAcYKAAByAAAACgoBAAAAAAAAAP////8AAQ/HCgAAAQAAAAgIAAAAAcgKAAByAAAACgoAAAAA////AA4AAAAAAAHJCgAAcgAAAAoKAAAAAP///wAOAAAAAAEHygoAAAABAAAABAAAAAQdQXBsb3Jpcy5CYXNlLk9iamVjdHMuVmFyaWFibGUDAAAAATsLAACfBQAAAwAAAAAAAAABPAsAAJ8FAAACAAAAAgAAAAE9CwAAnwUAAAAAAAAAAAAAAT4LAACfBQAAAAAAAAAAAAAPywoAAAEAAAAIQQAAAAXMCgAAGkFwbG9yaXMuQmFzZS5PYmplY3RzLkNvbG9yBwAAABJEYXRhT2JqZWN0K21QYXJlbnQVRGF0YU9iamVjdCttQ29udGFpbmVyBW1UeXBlBG1SR0IQbVRoZW1lQ29sb3JJbmRleAxtQXV0b1VwZGF0ZWQJbU1vZGlmaWVkBAIAAAAAAB9BcGxvcmlzLkJhc2UuT2JqZWN0cy5MaW5lRm9ybWF0AwAAAAgICAEBAwAAAAmSCQAACgAAAAD///8ADgAAAAAABc0KAAAaQXBsb3Jpcy5CYXNlLk9iamVjdHMuQ29sb3IHAAAAEkRhdGFPYmplY3QrbVBhcmVudBVEYXRhT2JqZWN0K21Db250YWluZXIFbVR5cGUEbVJHQhBtVGhlbWVDb2xvckluZGV4DG1BdXRvVXBkYXRlZAltTW9kaWZpZWQEAgAAAAAAH0FwbG9yaXMuQmFzZS5PYmplY3RzLkxpbmVGb3JtYXQDAAAACAgIAQEDAAAACZIJAAAKAQAAAAAAAAD/////AAEBzgoAAHIAAAAKCgAAAAByhIwABgAAAAAAAc8KAAByAAAACgoBAAAAAAAAAP////8AAQ/QCgAAAQAAAAgNAAAAAdEKAAByAAAACgoAAAAA////AA4AAAAAAAHSCgAAcgAAAAoKAAAAAP///wAOAAAAAAEH0woAAAABAAAABAAAAAQdQXBsb3Jpcy5CYXNlLk9iamVjdHMuVmFyaWFibGUDAAAAAT8LAACfBQAAAwAAAAAAAAABQAsAAJ8FAAACAAAAAgAAAAFBCwAAnwUAAAAAAAAAAAAAAUILAACfBQAAAAAAAAAAAAAP1AoAAAEAAAAIOgAAAAXVCgAAGkFwbG9yaXMuQmFzZS5PYmplY3RzLkNvbG9yBwAAABJEYXRhT2JqZWN0K21QYXJlbnQVRGF0YU9iamVjdCttQ29udGFpbmVyBW1UeXBlBG1SR0IQbVRoZW1lQ29sb3JJbmRleAxtQXV0b1VwZGF0ZWQJbU1vZGlmaWVkBAIAAAAAAB9BcGxvcmlzLkJhc2UuT2JqZWN0cy5MaW5lRm9ybWF0AwAAAAgICAEBAwAAAAmwCQAACgAAAAD///8ADgAAAAAABdYKAAAaQXBsb3Jpcy5CYXNlLk9iamVjdHMuQ29sb3IHAAAAEkRhdGFPYmplY3QrbVBhcmVudBVEYXRhT2JqZWN0K21Db250YWluZXIFbVR5cGUEbVJHQhBtVGhlbWVDb2xvckluZGV4DG1BdXRvVXBkYXRlZAltTW9kaWZpZWQEAgAAAAAAH0FwbG9yaXMuQmFzZS5PYmplY3RzLkxpbmVGb3JtYXQDAAAACAgIAQEDAAAACbAJAAAKAQAAAAAAAAD/////AAEB1woAAHIAAAAKCgAAAADtISUABwAAAAAAAdgKAAByAAAACgoBAAAAAAAAAP////8AAQ/ZCgAAAQAAAAgLAAAAAdoKAAByAAAACgoAAAAA////AA4AAAAAAAHbCgAAcgAAAAoKAAAAAP///wAOAAAAAAEH3AoAAAABAAAABAAAAAQdQXBsb3Jpcy5CYXNlLk9iamVjdHMuVmFyaWFibGUDAAAAAUMLAACfBQAAAwAAAAAAAAABRAsAAJ8FAAACAAAAAgAAAAFFCwAAnwUAAAAAAAAAAAAAAUYLAACfBQAAAAAAAAAAAAAP3QoAAAEAAAAIPwAAAAXeCgAAGkFwbG9yaXMuQmFzZS5PYmplY3RzLkNvbG9yBwAAABJEYXRhT2JqZWN0K21QYXJlbnQVRGF0YU9iamVjdCttQ29udGFpbmVyBW1UeXBlBG1SR0IQbVRoZW1lQ29sb3JJbmRleAxtQXV0b1VwZGF0ZWQJbU1vZGlmaWVkBAIAAAAAAB9BcGxvcmlzLkJhc2UuT2JqZWN0cy5MaW5lRm9ybWF0AwAAAAgICAEBAwAAAAnOCQAACgAAAAD///8ADgAAAAAABd8KAAAaQXBsb3Jpcy5CYXNlLk9iamVjdHMuQ29sb3IHAAAAEkRhdGFPYmplY3QrbVBhcmVudBVEYXRhT2JqZWN0K21Db250YWluZXIFbVR5cGUEbVJHQhBtVGhlbWVDb2xvckluZGV4DG1BdXRvVXBkYXRlZAltTW9kaWZpZWQEAgAAAAAAH0FwbG9yaXMuQmFzZS5PYmplY3RzLkxpbmVGb3JtYXQDAAAACAgIAQEDAAAACc4JAAAKAQAAAAAAAAD/////AAEB4AoAAHIAAAAKCgAAAABGOzQACAAAAAAAAeEKAAByAAAACgoBAAAAAAAAAP////8AAQ/iCgAAAQAAAAgKAAAAAeMKAAByAAAACgoAAAAAAAAAAA0AAAAAAAHkCgAAcgAAAAoKAAAAAAAAAAANAAAAAAEH5QoAAAABAAAABAAAAAQdQXBsb3Jpcy5CYXNlLk9iamVjdHMuVmFyaWFibGUDAAAAAUcLAACfBQAAAwAAAAAAAAABSAsAAJ8FAAACAAAAAgAAAAFJCwAAnwUAAAAAAAAAAAAAAUoLAACfBQAAAAAAAAAAAAAP5goAAAEAAAAIPQAAAAXnCgAAGkFwbG9yaXMuQmFzZS5PYmplY3RzLkNvbG9yBwAAABJEYXRhT2JqZWN0K21QYXJlbnQVRGF0YU9iamVjdCttQ29udGFpbmVyBW1UeXBlBG1SR0IQbVRoZW1lQ29sb3JJbmRleAxtQXV0b1VwZGF0ZWQJbU1vZGlmaWVkBAIAAAAAAB9BcGxvcmlzLkJhc2UuT2JqZWN0cy5MaW5lRm9ybWF0AwAAAAgICAEBAwAAAAnsCQAACgAAAAD///8ADgAAAAAABegKAAAaQXBsb3Jpcy5CYXNlLk9iamVjdHMuQ29sb3IHAAAAEkRhdGFPYmplY3QrbVBhcmVudBVEYXRhT2JqZWN0K21Db250YWluZXIFbVR5cGUEbVJHQhBtVGhlbWVDb2xvckluZGV4DG1BdXRvVXBkYXRlZAltTW9kaWZpZWQEAgAAAAAAH0FwbG9yaXMuQmFzZS5PYmplY3RzLkxpbmVGb3JtYXQDAAAACAgIAQEDAAAACewJAAAKAQAAAAAAAAD/////AAEB6QoAAHIAAAAKCgAAAADDmHQACQAAAAAAAeoKAAByAAAACgoBAAAAAAAAAP////8AAQ/rCgAAAQAAAAgJAAAAAewKAAByAAAACgoAAAAAAAAAAA0AAAAAAAHtCgAAcgAAAAoKAAAAAAAAAAANAAAAAAEH7goAAAABAAAABAAAAAQdQXBsb3Jpcy5CYXNlLk9iamVjdHMuVmFyaWFibGUDAAAAAUsLAACfBQAAAwAAAAAAAAABTAsAAJ8FAAACAAAAAgAAAAFNCwAAnwUAAAAAAAAAAAAAAU4LAACfBQAAAAAAAAAAAAAP7woAAAEAAAAIOwAAAAXwCgAAGkFwbG9yaXMuQmFzZS5PYmplY3RzLkNvbG9yBwAAABJEYXRhT2JqZWN0K21QYXJlbnQVRGF0YU9iamVjdCttQ29udGFpbmVyBW1UeXBlBG1SR0IQbVRoZW1lQ29sb3JJbmRleAxtQXV0b1VwZGF0ZWQJbU1vZGlmaWVkBAIAAAAAAB9BcGxvcmlzLkJhc2UuT2JqZWN0cy5MaW5lRm9ybWF0AwAAAAgICAEBAwAAAAkKCgAACgAAAAD///8ADgAAAAAABfEKAAAaQXBsb3Jpcy5CYXNlLk9iamVjdHMuQ29sb3IHAAAAEkRhdGFPYmplY3QrbVBhcmVudBVEYXRhT2JqZWN0K21Db250YWluZXIFbVR5cGUEbVJHQhBtVGhlbWVDb2xvckluZGV4DG1BdXRvVXBkYXRlZAltTW9kaWZpZWQEAgAAAAAAH0FwbG9yaXMuQmFzZS5PYmplY3RzLkxpbmVGb3JtYXQDAAAACAgIAQEDAAAACQoKAAAKAQAAAAAAAAD/////AAEB8goAAHIAAAAKCgAAAAD3lB4ACgAAAAAAAfMKAAByAAAACgoBAAAAAAAAAP////8AAQ/0CgAAAQAAAAgPAAAAAfUKAAByAAAACgoAAAAA////AA4AAAAAAAH2CgAAcgAAAAoKAAAAAP///wAOAAAAAAEH9woAAAABAAAABAAAAAQdQXBsb3Jpcy5CYXNlLk9iamVjdHMuVmFyaWFibGUDAAAAAU8LAACfBQAAAwAAAAAAAAABUAsAAJ8FAAACAAAAAgAAAAFRCwAAnwUAAAAAAAAAAAAAAVILAACfBQAAAAAAAAAAAAAP+AoAAAEAAAAIRAAAAAX5CgAAGkFwbG9yaXMuQmFzZS5PYmplY3RzLkNvbG9yBwAAABJEYXRhT2JqZWN0K21QYXJlbnQVRGF0YU9iamVjdCttQ29udGFpbmVyBW1UeXBlBG1SR0IQbVRoZW1lQ29sb3JJbmRleAxtQXV0b1VwZGF0ZWQJbU1vZGlmaWVkBAIAAAAAAB9BcGxvcmlzLkJhc2UuT2JqZWN0cy5MaW5lRm9ybWF0AwAAAAgICAEBAwAAAAkoCgAACgAAAAD///8ADgAAAAAABfoKAAAaQXBsb3Jpcy5CYXNlLk9iamVjdHMuQ29sb3IHAAAAEkRhdGFPYmplY3QrbVBhcmVudBVEYXRhT2JqZWN0K21Db250YWluZXIFbVR5cGUEbVJHQhBtVGhlbWVDb2xvckluZGV4DG1BdXRvVXBkYXRlZAltTW9kaWZpZWQEAgAAAAAAH0FwbG9yaXMuQmFzZS5PYmplY3RzLkxpbmVGb3JtYXQDAAAACAgIAQEDAAAACSgKAAAKAQAAAAAAAAD/////AAEB+woAAHIAAAAKCgAAAAA/aX4ABQAAAAAAAfwKAAByAAAACgoBAAAAAAAAAP////8AAQ/9CgAAAQAAAAgOAAAAAf4KAAByAAAACgoAAAAA////AA4AAAAAAAH/CgAAcgAAAAoKAAAAAP///wAOAAAAAAEHAAsAAAABAAAABAAAAAQdQXBsb3Jpcy5CYXNlLk9iamVjdHMuVmFyaWFibGUDAAAAAVMLAACfBQAAAwAAAAAAAAABVAsAAJ8FAAACAAAAAgAAAAFVCwAAnwUAAAAAAAAAAAAAAVYLAACfBQAAAAAAAAAAAAAPAQsAAAEAAAAIPgAAAAUCCwAAGkFwbG9yaXMuQmFzZS5PYmplY3RzLkNvbG9yBwAAABJEYXRhT2JqZWN0K21QYXJlbnQVRGF0YU9iamVjdCttQ29udGFpbmVyBW1UeXBlBG1SR0IQbVRoZW1lQ29sb3JJbmRleAxtQXV0b1VwZGF0ZWQJbU1vZGlmaWVkBAIAAAAAAB9BcGxvcmlzLkJhc2UuT2JqZWN0cy5MaW5lRm9ybWF0AwAAAAgICAEBAwAAAAlGCgAACgAAAAD///8ADgAAAAAABQMLAAAaQXBsb3Jpcy5CYXNlLk9iamVjdHMuQ29sb3IHAAAAEkRhdGFPYmplY3QrbVBhcmVudBVEYXRhT2JqZWN0K21Db250YWluZXIFbVR5cGUEbVJHQhBtVGhlbWVDb2xvckluZGV4DG1BdXRvVXBkYXRlZAltTW9kaWZpZWQEAgAAAAAAH0FwbG9yaXMuQmFzZS5PYmplY3RzLkxpbmVGb3JtYXQDAAAACAgIAQEDAAAACUYKAAAKAQAAAAAAAAD/////AAEBBAsAAHIAAAAKCgAAAAByhIwABgAAAAAAAQULAAByAAAACgoBAAAAAAAAAP////8AAQ8GCwAAAQAAAAgMAAAACw=="/>
  <p:tag name="APLORISTAG" val="MMq8K+TY0y1GzdU7X.1"/>
</p:tagLst>
</file>

<file path=ppt/tags/tag750.xml><?xml version="1.0" encoding="utf-8"?>
<p:tagLst xmlns:a="http://schemas.openxmlformats.org/drawingml/2006/main" xmlns:r="http://schemas.openxmlformats.org/officeDocument/2006/relationships" xmlns:p="http://schemas.openxmlformats.org/presentationml/2006/main">
  <p:tag name="APLORISTAG" val="MqqyvQHz47eJaEyrz.45"/>
</p:tagLst>
</file>

<file path=ppt/tags/tag751.xml><?xml version="1.0" encoding="utf-8"?>
<p:tagLst xmlns:a="http://schemas.openxmlformats.org/drawingml/2006/main" xmlns:r="http://schemas.openxmlformats.org/officeDocument/2006/relationships" xmlns:p="http://schemas.openxmlformats.org/presentationml/2006/main">
  <p:tag name="APLORISTAG" val="MqqyvQHz47eJaEyrz.333"/>
</p:tagLst>
</file>

<file path=ppt/tags/tag752.xml><?xml version="1.0" encoding="utf-8"?>
<p:tagLst xmlns:a="http://schemas.openxmlformats.org/drawingml/2006/main" xmlns:r="http://schemas.openxmlformats.org/officeDocument/2006/relationships" xmlns:p="http://schemas.openxmlformats.org/presentationml/2006/main">
  <p:tag name="APLORISTAG" val="MqqyvQHz47eJaEyrz.197"/>
</p:tagLst>
</file>

<file path=ppt/tags/tag753.xml><?xml version="1.0" encoding="utf-8"?>
<p:tagLst xmlns:a="http://schemas.openxmlformats.org/drawingml/2006/main" xmlns:r="http://schemas.openxmlformats.org/officeDocument/2006/relationships" xmlns:p="http://schemas.openxmlformats.org/presentationml/2006/main">
  <p:tag name="APLORISTAG" val="MqqyvQHz47eJaEyrz.928"/>
</p:tagLst>
</file>

<file path=ppt/tags/tag754.xml><?xml version="1.0" encoding="utf-8"?>
<p:tagLst xmlns:a="http://schemas.openxmlformats.org/drawingml/2006/main" xmlns:r="http://schemas.openxmlformats.org/officeDocument/2006/relationships" xmlns:p="http://schemas.openxmlformats.org/presentationml/2006/main">
  <p:tag name="APLORISTAG" val="MqqyvQHz47eJaEyrz.796"/>
</p:tagLst>
</file>

<file path=ppt/tags/tag755.xml><?xml version="1.0" encoding="utf-8"?>
<p:tagLst xmlns:a="http://schemas.openxmlformats.org/drawingml/2006/main" xmlns:r="http://schemas.openxmlformats.org/officeDocument/2006/relationships" xmlns:p="http://schemas.openxmlformats.org/presentationml/2006/main">
  <p:tag name="APLORISTAG" val="MqqyvQHz47eJaEyrz.562"/>
</p:tagLst>
</file>

<file path=ppt/tags/tag756.xml><?xml version="1.0" encoding="utf-8"?>
<p:tagLst xmlns:a="http://schemas.openxmlformats.org/drawingml/2006/main" xmlns:r="http://schemas.openxmlformats.org/officeDocument/2006/relationships" xmlns:p="http://schemas.openxmlformats.org/presentationml/2006/main">
  <p:tag name="APLORISTAG" val="MqqyvQHz47eJaEyrz.872"/>
</p:tagLst>
</file>

<file path=ppt/tags/tag757.xml><?xml version="1.0" encoding="utf-8"?>
<p:tagLst xmlns:a="http://schemas.openxmlformats.org/drawingml/2006/main" xmlns:r="http://schemas.openxmlformats.org/officeDocument/2006/relationships" xmlns:p="http://schemas.openxmlformats.org/presentationml/2006/main">
  <p:tag name="APLORISTAG" val="MqqyvQHz47eJaEyrz.566"/>
</p:tagLst>
</file>

<file path=ppt/tags/tag758.xml><?xml version="1.0" encoding="utf-8"?>
<p:tagLst xmlns:a="http://schemas.openxmlformats.org/drawingml/2006/main" xmlns:r="http://schemas.openxmlformats.org/officeDocument/2006/relationships" xmlns:p="http://schemas.openxmlformats.org/presentationml/2006/main">
  <p:tag name="APLORISTAG" val="MqqyvQHz47eJaEyrz.731"/>
</p:tagLst>
</file>

<file path=ppt/tags/tag759.xml><?xml version="1.0" encoding="utf-8"?>
<p:tagLst xmlns:a="http://schemas.openxmlformats.org/drawingml/2006/main" xmlns:r="http://schemas.openxmlformats.org/officeDocument/2006/relationships" xmlns:p="http://schemas.openxmlformats.org/presentationml/2006/main">
  <p:tag name="APLORISTAG" val="MqqyvQHz47eJaEyrz.585"/>
</p:tagLst>
</file>

<file path=ppt/tags/tag76.xml><?xml version="1.0" encoding="utf-8"?>
<p:tagLst xmlns:a="http://schemas.openxmlformats.org/drawingml/2006/main" xmlns:r="http://schemas.openxmlformats.org/officeDocument/2006/relationships" xmlns:p="http://schemas.openxmlformats.org/presentationml/2006/main">
  <p:tag name="APLORISTAG" val="MMq8K+TY0y1GzdU7X.4"/>
</p:tagLst>
</file>

<file path=ppt/tags/tag760.xml><?xml version="1.0" encoding="utf-8"?>
<p:tagLst xmlns:a="http://schemas.openxmlformats.org/drawingml/2006/main" xmlns:r="http://schemas.openxmlformats.org/officeDocument/2006/relationships" xmlns:p="http://schemas.openxmlformats.org/presentationml/2006/main">
  <p:tag name="APLORISTAG" val="MqqyvQHz47eJaEyrz.929"/>
</p:tagLst>
</file>

<file path=ppt/tags/tag761.xml><?xml version="1.0" encoding="utf-8"?>
<p:tagLst xmlns:a="http://schemas.openxmlformats.org/drawingml/2006/main" xmlns:r="http://schemas.openxmlformats.org/officeDocument/2006/relationships" xmlns:p="http://schemas.openxmlformats.org/presentationml/2006/main">
  <p:tag name="APLORISTAG" val="MqqyvQHz47eJaEyrz.870"/>
</p:tagLst>
</file>

<file path=ppt/tags/tag762.xml><?xml version="1.0" encoding="utf-8"?>
<p:tagLst xmlns:a="http://schemas.openxmlformats.org/drawingml/2006/main" xmlns:r="http://schemas.openxmlformats.org/officeDocument/2006/relationships" xmlns:p="http://schemas.openxmlformats.org/presentationml/2006/main">
  <p:tag name="APLORISTAG" val="MqqyvQHz47eJaEyrz.930"/>
</p:tagLst>
</file>

<file path=ppt/tags/tag763.xml><?xml version="1.0" encoding="utf-8"?>
<p:tagLst xmlns:a="http://schemas.openxmlformats.org/drawingml/2006/main" xmlns:r="http://schemas.openxmlformats.org/officeDocument/2006/relationships" xmlns:p="http://schemas.openxmlformats.org/presentationml/2006/main">
  <p:tag name="APLORISTAG" val="MqqyvQHz47eJaEyrz.618"/>
</p:tagLst>
</file>

<file path=ppt/tags/tag764.xml><?xml version="1.0" encoding="utf-8"?>
<p:tagLst xmlns:a="http://schemas.openxmlformats.org/drawingml/2006/main" xmlns:r="http://schemas.openxmlformats.org/officeDocument/2006/relationships" xmlns:p="http://schemas.openxmlformats.org/presentationml/2006/main">
  <p:tag name="APLORISTAG" val="MqqyvQHz47eJaEyrz.931"/>
</p:tagLst>
</file>

<file path=ppt/tags/tag765.xml><?xml version="1.0" encoding="utf-8"?>
<p:tagLst xmlns:a="http://schemas.openxmlformats.org/drawingml/2006/main" xmlns:r="http://schemas.openxmlformats.org/officeDocument/2006/relationships" xmlns:p="http://schemas.openxmlformats.org/presentationml/2006/main">
  <p:tag name="APLORISTAG" val="MqqyvQHz47eJaEyrz.871"/>
</p:tagLst>
</file>

<file path=ppt/tags/tag766.xml><?xml version="1.0" encoding="utf-8"?>
<p:tagLst xmlns:a="http://schemas.openxmlformats.org/drawingml/2006/main" xmlns:r="http://schemas.openxmlformats.org/officeDocument/2006/relationships" xmlns:p="http://schemas.openxmlformats.org/presentationml/2006/main">
  <p:tag name="APLORISTAG" val="MqqyvQHz47eJaEyrz.624"/>
</p:tagLst>
</file>

<file path=ppt/tags/tag767.xml><?xml version="1.0" encoding="utf-8"?>
<p:tagLst xmlns:a="http://schemas.openxmlformats.org/drawingml/2006/main" xmlns:r="http://schemas.openxmlformats.org/officeDocument/2006/relationships" xmlns:p="http://schemas.openxmlformats.org/presentationml/2006/main">
  <p:tag name="APLORISTAG" val="MqqyvQHz47eJaEyrz.835"/>
</p:tagLst>
</file>

<file path=ppt/tags/tag768.xml><?xml version="1.0" encoding="utf-8"?>
<p:tagLst xmlns:a="http://schemas.openxmlformats.org/drawingml/2006/main" xmlns:r="http://schemas.openxmlformats.org/officeDocument/2006/relationships" xmlns:p="http://schemas.openxmlformats.org/presentationml/2006/main">
  <p:tag name="APLORISTAG" val="MqqyvQHz47eJaEyrz.836"/>
</p:tagLst>
</file>

<file path=ppt/tags/tag769.xml><?xml version="1.0" encoding="utf-8"?>
<p:tagLst xmlns:a="http://schemas.openxmlformats.org/drawingml/2006/main" xmlns:r="http://schemas.openxmlformats.org/officeDocument/2006/relationships" xmlns:p="http://schemas.openxmlformats.org/presentationml/2006/main">
  <p:tag name="APLORISTAG" val="MqqyvQHz47eJaEyrz.837"/>
</p:tagLst>
</file>

<file path=ppt/tags/tag77.xml><?xml version="1.0" encoding="utf-8"?>
<p:tagLst xmlns:a="http://schemas.openxmlformats.org/drawingml/2006/main" xmlns:r="http://schemas.openxmlformats.org/officeDocument/2006/relationships" xmlns:p="http://schemas.openxmlformats.org/presentationml/2006/main">
  <p:tag name="APLORISTAG" val="MMq8K+TY0y1GzdU7X.208"/>
</p:tagLst>
</file>

<file path=ppt/tags/tag770.xml><?xml version="1.0" encoding="utf-8"?>
<p:tagLst xmlns:a="http://schemas.openxmlformats.org/drawingml/2006/main" xmlns:r="http://schemas.openxmlformats.org/officeDocument/2006/relationships" xmlns:p="http://schemas.openxmlformats.org/presentationml/2006/main">
  <p:tag name="APLORISTAG" val="MqqyvQHz47eJaEyrz.838"/>
</p:tagLst>
</file>

<file path=ppt/tags/tag771.xml><?xml version="1.0" encoding="utf-8"?>
<p:tagLst xmlns:a="http://schemas.openxmlformats.org/drawingml/2006/main" xmlns:r="http://schemas.openxmlformats.org/officeDocument/2006/relationships" xmlns:p="http://schemas.openxmlformats.org/presentationml/2006/main">
  <p:tag name="APLORISTAG" val="MqqyvQHz47eJaEyrz.839"/>
</p:tagLst>
</file>

<file path=ppt/tags/tag772.xml><?xml version="1.0" encoding="utf-8"?>
<p:tagLst xmlns:a="http://schemas.openxmlformats.org/drawingml/2006/main" xmlns:r="http://schemas.openxmlformats.org/officeDocument/2006/relationships" xmlns:p="http://schemas.openxmlformats.org/presentationml/2006/main">
  <p:tag name="APLORISTAG" val="MqqyvQHz47eJaEyrz.840"/>
</p:tagLst>
</file>

<file path=ppt/tags/tag773.xml><?xml version="1.0" encoding="utf-8"?>
<p:tagLst xmlns:a="http://schemas.openxmlformats.org/drawingml/2006/main" xmlns:r="http://schemas.openxmlformats.org/officeDocument/2006/relationships" xmlns:p="http://schemas.openxmlformats.org/presentationml/2006/main">
  <p:tag name="APLORISTAG" val="MSr6OjrYBJNoFELFg"/>
</p:tagLst>
</file>

<file path=ppt/tags/tag774.xml><?xml version="1.0" encoding="utf-8"?>
<p:tagLst xmlns:a="http://schemas.openxmlformats.org/drawingml/2006/main" xmlns:r="http://schemas.openxmlformats.org/officeDocument/2006/relationships" xmlns:p="http://schemas.openxmlformats.org/presentationml/2006/main">
  <p:tag name="APLORISTAG" val="MSr6OjrYBJNoFELFg.854"/>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AFFQAAABlTeXN0ZW0uRHJhd2luZy5SZWN0YW5nbGVGBAAAAAF4AXkFd2lkdGgGaGVpZ2h0AAAAAAsLCwsEAAAA//9/////f////3////9//wEWAAAAFQAAAP//f////3////9/////f/8AAAAAAAUXAAAALEFwbG9yaXMuQ2hhcnQuQXhpc0JyZWFrK0F4aXNCcmVha0Rpc3BsYXlNb2RlAQAAAAd2YWx1ZV9fAAgCAAAAAQAAAAEBAQoKCRgAAAAKCgAAAAAACRkAAAAKCRoAAAAAAAAACgUbAAAAGUFwbG9yaXMuQ2hhcnQuT3JpZW50YXRpb24BAAAAB3ZhbHVlX18ACAIAAAABAAAACRwAAAABHQAAABUAAABBLy9CDt57QWMjD0Q/PoZDAAQeAAAAC1N5c3RlbS5HdWlkCwAAAAJfYQJfYgJfYwJfZAJfZQJfZgJfZwJfaAJfaQJfagJfawAAAAAAAAAAAAAACAcHAgICAgICAgIAAAAAAAAAAAAAAAAAAAAAAAoKCR8AAAAACgoKAQAAAAAAAAD/////AAABIAAAABUAAAAAIAVEVVX9QQB7vkGqKltDD8pwQtTmI0NXzhxE+OCrQwUhAAAAFVN5c3RlbS5EcmF3aW5nLlBvaW50RgIAAAABeAF5AAALCwQAAAD31AJDxt03QwYiAAAAEFNyNk9qcllCSk5vRkVMRmc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QS8vQi8djkMBLwAAACEAAABXFhpELx2OQwkwAAAACTEAAAAJMgAAAAkzAAAAAAAAAAAAAAAAAAAACTQAAAAAAAAAAAAJNQAAAAkBAAAACQEAAAAJNgAAAAEHAAAABgAAAAkBAAAAATcAAAAnAAAAAAAAAM3MTD8AAAAIAQAJAQAAAAk4AAAACTkAAAABAAAAAAAAAAABAAAAAAAA8D8BmpmZmZmZuT8AAAAgQQEBCToAAAAKCTsAAAAJPAAAAAk9AAAAAT4AAAAhAAAAQS8vQi8djkMBPwAAACEAAABBLy9CDt57QQ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BXrjhC+CCaQ9gcSUMAAMhBCWUAAAAD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BQAAAAgBAAAAAgAAAAMAAAAEAAAABQAAAAUc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bgAAACEAAABBLy9CDt57QQFvAAAAIQAAAFcWGkQvHY5DCXAAAAAJcQAAAAAAAAAKBXIAAAAUU3lzdGVtLkRyYXdpbmcuU2l6ZUYCAAAABXdpZHRoBmhlaWdodAAACwsEAAAAAAAAAAAAAAABcwAAAHIAAAAAAAAAAAAAAAAAAAABdAAAABUAAAAAAAAAAAAAAAAAAAAAAAAAFAAAAP////8BAQoJdQAAAAEACgAPHwAAAGQ1AAACUEsDBBQABgAIAAAAIQBJEqz3jAEAAHg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d1OwjAUvjfxHZbemq3AhTGGwQXopZKID1DbA1vo2qan/L29ZwOMkrlJWOLNmq39/s52zobjXaGjDXjMrUlZP+mxCIy0KjfLlL3Pn+MHFmEQRgltDaRsD8jGo9ub4XzvACNCG0xZFoJ75BxlBoXAxDowtLOwvhCBbv2SOyFXYgl80Ovdc2lNABPiUHKw0XAKC7HWIXra0eODE4KzaHI4V0qlTDincykCGeXlLq/FbRpxG6POzMV2scglKCvXBVlKCD/1YkvxfxHwoLHBWY3CMXpCyMo9ZrnDu2OEV6q9zxVEM+HDiygoKN9pvrV+9WHtKmmuQ43aWR50HoTCDCAUOqnWpBC5+YN+dRh5tfQ7NlLmq4gv9DH4Jx+BPmzg1fX6UlQ0LcEx7DVgx2kPpG3KmfCg3oKnHujcwHfuFh/SFmVH4vX1/tkDJ942eaHlJKNO6fgdyBNvkz6No5m3DmlSerjcwGnilOjYERH4kEPjzPlSpDF7ueDZ0IFyjitQNdq8+m+MPgE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ABBmPgJAQAAz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zWrDMBCE74W+g9h7LdttQymRc2gp5NqmDyDktWViS0a7/fHbVyTUcSC4F9PjzqKZj5G03nx3rfjEQI13CrIkBYHO+LJxtYL33cvNAwhi7UrdeocKBiTYFNdX61dsNcdDZJueRHRxpMAy949SkrHYaUp8jy5uKh86zXEMtey12esaZZ6mKxmmHlCceYptqSBsy1sQu6GPyX97+6pqDD5789Gh4wsRkiMXRkMdamQFh/EoZkkEBXmZ4W5JBuKhjSWOEMd5Lv5+0XirA5ZvHOINTymm8hzMakkYo1vzZHXjTnWM0hxEtiTElw97soh8ghglkofN7OvI/xkm/21Gnv3B4gcAAP//AwBQSwMEFAAGAAgAAAAhACprnTDOAQAA/wIAAA8AAAB4bC93b3JrYm9vay54bWyMUstu2zAQvBfoPxC826QoyQkMS4HrB2qgKIKgTc4sRVtE+BBIqlJQ9N+7kqrEbS89kctdzu7MzuauNxp9lz4oZwucLClG0gpXKXsp8Ncvx8UtRiFyW3HtrCzwiwz4rnz/btM5//zNuWcEADYUuI6xWRMSRC0ND0vXSAuZs/OGRwj9hYTGS16FWspoNGGUrojhyuIJYe3/B8Odz0rIvROtkTZOIF5qHmH8UKsm4HJzVlo+TowQb5rP3MDcvcZI8xAPlYqyKnAOoevkHw++bT60SkOWrSjNMClfWd57xNvods4AiRDulYgtXApMh6pBh0clu/D2YQhR/6Rs5boCpzcUhH2ZQ0YZhN2YfFJVrKFjkgwl09tHqS51hHWwNBsbkKsOo4DQaTyRHdltG+28CnseOaxrUPgELBKM/FrBxZ+qZJjz+ssD79Bf9elVPRvqydxLcC1AguEYgTNKKaALZ0XrPWxiB5nfYsg+fgqx3MCJWq8K/OMmZ+kh36cLlh/TxTY/0EWyStlilR1Znu0Yy3L2c7aB6f/xgVHCu+DOcSmcIZMFwDqCyF7I0Um3k5PKjenXWy/q0x4dNb/AfiYeMAuwmScjs3fLXwAAAP//AwBQSwMEFAAGAAgAAAAhABfrd+jkCQAAupcAAA0AAAB4bC9zdHlsZXMueG1s7F3db+O4EX8v0P9B0KKPiURZn0GcQ5M9twdcDwskBfoq27ItrD4MSd5Nruj/3hmSsizFkSWT2WQD5iGx5JnhzI8zw5HIkNe/PKaJ9i0qyjjPpjq5NHUtyhb5Ms7WU/3fD7MLX9fKKsyWYZJn0VR/ikr9l5u//uW6rJ6S6H4TRZUGIrJyqm+qantlGOViE6VheZlvowy+WeVFGlZwWayNcltE4bJEpjQxLNN0jTSMM51JuEoXQ4SkYfF1t71Y5Ok2rOJ5nMTVE5Wla+ni6rd1lhfhPAFVH4kdLmrZ9OKZ+DReFHmZr6pLEGfkq1W8iJ5rGRiBAZJurrNdOkurUlvku6ya6pP9LY1989sSIHRtXWNG3+VLUMO8NP+mGzVzi9JpU3769Ml8gdJ9TsnFGlypm+tVnjW6EehIavPV1yz/ns3wO1AONEaym+vyT+1bmMAdgi0u8iQvtAo6DhSmd7IwjRjFXZjE8yJGslWYxskTu23hDdrXnC6NAXm8abAW2O85UvG2AvyWNRVny+gxArj8TmsP4SZPQyR81lhLbi3ztfXfHeh/rC3WYZLAOtVYByuxntkjSHuSdUuxnk/12cykP9gJjRv8I04S7T7MSrx9sisOBM1mQwXFL2B9lrC9eRS0lnnMwKFa9QgaihOFqwSXBgxb2QNv3FxDHquiIpshwvzzw9MWIjGDlMvgpnQnqNdF+EQsZzhDmSfxEjPC+u4w/gNdq2LMb+alFwSBT1zf9wN7Qmybusqck+9jGDIe+sSBGeghVGX6Byyf58USBpk6c2IeYrdurpNoVQF7Ea83+LfKt/B7nlcVZOSb62UcrvMsTOCjUXPwDyB2ESXJPQ5E/1k1sj0XpD+uDjIt5ELMRpie8SNoxj8yiewCWmgxAQw1k/UikxZut8nTDIRT0ewK5DdXt9Ty5vrvSbzO0uiQ4UuRV9GioiMwzSctPQ6Uf1mPrvKKCQbqur9515+F3uRE1/+xS+dRMaNFTtPJGMrNlUwXwOLiuP8yV/zR+ih8IKX0RJ/CR+EjkvKV/yj/Uf7zeuOpii8VXyq+VHzBAxN9eFP1s3q+6Kvn1fNX/3ih8FH4iIynyn+U/yj/eb16TMWXii8VXyq+3up5R+UflX9U/lH5R+Ufth5BvX/uz4cKH4WPyHih/Ef5j/Kf16s3zlpUpZhElqQp9BR6fCUrB0INcmqQExnkVEYRySgq+lT0iUSf8h/lP8p/Xu8RRcWXii8VXyq+3mrKQeUflX9U/lH5R+UfNuWploD050OFj8JHZLxQ/qP8R/nP69UbKr5UfKn4UvH1VvX8e8s/avZQZPbwnaOnXl71D3YKH4WPSDGg/Ef5j/Kf1ysmVXz1x9c7KT+Mw5082b6eB1t6WrjT8kubYkIZvnphR8TH1fGtPZGF12wDuPken3RLR7qZrIAmbVns6iD8cV/UsN4gVNvkRfwn6In7NC9gx9CIba/8uOqAwbecPrXBqcbgIEd3uqnvsq1M91fc6A+sqPa9CLcP0SNs4Eo713gGr4i3nABOatt1p7W3MKrvyurYUXjhtuUnYpNHBLg5dgC/arldvX1q/e2geMFdhfUfr+tw3XBD4z5X894MOp5qfjx4Ah0NJxhU8QITJewf/Qb9fpbqg4EmLj0pgCX4wTE1Pg8IWdF0Qf9YdWAKnC0xLD28U1PoqQysV9Cq3kxHHChFj2wxV2e1vvz8Q/plnDHwEvLjGAOd93GMgX78OMbAKPhxjIF095MYg2cf8GwGD4hzeoQB302fP0R4P082G2DMz5PNBhjz3rIZfbaHp/mD4zo6h3XsH/41PG8GTqDJkyT/Hi21f8IxKEUSZ1/hMCP6LI/HGs13cQIHlKA/AhqbeLmM8Ogq3LVzhCD0aymCwHfkCILELUcQ5BkpgixZYFuywLZkgW3JAtuSBfZEFtgTWWBPZIE9kQX2RBbYtiyw4UQkObFmywLblgW2LQtsRxbYjiywHVlgO7LAdmSB7coC25UFNp6HKGU4cmWB7coC25MFticLbE8W2AHU91J6LYByVIogYspSiZjydIIHVEnWQS0rRxIcUylLkjTEiTTEiTTEiTTELWmIw0ynpL6DgyBlSZKGuCUN8Yk0xCfSEJ9IQ3wiDfGJNMRtaYjb0hC3pSFuS0Pcloa4tFKOSKvl6EoDOaOUtGoOjqeVlemk1XNkZEH37D1X24nAwN7XXM/YOyXAeP52iI7nbwfmeP52OI7nF8SvM6CPbr8zjI/nF8TPEsSvM1CP1r8zPI/nF/S/zlA8vn1B/DrD7uj2O4PteH5B/DoD6/j2BfHrDKKj23faxcp4fkH8HMH4dQTxcwTznyuInyuIH653OSgzRvefK4ifK4ifJ4gfzq6K2B+03yeNxi9ov0YazU9MQQWIKaxB+23hGSYAi0gfkM5c5XgNiCiIRBREIgoiEQWxMwc5HsTO3OMZAkRB7Mw1nqGBKIiducXxGnTmFM8QIApiZw7xDA1EQezMGY7XoDNXeIYAURA7c4NnaCAKomhhQkQrEyJamtC1uELjgmhxQkSrEzKyPPkjL9IwqZfgtOe8zGPLbr5EBa4BrjnaxZBzjKOsnpKI2LbnT4hlERsTDlvxM4gc6yVGbg2RjuUNI7cHkLs4CjJydwg5pipG7g8h9/bkkwHkHs5aMOleH7kf+E7g2yZOA3DyXiQ5vYVvLjh9r7E1PT5pcfoh+lh+o08vOly+jasQuPxggL3gQDW9f9Q1a0fj8h2zoT+6gqxLj6/mmT5+r6uBfA/A9PGVIqMPTuFJ6f29awan8EH6wNzLJ/DxyBK4AwMoA87EcYVOdRilx9qB05/qAEqPrw4YPTFPIeo5xKH5lDH4vQGAiCI99CtvwD+JKNLjBDSXf9IAoLewbOf0vdmB62M1EeafBBTlYx3B5AcnOwzp8V0C1+dUBCM+VuNx/kkPQvomIoPe/gJXcwM/cPB1O9OHwMqeHo+rGUCNPcOQFlxzn+JAvZ4WHNDIm7i+c+BzMBK8rNKeAadWuA2wYmIAQ5OkidfXC44JeNoeMXHKpUapXyXOAOlkzzCkBfqIXbfQ53i1SqRJ7QQWQPUZzVSC4bhRqS/U9i0cugb1vebfemH17/JxtV/3Sx2nCudJdI8j/8F9bRmtwl1SPey/nOrN539Fy3iXAlSc6kv8La+oiKnefP49Xm8qGLXBRvjHzt/Liv7VdkU81f/7660XfP51Zl345q1/YU8i5yJwbj9fOPbd7efPs8C0zLv/geFpkpVXj8Se6puq2l4ZRrnYRGlYXqbxosjLfFVdLvLUyFereBEZ5baIwmW5iaIqTQzLNAMjMNIwzvA/l4l9VSZAVXBjufL3zb2pfnDB1EftDVCf/aZGGDSZ32MjN/8HAAD//wMAUEsDBBQABgAIAAAAIQDnZXW41gAAALgBAAAjAAAAeGwvd29ya3NoZWV0cy9fcmVscy9zaGVldDEueG1sLnJlbHOskMlqAzEMQO+F/oPRPdZMDqGUeHIJhVxD+gHC1ix0vGC5afL3dSiFDAR66VHb05O2u4uf1ZmzTDEYaHUDioONbgqDgffT2+oFlBQKjuYY2MCVBXbd89P2yDOVOiTjlERVShADYynpFVHsyJ5Ex8ShVvqYPZUa5gET2Q8aGNdNs8F8z4BuwVQHZyAfXAvqdE1189/s2PeT5X20n55DebACz37eZ/qqx1Uq5YGLAa3R/eTkrt7q2gv42Gn9n042+puuLIx+k62u/7tp4OLf3TcAAAD//wMAUEsDBBQABgAIAAAAIQBju3WjAAQAAHMMAAAYAAAAeGwvd29ya3NoZWV0cy9zaGVldDIueG1sjFdNj9s2EL0X6H8QdGoPtj5sS7ZgO1hZUhIgiy6aJjnTEmULK4muyN31ouh/75CUHXGUOnuxpfeGw3kzQ3q8fnduauuZdrxi7cb2pq5t0TZnRdUeNvaXv7LJ0ra4IG1BatbSjf1Kuf1u++sv6xfWPfIjpcICDy3f2EchTpHj8PxIG8Kn7ERbYErWNUTAa3dw+KmjpFCLmtrxXTdwGlK1tvYQdW/xwcqyymnC8qeGtkI76WhNBMTPj9WJX7w1+VvcNaR7fDpNctacwMW+qivxqpzaVpNHHw8t68i+Bt1nb07yi2/1MnLfVHnHOCvFFNw5OtCx5pWzcsDTdl1UoECm3epoubHvvOi959rOdq0S9LWiL3zwbMl87xl7lMTHYmO74ILTmuZSuUXg65nuaF1v7A8BlOxv5RQewaFz9Th8vnjPVIUeOmtPON2x+ltViCO0AnRCQUvyVIs/2csHWh2OAtA55ECmIipeE8pzqIEM5RJ1QgTZrjv2YkExPQjjRGRreFEI0eYSvJPoxg7lEgXEGoA2A08czJ633mLtPEOoeW+yu5hc1iQYSDGQaWB23ea9BnyVDwjwGqX/wyglakSpgdUgShzk2CIwZSRji9C0SMcWrmmRaYuBLg2Mdc0MXZYsnr+8VkGyusbXrC/NneLeBPJ2NVmZJrufmyQ/N0m1yTC1aJ9MWwxEa2AsGrrzBy0nUSQWpTXuTXzVf77nIaEGvVigsiUG7YfIedrTM3BeqmQeSUcLW5/7dB6loJ1X6kh//nL/WzyPkvnva6dUZ8GdocJk2t0gGxoYZ2NhZAO3gGRRVjwUedzb6LQEOCsGu/TNnCUG66GzkPbsKCc6D3DQ5TWA+0AvGijXwFi5vAG/Xz1K+VyK0FeQZLFypC3ubbRyz5+Z4nYGPZvNTToxaC/A4nv6lvgAb5npRQPxGhiLD2+KlywWj0oX9za9eNQUO4OdIzYxWCwi7dlbykOU60yvGQjXwFi4HFVQ1QdXnmSxcLRV3Nv0wvENb7BL1JyJwS7QoU179pZwL0B1yPSigXINjJXLC+T/lUsWK0cdG/c2WjmKY2eQHmITg0VXo7raYO9bun109jLtcCBbA2PZckYZ6L6cbwXDptcf/7hHvrvcjZBkhKQjJBshcmSTyR3EpqctPQmdyIHek+5QtdyqaQk/pO40hEur09OUfhHsJIO19kwI1qjHI8zJFKYldwrGJWPi8gIXIz2LT1yob+upg5+Nf4K56/rhzJvcBbE7WcgPPwjdSRj6Xhzu3FXguv9eZtfm/LbBtSG5Q885VYP6Ug/q23Vzjh4+fbXuWQEzMUj/o6UPoFE9f/ucEzkqq3EQ1kKM8lMF61z/Lmz/AwAA//8DAFBLAwQUAAYACAAAACEA+2KlbZQGAACnGwAAEwAAAHhsL3RoZW1lL3RoZW1lMS54bWzsWU9v2zYUvw/YdyB0b20nthsHdYrYsZutTRvEboceaZmWWFOiQNJJfRva44ABw7phlwG77TBsK9ACu3SfJluHrQP6FfZISrIYy0vSBhvW1YdEIn98/9/jI3X12oOIoUMiJOVx26tdrnqIxD4f0zhoe3eG/UsbHpIKx2PMeEza3pxI79rW++9dxZsqJBFBsD6Wm7jthUolm5WK9GEYy8s8ITHMTbiIsIJXEVTGAh8B3YhV1qrVZiXCNPZQjCMge3syoT5BQ03S28qI9xi8xkrqAZ+JgSZNnBUGO57WNELOZZcJdIhZ2wM+Y340JA+UhxiWCibaXtX8vMrW1QreTBcxtWJtYV3f/NJ16YLxdM3wFMEoZ1rr11tXdnL6BsDUMq7X63V7tZyeAWDfB02tLEWa9f5GrZPRLIDs4zLtbrVRrbv4Av31JZlbnU6n0UplsUQNyD7Wl/Ab1WZ9e83BG5DFN5bw9c52t9t08AZk8c0lfP9Kq1l38QYUMhpPl9Daof1+Sj2HTDjbLYVvAHyjmsIXKIiGPLo0iwmP1apYi/B9LvoA0ECGFY2Rmidkgn2I4i6ORoJizQBvElyYsUO+XBrSvJD0BU1U2/swwZARC3qvnn//6vlT9Or5k+OHz44f/nT86NHxwx8tLWfhLo6D4sKX337259cfoz+efvPy8RfleFnE//rDJ7/8/Hk5EDJoIdGLL5/89uzJi68+/f27xyXwbYFHRfiQRkSiW+QIHfAIdDOGcSUnI3G+FcMQU2cFDoF2CemeCh3grTlmZbgOcY13V0DxKANen913ZB2EYqZoCecbYeQA9zhnHS5KDXBD8ypYeDiLg3LmYlbEHWB8WMa7i2PHtb1ZAlUzC0rH9t2QOGLuMxwrHJCYKKTn+JSQEu3uUerYdY/6gks+UegeRR1MS00ypCMnkBaLdmkEfpmX6Qyudmyzdxd1OCvTeoccukhICMxKhB8S5pjxOp4pHJWRHOKIFQ1+E6uwTMjBXPhFXE8q8HRAGEe9MZGybM1tAfoWnH4DQ70qdfsem0cuUig6LaN5E3NeRO7waTfEUVKGHdA4LGI/kFMIUYz2uSqD73E3Q/Q7+AHHK919lxLH3acXgjs0cERaBIiemYkSX14n3InfwZxNMDFVBkq6U6kjGv9d2WYU6rbl8K5st71t2MTKkmf3RLFehfsPlugdPIv3CWTF8hb1rkK/q9DeW1+hV+XyxdflRSmGKq0bEttrm847Wtl4TyhjAzVn5KY0vbeEDWjch0G9zhw6SX4QS0J41JkMDBxcILBZgwRXH1EVDkKcQN9e8zSRQKakA4kSLuG8aIZLaWs89P7KnjYb+hxiK4fEao+P7fC6Hs6OGzkZI1VgzrQZo3VN4KzM1q+kREG312FW00KdmVvNiGaKosMtV1mb2JzLweS5ajCYWxM6GwT9EFi5Ccd+zRrOO5iRsba79VHmFuOFi3SRDPGYpD7Sei/7qGaclMXKkiJaDxsM+ux4itUK3Fqa7BtwO4uTiuzqK9hl3nsTL2URvPASUDuZjiwuJieL0VHbazXWGh7ycdL2JnBUhscoAa9L3UxiFsB9k6+EDftTk9lk+cKbrUwxNwlqcPth7b6ksFMHEiHVDpahDQ0zlYYAizUnK/9aA8x6UQqUVKOzSbG+AcHwr0kBdnRdSyYT4quiswsj2nb2NS2lfKaIGITjIzRiM3GAwf06VEGfMZVw42Eqgn6B6zltbTPlFuc06YqXYgZnxzFLQpyWW52iWSZbuClIuQzmrSAe6FYqu1Hu/KqYlL8gVYph/D9TRe8ncAWxPtYe8OF2WGCkM6XtcaFCDlUoCanfF9A4mNoB0QJXvDANQQV31Oa/IIf6v805S8OkNZwk1QENkKCwH6lQELIPZclE3ynEauneZUmylJCJqIK4MrFij8ghYUNdA5t6b/dQCKFuqklaBgzuZPy572kGjQLd5BTzzalk+d5rc+Cf7nxsMoNSbh02DU1m/1zEvD1Y7Kp2vVme7b1FRfTEos2qZ1kBzApbQStN+9cU4Zxbra1YSxqvNTLhwIvLGsNg3hAlcJGE9B/Y/6jwmf3goTfUIT+A2org+4UmBmEDUX3JNh5IF0g7OILGyQ7aYNKkrGnT1klbLdusL7jTzfmeMLaW7Cz+Pqex8+bMZefk4kUaO7WwY2s7ttLU4NmTKQpDk+wgYxxjvpQVP2bx0X1w9A58NpgxJU0wwacqgaGHHpg8gOS3HM3Srb8AAAD//wMAUEsDBBQABgAIAAAAIQBzFrxNNQQAAM4JAAAYAAAAeGwvd29ya3NoZWV0cy9zaGVldDEueG1sjFZdj+I2FH2v1P8Q5R1iO44dI2A1AzPqSLvqqNPuPpvEQDRJnCZmgK3633ttB5jAdjUv+bCPzz33+Ppj+ulQlcGbartC17MQj1EYqDrTeVFvZuFffz6O0jDojKxzWepazcKj6sJP819/me51+9ptlTIBMNTdLNwa00yiqMu2qpLdWDeqhp61bitp4LfdRF3TKpm7QVUZEYRYVMmiDj3DpP0Ih16vi0wtdbarVG08SatKaUB/ty2a7sR2yD/El7dyD7me9LyTuPQ9Zz5Mb/RVRdbqTq/NONNV5KXdZikiMcizym6IfmBWJdvXXTMC4gaSWxVlYY4u3TCossnTptatXJUwIwdMZfZOpbyl/7hOYJpP8wK8tQURtGo9C+/w5IGG0XzqZu5rofbdu+/AyNWLKlVmVA4FFAa2MFZav1rgEzQhYOwcwDLKzBRvaqHKchY+Yqi27m8XxH5DiOgc4/33Kd6jK6bnNljJTi10+a3IzRaCAk2u1nJXmktjOk5jgmJMknPnH3r/myo2WwNDKDhmjZvkx6XqMqglqxQUZLqEcPAMqsKuCLBbHnxiPhphY8YoYpa4M0c7BQBaqc48FpY5DLJdZ3R1EteTejrS08F77+ne6+zp4sGQuB8C736IOAeGtg8GhnxdHiD6o4HZKXUWpzD8/4dhN3PeODd/S2nkfNrqfQBrEAzpGml3CDyB6NZ9SqAmMtt5Z3sdBpo7aH2b02n0BpOf9Yh7jwAxZwRmQ8jCQ8CMC4QPIUsPgTQukHQIebiVgsUZEkE255Rg9q5Twsk5Jds7CyHVS6gzjUv63iPckLc5GjMuOMYCQa1ShDG6cmDRw6mzB41xKlLKuUgQpgQRPCRfXqM5RYlIBI8R5gmKr7x78HBiV6nVQlJBU8bThDFOicAXLQMHwOufOGB7hw6Qoch7j8C8jxojmoBIRChGKYPYQ/iih7MezkSSJETwJOEkSa8NuAYzjmGxYs4QBMDiMqduMh48nOCeO6EsQSmlAjxjlNL4LGVgAFTSTwywvcOqvtD4EugRwkXFY0gkhXhxnGASE8oeRleOLfoBaS8TY5oIQYigOCaYpdf1fg1PUs55miZIxISk6AoO+7sVTOy6tFWAYYNDlDMacyIIQ5el4k3w27Rf5o3cqC+y3RR1F5RqDUWPxjwMWr/Rum+jG9cKa2KlDeyNp78t3AcUbANoDLOw1tqcfmAjtrwvyuyaQLcF7M/uiJ+FjW5NKwsDOwm0f9fQUS6bwm4qggpm9Yb2QmOK7LYDaEu1kdmxP9yDdlLks7B9yt0epg7mc2fmU3gHuxY4/7E+EB7j0R27R6PEPgjjaMQ5wfd8gQRD6N/T4VvBOXF1C/rhyVvJLFKHTLk7UOrvBvNpdZg8f/4afNE5nChwov1eq2ewwH1/e4Fk3Kc9I0Gefzqx0fkmNv8PAAD//wMAUEsDBBQABgAIAAAAIQAxktZzagEAABkDAAAUAAAAeGwvc2hhcmVkU3RyaW5ncy54bWyMksFu20AMRO8F8g/EnmtLtou6KCQFhZOcEl/ioGdCoiWiK64sUk7991k3KRJILtDjPnIHHA6z69+thyP1ykFyt5inDkjKULHUuXva3c2+OVBDqdAHodydSN11cfUpUzWIf0Vz15h135NEy4Za1HnoSGJlH/oWLT77OtGuJ6y0IbLWJ8s0/Zq0yOKgDINY7pZfHAzCh4E2byB1RaZcZFbsgqHPEiuy5Axe4Y+6JxrDLQ3WT3tvWPFS+yN5Ki36HuukMINVOqarRcTrCV6f8SKd8CclCHvYUdlI8KE+jfX+OB3Dn1zR67JgUPoM6H3cUT+xOukz8IQxkhjSf32QILNLwvfcslEVdfzpPMJ4wG0A+6elhxOwqLEN57XCHtkrWAAsG6YjAQpEf+gBqyNrPDHQ2IuXMrg9DNx1cZAtHrlGC72OR7kPz3A3kJ8UNg2Vv+BWahaaFP8afA8GYlQf1ZN42sULAAAA//8DAFBLAwQUAAYACAAAACEAjPXu2psCAAAQBwAAGwAAAHhsL2RyYXdpbmdzL3ZtbERyYXdpbmcxLnZtbOxVyW7bMBC95ysI5uCLDC1uUpeRDAQpcmsLNF2OAS3RFhMugjiW5Xx9h5Ts2A1aBO2hlwqwTM7+3jxAea8VwZ9xrCvopjXMlbXQ3E21LFvr7AqmpdWs04qejYH2d4F2tZKlYMPfIaV/RYroS/HcROM4NUDD4ljz8ptWd2Gur62kizOSW+Zq3gjFd3YDpGOih4KKSoL3eresNG9OHKTiwAua0tgXiE8qLPJuKAi7RhBZFfS+T/C5hyzJKCmtbSsnn0RBs/QySaLwpgRrNNjXx2DXhkNdUJ1EiRojhriTd9KLYURsCK19FOTBSuNgp7C4liDaMB/BgXw9sm55JYWBANc+FhR829IaI0rw0xa0xdMI6gjFAdIxHJcm2QUlQ975CcZhhEljnQRpDeNLZ9UGxBUi07xdSzNVYgXsct7A1WgA27B09gYNW1lBzdLMn2sh1zWwLMHz01SaSvQs9WU66eRSKgk7VsuqEuZKOzvdtryZhu4MfOKErKRSpVW2Lej5Ch+ReszIkgBtK0TMN2D3LPpgXBBGZ8/hfsWeQmStsltizcDb0pWbVuB2B74OJP9EqLFGHLYAKK2l7cnIj5+4kp5yJGnKFTA/zMT3I3klu32cT0O3XBvmaZss8hi9Yay4Y2PRcO3ZjfIbfo/yJJ+WD1j6S9jrRwuDVkjesw+2E98l1DdCKRfgeesdavKl9dqUtW3DSCSJyOU8Im8jchGRNCKzLCJ4T9M87tlRIBa7RiC3yObilisngn9vCeh69tluFyHRH0bbDapEm0Xi48ez597fDrAwNkfUQcO/1OX873SZzbNTYfrrKMvUS3Evy/RIltl/Wf4bWc5QgihIVCfq0Svz3XCZ/aksg/5eyjJ7vSxj/AwufgAAAP//AwBQSwMEFAAGAAgAAAAhACxZiFM2AQAAEg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X0vDMBTF3wW/Q8l7m3abY4S2A5Uh4kCwQ/HtktxtweYPSbTbtzfrZp3Mx8s598c595bznWqTL3ReGl2RIstJgpobIfWmIqtmkc5I4gNoAa3RWJE9ejKvr69Kbhk3Dp+dseiCRJ9EkvaM24psQ7CMUs+3qMBn0aGjuDZOQYij21AL/AM2SEd5PqUKAwgIQA/A1A5EckIKPiDtp2t7gOAUW1Sog6dFVtBfb0Cn/L8LvXLmVDLsbex0invOFvwoDu6dl4Ox67qsG/cxYv6Cvi2fXvqqqdSHW3EkdSk44w4hGFeX9HyIh2vBh2W88VqiuN3Xj0ZD2IJOHoyLAJS6pJeuSOwLMHXaTGImdmzwI72O7+6bBalHeTFN80maT5tizEY3bDJ7P6T4C4jBLr5YfwMAAP//AwBQSwMEFAAGAAgAAAAhAK1O4xIPAQAAIgIAABAAAAB4bC9jb21tZW50czEueG1svFBNS8QwFLwL/ofw7m7aHmSVJosIK4IHwfUHxOZ1G8hHycsuXX+9b+3WgydPQgiZybyZ4bWbKXhxxEwuRQX1qgKBsUvWxb2C9932Zg2CionW+BRRwQkJNvr6qu1SCBgLCTaIpGAoZbyXkroBg6FVGjHyT59yMIVh3ksaMxpLA2IJXjZVdSuDcRF0aw5lSJmWh9St/KEuOS+Oil5CRcZewWMNYpY9WwUV+xScWJT5vPL1wT70KY7GK7gDBl3yKQsXLU7IE+v6TOZtimUW7cyQgjmTvQnOn2a2ORPy27Hop5wOo7BIXXZj4Z1RKzlScpyc0+Wl8K+yD83/l33D7JD+2HbpPS96QaS/AAAA//8DAFBLAwQUAAYACAAAACEAP28obY4BAAAq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Fv2zAMhe8D9h8E3Ru5WTEMgayiaDf0sGLBknZnTqZjoYokiKyX7NdPjpHG6Q4DdiP5np8+U9LXu60XPWZyMdTyclZJgcHGxoVNLR/XXy4+SUEMoQEfA9ZyjySvzft3epljwswOSZSIQLXsmNNCKbIdboFmRQ5FaWPeApc2b1RsW2fxLtqXLQZW86r6qHDHGBpsLtJroBwTFz3/b2gT7cBHT+t9KsBG36TknQUuf2kenM2RYsviAawLHKkTn3cWvVZTmy6cK7Qv2fHeVFpNW72y4PG2HGFa8IRanQb6HmFY3xJcJqN7XvRoOWZB7ndZ4FyKn0A4gNWyh+wgcAEcbGNzqH0izuZHzM/UITJpVQzj8FBOvdPaXZn5wVCKc+MQMIIU4Rxx7dgjfWuXkPlfxAeGkXfEuUk+Zkd3wDCFfMX9Dr/EW/GM5c3pX114pse0juUjPG73fKhXHWRsyoUc9dNA35fFZj+E3HYQNtgcPX8Lw6t4Gp++ubyaVR+qcs2TmVanR27+AAAA//8DAFBLAwQUAAYACAAAACEA5QTeUaoAAAD+AAAAEAAAAHhsL2NhbGNDaGFpbi54bWxcjssKwjAQRfeC/xBmb1Nf9UHTLkS/QD8gpGMTyKNkgujfG0QrdDlnuIdTt09n2QMjmeAFLIsSGHoVOuN7AbfrZbEHRkn6TtrgUcALCdpmPquVtOqkpfEsGzwJ0CkNR85JaXSSijCgz597iE6mfMae0xBRdqQRk7N8VZYVd1kATa1YFHDeAjMC1sBsLgH+w9UXj2A3BYcpyNEf0zjZ/AEfy5s3AAAA//8DAFBLAQItABQABgAIAAAAIQBJEqz3jAEAAHgGAAATAAAAAAAAAAAAAAAAAAAAAABbQ29udGVudF9UeXBlc10ueG1sUEsBAi0AFAAGAAgAAAAhAFB8TsH2AAAATAIAAAsAAAAAAAAAAAAAAAAAxQMAAF9yZWxzLy5yZWxzUEsBAi0AFAAGAAgAAAAhAABBmPgJAQAAzAMAABoAAAAAAAAAAAAAAAAA7AYAAHhsL19yZWxzL3dvcmtib29rLnhtbC5yZWxzUEsBAi0AFAAGAAgAAAAhACprnTDOAQAA/wIAAA8AAAAAAAAAAAAAAAAANQkAAHhsL3dvcmtib29rLnhtbFBLAQItABQABgAIAAAAIQAX63fo5AkAALqXAAANAAAAAAAAAAAAAAAAADALAAB4bC9zdHlsZXMueG1sUEsBAi0AFAAGAAgAAAAhAOdldbjWAAAAuAEAACMAAAAAAAAAAAAAAAAAPxUAAHhsL3dvcmtzaGVldHMvX3JlbHMvc2hlZXQxLnhtbC5yZWxzUEsBAi0AFAAGAAgAAAAhAGO7daMABAAAcwwAABgAAAAAAAAAAAAAAAAAVhYAAHhsL3dvcmtzaGVldHMvc2hlZXQyLnhtbFBLAQItABQABgAIAAAAIQD7YqVtlAYAAKcbAAATAAAAAAAAAAAAAAAAAIwaAAB4bC90aGVtZS90aGVtZTEueG1sUEsBAi0AFAAGAAgAAAAhAHMWvE01BAAAzgkAABgAAAAAAAAAAAAAAAAAUSEAAHhsL3dvcmtzaGVldHMvc2hlZXQxLnhtbFBLAQItABQABgAIAAAAIQAxktZzagEAABkDAAAUAAAAAAAAAAAAAAAAALwlAAB4bC9zaGFyZWRTdHJpbmdzLnhtbFBLAQItABQABgAIAAAAIQCM9e7amwIAABAHAAAbAAAAAAAAAAAAAAAAAFgnAAB4bC9kcmF3aW5ncy92bWxEcmF3aW5nMS52bWxQSwECLQAUAAYACAAAACEALFmIUzYBAAASAgAAEQAAAAAAAAAAAAAAAAAsKgAAZG9jUHJvcHMvY29yZS54bWxQSwECLQAUAAYACAAAACEArU7jEg8BAAAiAgAAEAAAAAAAAAAAAAAAAACZLAAAeGwvY29tbWVudHMxLnhtbFBLAQItABQABgAIAAAAIQA/byhtjgEAACoDAAAQAAAAAAAAAAAAAAAAANYtAABkb2NQcm9wcy9hcHAueG1sUEsBAi0AFAAGAAgAAAAhAOUE3lGqAAAA/gAAABAAAAAAAAAAAAAAAAAAmjAAAHhsL2NhbGNDaGFpbi54bWxQSwUGAAAAAA8ADwDcAwAAcjEAAAAABSM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YAAAAFQXJpYWwGdwAAAAYrbW4tZWEJeAAAAAEACXkAAAAHJAAAAAABAAAAEQAAAAQUU3lzdGVtLkRyYXdpbmcuQ29sb3IEAAAABXoAAAAUU3lzdGVtLkRyYXdpbmcuQ29sb3IEAAAABXZhbHVlBXN0YXRlCmtub3duQ29sb3IEbmFtZQAAAAEJBwcEAAAAAAAAAAAAAAAAAAAACgF7AAAAegAAAAAAAP//////AgAAAAoBfAAAAHoAAAD//////////wIAAAAKAX0AAAB6AAAATkEi//////8CAAAACgF+AAAAegAAAN7c2///////AgAAAAoBfwAAAHoAAAB+aT///////wIAAAAKAYAAAAB6AAAAjIRy//////8CAAAACgGBAAAAegAAACUh7f//////AgAAAAoBggAAAHoAAAA0O0b//////wIAAAAKAYMAAAB6AAAAdJjD//////8CAAAACgGEAAAAegAAAB6U9///////AgAAAAoBhQAAAHoAAAAelPf//////wIAAAAKAYYAAAB6AAAAJSHt//////8CAAAACgGHAAAAegAAAAAAAP//////AgAAAAoBiAAAAHoAAAD//////////wIAAAAKAYkAAAB6AAAATkEi//////8CAAAACgGKAAAAegAAAN7c2///////AgAAAAoEJQAAAJgBU3lzdGVtLkNvbGxlY3Rpb25zLkdlbmVyaWMuTGlzdGAxW1tBcGxvcmlzLkJhc2UuT2JqZWN0cy5EYXRhT2JqZWN0LCBBcGxvcmlzLkJhc2UsIFZlcnNpb249NC4wLjAuMTQ4NiwgQ3VsdHVyZT1uZXV0cmFsLCBQdWJsaWNLZXlUb2tlbj0xNmZjMTNhMjI2YzBlOTUxXV0DAAAABl9pdGVtcwVfc2l6ZQhfdmVyc2lvbgQAACFBcGxvcmlzLkJhc2UuT2JqZWN0cy5EYXRhT2JqZWN0W10DAAAACAgJiwAAAA0AAAARAAAABCYAAACVAVN5c3RlbS5Db2xsZWN0aW9ucy5HZW5lcmljLkxpc3RgMVtbQXBsb3Jpcy5CYXNlLlVJLlZpc3VhbE9iamVjdCwgQXBsb3Jpcy5CYXNlLCBWZXJzaW9uPTQuMC4wLjE0ODYsIEN1bHR1cmU9bmV1dHJhbCwgUHVibGljS2V5VG9rZW49MTZmYzEzYTIyNmMwZTk1MV1dAwAAAAZfaXRlbXMFX3NpemUIX3ZlcnNpb24EAAAeQXBsb3Jpcy5CYXNlLlVJLlZpc3VhbE9iamVjdFtdAwAAAAgICYwAAAABAAAAAQAAAAUoAAAAmwFBcGxvcmlzLkJhc2UuT2JqZWN0cy5EYXRhT2JqZWN0Q29sbGVjdGlvbmAxW1tBcGxvcmlzLkNoYXJ0LlZhbHVl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C4wLjE0ODYsIEN1bHR1cmU9bmV1dHJhbCwgUHVibGljS2V5VG9rZW49MTZmYzEzYTIyNmMwZTk1MV1dAwAAAJEBU3lzdGVtLkNvbGxlY3Rpb25zLkdlbmVyaWMuTGlzdGAxW1tBcGxvcmlzLkNoYXJ0LlZhbHVl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NAAAACY4AAAAJBgAAAAkBAAAACY8AAAAFKQAAAJsBQXBsb3Jpcy5CYXNlLk9iamVjdHMuRGF0YU9iamVjdENvbGxlY3Rpb25gMVtbQXBsb3Jpcy5DaGFydC5BeGlzQnJlYWs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AuMC4xNDg2LCBDdWx0dXJlPW5ldXRyYWwsIFB1YmxpY0tleVRva2VuPTE2ZmMxM2EyMjZjMGU5NTFdXQMAAACRAVN5c3RlbS5Db2xsZWN0aW9ucy5HZW5lcmljLkxpc3RgMVtbQXBsb3Jpcy5DaGFydC5BeGlzQnJlYW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kAAAAAmRAAAACQYAAAAJAQAAAAmSAAAABS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gAAAADAAAACWkAAAAJagAAAAlrAAAAAQAAAAAKCglsAAAAAAAAAAoAAAAAAA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L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aAAAAAMAAAAJaQAAAAlqAAAACWsAAAABAAAAAAoGkwAAAAElCWwAAAABAAAACgAAAAAAAAAABS0AAACaAUFwbG9yaXMuQmFzZS5PYmplY3RzLkRhdGFPYmplY3RDb2xsZWN0aW9uYDFbW0FwbG9yaXMuQ2hhcnQuVGlja01hcms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C4wLjE0ODYsIEN1bHR1cmU9bmV1dHJhbCwgUHVibGljS2V5VG9rZW49MTZmYzEzYTIyNmMwZTk1MV1dAwAAAJABU3lzdGVtLkNvbGxlY3Rpb25zLkdlbmVyaWMuTGlzdGAxW1tBcGxvcmlzLkNoYXJ0LlRpY2tNYXJ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QAAAAJlQAAAAkGAAAACQEAAAAJlgAAAAUw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cAAAAhAAAAQS8vQi8djkMBmAAAACEAAABXFhpELx2OQwmZAAAAuAEAAP////8BAQoJmgAAAAEACgAHMQAAAAABAAAABQAAAAQVU3lzdGVtLkRyYXdpbmcuUG9pbnRGBAAAAAGbAAAAIQAAAFfWGkQvHY5DAZwAAAAhAAAAQS8vQoVylkMBnQAAACEAAABLCaVDhXKWQwGeAAAAIQAAAFcWGkSFcpZDAZ8AAAAhAAAAV9YaRC+dkEMHMgAAAAABAAAABQAAAAQXQXBsb3Jpcy5CYXNlLkFuY2hvck1vZGUDAAAABaAAAAAXQXBsb3Jpcy5CYXNlLkFuY2hvck1vZGUBAAAAB3ZhbHVlX18ACAMAAAAEAAAAAaEAAACgAAAABQAAAAGiAAAAoAAAAAMAAAABowAAAKAAAAAGAAAAAaQAAACgAAAABQAAAA8zAAAABQAAAAEAAAAAAQU0AAAAFUFwbG9yaXMuQmFzZS5VSS5MYWJlbBwAAAAPbUFuY2hvclBvc2l0aW9uC21BbmNob3JNb2RlD21BZGRJbm5lck1hcmdpbhZtT2Zmc2V0RGlyZWN0aW9uQW5jaG9yF21PZmZzZXRPcnRob2dvbmFsQW5jaG9yC21UZXh0Rm9ybWF0CW1Sb3RhdGlvbgptQmFja0NvbG9yDW1Vc2VCYWNrQ29sb3IObVVzZ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EBAQAAQMDAQAAAAAHAgAAAwA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wAAAAGlAAAAIQAAAFfWGkQvHY5DAaYAAACgAAAABAAAAAAAAAAAAAAAAAmnAAAAAAAAAAmoAAAAAAAFqQAAACpBcGxvcmlzLkJhc2UuVUkuTGFiZWwrTGluZUFsaWdubWVudE9wdGlvbnMBAAAAB3ZhbHVlX18ACAMAAAAAAAAAAaoAAAByAAAAAAAAAAAAAAABqwAAABUAAAAAAAAAAAAAAAAAAAAAAAAAAAAAAAasAAAADUNhdGVnb3J5IGF4aXMKCa0AAAAJrAAAAOQCAAD/////AAEKCa4AAAABAAoAATUAAAAlAAAACa8AAAAGAAAABgAAAAE2AAAAJgAAAAmwAAAAAgAAAAIAAAABOAAAACgAAAAKCbEAAAAJsgAAAAkHAAAACQEAAAAJswAAAAE5AAAAKQAAAAoJtAAAAAm1AAAACQcAAAAJAQAAAAm2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gAAAADAAAACWkAAAAJagAAAAlrAAAAAQAAAAAKCZMAAAAJbAAAAAAAAAAKAAAAAAA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aAAAAAMAAAAJaQAAAAlqAAAACWsAAAABAAAAAAoGtwAAAAElCWwAAAAAAAAACgAAAAAAAAAABT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EAAAABCWgAAAADAAAACWkAAAAJagAAAAlrAAAAAQAAAAAKCZMAAAAJbAAAAAEAAAAKAAAAAAAAAAABPQAAAC0AAAAKCbgAAAAJuQAAAAkHAAAACQEAAAAJugAAAAFAAAAAMAAAAAG7AAAAIQAAAEEvL0IvHY5DAbwAAAAhAAAAQS8vQg7ee0EJvQAAALgBAAD/////AQEKCb4AAAABAAoAB0EAAAAAAQAAAAUAAAAEFVN5c3RlbS5EcmF3aW5nLlBvaW50RgQAAAABvwAAACEAAABBLy9CuYgeQQHAAAAAIQAAAPZBIkEvHY5DAcEAAAAhAAAA9kEiQR/8FUMBwgAAACEAAAD2QSJBDt57QQHDAAAAIQAAAPZBIkG5iB5BB0IAAAAAAQAAAAUAAAAEF0FwbG9yaXMuQmFzZS5BbmNob3JNb2RlAwAAAAHEAAAAoAAAAAEAAAABxQAAAKAAAAAIAAAAAcYAAACgAAAAAgAAAAHHAAAAoAAAAAYAAAAByAAAAKAAAAAHAAAAD0MAAAAFAAAAAQAAAAABAUQAAAA0AAAAAckAAAAhAAAAQS8vQrmIHkEBygAAAKAAAAABAAAAAAAAAAAAAAAACcsAAAAAAAAACcwAAAAAAAHNAAAAqQAAAAAAAAABzgAAAHIAAAAAAAAAAAAAAAHPAAAAFQAAAAAAAAAAAAAAAAAAAAAAAAAAAAAABtAAAAAKVmFsdWUgYXhpcwoJ0QAAAAnQAAAA5AIAAP////8AAQoJ0gAAAAEACgABRQAAACUAAAAJ0wAAAAcAAAAHAAAAAUYAAAAmAAAACdQAAAACAAAAAgAAAAdHAAAAAAEAAAAAAAAABC5BcGxvcmlzLkNoYXJ0LkNvbHVtbk9yaWVudGVkQ2hhcnQrVW51c2VkU2VyaWVzAgAAAARIAAAAlwFTeXN0ZW0uQ29sbGVjdGlvbnMuR2VuZXJpYy5MaXN0YDFbW0FwbG9yaXMuQ2hhcnQuQ2hhcnREYXRhU2VyaWVzLCBBcGxvcmlzLkNoYXJ0LCBWZXJzaW9uPTQuMC4wLjE0ODYsIEN1bHR1cmU9bmV1dHJhbCwgUHVibGljS2V5VG9rZW49MTZmYzEzYTIyNmMwZTk1MV1dAwAAAAZfaXRlbXMFX3NpemUIX3ZlcnNpb24EAAAfQXBsb3Jpcy5DaGFydC5DaGFydERhdGFTZXJpZXNbXQIAAAAICAnVAAAAAwAAAGEBAAABSQAAACUAAAAJ1gAAAAMAAAB7AAAAAUoAAAAmAAAACdcAAAAAAAAAAAAAAARLAAAAnAFTeXN0ZW0uQ29sbGVjdGlvbnMuR2VuZXJpYy5MaXN0YDFbW0FwbG9yaXMuQ2hhcnQuQW5ub3RhdGlvbkRhdGFTZXJpZXMsIEFwbG9yaXMuQ2hhcnQsIFZlcnNpb249NC4wLjAuMTQ4NiwgQ3VsdHVyZT1uZXV0cmFsLCBQdWJsaWNLZXlUb2tlbj0xNmZjMTNhMjI2YzBlOTUxXV0DAAAABl9pdGVtcwVfc2l6ZQhfdmVyc2lvbgQAACRBcGxvcmlzLkNoYXJ0LkFubm90YXRpb25EYXRhU2VyaWVzW10CAAAACAgJ2AAAAAAAAAAAAAAAAUwAAAAlAAAACdkAAAAAAAAAAAAAAAFNAAAAJgAAAAnXAAAAAAAAAAAAAAAETgAAAJcBU3lzdGVtLkNvbGxlY3Rpb25zLkdlbmVyaWMuTGlzdGAxW1tBcGxvcmlzLkNoYXJ0LkFubm90YXRpb25Hcm91cCwgQXBsb3Jpcy5DaGFydCwgVmVyc2lvbj00LjAuMC4xNDg2LCBDdWx0dXJlPW5ldXRyYWwsIFB1YmxpY0tleVRva2VuPTE2ZmMxM2EyMjZjMGU5NTFdXQMAAAAGX2l0ZW1zBV9zaXplCF92ZXJzaW9uBAAAH0FwbG9yaXMuQ2hhcnQuQW5ub3RhdGlvbkdyb3VwW10CAAAACAgJ2gAAAAAAAAAAAAAAAU8AAAAlAAAACdkAAAAAAAAAAAAAAAFQAAAAJgAAAAnXAAAAAAAAAAAAAAAEUQAAAJYBU3lzdGVtLkNvbGxlY3Rpb25zLkdlbmVyaWMuTGlzdGAxW1tBcGxvcmlzLkNoYXJ0LkNoYXJ0RGF0YUdyb3VwLCBBcGxvcmlzLkNoYXJ0LCBWZXJzaW9uPTQuMC4wLjE0ODYsIEN1bHR1cmU9bmV1dHJhbCwgUHVibGljS2V5VG9rZW49MTZmYzEzYTIyNmMwZTk1MV1dAwAAAAZfaXRlbXMFX3NpemUIX3ZlcnNpb24EAAAeQXBsb3Jpcy5DaGFydC5DaGFydERhdGFHcm91cFtdAgAAAAgICdsAAAAEAAAAQgAAAAFSAAAAJQAAAAncAAAABAAAAB4AAAABUwAAACYAAAAJ1wAAAAAAAAAAAAAABFQAAACQAVN5c3RlbS5Db2xsZWN0aW9ucy5HZW5lcmljLkxpc3RgMVtbQXBsb3Jpcy5DaGFydC5EZWx0YUJhciwgQXBsb3Jpcy5DaGFydCwgVmVyc2lvbj00LjAuMC4xNDg2LCBDdWx0dXJlPW5ldXRyYWwsIFB1YmxpY0tleVRva2VuPTE2ZmMxM2EyMjZjMGU5NTFdXQMAAAAGX2l0ZW1zBV9zaXplCF92ZXJzaW9uBAAAGEFwbG9yaXMuQ2hhcnQuRGVsdGFCYXJbXQIAAAAICAndAAAAAAAAAAAAAAABVQAAACUAAAAJ2QAAAAAAAAAAAAAAAVYAAAAmAAAACdcAAAAAAAAAAAAAAARXAAAAkwFTeXN0ZW0uQ29sbGVjdGlvbnMuR2VuZXJpYy5MaXN0YDFbW0FwbG9yaXMuQ2hhcnQuRGVsdGFCcmlkZ2UsIEFwbG9yaXMuQ2hhcnQsIFZlcnNpb249NC4wLjAuMTQ4NiwgQ3VsdHVyZT1uZXV0cmFsLCBQdWJsaWNLZXlUb2tlbj0xNmZjMTNhMjI2YzBlOTUxXV0DAAAABl9pdGVtcwVfc2l6ZQhfdmVyc2lvbgQAABtBcGxvcmlzLkNoYXJ0LkRlbHRhQnJpZGdlW10CAAAACAgJ3gAAAAAAAAAAAAAAAVgAAAAlAAAACdkAAAAAAAAAAAAAAAFZAAAAJgAAAAnXAAAAAAAAAAAAAAAEWgAAAJMBU3lzdGVtLkNvbGxlY3Rpb25zLkdlbmVyaWMuTGlzdGAxW1tBcGxvcmlzLkNoYXJ0Lkdyb3d0aEFycm93LCBBcGxvcmlzLkNoYXJ0LCBWZXJzaW9uPTQuMC4wLjE0ODYsIEN1bHR1cmU9bmV1dHJhbCwgUHVibGljS2V5VG9rZW49MTZmYzEzYTIyNmMwZTk1MV1dAwAAAAZfaXRlbXMFX3NpemUIX3ZlcnNpb24EAAAbQXBsb3Jpcy5DaGFydC5Hcm93dGhBcnJvd1tdAgAAAAgICd8AAAAAAAAAAAAAAAFbAAAAJQAAAAnZAAAAAAAAAAAAAAABXAAAACYAAAAJ1wAAAAAAAAAAAAAABF0AAACaAVN5c3RlbS5Db2xsZWN0aW9ucy5HZW5lcmljLkxpc3RgMVtbQXBsb3Jpcy5DaGFydC5XYXRlcmZhbGxDb25uZWN0b3IsIEFwbG9yaXMuQ2hhcnQsIFZlcnNpb249NC4wLjAuMTQ4NiwgQ3VsdHVyZT1uZXV0cmFsLCBQdWJsaWNLZXlUb2tlbj0xNmZjMTNhMjI2YzBlOTUxXV0DAAAABl9pdGVtcwVfc2l6ZQhfdmVyc2lvbgQAACJBcGxvcmlzLkNoYXJ0LldhdGVyZmFsbENvbm5lY3RvcltdAgAAAAgICeAAAAAAAAAAAAAAAAFeAAAAJQAAAAnZAAAAAAAAAAAAAAABXwAAACYAAAAJ1wAAAAAAAAAAAAAABGAAAACYAVN5c3RlbS5Db2xsZWN0aW9ucy5HZW5lcmljLkxpc3RgMVtbQXBsb3Jpcy5DaGFydC5FbGVtZW50Q29ubmVjdG9yLCBBcGxvcmlzLkNoYXJ0LCBWZXJzaW9uPTQuMC4wLjE0ODYsIEN1bHR1cmU9bmV1dHJhbCwgUHVibGljS2V5VG9rZW49MTZmYzEzYTIyNmMwZTk1MV1dAwAAAAZfaXRlbXMFX3NpemUIX3ZlcnNpb24EAAAgQXBsb3Jpcy5DaGFydC5FbGVtZW50Q29ubmVjdG9yW10CAAAACAgJ4QAAAAAAAAAAAAAAAWEAAAAlAAAACdkAAAAAAAAAAAAAAAFiAAAAJgAAAAnXAAAAAAAAAAAAAAAFYwAAAK0BQXBsb3Jpcy5CYXNlLk9iamVjdHMuRGF0YU9iamVjdENvbGxlY3Rpb25gMVtbQXBsb3Jpcy5DaGFydC5Db2x1bW5PcmllbnRlZExlZ2VuZE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rAUFwbG9yaXMuQmFzZS5PYmplY3RzLlNvcnRhYmxlQ29sbGVjdGlvbmAxW1tBcGxvcmlzLkNoYXJ0LkNvbHVtbk9yaWVudGVkTGVnZW5kRWxlbWVudCwgQXBsb3Jpcy5DaGFydCwgVmVyc2lvbj00LjAuMC4xNDg2LCBDdWx0dXJlPW5ldXRyYWwsIFB1YmxpY0tleVRva2VuPTE2ZmMxM2EyMjZjMGU5NTFdXQMAAACjAVN5c3RlbS5Db2xsZWN0aW9ucy5HZW5lcmljLkxpc3RgMVtbQXBsb3Jpcy5DaGFydC5Db2x1bW5PcmllbnRlZExlZ2VuZE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4gAAAAnjAAAACRQAAAAJAQAAAAnkAAAAAWUAAAAcAAAAAeUAAAAhAAAAV644QvggmkMB5gAAACEAAABuSHdD+KCmQwnnAAAACegAAAAAAAAACgHpAAAAcgAAAAAAAAAAAAAAAeoAAAByAAAAAAAAAAAAAAAAAAAAAesAAAAVAAAAAAAAAAAAAAAAAAAAAAAAAKQBAAD/////AQEKCewAAAABAAoAAWYAAAAlAAAACe0AAAABAAAAAQAAAAFnAAAAJgAAAAnuAAAAAQAAAAEAAAAFcA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nvAAAACfAAAAABAAAA/v///wEAAAABAAAAAQAAAAEAAAABAAAAAQAAAAAAAQVx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fEAAAAJ8gAAAAEAAAAAAAAAAAAAAAAAAAAAAQV1AAAAH0FwbG9yaXMuQmFzZS5PYmplY3RzLlBlcnNJZERhdGECAAAAA21JZAttQ3VzdG9tRGF0YQcCCAMAAAAJ8wAAAAoFeAAAABpBcGxvcmlzLkJhc2UuT2JqZWN0cy5Db2xvcgcAAAASRGF0YU9iamVjdCttUGFyZW50FURhdGFPYmplY3QrbUNvbnRhaW5lcgVtVHlwZQRtUkdCEG1UaGVtZUNvbG9ySW5kZXgMbUF1dG9VcGRhdGVkCW1Nb2RpZmllZAICAAAAAAAICAgBAQMAAAAKCgAAAAAAAAAADQAAAAABAXkAAAB4AAAACgoBAAAAAAAAAP////8AAQeLAAAAAAEAAAAQAAAABB9BcGxvcmlzLkJhc2UuT2JqZWN0cy5EYXRhT2JqZWN0AwAAAAkJAAAACQoAAAAJCwAAAAkMAAAACRAAAAAJEQAAAAkNAAAACQ4AAAAJDwAAAAkHAAAACQYAAAAJGAAAAAkUAAAADQMHjAAAAAABAAAABAAAAAQcQXBsb3Jpcy5CYXNlLlVJLlZpc3VhbE9iamVjdAMAAAAJHAAAAA0DBI0AAACRAVN5c3RlbS5Db2xsZWN0aW9ucy5HZW5lcmljLkxpc3RgMVtbQXBsb3Jpcy5DaGFydC5WYWx1ZUxpbmUsIEFwbG9yaXMuQ2hhcnQsIFZlcnNpb249NC4wLjAuMTQ4NiwgQ3VsdHVyZT1uZXV0cmFsLCBQdWJsaWNLZXlUb2tlbj0xNmZjMTNhMjI2YzBlOTUxXV0DAAAABl9pdGVtcwVfc2l6ZQhfdmVyc2lvbgQAABlBcGxvcmlzLkNoYXJ0LlZhbHVlTGluZVtdAgAAAAgICfQAAAAAAAAAAAAAAAGOAAAAJQAAAAnZAAAAAAAAAAAAAAABjwAAACYAAAAJ1wAAAAAAAAAAAAAABJAAAACRAVN5c3RlbS5Db2xsZWN0aW9ucy5HZW5lcmljLkxpc3RgMVtbQXBsb3Jpcy5DaGFydC5BeGlzQnJlYWssIEFwbG9yaXMuQ2hhcnQsIFZlcnNpb249NC4wLjAuMTQ4NiwgQ3VsdHVyZT1uZXV0cmFsLCBQdWJsaWNLZXlUb2tlbj0xNmZjMTNhMjI2YzBlOTUxXV0DAAAABl9pdGVtcwVfc2l6ZQhfdmVyc2lvbgQAABlBcGxvcmlzLkNoYXJ0LkF4aXNCcmVha1tdAgAAAAgICfUAAAAAAAAAAAAAAAGRAAAAJQAAAAnZAAAAAAAAAAAAAAABkgAAACYAAAAJ1wAAAAAAAAAAAAAABJQAAACQAVN5c3RlbS5Db2xsZWN0aW9ucy5HZW5lcmljLkxpc3RgMVtbQXBsb3Jpcy5DaGFydC5UaWNrTWFyaywgQXBsb3Jpcy5DaGFydCwgVmVyc2lvbj00LjAuMC4xNDg2LCBDdWx0dXJlPW5ldXRyYWwsIFB1YmxpY0tleVRva2VuPTE2ZmMxM2EyMjZjMGU5NTFdXQMAAAAGX2l0ZW1zBV9zaXplCF92ZXJzaW9uBAAAGEFwbG9yaXMuQ2hhcnQuVGlja01hcmtbXQIAAAAICAn2AAAAAAAAAAAAAAABlQAAACUAAAAJ2QAAAAAAAAAAAAAAAZYAAAAmAAAACdcAAAAAAAAAAAAAAAGZAAAAcAAAAAoKAAAAQD8J9wAAAAn4AAAAAQAAAP7///8AAAAAAQAAAAAAAAAAAAAAAQAAAAAAAAAAAAABmgAAAHUAAAAJ+QAAAAoFpw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gAAAAoAAAAAAEBBCXYAAAAJdwAAAAn6AAAAAQAJ+wAAAAGoAAAAeAAAAAoKAQAAAAAAAAD/////AAEErQAAAJYBU3lzdGVtLkNvbGxlY3Rpb25zLkdlbmVyaWMuTGlzdGAxW1tBcGxvcmlzLkJhc2UuT2JqZWN0cy5WYXJpYWJsZSwgQXBsb3Jpcy5CYXNlLCBWZXJzaW9uPTQuMC4wLjE0ODYsIEN1bHR1cmU9bmV1dHJhbCwgUHVibGljS2V5VG9rZW49MTZmYzEzYTIyNmMwZTk1MV1dAwAAAAZfaXRlbXMFX3NpemUIX3ZlcnNpb24EAAAfQXBsb3Jpcy5CYXNlLk9iamVjdHMuVmFyaWFibGVbXQMAAAAICAn8AAAAAAAAAAAAAAABrgAAAHUAAAAJ/QAAAAoHrwAAAAABAAAACAAAAAQfQXBsb3Jpcy5CYXNlLk9iamVjdHMuRGF0YU9iamVjdAMAAAAJKgAAAAkrAAAACSwAAAAJLQAAAAkoAAAACSkAAAAKCgewAAAAAAEAAAAEAAAABBxBcGxvcmlzLkJhc2UuVUkuVmlzdWFsT2JqZWN0AwAAAAkwAAAACTQAAAAKCgGxAAAAjQAAAAn0AAAAAAAAAAAAAAABsgAAACUAAAAJ2QAAAAAAAAAAAAAAAbMAAAAmAAAACdcAAAAAAAAAAAAAAAG0AAAAkAAAAAn1AAAAAAAAAAAAAAABtQAAACUAAAAJ2QAAAAAAAAAAAAAAAbYAAAAmAAAACdcAAAAAAAAAAAAAAAG4AAAAlAAAAAn+AAAACwAAACEAAAABuQAAACUAAAAJ/wAAAAsAAAAhAAAAAboAAAAmAAAACdcAAAAAAAAAAAAAAAG9AAAAcAAAAAoKAAAAQD8JAAEAAAkBAQAAAQAAAP7///8AAAAAAQAAAAAAAAAAAAAAAQAAAAAAAAAAAAABvgAAAHUAAAAJAgEAAAoFyw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wAAAAoAAAAAAEBBCXYAAAAJdwAAAAkDAQAAAQAJBAEAAAHMAAAAeAAAAAoKAQAAAAAAAAD/////AAEB0QAAAK0AAAAJ/AAAAAAAAAAAAAAAAdIAAAB1AAAACQUBAAAKB9MAAAAAAQAAAAgAAAAEH0FwbG9yaXMuQmFzZS5PYmplY3RzLkRhdGFPYmplY3QDAAAACToAAAAJOwAAAAk8AAAACT0AAAAJOAAAAAk5AAAACQYBAAAKB9QAAAAAAQAAAAQAAAAEHEFwbG9yaXMuQmFzZS5VSS5WaXN1YWxPYmplY3QDAAAACUAAAAAJRAAAAAoKB9UAAAAAAQAAACAAAAAEHUFwbG9yaXMuQ2hhcnQuQ2hhcnREYXRhU2VyaWVzAgAAAAkHAQAACQgBAAAJCQEAAA0dB9YAAAAAAQAAACAAAAAEH0FwbG9yaXMuQmFzZS5PYmplY3RzLkRhdGFPYmplY3QDAAAACQkBAAAJCAEAAAkHAQAADR0H1wAAAAABAAAAAAAAAAQcQXBsb3Jpcy5CYXNlLlVJLlZpc3VhbE9iamVjdAMAAAAH2AAAAAABAAAAAAAAAAQiQXBsb3Jpcy5DaGFydC5Bbm5vdGF0aW9uRGF0YVNlcmllcwIAAAAH2QAAAAABAAAAAAAAAAQfQXBsb3Jpcy5CYXNlLk9iamVjdHMuRGF0YU9iamVjdAMAAAAH2gAAAAABAAAAAAAAAAQdQXBsb3Jpcy5DaGFydC5Bbm5vdGF0aW9uR3JvdXACAAAAB9sAAAAAAQAAABAAAAAEHEFwbG9yaXMuQ2hhcnQuQ2hhcnREYXRhR3JvdXACAAAACQoBAAAJCwEAAAkMAQAACQ0BAAANDAfcAAAAAAEAAAAQAAAABB9BcGxvcmlzLkJhc2UuT2JqZWN0cy5EYXRhT2JqZWN0AwAAAAkMAQAACQsBAAAJCgEAAAkNAQAADQwH3QAAAAABAAAAAAAAAAQWQXBsb3Jpcy5DaGFydC5EZWx0YUJhcgIAAAAH3gAAAAABAAAAAAAAAAQZQXBsb3Jpcy5DaGFydC5EZWx0YUJyaWRnZQIAAAAH3wAAAAABAAAAAAAAAAQZQXBsb3Jpcy5DaGFydC5Hcm93dGhBcnJvdwIAAAAH4AAAAAABAAAAAAAAAAQgQXBsb3Jpcy5DaGFydC5XYXRlcmZhbGxDb25uZWN0b3ICAAAAB+EAAAAAAQAAAAAAAAAEHkFwbG9yaXMuQ2hhcnQuRWxlbWVudENvbm5lY3RvcgIAAAAE4gAAAKMBU3lzdGVtLkNvbGxlY3Rpb25zLkdlbmVyaWMuTGlzdGAxW1tBcGxvcmlzLkNoYXJ0LkNvbHVtbk9yaWVudGVkTGVnZW5kRWxlbWVudCwgQXBsb3Jpcy5DaGFydCwgVmVyc2lvbj00LjAuMC4xNDg2LCBDdWx0dXJlPW5ldXRyYWwsIFB1YmxpY0tleVRva2VuPTE2ZmMxM2EyMjZjMGU5NTFdXQMAAAAGX2l0ZW1zBV9zaXplCF92ZXJzaW9uBAAAK0FwbG9yaXMuQ2hhcnQuQ29sdW1uT3JpZW50ZWRMZWdlbmRFbGVtZW50W10CAAAACAgJDgEAAAMAAABnAAAAAeMAAAAlAAAACQ8BAAADAAAAAwAAAAHkAAAAJgAAAAkQAQAAAAAAAAAAAAAB5wAAAHAAAAAKCgAAAAAACREBAAAJEgEAAAEAAAD+////AQAAAAEAAAABAAAAAQAAAAEAAAABAAAAAAABAegAAABxAAAACgoJEwEAAAkUAQAAAQAAAAAAAAAAAAAAAAAAAAABAewAAAB1AAAACRUBAAAKB+0AAAAAAQAAAAQAAAAEH0FwbG9yaXMuQmFzZS5PYmplY3RzLkRhdGFPYmplY3QDAAAACWMAAAANAwfuAAAAAAEAAAAEAAAABBxBcGxvcmlzLkJhc2UuVUkuVmlzdWFsT2JqZWN0AwAAAAllAAAADQMB7wAAAHgAAAAKCgAAAAAAAAAADQAAAAABAfAAAAB4AAAACgoBAAAAAAAAAP////8AAQHxAAAAeAAAAAoKAQAAAP///wD/////AAEB8gAAAHgAAAAKCgEAAAAAAAAA/////wABD/MAAAABAAAACAAAAAAH9AAAAAABAAAAAAAAAAQXQXBsb3Jpcy5DaGFydC5WYWx1ZUxpbmUCAAAAB/UAAAAAAQAAAAAAAAAEF0FwbG9yaXMuQ2hhcnQuQXhpc0JyZWFrAgAAAAf2AAAAAAEAAAAAAAAABBZBcGxvcmlzLkNoYXJ0LlRpY2tNYXJrAgAAAAX3AAAAGkFwbG9yaXMuQmFzZS5PYmplY3RzLkNvbG9yBwAAABJEYXRhT2JqZWN0K21QYXJlbnQVRGF0YU9iamVjdCttQ29udGFpbmVyBW1UeXBlBG1SR0IQbVRoZW1lQ29sb3JJbmRleAxtQXV0b1VwZGF0ZWQJbU1vZGlmaWVkBAIAAAAAAB9BcGxvcmlzLkJhc2UuT2JqZWN0cy5MaW5lRm9ybWF0AwAAAAgICAEBAwAAAAmZAAAACgAAAAAAAAAADQAAAAAABfgAAAAaQXBsb3Jpcy5CYXNlLk9iamVjdHMuQ29sb3IHAAAAEkRhdGFPYmplY3QrbVBhcmVudBVEYXRhT2JqZWN0K21Db250YWluZXIFbVR5cGUEbVJHQhBtVGhlbWVDb2xvckluZGV4DG1BdXRvVXBkYXRlZAltTW9kaWZpZWQEAgAAAAAAH0FwbG9yaXMuQmFzZS5PYmplY3RzLkxpbmVGb3JtYXQDAAAACAgIAQEDAAAACZkAAAAKAQAAAAAAAAD/////AAEP+QAAAAEAAAAIsQMAAAH6AAAAeAAAAAoKAAAAAAAAAAANAAAAAAEB+wAAAHgAAAAKCgEAAAAAAAAA/////wABB/wAAAAAAQAAAAAAAAAEHUFwbG9yaXMuQmFzZS5PYmplY3RzLlZhcmlhYmxlAwAAAA/9AAAAAQAAAAgAAAAAB/4AAAAAAQAAABAAAAAEFkFwbG9yaXMuQ2hhcnQuVGlja01hcmsCAAAACRYBAAAJFwEAAAkYAQAACRkBAAAJGgEAAAkbAQAACRwBAAAJHQEAAAkeAQAACR8BAAAJIAEAAA0FB/8AAAAAAQAAABAAAAAEH0FwbG9yaXMuQmFzZS5PYmplY3RzLkRhdGFPYmplY3QDAAAACRYBAAAJFwEAAAkYAQAACRkBAAAJGgEAAAkbAQAACRwBAAAJHQEAAAkeAQAACR8BAAAJIAEAAA0FBQABAAAaQXBsb3Jpcy5CYXNlLk9iamVjdHMuQ29sb3IHAAAAEkRhdGFPYmplY3QrbVBhcmVudBVEYXRhT2JqZWN0K21Db250YWluZXIFbVR5cGUEbVJHQhBtVGhlbWVDb2xvckluZGV4DG1BdXRvVXBkYXRlZAltTW9kaWZpZWQEAgAAAAAAH0FwbG9yaXMuQmFzZS5PYmplY3RzLkxpbmVGb3JtYXQDAAAACAgIAQEDAAAACb0AAAAKAAAAAAAAAAANAAAAAAAFAQEAABpBcGxvcmlzLkJhc2UuT2JqZWN0cy5Db2xvcgcAAAASRGF0YU9iamVjdCttUGFyZW50FURhdGFPYmplY3QrbUNvbnRhaW5lcgVtVHlwZQRtUkdCEG1UaGVtZUNvbG9ySW5kZXgMbUF1dG9VcGRhdGVkCW1Nb2RpZmllZAQCAAAAAAAfQXBsb3Jpcy5CYXNlLk9iamVjdHMuTGluZUZvcm1hdAMAAAAICAgBAQMAAAAJvQAAAAoBAAAAAAAAAP////8AAQ8CAQAAAQAAAAiyAwAAAQMBAAB4AAAACgoAAAAAAAAAAA0AAAAAAQEEAQAAeAAAAAoKAQAAAAAAAAD/////AAEPBQEAAAEAAAAIAAAAAAUGAQ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oAAAAAwAAAAlpAAAACWoAAAAJawAAAAEAAAAACgmTAAAACWwAAAABAAAACgAAAAAAAAAABQcBAAAdQXBsb3Jpcy5DaGFydC5DaGFydERhdGFTZXJpZXMcAAAABm1DaGFydAttU2VyaWVzVHlwZQltRXhjZWxSb3cKbUV4Y2VsUm93MgVtQXhpcw1tRGF0YUVsZW1lbnRzEm1TZXJpZXNEZXNjcmlwdGlvbhNtU2VyaWVzRGVzY3JpcHRpb24yCm1TdGFja2VkT24MbUN1c3RvbVdpZHRoD21DdXN0b21Qb3NpdGlvbg1tQ3VzdG9tWk9yZGVyCW1Qb2x5bGluZQhtUG9seWdvbhRtUmVzdG9yZUxhYmVsVmlzaWJsZQZtTGFiZWwPbUxhYmVsUG9zaXRpb25zEW1MYWJlbEFuY2hvck1vZGVzDm1MYWJlbFBvc2l0aW9uC21TbW9vdGhMaW5lDm1TYW1lVHlwZUluZGV4DG1CYXJQb3NpdGlvbhZtTGVnZW5kVXBkYXRlU3VzcGVuZGVkFG1QZW5kaW5nTGVnZW5kVXBkYXRlGERhdGFPYmplY3QrbUNoaWxkT2JqZWN0cxJEYXRhT2JqZWN0K21QYXJlbnQVRGF0YU9iamVjdCttQ29udGFpbmVyGURhdGFPYmplY3QrbVZpc3VhbE9iamVjdHMEBAAABAQBAQQAAAAEBAAEBAQAAAAAAAADBAQDIUFwbG9yaXMuQ2hhcnQuQ29sdW1uT3JpZW50ZWRDaGFydAIAAAAYQXBsb3Jpcy5DaGFydC5TZXJpZXNUeXBlAgAAAAgIJUFwbG9yaXMuQ2hhcnQuQ29sdW1uT3JpZW50ZWRDaGFydEF4aXMCAAAAogFBcGxvcmlzLkJhc2UuT2JqZWN0cy5EYXRhT2JqZWN0Q29sbGVjdGlvbmAxW1tBcGxvcmlzLkNoYXJ0LkNoYXJ0RGF0YUVsZW1lbnQsIEFwbG9yaXMuQ2hhcnQsIFZlcnNpb249NC4wLjAuMTQ4NiwgQ3VsdHVyZT1uZXV0cmFsLCBQdWJsaWNLZXlUb2tlbj0xNmZjMTNhMjI2YzBlOTUxXV0DAAAAHUFwbG9yaXMuQ2hhcnQuQ2hhcnREYXRhU2VyaWVzAgAAAAsLCB5BcGxvcmlzLkJhc2UuVUkuVmlzdWFsUG9seWxpbmUDAAAAHUFwbG9yaXMuQmFzZS5VSS5WaXN1YWxQb2x5Z29uAwAAAAEcQXBsb3Jpcy5DaGFydC5Db25uZWN0ZWRMYWJlbAIAAAAXU3lzdGVtLkRyYXdpbmcuUG9pbnRGW10EAAAAGUFwbG9yaXMuQmFzZS5BbmNob3JNb2RlW10DAAAACAEICAg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EhAQAAEwAAAAAAAAACAAAA/////wkHAAAACSIBAAAGIwEAAAVBZ3JlZQoKAAAAAAAAAAAAAAAACgoACSQBAAAJJQEAAAkmAQAAAAAAAAAAAAAAAAAAAAAAAAAACScBAAAJAQAAAAkBAAAACSgBAAABCAEAAAcBAAAJAQAAAAEpAQAAEwAAAAAAAAADAAAA/////wkHAAAACSoBAAAGKwEAAAdOZXV0cmFsCgoAAAAAAAAAAAAAAAAKCgAJLAEAAAktAQAACS4BAAAAAAAAAAEAAAAAAAAAAAAAAAAJLwEAAAkBAAAACQEAAAAJMAEAAAEJAQAABwEAAAkBAAAAATEBAAATAAAAAAAAAAQAAAD/////CQcAAAAJMgEAAAYzAQAACERpc2FncmVlCgoAAAAAAAAAAAAAAAAKCgAJNAEAAAk1AQAACTYBAAAAAAAAAAIAAAAAAAAAAAAAAAAJNwEAAAkBAAAACQEAAAAJOAEAAAUKAQAAHEFwbG9yaXMuQ2hhcnQuQ2hhcnREYXRhR3JvdXARAAAABm1DaGFydBFtR3JvdXBEZXNjcmlwdGlvbgdtSGlkZGVuDG1Hcm91cEFuY2hvcgptQ3VzdG9tU3VtE21QbGFjZWhvbGRlcnNCZWZvcmUQbVRvdGFsTGFiZWxDb3VudAltQmFyQ291bnQTbUxhYmVsQmFyUmVmZXJlbmNlcwxtVG90YWxMYWJlbHMObUNhdGVnb3J5TGFiZWwQbUFubm90YXRpb25Hcm91cBJtTWFnbml0dWRlUHJvdmlkZXIYRGF0YU9iamVjdCttQ2hpbGRPYmplY3RzEkRhdGFPYmplY3QrbVBhcmVudBVEYXRhT2JqZWN0K21Db250YWluZXIZRGF0YU9iamVjdCttVmlzdWFsT2JqZWN0cwQCAAQCAAAABwQEBAQDBAQDIUFwbG9yaXMuQ2hhcnQuQ29sdW1uT3JpZW50ZWRDaGFydAIAAAABHkFwbG9yaXMuQ2hhcnQuQ2hhcnRHcm91cEFuY2hvcgIAAAAICAgIF0FwbG9yaXMuQmFzZS5VSS5MYWJlbFtdAwAAABVBcGxvcmlzLkJhc2UuVUkuTGFiZWwDAAAAHUFwbG9yaXMuQ2hhcnQuQW5ub3RhdGlvbkdyb3VwAgAAACBBcGxvcmlzLkNoYXJ0LklNYWduaXR1ZGVQcm92aWRlcgIAAAC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jkBAAATRXF1aXBwZWQgTmF2aWdhdG9ycwAFOgEAAB5BcGxvcmlzLkNoYXJ0LkNoYXJ0R3JvdXBBbmNob3IBAAAAB3ZhbHVlX18ACAIAAAAAAAAACgAAAAABAAAAAQAAAAk7AQAACTwBAAAJPQEAAAoJBwAAAAk+AQAACQEAAAAJAQAAAAk/AQAAAQsBAAAKAQAACQEAAAAGQAEAAAlMb3cgRnVlbHMAAUEBAAA6AQAAAAAAAAoAAAAAAQAAAAEAAAAJQgEAAAlDAQAACUQBAAAKCQcAAAAJRQEAAAkBAAAACQEAAAAJRgEAAAEMAQAACgEAAAkBAAAABkcBAAANQ2hlY2sgRW5naW5lcwABSAEAADoBAAAAAAAACgAAAAABAAAAAQAAAAlJAQAACUoBAAAJSwEAAAoJBwAAAAlMAQAACQEAAAAJAQAAAAlNAQAAAQ0BAAAKAQAACQEAAAAGTgEAABhMaW1pdGVkIFRlY2hub2xvZ3kgVXNlcnMAAU8BAAA6AQAAAAAAAAoAAAAAAQAAAAEAAAAJUAEAAAlRAQAACVIBAAAKCQcAAAAJUwEAAAkBAAAACQEAAAAJVAEAAAcOAQAAAAEAAAAEAAAABClBcGxvcmlzLkNoYXJ0LkNvbHVtbk9yaWVudGVkTGVnZW5kRWxlbWVudAIAAAAJVQEAAAlWAQAACVcBAAAKBw8BAAAAAQAAAAQAAAAEH0FwbG9yaXMuQmFzZS5PYmplY3RzLkRhdGFPYmplY3QDAAAACVUBAAAJVgEAAAlXAQAACgcQAQAAAAEAAAAAAAAABBxBcGxvcmlzLkJhc2UuVUkuVmlzdWFsT2JqZWN0AwAAAAERAQAAeAAAAAoKAAAAAAAAAAANAAAAAAEBEgEAAHgAAAAKCgEAAAAAAAAA/////wABARMBAAB4AAAACgoBAAAA////AP////8AAQEUAQAAeAAAAAoKAQAAAAAAAAD/////AAEPFQEAAAEAAAAIAAAAAAUWAQAAFkFwbG9yaXMuQ2hhcnQuVGlja01hcmsNAAAAC21WaXN1YWxMaW5lCW1HcmlkTGluZQZtTGFiZWwFbUF4aXMIbVZpc2libGUJbVBvc2l0aW9uC21TdGFydFBvaW50CW1FbmRQb2ludAxtSGFzR3JpZExpbmUYRGF0YU9iamVjdCttQ2hpbGRPYmplY3RzEkRhdGFPYmplY3QrbVBhcmVudBVEYXRhT2JqZWN0K21Db250YWluZXIZRGF0YU9iamVjdCttVmlzdWFsT2JqZWN0cwQEBAQAAAQEAAMEBAMaQXBsb3Jpcy5CYXNlLlVJLlZpc3VhbExpbmUDAAAAGkFwbG9yaXMuQmFzZS5VSS5WaXN1YWxMaW5lAwAAABVBcGxvcmlzLkJhc2UuVUkuTGFiZWwDAAAAEkFwbG9yaXMuQ2hhcnQuQXhpcwIAAAABBhVTeXN0ZW0uRHJhd2luZy5Qb2ludEYEAAAAFVN5c3RlbS5EcmF3aW5nLlBvaW50RgQAAAA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WAEAAAoJWQEAAAkHAAAAAQAAAAAAAAAAAVoBAAAhAAAAQS8vQi8djkMBWwEAACEAAABBLx9CLx2OQwAJXAEAAAkHAAAACQEAAAAJXQEAAAEXAQAAFgEAAAleAQAACglfAQAACQcAAAABmpmZmZmZuT8BYAEAACEAAABBLy9Cj7CAQwFhAQAAIQAAAEEvH0KPsIBDAAliAQAACQcAAAAJAQAAAAljAQAAARgBAAAWAQAACWQBAAAKCWUBAAAJBwAAAAGamZmZmZnJPwFmAQAAIQAAAEEvL0Lfh2ZDAWcBAAAhAAAAQS8fQt+HZkMACWgBAAAJBwAAAAkBAAAACWkBAAABGQEAABYBAAAJagEAAAoJawEAAAkHAAAAATMzMzMzM9M/AWwBAAAhAAAAQS8vQp+uS0MBbQEAACEAAABBLx9Cn65LQwAJbgEAAAkHAAAACQEAAAAJbwEAAAEaAQAAFgEAAAlwAQAACglxAQAACQcAAAABmpmZmZmZ2T8BcgEAACEAAABBLy9CX9UwQwFzAQAAIQAAAEEvH0Jf1TBDAAl0AQAACQcAAAAJAQAAAAl1AQAAARsBAAAWAQAACXYBAAAKCXcBAAAJBwAAAAEAAAAAAADgPwF4AQAAIQAAAEEvL0If/BVDAXkBAAAhAAAAQS8fQh/8FUMACXoBAAAJBwAAAAkBAAAACXsBAAABHAEAABYBAAAJfAEAAAoJfQEAAAkHAAAAATMzMzMzM+M/AX4BAAAhAAAAQS8vQr9F9kIBfwEAACEAAABBLx9Cv0X2QgAJgAEAAAkHAAAACQEAAAAJgQEAAAEdAQAAFgEAAAmCAQAACgmDAQAACQcAAAABZmZmZmZm5j8BhAEAACEAAABBLy9CQJPAQgGFAQAAIQAAAEEvH0JAk8BCAAmGAQAACQcAAAAJAQAAAAmHAQAAAR4BAAAWAQAACYgBAAAKCYkBAAAJBwAAAAGamZmZmZnpPwGKAQAAIQAAAEEvL0LB4IpCAYsBAAAhAAAAQS8fQsHgikIACYwBAAAJBwAAAAkBAAAACY0BAAABHwEAABYBAAAJjgEAAAoJjwEAAAkHAAAAAc3MzMzMzOw/AZABAAAhAAAAQS8vQoJcKkIBkQEAACEAAABBLx9CglwqQgAJkgEAAAkHAAAACQEAAAAJkwEAAAEgAQAAFgEAAAmUAQAACgmVAQAACQcAAAABAAAAAAAA8D8BlgEAACEAAABBLy9CDt57QQGXAQAAIQAAAEEvH0IO3ntBAAmYAQAACQcAAAAJAQAAAAmZAQAABSIBAACiAUFwbG9yaXMuQmFzZS5PYmplY3RzLkRhdGFPYmplY3RDb2xsZWN0aW9uYDFbW0FwbG9yaXMuQ2hhcnQuQ2hhcnREYXRhRWxlbWVudCwgQXBsb3Jpcy5DaGFydCwgVmVyc2lvbj00LjAuMC4xNDg2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Q2hhcnREYXRhRWxlbWVudCwgQXBsb3Jpcy5DaGFydCwgVmVyc2lvbj00LjAuMC4xNDg2LCBDdWx0dXJlPW5ldXRyYWwsIFB1YmxpY0tleVRva2VuPTE2ZmMxM2EyMjZjMGU5NTFdXQMAAACYAVN5c3RlbS5Db2xsZWN0aW9ucy5HZW5lcmljLkxpc3RgMVtbQXBsb3Jpcy5DaGFydC5DaGFydERhdGF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oBAAAJmwEAAAkHAQAACQEAAAAJnAEAAAUkAQAAHEFwbG9yaXMuQ2hhcnQuQ29ubmVjdGVkTGFiZWwkAAAADm1Db25uZWN0b3JMaW5lEG1aT3JkZXJDb25uZWN0b3IObUNvbm5lY3Rvck1vZGUZbUFuZ2xlZENvbm5lY3RvckRpcmVjdGlvbhBtQ29ubmVjdG9yVGFyZ2V0GW1Db25uZWN0b3JUYXJnZXRBcmVhU2hhcGUabUNvbm5lY3RvckRpc3BsYXlUaHJlc2hvbGQTbUNvbm5lY3RBbmNob3JQb2ludB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RMYWJlbCttTGluZUFsaWdubWVudA9MYWJlbCttVGV4dFNpemUVTGFiZWwrbUxhYmVsUmVjdGFuZ2xlG0xhYmVsK21Jbm5lck1hcmdpbkxlZnRSaWdodAtMYWJlbCttVGV4dBBMYWJlbCttVmFyaWFibGVzE0xhYmVsK21WYXJpYWJsZUxpc3QUTGFiZWwr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EBAQEAAAEBAAAAAQABAAABAQEAAEDAwEAAAAABwIAAAMAHkFwbG9yaXMuQmFzZS5VSS5WaXN1YWxQb2x5bGluZQMAAAAIK0FwbG9yaXMuQ2hhcnQuQ29ubmVjdGVkTGFiZWwrZUNvbm5lY3Rvck1vZGUCAAAANkFwbG9yaXMuQ2hhcnQuQ29ubmVjdGVkTGFiZWwrZUFuZ2xlZENvbm5lY3RvckRpcmVjdGlvbgIAAAAZU3lzdGVtLkRyYXdpbmcuUmVjdGFuZ2xlRgQAAAAtQXBsb3Jpcy5DaGFydC5Db25uZWN0ZWRMYWJlbCtlVGFyZ2V0QXJlYVNoYXBlAgAAAAsB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IAAAAKWAIAAAWdAQAAK0FwbG9yaXMuQ2hhcnQuQ29ubmVjdGVkTGFiZWwrZUNvbm5lY3Rvck1vZGUBAAAAB3ZhbHVlX18ACAIAAAABAAAABZ4BAAA2QXBsb3Jpcy5DaGFydC5Db25uZWN0ZWRMYWJlbCtlQW5nbGVkQ29ubmVjdG9yRGlyZWN0aW9uAQAAAAd2YWx1ZV9fAAgCAAAAAAAAAAGfAQAAFQAAAE6G+0M4gVFDQOymQkxyj0IFoAEAAC1BcGxvcmlzLkNoYXJ0LkNvbm5lY3RlZExhYmVsK2VUYXJnZXRBcmVhU2hhcGUBAAAAB3ZhbHVlX18ACAIAAAAAAAAAAAAQQQEBoQEAACEAAACvoBREy111QwGiAQAAoAAAAAQAAAAAAAAAAAAAAAAJowEAAAAAAAAJpAEAAAAAAaUBAACpAAAAAAAAAAGmAQAAcgAAAAAADEIAAGBBAacBAAAVAAAAAAAAAAAAAAAAAAAAAAAAAF662T8JIwEAAAoJqAEAAAapAQAAACADAAD/////AAEKCaoBAAABAAoAByUBAAAAAQAAAAIAAAAEFVN5c3RlbS5EcmF3aW5nLlBvaW50RgQAAAABqwEAACEAAACvoBREy111QwGsAQAAIQAAAEEvG0I5+0BDByYBAAAAAQAAAAIAAAAEF0FwbG9yaXMuQmFzZS5BbmNob3JNb2RlAwAAAAGtAQAAoAAAAAQAAAABrgEAAKAAAAACAAAAAScBAAAlAAAACa8BAAABAAAAAQAAAAEoAQAAJgAAAAmwAQAAAQAAAAEAAAABKgEAACIBAAAKCbEBAAAJsgEAAAkIAQAACQEAAAAJswEAAAEsAQAAJAEAAApYAgAAAbQBAACdAQAAAQAAAAG1AQAAngEAAAAAAAABtgEAABUAAABOhvtDVhl7QkDspkLiugxDAbcBAACgAQAAAAAAAAAAEEEBAbgBAAAhAAAAr6AURMcjBUMBuQEAAKAAAAAEAAAAAAAAAAAAAAAACboBAAAAAAAACbsBAAAAAAG8AQAAqQAAAAAAAAABvQEAAHIAAAAAAChCAABgQQG+AQAAFQAAAAAAAAAAAAAAAAAAAAAAAABeutk/CSsBAAAKCb8BAAAJqQEAACADAAD/////AAEKCcABAAABAAoABy0BAAAAAQAAAAIAAAAEFVN5c3RlbS5EcmF3aW5nLlBvaW50RgQAAAABwQEAACEAAACvoBRExyMFQwHCAQAAIQAAAEEvG0IKZnNCBy4BAAAAAQAAAAIAAAAEF0FwbG9yaXMuQmFzZS5BbmNob3JNb2RlAwAAAAHDAQAAoAAAAAQAAAABxAEAAKAAAAACAAAAAS8BAAAlAAAACcUBAAABAAAAAQAAAAEwAQAAJgAAAAnGAQAAAQAAAAEAAAABMgEAACIBAAAKCccBAAAJyAEAAAkJAQAACQEAAAAJyQEAAAE0AQAAJAEAAApYAgAAAcoBAACdAQAAAQAAAAHLAQAAngEAAAAAAAABzAEAABUAAABOhvtDB++VQUDspkLSIRhCAc0BAACgAQAAAAAAAAAAEEEBAc4BAAAhAAAAr6AURG0IF0IBzwEAAKAAAAAEAAAAAAAAAAAAAAAACdABAAAAAAAACdEBAAAAAAHSAQAAqQAAAAAAAAAB0wEAAHIAAAAAAFBCAABgQQHUAQAAFQAAAAAAAAAAAAAAAAAAAAAAAABeutk/CTMBAAAKCdUBAAAJqQEAACADAAD/////AAEKCdYBAAABAAoABzUBAAAAAQAAAAIAAAAEFVN5c3RlbS5EcmF3aW5nLlBvaW50RgQAAAAB1wEAACEAAACvoBREbQgXQgHYAQAAIQAAAEEvG0JK045BBzYBAAAAAQAAAAIAAAAEF0FwbG9yaXMuQmFzZS5BbmNob3JNb2RlAwAAAAHZAQAAoAAAAAQAAAAB2gEAAKAAAAACAAAAATcBAAAlAAAACdsBAAABAAAAAQAAAAE4AQAAJgAAAAncAQAAAQAAAAEAAAAPOwEAAAEAAAAIAAAAAAc8AQAAAAEAAAABAAAABBVBcGxvcmlzLkJhc2UuVUkuTGFiZWwDAAAACd0BAAABPQEAADQAAAAB3gEAACEAAAAEu+ZCL52QQwHfAQAAoAAAAAMAAAAAAAAAAAAAAAAJ4AEAAAAAAAAJ4QEAAAAAAeIBAACpAAAAAAAAAAHjAQAAcgAAAAAA6EIAAGBBAeQBAAAVAAAAqqqDQlWVkENtScdCqqo6QRKDvj8JOQEAAAoJ5QEAAAmpAQAAIAMAAP////8BAQoJ5gEAAAEACgABPgEAACUAAAAJ5wEAAAAAAAAAAAAAAT8BAAAmAAAACegBAAACAAAAAgAAAA9CAQAAAQAAAAgAAAAAB0MBAAAAAQAAAAEAAAAEFUFwbG9yaXMuQmFzZS5VSS5MYWJlbAMAAAAJ6QEAAAFEAQAANAAAAAHqAQAAIQAAAHJAgUMvnZBDAesBAACgAAAAAwAAAAAAAAAAAAAAAAnsAQAAAAAAAAntAQAAAAAB7gEAAKkAAAAAAAAAAe8BAAByAAAAAABkQgAAYEEB8AEAABUAAABVVWlDVZWQQzHoSUKqqjpBEoO+PwlAAQAACgnxAQAACakBAAAgAwAA/////wEBCgnyAQAAAQAKAAFFAQAAJQAAAAnzAQAAAAAAAAAAAAABRgEAACYAAAAJ9AEAAAIAAAAEAAAAD0kBAAABAAAACAAAAAAHSgEAAAABAAAAAQAAAAQVQXBsb3Jpcy5CYXNlLlVJLkxhYmVsAwAAAAn1AQAAAUsBAAA0AAAAAfYBAAAhAAAAJNLIQy+dkEMB9wEAAKAAAAADAAAAAAAAAAAAAAAACfgBAAAAAAAACfkBAAAAAAH6AQAAqQAAAAAAAAAB+wEAAHIAAAAAAKhCAABgQQH8AQAAFQAAAACAtkNVlZBDGPSRQqqqOkESg74/CUcBAAAKCf0BAAAJqQEAACADAAD/////AQEKCf4BAAABAAoAAUwBAAAlAAAACf8BAAAAAAAAAAAAAAFNAQAAJgAAAAkAAgAAAgAAAAQAAAAPUAEAAAEAAAAIAAAAAAdRAQAAAAEAAAABAAAABBVBcGxvcmlzLkJhc2UuVUkuTGFiZWwDAAAACQECAAABUgEAADQAAAABAgIAACEAAADrMQhEL52QQwEDAgAAoAAAAAMAAAAAAAAAAAAAAAAJBAIAAAAAAAAJBQIAAAAAAQYCAACpAAAAAAAAAAEHAgAAcgAAAAAAEUMAAGBBAQgCAAAVAAAA/z/xQ1WVkEPCnvdCqqo6QRKDvj8JTgEAAAoJCQIAAAmpAQAAIAMAAP////8BAQoJCgIAAAEACgABUwEAACUAAAAJCwIAAAAAAAAAAAAAAVQBAAAmAAAACQwCAAACAAAAAgAAAAVVAQAAKUFwbG9yaXMuQ2hhcnQuQ29sdW1uT3JpZW50ZWRMZWdlbmRFbGVtZW50DQAAAAdtTGVnZW5kC21EYXRhU2VyaWVzFExlZ2VuZEVsZW1lbnQrbUxhYmVsGExlZ2VuZEVsZW1lbnQrbVJlY3RhbmdsZRNMZWdlbmRFbGVtZW50K21MaW5lFUxlZ2VuZEVsZW1lbnQrbUNpcmNsZRVMZWdlbmRFbGVtZW50K21NYXJrZXIUTGVnZW5kRWxlbWVudCttSW5kZXgdTGVnZW5kRWxlbWVudCttTGFiZWxQb3NpdGlvbnMYRGF0YU9iamVjdCttQ2hpbGRPYmplY3RzEkRhdGFPYmplY3QrbVBhcmVudBVEYXRhT2JqZWN0K21Db250YWluZXIZRGF0YU9iamVjdCttVmlzdWFsT2JqZWN0cwQEBAQEBAQABAMEBAMiQXBsb3Jpcy5DaGFydC5Db2x1bW5PcmllbnRlZExlZ2VuZAIAAAAdQXBsb3Jpcy5DaGFydC5DaGFydERhdGFTZXJpZXMCAAAAFUFwbG9yaXMuQmFzZS5VSS5MYWJlbAMAAAAaQXBsb3Jpcy5CYXNlLlVJLlZpc3VhbFJlY3QDAAAAGkFwbG9yaXMuQmFzZS5VSS5WaXN1YWxMaW5lAwAAAB1BcGxvcmlzLkJhc2UuVUkuVmlzdWFsRWxsaXBzZQMAAAAaQXBsb3Jpcy5DaGFydC5WaXN1YWxNYXJrZXICAAAACBdTeXN0ZW0uRHJhd2luZy5Qb2ludEZbXQQAAAC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UAAAACQcBAAAJDQIAAAkOAgAACgoKAAAAAAoJDwIAAAkUAAAACQEAAAAJEAIAAAFWAQAAVQEAAAkUAAAACQgBAAAJEQIAAAkSAgAACgoKAQAAAAoJEwIAAAkUAAAACQEAAAAJFAIAAAFXAQAAVQEAAAkUAAAACQkBAAAJFQIAAAkWAgAACgoKAgAAAAoJFwIAAAkUAAAACQEAAAAJGAIAAAFYAQAAMAAAAAEZAgAAIQAAAEEvL0IvHY5DARoCAAAhAAAAQS8fQi8djkMJGwIAAMwBAAD/////AQEKCRwCAAABAAoAAVkBAAA0AAAAAR0CAAAhAAAAQS8ZQi8djkMBHgIAAKAAAAACAAAAAAAAAAAAAAAACR8CAAAAAAAACSACAAAAAAEhAgAAqQAAAAAAAAABIgIAAHIAAAAAAJBBAABgQQEjAgAAFQAAAFVVrUGqKotDYtCPQaqqOkESg74/BiQCAAACMCUKCSUCAAAJqQEAANACAAD/////AQEKCSYCAAABAAoAAVwBAAAlAAAACdkAAAAAAAAAAAAAAAFdAQAAJgAAAAknAgAAAgAAAAIAAAABXgEAADAAAAABKAIAACEAAABBLy9Cj7CAQwEpAgAAIQAAAEEvH0KPsIBDCSoCAADMAQAA/////wEBCgkrAgAAAQAKAAFfAQAANAAAAAEsAgAAIQAAAEEvGUKPsIBDAS0CAACgAAAAAgAAAAAAAAAAAAAAAAkuAgAAAAAAAAkvAgAAAAABMAIAAKkAAAAAAAAAATECAAByAAAAAADIQQAAYEEBMgIAABUAAABVVX1Bqqp7Qwx7vkGqqjpBEoO+PwYzAgAAAzEwJQoJNAIAAAmpAQAA0AIAAP////8BAQoJNQIAAAEACgABYgEAACUAAAAJ2QAAAAAAAAAAAAAAAWMBAAAmAAAACTYCAAACAAAAAgAAAAFkAQAAMAAAAAE3AgAAIQAAAEEvL0Lfh2ZDATgCAAAhAAAAQS8fQt+HZkMJOQIAAMwBAAD/////AQEKCToCAAABAAoAAWUBAAA0AAAAATsCAAAhAAAAQS8ZQt+HZkMBPAIAAKAAAAACAAAAAAAAAAAAAAAACT0CAAAAAAAACT4CAAAAAAE/AgAAqQAAAAAAAAABQAIAAHIAAAAAAMhBAABgQQFBAgAAFQAAAFVVfUH//2BDDHu+QaqqOkESg74/BkICAAADMjAlCglDAgAACakBAADQAgAA/////wEBCglEAgAAAQAKAAFoAQAAJQAAAAnZAAAAAAAAAAAAAAABaQEAACYAAAAJRQIAAAIAAAACAAAAAWoBAAAwAAAAAUYCAAAhAAAAQS8vQp+uS0MBRwIAACEAAABBLx9Cn65LQwlIAgAAzAEAAP////8BAQoJSQIAAAEACgABawEAADQAAAABSgIAACEAAABBLxlCn65LQwFLAgAAoAAAAAIAAAAAAAAAAAAAAAAJTAIAAAAAAAAJTQIAAAAAAU4CAACpAAAAAAAAAAFPAgAAcgAAAAAAyEEAAGBBAVACAAAVAAAAVVV9Qf9/RUMMe75Bqqo6QRKDvj8GUQIAAAMzMCUKCVICAAAJqQEAANACAAD/////AQEKCVMCAAABAAoAAW4BAAAlAAAACdkAAAAAAAAAAAAAAAFvAQAAJgAAAAlUAgAAAgAAAAIAAAABcAEAADAAAAABVQIAACEAAABBLy9CX9UwQwFWAgAAIQAAAEEvH0Jf1TBDCVcCAADMAQAA/////wEBCglYAgAAAQAKAAFxAQAANAAAAAFZAgAAIQAAAEEvGUJf1TBDAVoCAACgAAAAAgAAAAAAAAAAAAAAAAlbAgAAAAAAAAlcAgAAAAABXQIAAKkAAAAAAAAAAV4CAAByAAAAAADIQQAAYEEBXwIAABUAAABVVX1BVdUqQwx7vkGqqjpBEoO+PwZgAgAAAzQwJQoJYQIAAAmpAQAA0AIAAP////8BAQoJYgIAAAEACgABdAEAACUAAAAJ2QAAAAAAAAAAAAAAAXUBAAAmAAAACWMCAAACAAAAAgAAAAF2AQAAMAAAAAFkAgAAIQAAAEEvL0If/BVDAWUCAAAhAAAAQS8fQh/8FUMJZgIAAMwBAAD/////AQEKCWcCAAABAAoAAXcBAAA0AAAAAWgCAAAhAAAAQS8ZQh/8FUMBaQIAAKAAAAACAAAAAAAAAAAAAAAACWoCAAAAAAAACWsCAAAAAAFsAgAAqQAAAAAAAAABbQIAAHIAAAAAAMhBAABgQQFuAgAAFQAAAFVVfUGqKhBDDHu+QaqqOkESg74/Bm8CAAADNTAlCglwAgAACakBAADQAgAA/////wEBCglxAgAAAQAKAAF6AQAAJQAAAAnZAAAAAAAAAAAAAAABewEAACYAAAAJcgIAAAIAAAACAAAAAXwBAAAwAAAAAXMCAAAhAAAAQS8vQr9F9kIBdAIAACEAAABBLx9Cv0X2Qgl1AgAAzAEAAP////8BAQoJdgIAAAEACgABfQEAADQAAAABdwIAACEAAABBLxlCv0X2QgF4AgAAoAAAAAIAAAAAAAAAAAAAAAAJeQIAAAAAAAAJegIAAAAAAXsCAACpAAAAAAAAAAF8AgAAcgAAAAAAyEEAAGBBAX0CAAAVAAAAVVV9Qf//6kIMe75Bqqo6QRKDvj8GfgIAAAM2MCUKCX8CAAAJqQEAANACAAD/////AQEKCYACAAABAAoAAYABAAAlAAAACdkAAAAAAAAAAAAAAAGBAQAAJgAAAAmBAgAAAgAAAAIAAAABggEAADAAAAABggIAACEAAABBLy9CQJPAQgGDAgAAIQAAAEEvH0JAk8BCCYQCAADMAQAA/////wEBCgmFAgAAAQAKAAGDAQAANAAAAAGGAgAAIQAAAEEvGUJAk8BCAYcCAACgAAAAAgAAAAAAAAAAAAAAAAmIAgAAAAAAAAmJAgAAAAABigIAAKkAAAAAAAAAAYsCAAByAAAAAADIQQAAYEEBjAIAABUAAABVVX1Bqqq1Qgx7vkGqqjpBEoO+PwaNAgAAAzcwJQoJjgIAAAmpAQAA0AIAAP////8BAQoJjwIAAAEACgABhgEAACUAAAAJ2QAAAAAAAAAAAAAAAYcBAAAmAAAACZACAAACAAAAAgAAAAGIAQAAMAAAAAGRAgAAIQAAAEEvL0LB4IpCAZICAAAhAAAAQS8fQsHgikIJkwIAAMwBAAD/////AQEKCZQCAAABAAoAAYkBAAA0AAAAAZUCAAAhAAAAQS8ZQsHgikIBlgIAAKAAAAACAAAAAAAAAAAAAAAACZcCAAAAAAAACZgCAAAAAAGZAgAAqQAAAAAAAAABmgIAAHIAAAAAAMhBAABgQQGbAgAAFQAAAFVVfUFVVX1CDHu+QaqqOkESg74/BpwCAAADODAlCgmdAgAACakBAADQAgAA/////wEBCgmeAgAAAQAKAAGMAQAAJQAAAAnZAAAAAAAAAAAAAAABjQEAACYAAAAJnwIAAAIAAAACAAAAAY4BAAAwAAAAAaACAAAhAAAAQS8vQoJcKkIBoQIAACEAAABBLx9CglwqQgmiAgAAzAEAAP////8BAQoJowIAAAEACgABjwEAADQAAAABpAIAACEAAABBLxlCglwqQgGlAgAAoAAAAAIAAAAAAAAAAAAAAAAJpgIAAAAAAAAJpwIAAAAAAagCAACpAAAAAAAAAAGpAgAAcgAAAAAAyEEAAGBBAaoCAAAVAAAAVVV9QaqqEkIMe75Bqqo6QRKDvj8GqwIAAAM5MCUKCawCAAAJqQEAANACAAD/////AQEKCa0CAAABAAoAAZIBAAAlAAAACdkAAAAAAAAAAAAAAAGTAQAAJgAAAAmuAgAAAgAAAAIAAAABlAEAADAAAAABrwIAACEAAABBLy9CDt57QQGwAgAAIQAAAEEvH0IO3ntBCbECAADMAQAA/////wEBCgmyAgAAAQAKAAGVAQAANAAAAAGzAgAAIQAAAEEvGUIO3ntBAbQCAACgAAAAAgAAAAAAAAAAAAAAAAm1AgAAAAAAAAm2AgAAAAABtwIAAKkAAAAAAAAAAbgCAAByAAAAAAAAQgAAYEEBuQIAABUAAAAAACBBAAAgQbgl7UGqqjpBEoO+Pwa6AgAABDEwMCUKCbsCAAAJqQEAANACAAD/////AQEKCbwCAAABAAoAAZgBAAAlAAAACdkAAAAAAAAAAAAAAAGZAQAAJgAAAAm9AgAAAgAAAAIAAAAEmgEAAJgBU3lzdGVtLkNvbGxlY3Rpb25zLkdlbmVyaWMuTGlzdGAxW1tBcGxvcmlzLkNoYXJ0LkNoYXJ0RGF0YUVsZW1lbnQsIEFwbG9yaXMuQ2hhcnQsIFZlcnNpb249NC4wLjAuMTQ4NiwgQ3VsdHVyZT1uZXV0cmFsLCBQdWJsaWNLZXlUb2tlbj0xNmZjMTNhMjI2YzBlOTUxXV0DAAAABl9pdGVtcwVfc2l6ZQhfdmVyc2lvbgQAACBBcGxvcmlzLkNoYXJ0LkNoYXJ0RGF0YUVsZW1lbnRbXQIAAAAICAm+AgAABAAAACYAAAABmwEAACUAAAAJvwIAAAQAAAASAAAAAZwBAAAmAAAACcACAAAAAAAAAAAAAAWj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BwEAAAoAAAAAAEBBCXYAAAAJdwAAAAnBAgAAAQAJwgIAAAGkAQAAeAAAAAoKAAAAAP///wAOAAAAAAEBqAEAAK0AAAAJwwIAAAEAAAABAAAAAaoBAAB1AAAACcQCAAAKB68BAAAAAQAAAAQAAAAEH0FwbG9yaXMuQmFzZS5PYmplY3RzLkRhdGFPYmplY3QDAAAACSIBAAANAwewAQAAAAEAAAAEAAAABBxBcGxvcmlzLkJhc2UuVUkuVmlzdWFsT2JqZWN0AwAAAAkkAQAADQMBsQEAAJoBAAAJxQIAAAQAAAAmAAAAAbIBAAAlAAAACcYCAAAEAAAAEgAAAAGzAQAAJgAAAAnHAgAAAAAAAAAAAAAFu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gBAAAKAAAAAABAQQl2AAAACXcAAAAJyAIAAAEACckCAAABuwEAAHgAAAAKCgAAAAD///8ADgAAAAABAb8BAACtAAAACcoCAAABAAAAAQAAAAHAAQAAdQAAAAnLAgAACgfFAQAAAAEAAAAEAAAABB9BcGxvcmlzLkJhc2UuT2JqZWN0cy5EYXRhT2JqZWN0AwAAAAkqAQAADQMHxgEAAAABAAAABAAAAAQcQXBsb3Jpcy5CYXNlLlVJLlZpc3VhbE9iamVjdAMAAAAJLAEAAA0DAccBAACaAQAACcwCAAAEAAAAJgAAAAHIAQAAJQAAAAnNAgAABAAAABIAAAAByQEAACYAAAAJxwIAAAAAAAAAAAAABdA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JAQAACgAAAAAAQEEJdgAAAAl3AAAACc4CAAABAAnPAgAAAdEBAAB4AAAACgoAAAAA////AA4AAAAAAQHVAQAArQAAAAnQAgAAAQAAAAEAAAAB1gEAAHUAAAAJ0QIAAAoH2wEAAAABAAAABAAAAAQfQXBsb3Jpcy5CYXNlLk9iamVjdHMuRGF0YU9iamVjdAMAAAAJMgEAAA0DB9wBAAAAAQAAAAQAAAAEHEFwbG9yaXMuQmFzZS5VSS5WaXN1YWxPYmplY3QDAAAACTQBAAANAwHdAQAANAAAAAHSAgAAIQAAAAS75kIO3ktBAdMCAACgAAAAAQAAAAAAAAAAAAAAAAnUAgAAAAAAAAnVAgAAAAAB1gIAAKkAAAAAAAAAAdcCAAByAAAAAAAAAAAAAAAB2AIAABUAAAAAAAAAAAAAAAAAAAAAAAAAAAAAAAbZAgAABDEwMCUKCdoCAAAJqQEAADQDAAD/////AAEKCdsCAAABAAoAAeABAAAjAAAACgoAAAAAAChBCXYAAAAJdwAAAAncAgAAAAAJ3QIAAAHhAQAAeAAAAAoKAAAAAP///wAOAAAAAAEB5QEAAK0AAAAJ3gIAAAEAAAABAAAAAeYBAAB1AAAACd8CAAAKB+cBAAAAAQAAAAAAAAAEH0FwbG9yaXMuQmFzZS5PYmplY3RzLkRhdGFPYmplY3QDAAAAB+gBAAAAAQAAAAQAAAAEHEFwbG9yaXMuQmFzZS5VSS5WaXN1YWxPYmplY3QDAAAACT0BAAAJ3QEAAAoKAekBAAA0AAAAAeACAAAhAAAAckCBQw7eS0EB4QIAAKAAAAABAAAAAAAAAAAAAAAACeICAAAAAAAACeMCAAAAAAHkAgAAqQAAAAAAAAAB5QIAAHIAAAAAABxCAABAQQHmAgAAFQAAAAAAAAAAAAAAAAAAAAAAAAASg74/BucCAAAEMTAwJQoJ6AIAAAmpAQAANAMAAP////8AAQoJ6QIAAAEACgAB7AEAACMAAAAKCgAAAAAAKEEJdgAAAAl3AAAACeoCAAAAAAnrAgAAAe0BAAB4AAAACgoAAAAA////AA4AAAAAAQHxAQAArQAAAAnsAgAAAQAAAAEAAAAB8gEAAHUAAAAJ7QIAAAoH8wEAAAABAAAAAAAAAAQfQXBsb3Jpcy5CYXNlLk9iamVjdHMuRGF0YU9iamVjdAMAAAAH9AEAAAABAAAABAAAAAQcQXBsb3Jpcy5CYXNlLlVJLlZpc3VhbE9iamVjdAMAAAAJRAEAAAnpAQAACgoB9QEAADQAAAAB7gIAACEAAAAk0shDDt5LQQHvAgAAoAAAAAEAAAAAAAAAAAAAAAAJ8AIAAAAAAAAJ8QIAAAAAAfICAACpAAAAAAAAAAHzAgAAcgAAAAAAHEIAAEBBAfQCAAAVAAAAAAAAAAAAAAAAAAAAAAAAABKDvj8G9QIAAAQxMDAlCgn2AgAACakBAAA0AwAA/////wABCgn3AgAAAQAKAAH4AQAAIwAAAAoKAAAAAAAoQQl2AAAACXcAAAAJ+AIAAAAACfkCAAAB+QEAAHgAAAAKCgAAAAD///8ADgAAAAABAf0BAACtAAAACfoCAAABAAAAAQAAAAH+AQAAdQAAAAn7AgAACgf/AQAAAAEAAAAAAAAABB9BcGxvcmlzLkJhc2UuT2JqZWN0cy5EYXRhT2JqZWN0AwAAAAcAAgAAAAEAAAAEAAAABBxBcGxvcmlzLkJhc2UuVUkuVmlzdWFsT2JqZWN0AwAAAAlLAQAACfUBAAAKCgEBAgAANAAAAAH8AgAAIQAAAOsxCEQO3ktBAf0CAACgAAAAAQAAAAAAAAAAAAAAAAn+AgAAAAAAAAn/AgAAAAABAAMAAKkAAAAAAAAAAQEDAAByAAAAAAAAAAAAAAABAgMAABUAAAAAAAAAAAAAAAAAAAAAAAAAAAAAAAYDAwAABDEwMCUKCQQDAAAJqQEAADQDAAD/////AAEKCQUDAAABAAoAAQQCAAAjAAAACgoAAAAAAChBCXYAAAAJdwAAAAkGAwAAAAAJBwMAAAEFAgAAeAAAAAoKAAAAAP///wAOAAAAAAEBCQIAAK0AAAAJCAMAAAEAAAABAAAAAQoCAAB1AAAACQkDAAAKBwsCAAAAAQAAAAAAAAAEH0FwbG9yaXMuQmFzZS5PYmplY3RzLkRhdGFPYmplY3QDAAAABwwCAAAAAQAAAAQAAAAEHEFwbG9yaXMuQmFzZS5VSS5WaXN1YWxPYmplY3QDAAAACVIBAAAJAQIAAAoKAQ0CAAA0AAAAAQoDAAAhAAAA5FWDQvignEMBCwMAAKAAAAAFAAAAAAAAAAAAAAAACQwDAAAAAAAACQ0DAAAAAAEOAwAAqQAAAAAAAAABDwMAAHIAAAAAAARCAABgQQEQAwAAFQAAAFVVgEKqqpxDYtDzQaqqOkESg74/CSMBAAAKCREDAAAJqQEAAIQDAAD/////AQEKCRIDAAABAAoAAQ4CAAAcAAAAARMDAAAhAAAAV65MQvignEMBFAMAACEAAADIq3pCpmCiQwkVAwAACRYDAAAAAAAACgEXAwAAcgAAAAAAAAAAAAAAARgDAAByAAAAAAAAAAAAAAAAAAAAARkDAAAVAAAAAAAAAAAAAAAAAAAAAAAAAJgDAAD/////AQEKCRoDAAABAAoAAQ8CAAAlAAAACRsDAAAAAAAAAAAAAAEQAgAAJgAAAAkcAwAAAgAAAAIAAAABEQIAADQAAAABHQMAACEAAACqvABD+KCcQwEeAwAAoAAAAAUAAAAAAAAAAAAAAAAJHwMAAAAAAAAJIAMAAAAAASEDAACpAAAAAAAAAAEiAwAAcgAAAAAAIEIAAGBBASMDAAAVAAAA///+QqqqnEOGPRFCqqo6QRKDvj8JKwEAAAoJJAMAAAmpAQAAhAMAAP////8BAQoJJQMAAAEACgABEgIAABwAAAABJgMAACEAAACceuRC+KCcQwEnAwAAIQAAAFR5+0KmYKJDCSgDAAAJKQMAAAAAAAAKASoDAAByAAAAAAAAAAAAAAABKwMAAHIAAAAAAAAAAAAAAAAAAAABLAMAABUAAAAAAAAAAAAAAAAAAAAAAAAAmAMAAP////8BAQoJLQMAAAEACgABEwIAACUAAAAJGwMAAAAAAAAAAAAAARQCAAAmAAAACS4DAAACAAAAAgAAAAEVAgAANAAAAAEvAwAAIQAAALejRUP4oJxDATADAACgAAAABQAAAAAAAAAAAAAAAAkxAwAAAAAAAAkyAwAAAAABMwMAAKkAAAAAAAAAATQDAAByAAAAAABIQgAAYEEBNQMAABUAAABV1UNDqqqcQ9ySMkKqqjpBEoO+PwkzAQAACgk2AwAACakBAACEAwAA/////wEBCgk3AwAAAQAKAAEWAgAAHAAAAAE4AwAAIQAAAFskN0P4oJxDATkDAAAhAAAAt6NCQ6ZgokMJOgMAAAk7AwAAAAAAAAoBPAMAAHIAAAAAAAAAAAAAAAE9AwAAcgAAAAAAAAAAAAAAAAAAAAE+AwAAFQAAAAAAAAAAAAAAAAAAAAAAAACYAwAA/////wEBCgk/AwAAAQAKAAEXAgAAJQAAAAkbAwAAAAAAAAAAAAABGAIAACYAAAAJQAMAAAIAAAACAAAAARsCAABwAAAACgoAAABAPwlBAwAACUIDAAABAAAA/v///wAAAAABAAAAAAAAAAAAAAABAAAAAAAAAAAAAAEcAgAAdQAAAAlDAwAACgEfAgAAIwAAAAoKAAAAAAAoQQl2AAAACXcAAAAJRAMAAAAACUUDAAABIAIAAHgAAAAKCgAAAAD///8ADgAAAAABASUCAACtAAAACUYDAAABAAAAAQAAAAEmAgAAdQAAAAlHAwAACgcnAgAAAAEAAAAEAAAABBxBcGxvcmlzLkJhc2UuVUkuVmlzdWFsT2JqZWN0AwAAAAlYAQAACVkBAAAKCgEqAgAAcAAAAAoKAAAAQD8JSAMAAAlJAwAAAQAAAP7///8AAAAAAQAAAAAAAAAAAAAAAQAAAAAAAAAAAAABKwIAAHUAAAAJSgMAAAoBLgIAACMAAAAKCgAAAAAAKEEJdgAAAAl3AAAACUsDAAAAAAlMAwAAAS8CAAB4AAAACgoAAAAA////AA4AAAAAAQE0AgAArQAAAAlNAwAAAQAAAAMAAAABNQIAAHUAAAAJTgMAAAoHNgIAAAABAAAABAAAAAQcQXBsb3Jpcy5CYXNlLlVJLlZpc3VhbE9iamVjdAMAAAAJXgEAAAlfAQAACgoBOQIAAHAAAAAKCgAAAEA/CU8DAAAJUAMAAAEAAAD+////AAAAAAEAAAAAAAAAAAAAAAEAAAAAAAAAAAAAAToCAAB1AAAACVEDAAAKAT0CAAAjAAAACgoAAAAAAChBCXYAAAAJdwAAAAlSAwAAAAAJUwMAAAE+AgAAeAAAAAoKAAAAAP///wAOAAAAAAEBQwIAAK0AAAAJVAMAAAEAAAADAAAAAUQCAAB1AAAACVUDAAAKB0UCAAAAAQAAAAQAAAAEHEFwbG9yaXMuQmFzZS5VSS5WaXN1YWxPYmplY3QDAAAACWQBAAAJZQEAAAoKAUgCAABwAAAACgoAAABAPwlWAwAACVcDAAABAAAA/v///wAAAAABAAAAAAAAAAAAAAABAAAAAAAAAAAAAAFJAgAAdQAAAAlYAwAACgFMAgAAIwAAAAoKAAAAAAAoQQl2AAAACXcAAAAJWQMAAAAACVoDAAABTQIAAHgAAAAKCgAAAAD///8ADgAAAAABAVICAACtAAAACVsDAAABAAAAAwAAAAFTAgAAdQAAAAlcAwAACgdUAgAAAAEAAAAEAAAABBxBcGxvcmlzLkJhc2UuVUkuVmlzdWFsT2JqZWN0AwAAAAlqAQAACWsBAAAKCgFXAgAAcAAAAAoKAAAAQD8JXQMAAAleAwAAAQAAAP7///8AAAAAAQAAAAAAAAAAAAAAAQAAAAAAAAAAAAABWAIAAHUAAAAJXwMAAAoBWwIAACMAAAAKCgAAAAAAKEEJdgAAAAl3AAAACWADAAAAAAlhAwAAAVwCAAB4AAAACgoAAAAA////AA4AAAAAAQFhAgAArQAAAAliAwAAAQAAAAMAAAABYgIAAHUAAAAJYwMAAAoHYwIAAAABAAAABAAAAAQcQXBsb3Jpcy5CYXNlLlVJLlZpc3VhbE9iamVjdAMAAAAJcAEAAAlxAQAACgoBZgIAAHAAAAAKCgAAAEA/CWQDAAAJZQMAAAEAAAD+////AAAAAAEAAAAAAAAAAAAAAAEAAAAAAAAAAAAAAWcCAAB1AAAACWYDAAAKAWoCAAAjAAAACgoAAAAAAChBCXYAAAAJdwAAAAlnAwAAAAAJaAMAAAFrAgAAeAAAAAoKAAAAAP///wAOAAAAAAEBcAIAAK0AAAAJaQMAAAEAAAADAAAAAXECAAB1AAAACWoDAAAKB3ICAAAAAQAAAAQAAAAEHEFwbG9yaXMuQmFzZS5VSS5WaXN1YWxPYmplY3QDAAAACXYBAAAJdwEAAAoKAXUCAABwAAAACgoAAABAPwlrAwAACWwDAAABAAAA/v///wAAAAABAAAAAAAAAAAAAAABAAAAAAAAAAAAAAF2AgAAdQAAAAltAwAACgF5AgAAIwAAAAoKAAAAAAAoQQl2AAAACXcAAAAJbgMAAAAACW8DAAABegIAAHgAAAAKCgAAAAD///8ADgAAAAABAX8CAACtAAAACXADAAABAAAAAwAAAAGAAgAAdQAAAAlxAwAACgeBAgAAAAEAAAAEAAAABBxBcGxvcmlzLkJhc2UuVUkuVmlzdWFsT2JqZWN0AwAAAAl8AQAACX0BAAAKCgGEAgAAcAAAAAoKAAAAQD8JcgMAAAlzAwAAAQAAAP7///8AAAAAAQAAAAAAAAAAAAAAAQAAAAAAAAAAAAABhQIAAHUAAAAJdAMAAAoBiAIAACMAAAAKCgAAAAAAKEEJdgAAAAl3AAAACXUDAAAAAAl2AwAAAYkCAAB4AAAACgoAAAAA////AA4AAAAAAQGOAgAArQAAAAl3AwAAAQAAAAMAAAABjwIAAHUAAAAJeAMAAAoHkAIAAAABAAAABAAAAAQcQXBsb3Jpcy5CYXNlLlVJLlZpc3VhbE9iamVjdAMAAAAJggEAAAmDAQAACgoBkwIAAHAAAAAKCgAAAEA/CXkDAAAJegMAAAEAAAD+////AAAAAAEAAAAAAAAAAAAAAAEAAAAAAAAAAAAAAZQCAAB1AAAACXsDAAAKAZcCAAAjAAAACgoAAAAAAChBCXYAAAAJdwAAAAl8AwAAAAAJfQMAAAGYAgAAeAAAAAoKAAAAAP///wAOAAAAAAEBnQIAAK0AAAAJfgMAAAEAAAADAAAAAZ4CAAB1AAAACX8DAAAKB58CAAAAAQAAAAQAAAAEHEFwbG9yaXMuQmFzZS5VSS5WaXN1YWxPYmplY3QDAAAACYgBAAAJiQEAAAoKAaICAABwAAAACgoAAABAPwmAAwAACYEDAAABAAAA/v///wAAAAABAAAAAAAAAAAAAAABAAAAAAAAAAAAAAGjAgAAdQAAAAmCAwAACgGmAgAAIwAAAAoKAAAAAAAoQQl2AAAACXcAAAAJgwMAAAAACYQDAAABpwIAAHgAAAAKCgAAAAD///8ADgAAAAABAawCAACtAAAACYUDAAABAAAAAwAAAAGtAgAAdQAAAAmGAwAACgeuAgAAAAEAAAAEAAAABBxBcGxvcmlzLkJhc2UuVUkuVmlzdWFsT2JqZWN0AwAAAAmOAQAACY8BAAAKCgGxAgAAcAAAAAoKAAAAQD8JhwMAAAmIAwAAAQAAAP7///8AAAAAAQAAAAAAAAAAAAAAAQAAAAAAAAAAAAABsgIAAHUAAAAJiQMAAAoBtQIAACMAAAAKCgAAAAAAKEEJdgAAAAl3AAAACYoDAAAAAAmLAwAAAbYCAAB4AAAACgoAAAAA////AA4AAAAAAQG7AgAArQAAAAmMAwAAAQAAAAMAAAABvAIAAHUAAAAJjQMAAAoHvQIAAAABAAAABAAAAAQcQXBsb3Jpcy5CYXNlLlVJLlZpc3VhbE9iamVjdAMAAAAJlAEAAAmVAQAACgoHvgIAAAABAAAAEAAAAAQeQXBsb3Jpcy5DaGFydC5DaGFydERhdGFFbGVtZW50AgAAAAmOAwAACY8DAAAJkAMAAAmRAwAADQwHvwIAAAABAAAAEAAAAAQfQXBsb3Jpcy5CYXNlLk9iamVjdHMuRGF0YU9iamVjdAMAAAAJjwMAAAmQAwAACY4DAAAJkQMAAA0MB8ACAAAAAQAAAAAAAAAEHEFwbG9yaXMuQmFzZS5VSS5WaXN1YWxPYmplY3QDAAAAAcECAAB4AAAACgoAAAAAAAAAAA0AAAAAAQHCAgAAeAAAAAoKAQAAAAAAAAD/////AAEHwwIAAAABAAAABAAAAAQdQXBsb3Jpcy5CYXNlLk9iamVjdHMuVmFyaWFibGUDAAAABZIDAAAdQXBsb3Jpcy5CYXNlLk9iamVjdHMuVmFyaWFibGUCAAAABk51bWJlcghQb3NpdGlvbgAACAgDAAAAAQAAAAAAAAABkwMAAJIDAAAAAAAAAAAAAAGUAwAAkgMAAAAAAAAAAAAAAZUDAACSAwAAAAAAAAAAAAAPxAIAAAEAAAAIAAAAAAfFAgAAAAEAAAAQAAAABB5BcGxvcmlzLkNoYXJ0LkNoYXJ0RGF0YUVsZW1lbnQCAAAACZYDAAAJlwMAAAmYAwAACZkDAAANDAfGAgAAAAEAAAAQAAAABB9BcGxvcmlzLkJhc2UuT2JqZWN0cy5EYXRhT2JqZWN0AwAAAAmXAwAACZgDAAAJlgMAAAmZAwAADQwHxwIAAAABAAAAAAAAAAQcQXBsb3Jpcy5CYXNlLlVJLlZpc3VhbE9iamVjdAMAAAAByAIAAHgAAAAKCgAAAAAAAAAADQAAAAABAckCAAB4AAAACgoBAAAAAAAAAP////8AAQfKAgAAAAEAAAAEAAAABB1BcGxvcmlzLkJhc2UuT2JqZWN0cy5WYXJpYWJsZQMAAAABmgMAAJIDAAABAAAAAAAAAAGbAwAAkgMAAAAAAAAAAAAAAZwDAACSAwAAAAAAAAAAAAABnQMAAJIDAAAAAAAAAAAAAA/LAgAAAQAAAAgAAAAAB8wCAAAAAQAAABAAAAAEHkFwbG9yaXMuQ2hhcnQuQ2hhcnREYXRhRWxlbWVudAIAAAAJngMAAAmfAwAACaADAAAJoQMAAA0MB80CAAAAAQAAABAAAAAEH0FwbG9yaXMuQmFzZS5PYmplY3RzLkRhdGFPYmplY3QDAAAACZ8DAAAJoAMAAAmeAwAACaEDAAANDAHOAgAAeAAAAAoKAAAAAAAAAAANAAAAAAEBzwIAAHgAAAAKCgEAAAAAAAAA/////wABB9ACAAAAAQAAAAQAAAAEHUFwbG9yaXMuQmFzZS5PYmplY3RzLlZhcmlhYmxlAwAAAAGiAwAAkgMAAAEAAAAAAAAAAaMDAACSAwAAAAAAAAAAAAABpAMAAJIDAAAAAAAAAAAAAAGlAwAAkgMAAAAAAAAAAAAAD9ECAAABAAAACAAAAAAF1A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CgEAAAoAAAAAAEBBCXYAAAAJdwAAAAmmAwAAAQAJpwMAAAHVAgAAeAAAAAoKAQAAAAAAAAD/////AAEB2gIAAK0AAAAJqAMAAAEAAAADAAAAAdsCAAB1AAAACakDAAAKAdwCAAB4AAAACgoAAAAAAAAAAA0AAAAAAAHdAgAAeAAAAAoKAAAAAAAAAAANAAAAAAEH3gIAAAABAAAABAAAAAQdQXBsb3Jpcy5CYXNlLk9iamVjdHMuVmFyaWFibGUDAAAAAaoDAACSAwAAAQAAAAAAAAABqwMAAJIDAAAAAAAAAAAAAAGsAwAAkgMAAAAAAAAAAAAAAa0DAACSAwAAAAAAAAAAAAAP3wIAAAEAAAAIHAMAAAXi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LAQAACgAAAAAAQEEJdgAAAAl3AAAACa4DAAABAAmvAwAAAeMCAAB4AAAACgoAAAAA////AA4AAAAAAQHoAgAArQAAAAmwAwAAAQAAAAMAAAAB6QIAAHUAAAAJsQMAAAoB6gIAAHgAAAAKCgAAAAAAAAAADQAAAAAAAesCAAB4AAAACgoAAAAAAAAAAA0AAAAAAQfsAgAAAAEAAAAEAAAABB1BcGxvcmlzLkJhc2UuT2JqZWN0cy5WYXJpYWJsZQMAAAABsgMAAJIDAAABAAAAAAAAAAGzAwAAkgMAAAAAAAAAAAAAAbQDAACSAwAAAAAAAAAAAAABtQMAAJIDAAAAAAAAAAAAAA/tAgAAAQAAAAhNAQAABfA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wBAAAKAAAAAABAQQl2AAAACXcAAAAJtgMAAAEACbcDAAAB8QIAAHgAAAAKCgAAAAD///8ADgAAAAABAfYCAACtAAAACbgDAAABAAAAAwAAAAH3AgAAdQAAAAm5AwAACgH4AgAAeAAAAAoKAAAAAAAAAAANAAAAAAAB+QIAAHgAAAAKCgAAAAAAAAAADQAAAAABB/oCAAAAAQAAAAQAAAAEHUFwbG9yaXMuQmFzZS5PYmplY3RzLlZhcmlhYmxlAwAAAAG6AwAAkgMAAAEAAAAAAAAAAbsDAACSAwAAAAAAAAAAAAABvAMAAJIDAAAAAAAAAAAAAAG9AwAAkgMAAAAAAAAAAAAAD/sCAAABAAAACMUAAAAF/g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DQEAAAoAAAAAAEBBCXYAAAAJdwAAAAm+AwAAAQAJvwMAAAH/AgAAeAAAAAoKAQAAAAAAAAD/////AAEBBAMAAK0AAAAJwAMAAAEAAAADAAAAAQUDAAB1AAAACcEDAAAKAQYDAAB4AAAACgoAAAAAAAAAAA0AAAAAAAEHAwAAeAAAAAoKAAAAAAAAAAANAAAAAAEHCAMAAAABAAAABAAAAAQdQXBsb3Jpcy5CYXNlLk9iamVjdHMuVmFyaWFibGUDAAAAAcIDAACSAwAAAQAAAAAAAAABwwMAAJIDAAAAAAAAAAAAAAHEAwAAkgMAAAAAAAAAAAAAAcUDAACSAwAAAAAAAAAAAAAPCQMAAAEAAAAIrQMAAAEMAwAAIwAAAAoKAAAAAAAoQQl2AAAACXcAAAAJxgMAAAAACccDAAABDQMAAHgAAAAKCgEAAAAAAAAA/////wABAREDAACtAAAACcgDAAABAAAAAQAAAAESAwAAdQAAAAnJAwAACgEVAwAAcAAAAAoKAAAAQD8JygMAAAnLAwAAAQAAAP7///8AAAAAAQAAAAAAAAAAAAAAAQAAAAAAAAAAAAABFgMAAHEAAAAKCgnMAwAACc0DAAABAAAA/v///wAAAAD/////AQABGgMAAHUAAAAJzgMAAAoHGwMAAAABAAAAAAAAAAQfQXBsb3Jpcy5CYXNlLk9iamVjdHMuRGF0YU9iamVjdAMAAAAHHAMAAAABAAAABAAAAAQcQXBsb3Jpcy5CYXNlLlVJLlZpc3VhbE9iamVjdAMAAAAJDQIAAAkOAgAACgoBHwMAACMAAAAKCgAAAAAAKEEJdgAAAAl3AAAACc8DAAAAAAnQAwAAASADAAB4AAAACgoBAAAAAAAAAP////8AAQEkAwAArQAAAAnRAwAAAQAAAAEAAAABJQMAAHUAAAAJ0gMAAAoBKAMAAHAAAAAKCgAAAEA/CdMDAAAJ1AMAAAEAAAD+////AAAAAAEAAAAAAAAAAAAAAAEAAAAAAAAAAAAAASkDAABxAAAACgoJ1QMAAAnWAwAAAQAAAP7///8AAAAA/////wEAAS0DAAB1AAAACdcDAAAKBy4DAAAAAQAAAAQAAAAEHEFwbG9yaXMuQmFzZS5VSS5WaXN1YWxPYmplY3QDAAAACRECAAAJEgIAAAoKATEDAAAjAAAACgoAAAAAAChBCXYAAAAJdwAAAAnYAwAAAAAJ2QMAAAEyAwAAeAAAAAoKAQAAAAAAAAD/////AAEBNgMAAK0AAAAJ2gMAAAEAAAABAAAAATcDAAB1AAAACdsDAAAKAToDAABwAAAACgoAAABAPwncAwAACd0DAAABAAAA/v///wAAAAABAAAAAAAAAAAAAAABAAAAAAAAAAAAAAE7AwAAcQAAAAoKCd4DAAAJ3wMAAAEAAAD+////AAAAAP////8BAAE/AwAAdQAAAAngAwAACgdAAwAAAAEAAAAEAAAABBxBcGxvcmlzLkJhc2UuVUkuVmlzdWFsT2JqZWN0AwAAAAkVAgAACRYCAAAKCgFBAwAAeAAAAAoKAAAAAAAAAAANAAAAAAAFQgMAABpBcGxvcmlzLkJhc2UuT2JqZWN0cy5Db2xvcgcAAAASRGF0YU9iamVjdCttUGFyZW50FURhdGFPYmplY3QrbUNvbnRhaW5lcgVtVHlwZQRtUkdCEG1UaGVtZUNvbG9ySW5kZXgMbUF1dG9VcGRhdGVkCW1Nb2RpZmllZAQCAAAAAAAfQXBsb3Jpcy5CYXNlLk9iamVjdHMuTGluZUZvcm1hdAMAAAAICAgBAQMAAAAJGwIAAAoBAAAAAAAAAP////8AAQ9DAwAAAQAAAAi2AwAAAUQDAAB4AAAACgoAAAAAAAAAAA0AAAAAAAFFAwAAeAAAAAoKAAAAAAAAAAANAAAAAAEHRgMAAAABAAAABAAAAAQdQXBsb3Jpcy5CYXNlLk9iamVjdHMuVmFyaWFibGUDAAAAAeEDAACSAwAAAQAAAAAAAAAB4gMAAJIDAAAAAAAAAAAAAAHjAwAAkgMAAAAAAAAAAAAAAeQDAACSAwAAAAAAAAAAAAAPRwMAAAEAAAAIJgAAAAFIAwAAeAAAAAoKAAAAAAAAAAANAAAAAAAFSQMAABpBcGxvcmlzLkJhc2UuT2JqZWN0cy5Db2xvcgcAAAASRGF0YU9iamVjdCttUGFyZW50FURhdGFPYmplY3QrbUNvbnRhaW5lcgVtVHlwZQRtUkdCEG1UaGVtZUNvbG9ySW5kZXgMbUF1dG9VcGRhdGVkCW1Nb2RpZmllZAQCAAAAAAAfQXBsb3Jpcy5CYXNlLk9iamVjdHMuTGluZUZvcm1hdAMAAAAICAgBAQMAAAAJKgIAAAoBAAAAAAAAAP////8AAQ9KAwAAAQAAAAi1AwAAAUsDAAB4AAAACgoAAAAAAAAAAA0AAAAAAAFMAwAAeAAAAAoKAAAAAAAAAAANAAAAAAEHTQMAAAABAAAABAAAAAQdQXBsb3Jpcy5CYXNlLk9iamVjdHMuVmFyaWFibGUDAAAAAeUDAACSAwAAAQAAAAAAAAAB5gMAAJIDAAAAAAAAAAAAAAHnAwAAkgMAAAAAAAAAAAAAAegDAACSAwAAAAAAAAAAAAAPTgMAAAEAAAAIIwAAAAFPAwAAeAAAAAoKAAAAAAAAAAANAAAAAAAFUAMAABpBcGxvcmlzLkJhc2UuT2JqZWN0cy5Db2xvcgcAAAASRGF0YU9iamVjdCttUGFyZW50FURhdGFPYmplY3QrbUNvbnRhaW5lcgVtVHlwZQRtUkdCEG1UaGVtZUNvbG9ySW5kZXgMbUF1dG9VcGRhdGVkCW1Nb2RpZmllZAQCAAAAAAAfQXBsb3Jpcy5CYXNlLk9iamVjdHMuTGluZUZvcm1hdAMAAAAICAgBAQMAAAAJOQIAAAoBAAAAAAAAAP////8AAQ9RAwAAAQAAAAizAwAAAVIDAAB4AAAACgoAAAAAAAAAAA0AAAAAAAFTAwAAeAAAAAoKAAAAAAAAAAANAAAAAAEHVAMAAAABAAAABAAAAAQdQXBsb3Jpcy5CYXNlLk9iamVjdHMuVmFyaWFibGUDAAAAAekDAACSAwAAAQAAAAAAAAAB6gMAAJIDAAAAAAAAAAAAAAHrAwAAkgMAAAAAAAAAAAAAAewDAACSAwAAAAAAAAAAAAAPVQMAAAEAAAAIKwAAAAFWAwAAeAAAAAoKAAAAAAAAAAANAAAAAAAFVwMAABpBcGxvcmlzLkJhc2UuT2JqZWN0cy5Db2xvcgcAAAASRGF0YU9iamVjdCttUGFyZW50FURhdGFPYmplY3QrbUNvbnRhaW5lcgVtVHlwZQRtUkdCEG1UaGVtZUNvbG9ySW5kZXgMbUF1dG9VcGRhdGVkCW1Nb2RpZmllZAQCAAAAAAAfQXBsb3Jpcy5CYXNlLk9iamVjdHMuTGluZUZvcm1hdAMAAAAICAgBAQMAAAAJSAIAAAoBAAAAAAAAAP////8AAQ9YAwAAAQAAAAi5AwAAAVkDAAB4AAAACgoAAAAAAAAAAA0AAAAAAAFaAwAAeAAAAAoKAAAAAAAAAAANAAAAAAEHWwMAAAABAAAABAAAAAQdQXBsb3Jpcy5CYXNlLk9iamVjdHMuVmFyaWFibGUDAAAAAe0DAACSAwAAAQAAAAAAAAAB7gMAAJIDAAAAAAAAAAAAAAHvAwAAkgMAAAAAAAAAAAAAAfADAACSAwAAAAAAAAAAAAAPXAMAAAEAAAAIKgAAAAFdAwAAeAAAAAoKAAAAAAAAAAANAAAAAAAFXgMAABpBcGxvcmlzLkJhc2UuT2JqZWN0cy5Db2xvcgcAAAASRGF0YU9iamVjdCttUGFyZW50FURhdGFPYmplY3QrbUNvbnRhaW5lcgVtVHlwZQRtUkdCEG1UaGVtZUNvbG9ySW5kZXgMbUF1dG9VcGRhdGVkCW1Nb2RpZmllZAQCAAAAAAAfQXBsb3Jpcy5CYXNlLk9iamVjdHMuTGluZUZvcm1hdAMAAAAICAgBAQMAAAAJVwIAAAoBAAAAAAAAAP////8AAQ9fAwAAAQAAAAi4AwAAAWADAAB4AAAACgoAAAAAAAAAAA0AAAAAAAFhAwAAeAAAAAoKAAAAAAAAAAANAAAAAAEHYgMAAAABAAAABAAAAAQdQXBsb3Jpcy5CYXNlLk9iamVjdHMuVmFyaWFibGUDAAAAAfEDAACSAwAAAQAAAAAAAAAB8gMAAJIDAAAAAAAAAAAAAAHzAwAAkgMAAAAAAAAAAAAAAfQDAACSAwAAAAAAAAAAAAAPYwMAAAEAAAAIJwAAAAFkAwAAeAAAAAoKAAAAAAAAAAANAAAAAAAFZQMAABpBcGxvcmlzLkJhc2UuT2JqZWN0cy5Db2xvcgcAAAASRGF0YU9iamVjdCttUGFyZW50FURhdGFPYmplY3QrbUNvbnRhaW5lcgVtVHlwZQRtUkdCEG1UaGVtZUNvbG9ySW5kZXgMbUF1dG9VcGRhdGVkCW1Nb2RpZmllZAQCAAAAAAAfQXBsb3Jpcy5CYXNlLk9iamVjdHMuTGluZUZvcm1hdAMAAAAICAgBAQMAAAAJZgIAAAoBAAAAAAAAAP////8AAQ9mAwAAAQAAAAi3AwAAAWcDAAB4AAAACgoAAAAAAAAAAA0AAAAAAAFoAwAAeAAAAAoKAAAAAAAAAAANAAAAAAEHaQMAAAABAAAABAAAAAQdQXBsb3Jpcy5CYXNlLk9iamVjdHMuVmFyaWFibGUDAAAAAfUDAACSAwAAAQAAAAAAAAAB9gMAAJIDAAAAAAAAAAAAAAH3AwAAkgMAAAAAAAAAAAAAAfgDAACSAwAAAAAAAAAAAAAPagMAAAEAAAAIKQAAAAFrAwAAeAAAAAoKAAAAAAAAAAANAAAAAAAFbAMAABpBcGxvcmlzLkJhc2UuT2JqZWN0cy5Db2xvcgcAAAASRGF0YU9iamVjdCttUGFyZW50FURhdGFPYmplY3QrbUNvbnRhaW5lcgVtVHlwZQRtUkdCEG1UaGVtZUNvbG9ySW5kZXgMbUF1dG9VcGRhdGVkCW1Nb2RpZmllZAQCAAAAAAAfQXBsb3Jpcy5CYXNlLk9iamVjdHMuTGluZUZvcm1hdAMAAAAICAgBAQMAAAAJdQIAAAoBAAAAAAAAAP////8AAQ9tAwAAAQAAAAi0AwAAAW4DAAB4AAAACgoAAAAAAAAAAA0AAAAAAAFvAwAAeAAAAAoKAAAAAAAAAAANAAAAAAEHcAMAAAABAAAABAAAAAQdQXBsb3Jpcy5CYXNlLk9iamVjdHMuVmFyaWFibGUDAAAAAfkDAACSAwAAAQAAAAAAAAAB+gMAAJIDAAAAAAAAAAAAAAH7AwAAkgMAAAAAAAAAAAAAAfwDAACSAwAAAAAAAAAAAAAPcQMAAAEAAAAIKAAAAAFyAwAAeAAAAAoKAAAAAAAAAAANAAAAAAAFcwMAABpBcGxvcmlzLkJhc2UuT2JqZWN0cy5Db2xvcgcAAAASRGF0YU9iamVjdCttUGFyZW50FURhdGFPYmplY3QrbUNvbnRhaW5lcgVtVHlwZQRtUkdCEG1UaGVtZUNvbG9ySW5kZXgMbUF1dG9VcGRhdGVkCW1Nb2RpZmllZAQCAAAAAAAfQXBsb3Jpcy5CYXNlLk9iamVjdHMuTGluZUZvcm1hdAMAAAAICAgBAQMAAAAJhAIAAAoBAAAAAAAAAP////8AAQ90AwAAAQAAAAi9AwAAAXUDAAB4AAAACgoAAAAAAAAAAA0AAAAAAAF2AwAAeAAAAAoKAAAAAAAAAAANAAAAAAEHdwMAAAABAAAABAAAAAQdQXBsb3Jpcy5CYXNlLk9iamVjdHMuVmFyaWFibGUDAAAAAf0DAACSAwAAAQAAAAAAAAAB/gMAAJIDAAAAAAAAAAAAAAH/AwAAkgMAAAAAAAAAAAAAAQAEAACSAwAAAAAAAAAAAAAPeAMAAAEAAAAILAAAAAF5AwAAeAAAAAoKAAAAAAAAAAANAAAAAAAFegMAABpBcGxvcmlzLkJhc2UuT2JqZWN0cy5Db2xvcgcAAAASRGF0YU9iamVjdCttUGFyZW50FURhdGFPYmplY3QrbUNvbnRhaW5lcgVtVHlwZQRtUkdCEG1UaGVtZUNvbG9ySW5kZXgMbUF1dG9VcGRhdGVkCW1Nb2RpZmllZAQCAAAAAAAfQXBsb3Jpcy5CYXNlLk9iamVjdHMuTGluZUZvcm1hdAMAAAAICAgBAQMAAAAJkwIAAAoBAAAAAAAAAP////8AAQ97AwAAAQAAAAi6AwAAAXwDAAB4AAAACgoAAAAAAAAAAA0AAAAAAAF9AwAAeAAAAAoKAAAAAAAAAAANAAAAAAEHfgMAAAABAAAABAAAAAQdQXBsb3Jpcy5CYXNlLk9iamVjdHMuVmFyaWFibGUDAAAAAQEEAACSAwAAAQAAAAAAAAABAgQAAJIDAAAAAAAAAAAAAAEDBAAAkgMAAAAAAAAAAAAAAQQEAACSAwAAAAAAAAAAAAAPfwMAAAEAAAAILQAAAAGAAwAAeAAAAAoKAAAAAAAAAAANAAAAAAAFgQMAABpBcGxvcmlzLkJhc2UuT2JqZWN0cy5Db2xvcgcAAAASRGF0YU9iamVjdCttUGFyZW50FURhdGFPYmplY3QrbUNvbnRhaW5lcgVtVHlwZQRtUkdCEG1UaGVtZUNvbG9ySW5kZXgMbUF1dG9VcGRhdGVkCW1Nb2RpZmllZAQCAAAAAAAfQXBsb3Jpcy5CYXNlLk9iamVjdHMuTGluZUZvcm1hdAMAAAAICAgBAQMAAAAJogIAAAoBAAAAAAAAAP////8AAQ+CAwAAAQAAAAi7AwAAAYMDAAB4AAAACgoAAAAAAAAAAA0AAAAAAAGEAwAAeAAAAAoKAAAAAAAAAAANAAAAAAEHhQMAAAABAAAABAAAAAQdQXBsb3Jpcy5CYXNlLk9iamVjdHMuVmFyaWFibGUDAAAAAQUEAACSAwAAAQAAAAAAAAABBgQAAJIDAAAAAAAAAAAAAAEHBAAAkgMAAAAAAAAAAAAAAQgEAACSAwAAAAAAAAAAAAAPhgMAAAEAAAAIJQAAAAGHAwAAeAAAAAoKAAAAAAAAAAANAAAAAAAFiAMAABpBcGxvcmlzLkJhc2UuT2JqZWN0cy5Db2xvcgcAAAASRGF0YU9iamVjdCttUGFyZW50FURhdGFPYmplY3QrbUNvbnRhaW5lcgVtVHlwZQRtUkdCEG1UaGVtZUNvbG9ySW5kZXgMbUF1dG9VcGRhdGVkCW1Nb2RpZmllZAQCAAAAAAAfQXBsb3Jpcy5CYXNlLk9iamVjdHMuTGluZUZvcm1hdAMAAAAICAgBAQMAAAAJsQIAAAoBAAAAAAAAAP////8AAQ+JAwAAAQAAAAi8AwAAAYoDAAB4AAAACgoAAAAAAAAAAA0AAAAAAAGLAwAAeAAAAAoKAAAAAAAAAAANAAAAAAEHjAMAAAABAAAABAAAAAQdQXBsb3Jpcy5CYXNlLk9iamVjdHMuVmFyaWFibGUDAAAAAQkEAACSAwAAAQAAAAAAAAABCgQAAJIDAAAAAAAAAAAAAAELBAAAkgMAAAAAAAAAAAAAAQwEAACSAwAAAAAAAAAAAAAPjQMAAAEAAAAIJAAAAAWOAw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0EAAAJDgQAAAoJDwQAAAoJBwEAAAgGj9BSLDPA5T8KAAAAAAkQBAAACREEAAAAAAAAAAkSBAAACQcBAAAJAQAAAAkTBAAAAY8DAACOAwAACRQEAAAJFQQAAAoJFgQAAAoJBwEAAAgG999mu+5MyD8KAQAAAAkXBAAACRgEAAAAAAAAAAkZBAAACQcBAAAJAQAAAAkaBAAAAZADAACOAwAACRsEAAAJHAQAAAoJHQQAAAoJBwEAAAgGLKT7upVHxj8KAgAAAAkeBAAACR8EAAAAAAAAAAkgBAAACQcBAAAJAQAAAAkhBAAAAZEDAACOAwAACSIEAAAJIwQAAAoJJAQAAAoJBwEAAAgGkjVElfOG0j8KAwAAAAklBAAACSYEAAAAAAAAAAknBAAACQcBAAAJAQAAAAkoBAAAAZYDAACOAwAACSkEAAAJKgQAAAoJKwQAAAoJCAEAAAgG2ZqiI+d90z8KAAAAAAksBAAACS0EAAAAAAAAAAkuBAAACQgBAAAJAQAAAAkvBAAAAZcDAACOAwAACTAEAAAJMQQAAAoJMgQAAAoJCAEAAAgG9wdXUPhB5j8KAQAAAAkzBAAACTQEAAAAAAAAAAk1BAAACQgBAAAJAQAAAAk2BAAAAZgDAACOAwAACTcEAAAJOAQAAAoJOQQAAAoJCAEAAAgGBmFHNWVZ5T8KAgAAAAk6BAAACTsEAAAAAAAAAAk8BAAACQgBAAAJAQAAAAk9BAAAAZkDAACOAwAACT4EAAAJPwQAAAoJQAQAAAoJCAEAAAgG9A7ySf984T8KAwAAAAlBBAAACUIEAAAAAAAAAAlDBAAACQgBAAAJAQAAAAlEBAAAAZ4DAACOAwAACUUEAAAJRgQAAAoJRwQAAAoJCQEAAAgGgEB8OygbkD8KAAAAAAlIBAAACUkEAAAAAAAAAAlKBAAACQkBAAAJAQAAAAlLBAAAAZ8DAACOAwAACUwEAAAJTQQAAAoJTgQAAAoJCQEAAAgGWAB6BmBWvT8KAQAAAAlPBAAACVAEAAAAAAAAAAlRBAAACQkBAAAJAQAAAAlSBAAAAaADAACOAwAACVMEAAAJVAQAAAoJVQQAAAoJCQEAAAgGy9fmb9VSxD8KAgAAAAlWBAAACVcEAAAAAAAAAAlYBAAACQkBAAAJAQAAAAlZBAAAAaEDAACOAwAACVoEAAAJWwQAAAoJXAQAAAoJCQEAAAgG/1ivrRv+xD8KAwAAAAldBAAACV4EAAAAAAAAAAlfBAAACQkBAAAJAQAAAAlgBAAAAaYDAAB4AAAACgoAAAAAAAAAAA0AAAAAAQGnAwAAeAAAAAoKAQAAAAAAAAD/////AAEHqAMAAAABAAAABAAAAAQdQXBsb3Jpcy5CYXNlLk9iamVjdHMuVmFyaWFibGUDAAAAAWEEAACSAwAAAQAAAAAAAAABYgQAAJIDAAAAAAAAAAAAAAFjBAAAkgMAAAAAAAAAAAAAAWQEAACSAwAAAAAAAAAAAAAPqQMAAAEAAAAIAAAAAAGuAwAAeAAAAAoKAAAAAAAAAAANAAAAAAEBrwMAAHgAAAAKCgEAAAAAAAAA/////wABB7ADAAAAAQAAAAQAAAAEHUFwbG9yaXMuQmFzZS5PYmplY3RzLlZhcmlhYmxlAwAAAAFlBAAAkgMAAAEAAAAAAAAAAWYEAACSAwAAAAAAAAAAAAABZwQAAJIDAAAAAAAAAAAAAAFoBAAAkgMAAAAAAAAAAAAAD7EDAAABAAAACAAAAAABtgMAAHgAAAAKCgAAAAAAAAAADQAAAAABAbcDAAB4AAAACgoBAAAAAAAAAP////8AAQe4AwAAAAEAAAAEAAAABB1BcGxvcmlzLkJhc2UuT2JqZWN0cy5WYXJpYWJsZQMAAAABaQQAAJIDAAABAAAAAAAAAAFqBAAAkgMAAAAAAAAAAAAAAWsEAACSAwAAAAAAAAAAAAABbAQAAJIDAAAAAAAAAAAAAA+5AwAAAQAAAAgAAAAAAb4DAAB4AAAACgoAAAAAAAAAAA0AAAAAAQG/AwAAeAAAAAoKAQAAAAAAAAD/////AAEHwAMAAAABAAAABAAAAAQdQXBsb3Jpcy5CYXNlLk9iamVjdHMuVmFyaWFibGUDAAAAAW0EAACSAwAAAQAAAAAAAAABbgQAAJIDAAAAAAAAAAAAAAFvBAAAkgMAAAAAAAAAAAAAAXAEAACSAwAAAAAAAAAAAAAPwQMAAAEAAAAIAAAAAAHGAwAAeAAAAAoKAAAAAAAAAAANAAAAAAABxwMAAHgAAAAKCgEAAAAAAAAA/////wABB8gDAAAAAQAAAAQAAAAEHUFwbG9yaXMuQmFzZS5PYmplY3RzLlZhcmlhYmxlAwAAAAFxBAAAkgMAAAEAAAAAAAAAAXIEAACSAwAAAAAAAAAAAAABcwQAAJIDAAAAAAAAAAAAAAF0BAAAkgMAAAAAAAAAAAAAD8kDAAABAAAACEUDAAABygMAAHgAAAAKCgAAAAD///8ADgAAAAAABcsDAAAaQXBsb3Jpcy5CYXNlLk9iamVjdHMuQ29sb3IHAAAAEkRhdGFPYmplY3QrbVBhcmVudBVEYXRhT2JqZWN0K21Db250YWluZXIFbVR5cGUEbVJHQhBtVGhlbWVDb2xvckluZGV4DG1BdXRvVXBkYXRlZAltTW9kaWZpZWQEAgAAAAAAH0FwbG9yaXMuQmFzZS5PYmplY3RzLkxpbmVGb3JtYXQDAAAACAgIAQEDAAAACRUDAAAKAQAAAAAAAAD/////AAEBzAMAAHgAAAAKCgEAAAAFKW4A/////wAAAc0DAAB4AAAACgoBAAAA////AP////8AAA/OAwAAAQAAAAhHAwAAAc8DAAB4AAAACgoAAAAAAAAAAA0AAAAAAAHQAwAAeAAAAAoKAQAAAAAAAAD/////AAEH0QMAAAABAAAABAAAAAQdQXBsb3Jpcy5CYXNlLk9iamVjdHMuVmFyaWFibGUDAAAAAXUEAACSAwAAAQAAAAAAAAABdgQAAJIDAAAAAAAAAAAAAAF3BAAAkgMAAAAAAAAAAAAAAXgEAACSAwAAAAAAAAAAAAAP0gMAAAEAAAAIQwMAAAHTAwAAeAAAAAoKAAAAAP///wAOAAAAAAAF1AMAABpBcGxvcmlzLkJhc2UuT2JqZWN0cy5Db2xvcgcAAAASRGF0YU9iamVjdCttUGFyZW50FURhdGFPYmplY3QrbUNvbnRhaW5lcgVtVHlwZQRtUkdCEG1UaGVtZUNvbG9ySW5kZXgMbUF1dG9VcGRhdGVkCW1Nb2RpZmllZAQCAAAAAAAfQXBsb3Jpcy5CYXNlLk9iamVjdHMuTGluZUZvcm1hdAMAAAAICAgBAQMAAAAJKAMAAAoBAAAAAAAAAP////8AAQHVAwAAeAAAAAoKAQAAAEV11AD/////AAAB1gMAAHgAAAAKCgEAAAD///8A/////wAAD9cDAAABAAAACEgDAAAB2AMAAHgAAAAKCgAAAAAAAAAADQAAAAAAAdkDAAB4AAAACgoBAAAAAAAAAP////8AAQfaAwAAAAEAAAAEAAAABB1BcGxvcmlzLkJhc2UuT2JqZWN0cy5WYXJpYWJsZQMAAAABeQQAAJIDAAABAAAAAAAAAAF6BAAAkgMAAAAAAAAAAAAAAXsEAACSAwAAAAAAAAAAAAABfAQAAJIDAAAAAAAAAAAAAA/bAwAAAQAAAAhEAwAAAdwDAAB4AAAACgoAAAAA////AA4AAAAAAAXdAwAAGkFwbG9yaXMuQmFzZS5PYmplY3RzLkNvbG9yBwAAABJEYXRhT2JqZWN0K21QYXJlbnQVRGF0YU9iamVjdCttQ29udGFpbmVyBW1UeXBlBG1SR0IQbVRoZW1lQ29sb3JJbmRleAxtQXV0b1VwZGF0ZWQJbU1vZGlmaWVkBAIAAAAAAB9BcGxvcmlzLkJhc2UuT2JqZWN0cy5MaW5lRm9ybWF0AwAAAAgICAEBAwAAAAk6AwAACgEAAAAAAAAA/////wABAd4DAAB4AAAACgoBAAAAwdDtAP////8AAAHfAwAAeAAAAAoKAQAAAP///wD/////AAAP4AMAAAEAAAAIRgMAAAENBAAAJAEAAApYAgAAAX0EAACdAQAAAgAAAAF+BAAAngEAAAEAAAABfwQAABUAAADmRJNCJ3jRQjzspkJKfjBDAYAEAACgAQAAAAAAAAAAoEAAAYEEAAAhAAAABLvmQjn7QEMBggQAAKAAAAAAAAAAAAAAAAAAAAAACYMEAAAAAAAACYQEAAAAAAGFBAAAqQAAAAAAAAABhgQAAHIAAAAAAMhBAABgQQGHBAAAFQAAAKqqzkIAgDtDDHu+QaqqOkESg74/BogEAAADNjglCgmJBAAACakBAAA0AwAA/////wEBCgmKBAAAAQAKAAEOBAAAHAAAAAGLBAAAIQAAAOZEjUIvHY5DAYwEAAAhAAAAkRggQyd4y0IJjQQAAAmOBAAAAAAAAAoBjwQAAHIAAAAAAAAAAAAAAAGQBAAAcgAAAAAAAAAAAAAAAAAAAAGRBAAAFQAAAAAAAAAAAAAAAAAAAAAAAACkAQAA/////wEBCgmSBAAAAQAKAAcPBAAAAAEAAAACAAAABBpBcGxvcmlzLkJhc2UuVUkuVmlzdWFsTGluZQMAAAAKCgcQBAAAAAEAAAADAAAABBVTeXN0ZW0uRHJhd2luZy5Qb2ludEYEAAAAAZMEAAAhAAAABLvmQjn7QEMBlAQAACEAAADmRIdCOftAQwGVBAAAIQAAAJEYI0M5+0BDBxEEAAAAAQAAAAMAAAAEF0FwbG9yaXMuQmFzZS5BbmNob3JNb2RlAwAAAAGWBAAAoAAAAAAAAAABlwQAAKAAAAACAAAAAZgEAACgAAAABAAAAAESBAAAJQAAAAnnAQAAAAAAAAAAAAABEwQAACYAAAAJmQQAAAIAAAAGAAAAARQEAAAkAQAAClgCAAABmgQAAJ0BAAACAAAAAZsEAACeAQAAAQAAAAGcBAAAFQAAANXFWEOoQWxDPuymQtjiM0IBnQQAAKABAAAAAAAAAACgQAABngQAACEAAAByQIFDAl+BQwGfBAAAoAAAAAAAAAAAAAAAAAAAAAAJoAQAAAAAAAAJoQQAAAAAAaIEAACpAAAAAAAAAAGjBAAAcgAAAAAAyEEAAGBBAaQEAAAVAAAAqqp2Q/9/fEMMe75Bqqo6QRKDvj8GpQQAAAMxOSUKCaYEAAAJqQEAADQDAAD/////AQEKCacEAAABAAoAARUEAAAcAAAAAagEAAAhAAAA1cVVQy8djkMBqQQAACEAAAD6nZdDqEFpQwmqBAAACasEAAAAAAAACgGsBAAAcgAAAAAAAAAAAAAAAa0EAAByAAAAAAAAAAAAAAAAAAAAAa4EAAAVAAAAAAAAAAAAAAAAAAAAAAAAAKQBAAD/////AQEKCa8EAAABAAoABxYEAAAAAQAAAAIAAAAEGkFwbG9yaXMuQmFzZS5VSS5WaXN1YWxMaW5lAwAAAAoKBxcEAAAAAQAAAAMAAAAEFVN5c3RlbS5EcmF3aW5nLlBvaW50RgQAAAABsAQAACEAAAByQIFDAl+BQwGxBAAAIQAAANXFUkMCX4FDAbIEAAAhAAAA+h2ZQwJfgUMHGAQAAAABAAAAAwAAAAQXQXBsb3Jpcy5CYXNlLkFuY2hvck1vZGUDAAAAAbMEAACgAAAAAAAAAAG0BAAAoAAAAAIAAAABtQQAAKAAAAAEAAAAARkEAAAlAAAACbYEAAAAAAAAAAAAAAEaBAAAJgAAAAm3BAAAAgAAAAIAAAABGwQAACQBAAAKWAIAAAG4BAAAnQEAAAIAAAABuQQAAJ4BAAABAAAAAboEAAAVAAAAnPSzQ9F+cENA7KZCNO4iQgG7BAAAoAEAAAAAAAAAAKBAAAG8BAAAIQAAACTSyENMboJDAb0EAACgAAAAAAAAAAAAAAAAAAAAAAm+BAAAAAAAAAm/BAAAAAABwAQAAKkAAAAAAAAAAcEEAAByAAAAAADIQQAAYEEBwgQAABUAAAD//8JD//9+Qwx7vkGqqjpBEoO+PwbDBAAAAzE3JQoJxAQAAAmpAQAANAMAAP////8BAQoJxQQAAAEACgABHAQAABwAAAABxgQAACEAAACcdLJDLx2OQwHHBAAAIQAAAKwv30PRfm1DCcgEAAAJyQQAAAAAAAAKAcoEAAByAAAAAAAAAAAAAAABywQAAHIAAAAAAAAAAAAAAAAAAAABzAQAABUAAAAAAAAAAAAAAAAAAAAAAAAApAEAAP////8BAQoJzQQAAAEACgAHHQQAAAABAAAAAgAAAAQaQXBsb3Jpcy5CYXNlLlVJLlZpc3VhbExpbmUDAAAACgoHHgQAAAABAAAAAwAAAAQVU3lzdGVtLkRyYXdpbmcuUG9pbnRGBAAAAAHOBAAAIQAAACTSyENMboJDAc8EAAAhAAAAnPSwQ0xugkMB0AQAACEAAACsr+BDTG6CQwcfBAAAAAEAAAADAAAABBdBcGxvcmlzLkJhc2UuQW5jaG9yTW9kZQMAAAAB0QQAAKAAAAAAAAAAAdIEAACgAAAAAgAAAAHTBAAAoAAAAAQAAAABIAQAACUAAAAJtgQAAAAAAAAAAAAAASEEAAAmAAAACdQEAAACAAAAAgAAAAEiBAAAJAEAAApYAgAAAdUEAACdAQAAAgAAAAHWBAAAngEAAAEAAAAB1wQAABUAAABOhvtDOIFRQ0DspkJMco9CAdgEAACgAQAAAAAAAAAAoEAAAdkEAAAhAAAA6zEIRMtddUMB2gQAAKAAAAAAAAAAAAAAAAAAAAAACdsEAAAAAAAACdwEAAAAAAHdBAAAqQAAAAAAAAAB3gQAAHIAAAAAAMhBAABgQQHfBAAAFQAAAAAgBUSqKm9DDHu+QaqqOkESg74/BuAEAAADMjklCgnhBAAACakBAAA0AwAA/////wEBCgniBAAAAQAKAAEjBAAAHAAAAAHjBAAAIQAAAE4G+kMvHY5DAeQEAAAhAAAAr2ATRDiBTkMJ5QQAAAnmBAAAAAAAAAoB5wQAAHIAAAAAAAAAAAAAAAHoBAAAcgAAAAAAAAAAAAAAAAAAAAHpBAAAFQAAAAAAAAAAAAAAAAAAAAAAAACkAQAA/////wEBCgnqBAAAAQAKAAckBAAAAAEAAAACAAAABBpBcGxvcmlzLkJhc2UuVUkuVmlzdWFsTGluZQMAAAAKCgclBAAAAAEAAAADAAAABBVTeXN0ZW0uRHJhd2luZy5Qb2ludEYEAAAAAesEAAAhAAAA6zEIRMtddUMB7AQAACEAAABOhvhDy111QwHtBAAAIQAAAK8gFETLXXVDByYEAAAAAQAAAAMAAAAEF0FwbG9yaXMuQmFzZS5BbmNob3JNb2RlAwAAAAHuBAAAoAAAAAAAAAAB7wQAAKAAAAACAAAAAfAEAACgAAAABAAAAAEnBAAAJQAAAAkLAgAAAAAAAAAAAAABKAQAACYAAAAJ8QQAAAIAAAACAAAAASkEAAAkAQAAClgCAAAB8gQAAJ0BAAACAAAAAfMEAACeAQAAAQAAAAH0BAAAFQAAAOZEk0KNt7dBPOymQkSKl0IB9QQAAKABAAAAAAAAAACgQAAB9gQAACEAAAAEu+ZCCmZzQgH3BAAAoAAAAAAAAAAAAAAAAAAAAAAJ+AQAAAAAAAAJ+QQAAAAAAfoEAACpAAAAAAAAAAH7BAAAcgAAAAAAyEEAAGBBAfwEAAAVAAAAqqrOQv//W0IMe75Bqqo6QRKDvj8G/QQAAAMzMCUKCf4EAAAJqQEAADQDAAD/////AQEKCf8EAAABAAoAASoEAAAcAAAAAQAFAAAhAAAA5kSNQid4y0IBAQUAACEAAACRGCBDjbefQQkCBQAACQMFAAAAAAAACgEEBQAAcgAAAAAAAAAAAAAAAQUFAAByAAAAAAAAAAAAAAAAAAAAAQYFAAAVAAAAAAAAAAAAAAAAAAAAAAAAAKQBAAD/////AQEKCQcFAAABAAoABysEAAAAAQAAAAIAAAAEGkFwbG9yaXMuQmFzZS5VSS5WaXN1YWxMaW5lAwAAAAoKBywEAAAAAQAAAAMAAAAEFVN5c3RlbS5EcmF3aW5nLlBvaW50RgQAAAABCAUAACEAAAAEu+ZCCmZzQgEJBQAAIQAAAOZEh0IKZnNCAQoFAAAhAAAAkRgjQwpmc0IHLQQAAAABAAAAAwAAAAQXQXBsb3Jpcy5CYXNlLkFuY2hvck1vZGUDAAAAAQsFAACgAAAAAAAAAAEMBQAAoAAAAAIAAAABDQUAAKAAAAAEAAAAAS4EAAAlAAAACecBAAAAAAAAAAAAAAEvBAAAJgAAAAkOBQAAAgAAAAYAAAABMAQAACQBAAAKWAIAAAEPBQAAnQEAAAIAAAABEAUAAJ4BAAABAAAAAREFAAAVAAAA1cVYQ0YKRkI+7KZCFr80QwESBQAAoAEAAAAAAAAAAKBAAAETBQAAIQAAAHJAgUMd4gtDARQFAACgAAAAAAAAAAAAAAAAAAAAAAkVBQAAAAAAAAkWBQAAAAABFwUAAKkAAAAAAAAAARgFAAByAAAAAADIQQAAYEEBGQUAABUAAACqqnZDqioGQwx7vkGqqjpBEoO+PwYaBQAAAzcwJQoJGwUAAAmpAQAANAMAAP////8BAQoJHAUAAAEACgABMQQAABwAAAABHQUAACEAAADVxVVDqEFpQwEeBQAAIQAAAPqdl0NGCjpCCR8FAAAJIAUAAAAAAAAKASEFAAByAAAAAAAAAAAAAAABIgUAAHIAAAAAAAAAAAAAAAAAAAABIwUAABUAAAAAAAAAAAAAAAAAAAAAAAAApAEAAP////8BAQoJJAUAAAEACgAHMgQAAAABAAAAAgAAAAQaQXBsb3Jpcy5CYXNlLlVJLlZpc3VhbExpbmUDAAAACgoHMwQAAAABAAAAAwAAAAQVU3lzdGVtLkRyYXdpbmcuUG9pbnRGBAAAAAElBQAAIQAAAHJAgUMd4gtDASYFAAAhAAAA1cVSQx3iC0MBJwUAACEAAAD6HZlDHeILQwc0BAAAAAEAAAADAAAABBdBcGxvcmlzLkJhc2UuQW5jaG9yTW9kZQMAAAABKAUAAKAAAAAAAAAAASkFAACgAAAAAgAAAAEqBQAAoAAAAAQAAAABNQQAACUAAAAJKwUAAAAAAAAAAAAAATYEAAAmAAAACSwFAAACAAAAAgAAAAE3BAAAJAEAAApYAgAAAS0FAACdAQAAAgAAAAEuBQAAngEAAAEAAAABLwUAABUAAACc9LNDT3x1QkDspkK9Hy1DATAFAACgAQAAAAAAAAAAoEAAATEFAAAhAAAAJNLIQ/LuE0MBMgUAAKAAAAAAAAAAAAAAAAAAAAAACTMFAAAAAAAACTQFAAAAAAE1BQAAqQAAAAAAAAABNgUAAHIAAAAAAMhBAABgQQE3BQAAFQAAAP//wkMAgA5DDHu+QaqqOkESg74/BjgFAAADNjclCgk5BQAACakBAAA0AwAA/////wEBCgk6BQAAAQAKAAE4BAAAHAAAAAE7BQAAIQAAAJx0skPRfm1DATwFAAAhAAAArC/fQ098aUIJPQUAAAk+BQAAAAAAAAoBPwUAAHIAAAAAAAAAAAAAAAFABQAAcgAAAAAAAAAAAAAAAAAAAAFBBQAAFQAAAAAAAAAAAAAAAAAAAAAAAACkAQAA/////wEBCglCBQAAAQAKAAc5BAAAAAEAAAACAAAABBpBcGxvcmlzLkJhc2UuVUkuVmlzdWFsTGluZQMAAAAKCgc6BAAAAAEAAAADAAAABBVTeXN0ZW0uRHJhd2luZy5Qb2ludEYEAAAAAUMFAAAhAAAAJNLIQ/LuE0MBRAUAACEAAACc9LBD8u4TQwFFBQAAIQAAAKyv4EPy7hNDBzsEAAAAAQAAAAMAAAAEF0FwbG9yaXMuQmFzZS5BbmNob3JNb2RlAwAAAAFGBQAAoAAAAAAAAAABRwUAAKAAAAACAAAAAUgFAACgAAAABAAAAAE8BAAAJQAAAAkrBQAAAAAAAAAAAAABPQQAACYAAAAJSQUAAAIAAAACAAAAAT4EAAAkAQAAClgCAAABSgUAAJ0BAAACAAAAAUsFAACeAQAAAQAAAAFMBQAAFQAAAE6G+0NWGXtCQOymQuK6DEMBTQUAAKABAAAAAAAAAACgQAABTgUAACEAAADrMQhExyMFQwFPBQAAoAAAAAAAAAAAAAAAAAAAAAAJUAUAAAAAAAAJUQUAAAAAAVIFAACpAAAAAAAAAAFTBQAAcgAAAAAAyEEAAGBBAVQFAAAVAAAAACAFRP///kIMe75Bqqo6QRKDvj8GVQUAAAM1NSUKCVYFAAAJqQEAADQDAAD/////AQEKCVcFAAABAAoAAT8EAAAcAAAAAVgFAAAhAAAATgb6QziBTkMBWQUAACEAAACvYBNEVhlvQglaBQAACVsFAAAAAAAACgFcBQAAcgAAAAAAAAAAAAAAAV0FAAByAAAAAAAAAAAAAAAAAAAAAV4FAAAVAAAAAAAAAAAAAAAAAAAAAAAAAKQBAAD/////AQEKCV8FAAABAAoAB0AEAAAAAQAAAAIAAAAEGkFwbG9yaXMuQmFzZS5VSS5WaXN1YWxMaW5lAwAAAAoKB0EEAAAAAQAAAAMAAAAEFVN5c3RlbS5EcmF3aW5nLlBvaW50RgQAAAABYAUAACEAAADrMQhExyMFQwFhBQAAIQAAAE6G+EPHIwVDAWIFAAAhAAAAryAURMcjBUMHQgQAAAABAAAAAwAAAAQXQXBsb3Jpcy5CYXNlLkFuY2hvck1vZGUDAAAAAWMFAACgAAAAAAAAAAFkBQAAoAAAAAIAAAABZQUAAKAAAAAEAAAAAUMEAAAlAAAACQsCAAAAAAAAAAAAAAFEBAAAJgAAAAlmBQAAAgAAAAIAAAABRQQAACQBAAAKWAIAAAFnBQAAnQEAAAIAAAABaAUAAJ4BAAABAAAAAWkFAAAVAAAA5kSTQkrTjkE87KZCAAAAAAFqBQAAoAEAAAAAAAAAAKBAAAFrBQAAIQAAAAS75kJK045BAWwFAACgAAAAAAAAAAAAAAAAAAAAAAltBQAAAAAAAAluBQAAAQABbwUAAKkAAAAAAAAAAXAFAAByAAAAAACQQQAAYEEBcQUAABUAAABVVdVCqqo6QWLQj0GqqjpBEoO+PwZyBQAAAjIlCglzBQAACakBAAA0AwAA/////wEBCgl0BQAAAQAKAAFGBAAAHAAAAAF1BQAAIQAAAOZEjUKNt59BAXYFAAAhAAAAkRggQw7ee0EJdwUAAAl4BQAAAAAAAAoBeQUAAHIAAAAAAAAAAAAAAAF6BQAAcgAAAAAAAAAAAAAAAAAAAAF7BQAAFQAAAAAAAAAAAAAAAAAAAAAAAACkAQAA/////wEBCgl8BQAAAQAKAAdHBAAAAAEAAAACAAAABBpBcGxvcmlzLkJhc2UuVUkuVmlzdWFsTGluZQMAAAAKCgdIBAAAAAEAAAADAAAABBVTeXN0ZW0uRHJhd2luZy5Qb2ludEYEAAAAAX0FAAAhAAAABLvmQkrTjkEBfgUAACEAAADmRIdCStOOQQF/BQAAIQAAAJEYI0NK045BB0kEAAAAAQAAAAMAAAAEF0FwbG9yaXMuQmFzZS5BbmNob3JNb2RlAwAAAAGABQAAoAAAAAAAAAABgQUAAKAAAAACAAAAAYIFAACgAAAABAAAAAFKBAAAJQAAAAnnAQAAAAAAAAAAAAABSwQAACYAAAAJgwUAAAIAAAAGAAAAAUwEAAAkAQAAClgCAAABhAUAAJ0BAAACAAAAAYUFAACeAQAAAQAAAAGGBQAAFQAAANXFWEMH75VBPuymQoUlxkEBhwUAAKABAAAAAAAAAACgQAABiAUAACEAAAByQIFDygH5QQGJBQAAoAAAAAAAAAAAAAAAAAAAAAAJigUAAAAAAAAJiwUAAAAAAYwFAACpAAAAAAAAAAGNBQAAcgAAAAAAyEEAAGBBAY4FAAAVAAAAqqp2Q///x0EMe75Bqqo6QRKDvj8GjwUAAAMxMSUKCZAFAAAJqQEAADQDAAD/////AQEKCZEFAAABAAoAAU0EAAAcAAAAAZIFAAAhAAAA1cVVQ0YKOkIBkwUAACEAAAD6nZdDDt57QQmUBQAACZUFAAAAAAAACgGWBQAAcgAAAAAAAAAAAAAAAZcFAAByAAAAAAAAAAAAAAAAAAAAAZgFAAAVAAAAAAAAAAAAAAAAAAAAAAAAAKQBAAD/////AQEKCZkFAAABAAoAB04EAAAAAQAAAAIAAAAEGkFwbG9yaXMuQmFzZS5VSS5WaXN1YWxMaW5lAwAAAAoKB08EAAAAAQAAAAMAAAAEFVN5c3RlbS5EcmF3aW5nLlBvaW50RgQAAAABmgUAACEAAAByQIFDygH5QQGbBQAAIQAAANXFUkPKAflBAZwFAAAhAAAA+h2ZQ8oB+UEHUAQAAAABAAAAAwAAAAQXQXBsb3Jpcy5CYXNlLkFuY2hvck1vZGUDAAAAAZ0FAACgAAAAAAAAAAGeBQAAoAAAAAIAAAABnwUAAKAAAAAEAAAAAVEEAAAlAAAACSsFAAAAAAAAAAAAAAFSBAAAJgAAAAmgBQAAAgAAAAIAAAABUwQAACQBAAAKWAIAAAGhBQAAnQEAAAIAAAABogUAAJ4BAAABAAAAAaMFAAAVAAAAnPSzQwfvlUFA7KZCzIQSQgGkBQAAoAEAAAAAAAAAAKBAAAGlBQAAIQAAACTSyEPpORRCAaYFAACgAAAAAAAAAAAAAAAAAAAAAAmnBQAAAAAAAAmoBQAAAAABqQUAAKkAAAAAAAAAAaoFAAByAAAAAADIQQAAYEEBqwUAABUAAAD//8JDqqr2QQx7vkGqqjpBEoO+PwasBQAAAzE2JQoJrQUAAAmpAQAANAMAAP////8BAQoJrgUAAAEACgABVAQAABwAAAABrwUAACEAAACcdLJDT3xpQgGwBQAAIQAAAKwv30MO3ntBCbEFAAAJsgUAAAAAAAAKAbMFAAByAAAAAAAAAAAAAAABtAUAAHIAAAAAAAAAAAAAAAAAAAABtQUAABUAAAAAAAAAAAAAAAAAAAAAAAAApAEAAP////8BAQoJtgUAAAEACgAHVQQAAAABAAAAAgAAAAQaQXBsb3Jpcy5CYXNlLlVJLlZpc3VhbExpbmUDAAAACgoHVgQAAAABAAAAAwAAAAQVU3lzdGVtLkRyYXdpbmcuUG9pbnRGBAAAAAG3BQAAIQAAACTSyEPpORRCAbgFAAAhAAAAnPSwQ+k5FEIBuQUAACEAAACsr+BD6TkUQgdXBAAAAAEAAAADAAAABBdBcGxvcmlzLkJhc2UuQW5jaG9yTW9kZQMAAAABugUAAKAAAAAAAAAAAbsFAACgAAAAAgAAAAG8BQAAoAAAAAQAAAABWAQAACUAAAAJKwUAAAAAAAAAAAAAAVkEAAAmAAAACb0FAAACAAAABgAAAAFaBAAAJAEAAApYAgAAAb4FAACdAQAAAgAAAAG/BQAAngEAAAEAAAABwAUAABUAAABOhvtDB++VQUDspkLSIRhCAcEFAACgAQAAAAAAAAAAoEAAAcIFAAAhAAAA6zEIRG0IF0IBwwUAAKAAAAAAAAAAAAAAAAAAAAAACcQFAAAAAAAACcUFAAAAAAHGBQAAqQAAAAAAAAABxwUAAHIAAAAAAMhBAABgQQHIBQAAFQAAAAAgBURVVf1BDHu+QaqqOkESg74/BskFAAADMTYlCgnKBQAACakBAAA0AwAA/////wEBCgnLBQAAAQAKAAFbBAAAHAAAAAHMBQAAIQAAAE4G+kNWGW9CAc0FAAAhAAAAr2ATRA7ee0EJzgUAAAnPBQAAAAAAAAoB0AUAAHIAAAAAAAAAAAAAAAHRBQAAcgAAAAAAAAAAAAAAAAAAAAHSBQAAFQAAAAAAAAAAAAAAAAAAAAAAAACkAQAA/////wEBCgnTBQAAAQAKAAdcBAAAAAEAAAACAAAABBpBcGxvcmlzLkJhc2UuVUkuVmlzdWFsTGluZQMAAAAKCgddBAAAAAEAAAADAAAABBVTeXN0ZW0uRHJhd2luZy5Qb2ludEYEAAAAAdQFAAAhAAAA6zEIRG0IF0IB1QUAACEAAABOhvhDbQgXQgHWBQAAIQAAAK8gFERtCBdCB14EAAAAAQAAAAMAAAAEF0FwbG9yaXMuQmFzZS5BbmNob3JNb2RlAwAAAAHXBQAAoAAAAAAAAAAB2AUAAKAAAAACAAAAAdkFAACgAAAABAAAAAFfBAAAJQAAAAkLAgAAAAAAAAAAAAABYAQAACYAAAAJ2gUAAAIAAAACAAAAAYMEAAAjAAAACgoAAAAAAChBCXYAAAAJdwAAAAnbBQAAAAAJ3AUAAAGEBAAAeAAAAAoKAQAAAAUpbgD/////AAEBiQQAAK0AAAAJ3QUAAAEAAAADAAAAAYoEAAB1AAAACd4FAAAKAY0EAABwAAAACgoAAABAPwnfBQAACeAFAAABAAAA/v///wAAAAABAAAAAAAAAAAAAAABAAAAAAAAAAAAAAGOBAAAcQAAAAoKCeEFAAAJ4gUAAAEAAAD+////AAAAAP////8AAAGSBAAAdQAAAAnjBQAACgeZBAAAAAEAAAAEAAAABBxBcGxvcmlzLkJhc2UuVUkuVmlzdWFsT2JqZWN0AwAAAAkOBAAACQ0EAAAKCgGgBAAAIwAAAAoKAAAAAAAoQQl2AAAACXcAAAAJ5AUAAAAACeUFAAABoQQAAHgAAAAKCgEAAAAFKW4A/////wABAaYEAACtAAAACeYFAAABAAAAAwAAAAGnBAAAdQAAAAnnBQAACgGqBAAAcAAAAAoKAAAAQD8J6AUAAAnpBQAAAQAAAP7///8AAAAAAQAAAAAAAAAAAAAAAQAAAAAAAAAAAAABqwQAAHEAAAAKCgnqBQAACesFAAABAAAA/v///wAAAAD/////AAABrwQAAHUAAAAJ7AUAAAoHtgQAAAABAAAAAAAAAAQfQXBsb3Jpcy5CYXNlLk9iamVjdHMuRGF0YU9iamVjdAMAAAAHtwQAAAABAAAABAAAAAQcQXBsb3Jpcy5CYXNlLlVJLlZpc3VhbE9iamVjdAMAAAAJFQQAAAkUBAAACgoBvgQAACMAAAAKCgAAAAAAKEEJdgAAAAl3AAAACe0FAAAAAAnuBQAAAb8EAAB4AAAACgoBAAAABSluAP////8AAAHEBAAArQAAAAnvBQAAAQAAAAMAAAABxQQAAHUAAAAJ8AUAAAoByAQAAHAAAAAKCgAAAEA/CfEFAAAJ8gUAAAEAAAD+////AAAAAAEAAAAAAAAAAAAAAAEAAAAAAAAAAAAAAckEAABxAAAACgoJ8wUAAAn0BQAAAQAAAP7///8AAAAA/////wAAAc0EAAB1AAAACfUFAAAKB9QEAAAAAQAAAAQAAAAEHEFwbG9yaXMuQmFzZS5VSS5WaXN1YWxPYmplY3QDAAAACRwEAAAJGwQAAAoKAdsEAAAjAAAACgoAAAAAAChBCXYAAAAJdwAAAAn2BQAAAAAJ9wUAAAHcBAAAeAAAAAoKAQAAAAUpbgD/////AAEB4QQAAK0AAAAJ+AUAAAEAAAADAAAAAeIEAAB1AAAACfkFAAAKAeUEAABwAAAACgoAAABAPwn6BQAACfsFAAABAAAA/v///wAAAAABAAAAAAAAAAAAAAABAAAAAAAAAAAAAAHmBAAAcQAAAAoKCfwFAAAJ/QUAAAEAAAD+////AAAAAP////8AAAHqBAAAdQAAAAn+BQAACgfxBAAAAAEAAAAEAAAABBxBcGxvcmlzLkJhc2UuVUkuVmlzdWFsT2JqZWN0AwAAAAkjBAAACSIEAAAKCgH4BAAAIwAAAAoKAAAAAAAoQQl2AAAACXcAAAAJ/wUAAAAACQAGAAAB+QQAAHgAAAAKCgEAAABFddQA/////wABAf4EAACtAAAACQEGAAABAAAAAwAAAAH/BAAAdQAAAAkCBgAACgECBQAAcAAAAAoKAAAAQD8JAwYAAAkEBgAAAQAAAP7///8AAAAAAQAAAAAAAAAAAAAAAQAAAAAAAAAAAAABAwUAAHEAAAAKCgkFBgAACQYGAAABAAAA/v///wAAAAD/////AAABBwUAAHUAAAAJBwYAAAoHDgUAAAABAAAABAAAAAQcQXBsb3Jpcy5CYXNlLlVJLlZpc3VhbE9iamVjdAMAAAAJKgQAAAkpBAAACgoBFQUAACMAAAAKCgAAAAAAKEEJdgAAAAl3AAAACQgGAAAAAAkJBgAAARYFAAB4AAAACgoBAAAARXXUAP////8AAQEbBQAArQAAAAkKBgAAAQAAAAMAAAABHAUAAHUAAAAJCwYAAAoBHwUAAHAAAAAKCgAAAEA/CQwGAAAJDQYAAAEAAAD+////AAAAAAEAAAAAAAAAAAAAAAEAAAAAAAAAAAAAASAFAABxAAAACgoJDgYAAAkPBgAAAQAAAP7///8AAAAA/////wAAASQFAAB1AAAACRAGAAAKBysFAAAAAQAAAAAAAAAEH0FwbG9yaXMuQmFzZS5PYmplY3RzLkRhdGFPYmplY3QDAAAABywFAAAAAQAAAAQAAAAEHEFwbG9yaXMuQmFzZS5VSS5WaXN1YWxPYmplY3QDAAAACTEEAAAJMAQAAAoKATMFAAAjAAAACgoAAAAAAChBCXYAAAAJdwAAAAkRBgAAAAAJEgYAAAE0BQAAeAAAAAoKAQAAAEV11AD/////AAEBOQUAAK0AAAAJEwYAAAEAAAADAAAAAToFAAB1AAAACRQGAAAKAT0FAABwAAAACgoAAABAPwkVBgAACRYGAAABAAAA/v///wAAAAABAAAAAAAAAAAAAAABAAAAAAAAAAAAAAE+BQAAcQAAAAoKCRcGAAAJGAYAAAEAAAD+////AAAAAP////8AAAFCBQAAdQAAAAkZBgAACgdJBQAAAAEAAAAEAAAABBxBcGxvcmlzLkJhc2UuVUkuVmlzdWFsT2JqZWN0AwAAAAk4BAAACTcEAAAKCgFQBQAAIwAAAAoKAAAAAAAoQQl2AAAACXcAAAAJGgYAAAAACRsGAAABUQUAAHgAAAAKCgEAAABFddQA/////wABAVYFAACtAAAACRwGAAABAAAAAwAAAAFXBQAAdQAAAAkdBgAACgFaBQAAcAAAAAoKAAAAQD8JHgYAAAkfBgAAAQAAAP7///8AAAAAAQAAAAAAAAAAAAAAAQAAAAAAAAAAAAABWwUAAHEAAAAKCgkgBgAACSEGAAABAAAA/v///wAAAAD/////AAABXwUAAHUAAAAJIgYAAAoHZgUAAAABAAAABAAAAAQcQXBsb3Jpcy5CYXNlLlVJLlZpc3VhbE9iamVjdAMAAAAJPwQAAAk+BAAACgoBbQUAACMAAAAKCgAAAAAAKEEJdgAAAAl3AAAACSMGAAAAAAkkBgAAAW4FAAB4AAAACgoBAAAAwdDtAP////8AAAFzBQAArQAAAAklBgAAAQAAAAMAAAABdAUAAHUAAAAJJgYAAAoBdwUAAHAAAAAKCgAAAEA/CScGAAAJKAYAAAEAAAD+////AAAAAAEAAAAAAAAAAAAAAAEAAAAAAAAAAAAAAXgFAABxAAAACgoJKQYAAAkqBgAAAQAAAP7///8AAAAA/////wAAAXwFAAB1AAAACSsGAAAKB4MFAAAAAQAAAAQAAAAEHEFwbG9yaXMuQmFzZS5VSS5WaXN1YWxPYmplY3QDAAAACUYEAAAJRQQAAAoKAYoFAAAjAAAACgoAAAAAAChBCXYAAAAJdwAAAAksBgAAAAAJLQYAAAGLBQAAeAAAAAoKAQAAAMHQ7QD/////AAEBkAUAAK0AAAAJLgYAAAEAAAADAAAAAZEFAAB1AAAACS8GAAAKAZQFAABwAAAACgoAAABAPwkwBgAACTEGAAABAAAA/v///wAAAAABAAAAAAAAAAAAAAABAAAAAAAAAAAAAAGVBQAAcQAAAAoKCTIGAAAJMwYAAAEAAAD+////AAAAAP////8AAAGZBQAAdQAAAAk0BgAACgegBQAAAAEAAAAEAAAABBxBcGxvcmlzLkJhc2UuVUkuVmlzdWFsT2JqZWN0AwAAAAlNBAAACUwEAAAKCgGnBQAAIwAAAAoKAAAAAAAoQQl2AAAACXcAAAAJNQYAAAAACTYGAAABqAUAAHgAAAAKCgEAAADB0O0A/////wABAa0FAACtAAAACTcGAAABAAAAAwAAAAGuBQAAdQAAAAk4BgAACgGxBQAAcAAAAAoKAAAAQD8JOQYAAAk6BgAAAQAAAP7///8AAAAAAQAAAAAAAAAAAAAAAQAAAAAAAAAAAAABsgUAAHEAAAAKCgk7BgAACTwGAAABAAAA/v///wAAAAD/////AAABtgUAAHUAAAAJPQYAAAoHvQUAAAABAAAABAAAAAQcQXBsb3Jpcy5CYXNlLlVJLlZpc3VhbE9iamVjdAMAAAAJVAQAAAlTBAAACgoBxAUAACMAAAAKCgAAAAAAKEEJdgAAAAl3AAAACT4GAAAAAAk/BgAAAcUFAAB4AAAACgoBAAAAwdDtAP////8AAQHKBQAArQAAAAlABgAAAQAAAAMAAAABywUAAHUAAAAJQQYAAAoBzgUAAHAAAAAKCgAAAEA/CUIGAAAJQwYAAAEAAAD+////AAAAAAEAAAAAAAAAAAAAAAEAAAAAAAAAAAAAAc8FAABxAAAACgoJRAYAAAlFBgAAAQAAAP7///8AAAAA/////wAAAdMFAAB1AAAACUYGAAAKB9oFAAAAAQAAAAQAAAAEHEFwbG9yaXMuQmFzZS5VSS5WaXN1YWxPYmplY3QDAAAACVsEAAAJWgQAAAoKAdsFAAB4AAAACgoAAAAA////AA4AAAAAAAHcBQAAeAAAAAoKAAAAAP///wAOAAAAAAEH3QUAAAABAAAABAAAAAQdQXBsb3Jpcy5CYXNlLk9iamVjdHMuVmFyaWFibGUDAAAAAUcGAACSAwAAAQAAAAAAAAABSAYAAJIDAAAAAAAAAAAAAAFJBgAAkgMAAAAAAAAAAAAAAUoGAACSAwAAAAAAAAAAAAAP3gUAAAEAAAAIZwMAAAXfBQAAGkFwbG9yaXMuQmFzZS5PYmplY3RzLkNvbG9yBwAAABJEYXRhT2JqZWN0K21QYXJlbnQVRGF0YU9iamVjdCttQ29udGFpbmVyBW1UeXBlBG1SR0IQbVRoZW1lQ29sb3JJbmRleAxtQXV0b1VwZGF0ZWQJbU1vZGlmaWVkBAIAAAAAAB9BcGxvcmlzLkJhc2UuT2JqZWN0cy5MaW5lRm9ybWF0AwAAAAgICAEBAwAAAAmNBAAACgAAAAD///8ADgAAAAAABeAFAAAaQXBsb3Jpcy5CYXNlLk9iamVjdHMuQ29sb3IHAAAAEkRhdGFPYmplY3QrbVBhcmVudBVEYXRhT2JqZWN0K21Db250YWluZXIFbVR5cGUEbVJHQhBtVGhlbWVDb2xvckluZGV4DG1BdXRvVXBkYXRlZAltTW9kaWZpZWQEAgAAAAAAH0FwbG9yaXMuQmFzZS5PYmplY3RzLkxpbmVGb3JtYXQDAAAACAgIAQEDAAAACY0EAAAKAQAAAAAAAAD/////AAEB4QUAAHgAAAAKCgEAAAAFKW4A/////wAAAeIFAAB4AAAACgoBAAAA////AP////8AAA/jBQAAAQAAAAhXAwAAAeQFAAB4AAAACgoAAAAA////AA4AAAAAAAHlBQAAeAAAAAoKAAAAAP///wAOAAAAAAEH5gUAAAABAAAABAAAAAQdQXBsb3Jpcy5CYXNlLk9iamVjdHMuVmFyaWFibGUDAAAAAUsGAACSAwAAAQAAAAAAAAABTAYAAJIDAAAAAAAAAAAAAAFNBgAAkgMAAAAAAAAAAAAAAU4GAACSAwAAAAAAAAAAAAAP5wUAAAEAAAAIagIAAAXoBQAAGkFwbG9yaXMuQmFzZS5PYmplY3RzLkNvbG9yBwAAABJEYXRhT2JqZWN0K21QYXJlbnQVRGF0YU9iamVjdCttQ29udGFpbmVyBW1UeXBlBG1SR0IQbVRoZW1lQ29sb3JJbmRleAxtQXV0b1VwZGF0ZWQJbU1vZGlmaWVkBAIAAAAAAB9BcGxvcmlzLkJhc2UuT2JqZWN0cy5MaW5lRm9ybWF0AwAAAAgICAEBAwAAAAmqBAAACgAAAAD///8ADgAAAAAABekFAAAaQXBsb3Jpcy5CYXNlLk9iamVjdHMuQ29sb3IHAAAAEkRhdGFPYmplY3QrbVBhcmVudBVEYXRhT2JqZWN0K21Db250YWluZXIFbVR5cGUEbVJHQhBtVGhlbWVDb2xvckluZGV4DG1BdXRvVXBkYXRlZAltTW9kaWZpZWQEAgAAAAAAH0FwbG9yaXMuQmFzZS5PYmplY3RzLkxpbmVGb3JtYXQDAAAACAgIAQEDAAAACaoEAAAKAQAAAAAAAAD/////AAEB6gUAAHgAAAAKCgEAAAAFKW4A/////wAAAesFAAB4AAAACgoBAAAA////AP////8AAA/sBQAAAQAAAAhaAgAAAe0FAAB4AAAACgoAAAAA////AA4AAAAAAAHuBQAAeAAAAAoKAAAAAP///wAOAAAAAAEH7wUAAAABAAAABAAAAAQdQXBsb3Jpcy5CYXNlLk9iamVjdHMuVmFyaWFibGUDAAAAAU8GAACSAwAAAQAAAAAAAAABUAYAAJIDAAAAAAAAAAAAAAFRBgAAkgMAAAAAAAAAAAAAAVIGAACSAwAAAAAAAAAAAAAP8AUAAAEAAAAIcAIAAAXxBQAAGkFwbG9yaXMuQmFzZS5PYmplY3RzLkNvbG9yBwAAABJEYXRhT2JqZWN0K21QYXJlbnQVRGF0YU9iamVjdCttQ29udGFpbmVyBW1UeXBlBG1SR0IQbVRoZW1lQ29sb3JJbmRleAxtQXV0b1VwZGF0ZWQJbU1vZGlmaWVkBAIAAAAAAB9BcGxvcmlzLkJhc2UuT2JqZWN0cy5MaW5lRm9ybWF0AwAAAAgICAEBAwAAAAnIBAAACgAAAAD///8ADgAAAAAABfIFAAAaQXBsb3Jpcy5CYXNlLk9iamVjdHMuQ29sb3IHAAAAEkRhdGFPYmplY3QrbVBhcmVudBVEYXRhT2JqZWN0K21Db250YWluZXIFbVR5cGUEbVJHQhBtVGhlbWVDb2xvckluZGV4DG1BdXRvVXBkYXRlZAltTW9kaWZpZWQEAgAAAAAAH0FwbG9yaXMuQmFzZS5PYmplY3RzLkxpbmVGb3JtYXQDAAAACAgIAQEDAAAACcgEAAAKAQAAAAAAAAD/////AAEB8wUAAHgAAAAKCgEAAAAFKW4A/////wAAAfQFAAB4AAAACgoBAAAA////AP////8AAA/1BQAAAQAAAAhZAgAAAfYFAAB4AAAACgoAAAAA////AA4AAAAAAAH3BQAAeAAAAAoKAAAAAP///wAOAAAAAAEH+AUAAAABAAAABAAAAAQdQXBsb3Jpcy5CYXNlLk9iamVjdHMuVmFyaWFibGUDAAAAAVMGAACSAwAAAQAAAAAAAAABVAYAAJIDAAAAAAAAAAAAAAFVBgAAkgMAAAAAAAAAAAAAAVYGAACSAwAAAAAAAAAAAAAP+QUAAAEAAAAIrwMAAAX6BQAAGkFwbG9yaXMuQmFzZS5PYmplY3RzLkNvbG9yBwAAABJEYXRhT2JqZWN0K21QYXJlbnQVRGF0YU9iamVjdCttQ29udGFpbmVyBW1UeXBlBG1SR0IQbVRoZW1lQ29sb3JJbmRleAxtQXV0b1VwZGF0ZWQJbU1vZGlmaWVkBAIAAAAAAB9BcGxvcmlzLkJhc2UuT2JqZWN0cy5MaW5lRm9ybWF0AwAAAAgICAEBAwAAAAnlBAAACgAAAAD///8ADgAAAAAABfsFAAAaQXBsb3Jpcy5CYXNlLk9iamVjdHMuQ29sb3IHAAAAEkRhdGFPYmplY3QrbVBhcmVudBVEYXRhT2JqZWN0K21Db250YWluZXIFbVR5cGUEbVJHQhBtVGhlbWVDb2xvckluZGV4DG1BdXRvVXBkYXRlZAltTW9kaWZpZWQEAgAAAAAAH0FwbG9yaXMuQmFzZS5PYmplY3RzLkxpbmVGb3JtYXQDAAAACAgIAQEDAAAACeUEAAAKAQAAAAAAAAD/////AAEB/AUAAHgAAAAKCgEAAAAFKW4A/////wAAAf0FAAB4AAAACgoBAAAA////AP////8AAA/+BQAAAQAAAAieAwAAAf8FAAB4AAAACgoAAAAA////AA4AAAAAAAEABgAAeAAAAAoKAAAAAP///wAOAAAAAAEHAQYAAAABAAAABAAAAAQdQXBsb3Jpcy5CYXNlLk9iamVjdHMuVmFyaWFibGUDAAAAAVcGAACSAwAAAQAAAAAAAAABWAYAAJIDAAAAAAAAAAAAAAFZBgAAkgMAAAAAAAAAAAAAAVoGAACSAwAAAAAAAAAAAAAPAgYAAAEAAAAIaAMAAAUDBgAAGkFwbG9yaXMuQmFzZS5PYmplY3RzLkNvbG9yBwAAABJEYXRhT2JqZWN0K21QYXJlbnQVRGF0YU9iamVjdCttQ29udGFpbmVyBW1UeXBlBG1SR0IQbVRoZW1lQ29sb3JJbmRleAxtQXV0b1VwZGF0ZWQJbU1vZGlmaWVkBAIAAAAAAB9BcGxvcmlzLkJhc2UuT2JqZWN0cy5MaW5lRm9ybWF0AwAAAAgICAEBAwAAAAkCBQAACgAAAAD///8ADgAAAAAABQQGAAAaQXBsb3Jpcy5CYXNlLk9iamVjdHMuQ29sb3IHAAAAEkRhdGFPYmplY3QrbVBhcmVudBVEYXRhT2JqZWN0K21Db250YWluZXIFbVR5cGUEbVJHQhBtVGhlbWVDb2xvckluZGV4DG1BdXRvVXBkYXRlZAltTW9kaWZpZWQEAgAAAAAAH0FwbG9yaXMuQmFzZS5PYmplY3RzLkxpbmVGb3JtYXQDAAAACAgIAQEDAAAACQIFAAAKAQAAAAAAAAD/////AAEBBQYAAHgAAAAKCgEAAABFddQA/////wAAAQYGAAB4AAAACgoBAAAA////AP////8AAA8HBgAAAQAAAAhWAwAAAQgGAAB4AAAACgoAAAAA////AA4AAAAAAAEJBgAAeAAAAAoKAAAAAP///wAOAAAAAAEHCgYAAAABAAAABAAAAAQdQXBsb3Jpcy5CYXNlLk9iamVjdHMuVmFyaWFibGUDAAAAAVsGAACSAwAAAQAAAAAAAAABXAYAAJIDAAAAAAAAAAAAAAFdBgAAkgMAAAAAAAAAAAAAAV4GAACSAwAAAAAAAAAAAAAPCwYAAAEAAAAIMgIAAAUMBgAAGkFwbG9yaXMuQmFzZS5PYmplY3RzLkNvbG9yBwAAABJEYXRhT2JqZWN0K21QYXJlbnQVRGF0YU9iamVjdCttQ29udGFpbmVyBW1UeXBlBG1SR0IQbVRoZW1lQ29sb3JJbmRleAxtQXV0b1VwZGF0ZWQJbU1vZGlmaWVkBAIAAAAAAB9BcGxvcmlzLkJhc2UuT2JqZWN0cy5MaW5lRm9ybWF0AwAAAAgICAEBAwAAAAkfBQAACgAAAAD///8ADgAAAAAABQ0GAAAaQXBsb3Jpcy5CYXNlLk9iamVjdHMuQ29sb3IHAAAAEkRhdGFPYmplY3QrbVBhcmVudBVEYXRhT2JqZWN0K21Db250YWluZXIFbVR5cGUEbVJHQhBtVGhlbWVDb2xvckluZGV4DG1BdXRvVXBkYXRlZAltTW9kaWZpZWQEAgAAAAAAH0FwbG9yaXMuQmFzZS5PYmplY3RzLkxpbmVGb3JtYXQDAAAACAgIAQEDAAAACR8FAAAKAQAAAAAAAAD/////AAEBDgYAAHgAAAAKCgEAAABFddQA/////wAAAQ8GAAB4AAAACgoBAAAA////AP////8AAA8QBgAAAQAAAAgEAgAAAREGAAB4AAAACgoAAAAA////AA4AAAAAAAESBgAAeAAAAAoKAAAAAP///wAOAAAAAAEHEwYAAAABAAAABAAAAAQdQXBsb3Jpcy5CYXNlLk9iamVjdHMuVmFyaWFibGUDAAAAAV8GAACSAwAAAQAAAAAAAAABYAYAAJIDAAAAAAAAAAAAAAFhBgAAkgMAAAAAAAAAAAAAAWIGAACSAwAAAAAAAAAAAAAPFAYAAAEAAAAINgIAAAUVBgAAGkFwbG9yaXMuQmFzZS5PYmplY3RzLkNvbG9yBwAAABJEYXRhT2JqZWN0K21QYXJlbnQVRGF0YU9iamVjdCttQ29udGFpbmVyBW1UeXBlBG1SR0IQbVRoZW1lQ29sb3JJbmRleAxtQXV0b1VwZGF0ZWQJbU1vZGlmaWVkBAIAAAAAAB9BcGxvcmlzLkJhc2UuT2JqZWN0cy5MaW5lRm9ybWF0AwAAAAgICAEBAwAAAAk9BQAACgAAAAD///8ADgAAAAAABRYGAAAaQXBsb3Jpcy5CYXNlLk9iamVjdHMuQ29sb3IHAAAAEkRhdGFPYmplY3QrbVBhcmVudBVEYXRhT2JqZWN0K21Db250YWluZXIFbVR5cGUEbVJHQhBtVGhlbWVDb2xvckluZGV4DG1BdXRvVXBkYXRlZAltTW9kaWZpZWQEAgAAAAAAH0FwbG9yaXMuQmFzZS5PYmplY3RzLkxpbmVGb3JtYXQDAAAACAgIAQEDAAAACT0FAAAKAQAAAAAAAAD/////AAEBFwYAAHgAAAAKCgEAAABFddQA/////wAAARgGAAB4AAAACgoBAAAA////AP////8AAA8ZBgAAAQAAAAgHAgAAARoGAAB4AAAACgoAAAAA////AA4AAAAAAAEbBgAAeAAAAAoKAAAAAP///wAOAAAAAAEHHAYAAAABAAAABAAAAAQdQXBsb3Jpcy5CYXNlLk9iamVjdHMuVmFyaWFibGUDAAAAAWMGAACSAwAAAQAAAAAAAAABZAYAAJIDAAAAAAAAAAAAAAFlBgAAkgMAAAAAAAAAAAAAAWYGAACSAwAAAAAAAAAAAAAPHQYAAAEAAAAIsAMAAAUeBgAAGkFwbG9yaXMuQmFzZS5PYmplY3RzLkNvbG9yBwAAABJEYXRhT2JqZWN0K21QYXJlbnQVRGF0YU9iamVjdCttQ29udGFpbmVyBW1UeXBlBG1SR0IQbVRoZW1lQ29sb3JJbmRleAxtQXV0b1VwZGF0ZWQJbU1vZGlmaWVkBAIAAAAAAB9BcGxvcmlzLkJhc2UuT2JqZWN0cy5MaW5lRm9ybWF0AwAAAAgICAEBAwAAAAlaBQAACgAAAAD///8ADgAAAAAABR8GAAAaQXBsb3Jpcy5CYXNlLk9iamVjdHMuQ29sb3IHAAAAEkRhdGFPYmplY3QrbVBhcmVudBVEYXRhT2JqZWN0K21Db250YWluZXIFbVR5cGUEbVJHQhBtVGhlbWVDb2xvckluZGV4DG1BdXRvVXBkYXRlZAltTW9kaWZpZWQEAgAAAAAAH0FwbG9yaXMuQmFzZS5PYmplY3RzLkxpbmVGb3JtYXQDAAAACAgIAQEDAAAACVoFAAAKAQAAAAAAAAD/////AAEBIAYAAHgAAAAKCgEAAABFddQA/////wAAASEGAAB4AAAACgoBAAAA////AP////8AAA8iBgAAAQAAAAidAwAAASMGAAB4AAAACgoAAAAAAAAAAA0AAAAAAAEkBgAAeAAAAAoKAAAAAAAAAAANAAAAAAEHJQYAAAABAAAABAAAAAQdQXBsb3Jpcy5CYXNlLk9iamVjdHMuVmFyaWFibGUDAAAAAWcGAACSAwAAAQAAAAAAAAABaAYAAJIDAAAAAAAAAAAAAAFpBgAAkgMAAAAAAAAAAAAAAWoGAACSAwAAAAAAAAAAAAAPJgYAAAEAAAAIZgMAAAUnBgAAGkFwbG9yaXMuQmFzZS5PYmplY3RzLkNvbG9yBwAAABJEYXRhT2JqZWN0K21QYXJlbnQVRGF0YU9iamVjdCttQ29udGFpbmVyBW1UeXBlBG1SR0IQbVRoZW1lQ29sb3JJbmRleAxtQXV0b1VwZGF0ZWQJbU1vZGlmaWVkBAIAAAAAAB9BcGxvcmlzLkJhc2UuT2JqZWN0cy5MaW5lRm9ybWF0AwAAAAgICAEBAwAAAAl3BQAACgAAAAD///8ADgAAAAAABSgGAAAaQXBsb3Jpcy5CYXNlLk9iamVjdHMuQ29sb3IHAAAAEkRhdGFPYmplY3QrbVBhcmVudBVEYXRhT2JqZWN0K21Db250YWluZXIFbVR5cGUEbVJHQhBtVGhlbWVDb2xvckluZGV4DG1BdXRvVXBkYXRlZAltTW9kaWZpZWQEAgAAAAAAH0FwbG9yaXMuQmFzZS5PYmplY3RzLkxpbmVGb3JtYXQDAAAACAgIAQEDAAAACXcFAAAKAQAAAAAAAAD/////AAEBKQYAAHgAAAAKCgEAAADB0O0A/////wAAASoGAAB4AAAACgoBAAAA////AP////8AAA8rBgAAAQAAAAhYAwAAASwGAAB4AAAACgoAAAAAAAAAAA0AAAAAAAEtBgAAeAAAAAoKAAAAAAAAAAANAAAAAAEHLgYAAAABAAAABAAAAAQdQXBsb3Jpcy5CYXNlLk9iamVjdHMuVmFyaWFibGUDAAAAAWsGAACSAwAAAQAAAAAAAAABbAYAAJIDAAAAAAAAAAAAAAFtBgAAkgMAAAAAAAAAAAAAAW4GAACSAwAAAAAAAAAAAAAPLwYAAAEAAAAISQIAAAUwBgAAGkFwbG9yaXMuQmFzZS5PYmplY3RzLkNvbG9yBwAAABJEYXRhT2JqZWN0K21QYXJlbnQVRGF0YU9iamVjdCttQ29udGFpbmVyBW1UeXBlBG1SR0IQbVRoZW1lQ29sb3JJbmRleAxtQXV0b1VwZGF0ZWQJbU1vZGlmaWVkBAIAAAAAAB9BcGxvcmlzLkJhc2UuT2JqZWN0cy5MaW5lRm9ybWF0AwAAAAgICAEBAwAAAAmUBQAACgAAAAD///8ADgAAAAAABTEGAAAaQXBsb3Jpcy5CYXNlLk9iamVjdHMuQ29sb3IHAAAAEkRhdGFPYmplY3QrbVBhcmVudBVEYXRhT2JqZWN0K21Db250YWluZXIFbVR5cGUEbVJHQhBtVGhlbWVDb2xvckluZGV4DG1BdXRvVXBkYXRlZAltTW9kaWZpZWQEAgAAAAAAH0FwbG9yaXMuQmFzZS5PYmplY3RzLkxpbmVGb3JtYXQDAAAACAgIAQEDAAAACZQFAAAKAQAAAAAAAAD/////AAEBMgYAAHgAAAAKCgEAAADB0O0A/////wAAATMGAAB4AAAACgoBAAAA////AP////8AAA80BgAAAQAAAAgWAgAAATUGAAB4AAAACgoAAAAAAAAAAA0AAAAAAAE2BgAAeAAAAAoKAAAAAAAAAAANAAAAAAEHNwYAAAABAAAABAAAAAQdQXBsb3Jpcy5CYXNlLk9iamVjdHMuVmFyaWFibGUDAAAAAW8GAACSAwAAAQAAAAAAAAABcAYAAJIDAAAAAAAAAAAAAAFxBgAAkgMAAAAAAAAAAAAAAXIGAACSAwAAAAAAAAAAAAAPOAYAAAEAAAAI2wIAAAU5BgAAGkFwbG9yaXMuQmFzZS5PYmplY3RzLkNvbG9yBwAAABJEYXRhT2JqZWN0K21QYXJlbnQVRGF0YU9iamVjdCttQ29udGFpbmVyBW1UeXBlBG1SR0IQbVRoZW1lQ29sb3JJbmRleAxtQXV0b1VwZGF0ZWQJbU1vZGlmaWVkBAIAAAAAAB9BcGxvcmlzLkJhc2UuT2JqZWN0cy5MaW5lRm9ybWF0AwAAAAgICAEBAwAAAAmxBQAACgAAAAD///8ADgAAAAAABToGAAAaQXBsb3Jpcy5CYXNlLk9iamVjdHMuQ29sb3IHAAAAEkRhdGFPYmplY3QrbVBhcmVudBVEYXRhT2JqZWN0K21Db250YWluZXIFbVR5cGUEbVJHQhBtVGhlbWVDb2xvckluZGV4DG1BdXRvVXBkYXRlZAltTW9kaWZpZWQEAgAAAAAAH0FwbG9yaXMuQmFzZS5PYmplY3RzLkxpbmVGb3JtYXQDAAAACAgIAQEDAAAACbEFAAAKAQAAAAAAAAD/////AAEBOwYAAHgAAAAKCgEAAADB0O0A/////wAAATwGAAB4AAAACgoBAAAA////AP////8AAA89BgAAAQAAAAjNAgAAAT4GAAB4AAAACgoAAAAAAAAAAA0AAAAAAAE/BgAAeAAAAAoKAAAAAAAAAAANAAAAAAEHQAYAAAABAAAABAAAAAQdQXBsb3Jpcy5CYXNlLk9iamVjdHMuVmFyaWFibGUDAAAAAXMGAACSAwAAAQAAAAAAAAABdAYAAJIDAAAAAAAAAAAAAAF1BgAAkgMAAAAAAAAAAAAAAXYGAACSAwAAAAAAAAAAAAAPQQYAAAEAAAAIrgMAAAVCBgAAGkFwbG9yaXMuQmFzZS5PYmplY3RzLkNvbG9yBwAAABJEYXRhT2JqZWN0K21QYXJlbnQVRGF0YU9iamVjdCttQ29udGFpbmVyBW1UeXBlBG1SR0IQbVRoZW1lQ29sb3JJbmRleAxtQXV0b1VwZGF0ZWQJbU1vZGlmaWVkBAIAAAAAAB9BcGxvcmlzLkJhc2UuT2JqZWN0cy5MaW5lRm9ybWF0AwAAAAgICAEBAwAAAAnOBQAACgAAAAD///8ADgAAAAAABUMGAAAaQXBsb3Jpcy5CYXNlLk9iamVjdHMuQ29sb3IHAAAAEkRhdGFPYmplY3QrbVBhcmVudBVEYXRhT2JqZWN0K21Db250YWluZXIFbVR5cGUEbVJHQhBtVGhlbWVDb2xvckluZGV4DG1BdXRvVXBkYXRlZAltTW9kaWZpZWQEAgAAAAAAH0FwbG9yaXMuQmFzZS5PYmplY3RzLkxpbmVGb3JtYXQDAAAACAgIAQEDAAAACc4FAAAKAQAAAAAAAAD/////AAEBRAYAAHgAAAAKCgEAAADB0O0A/////wAAAUUGAAB4AAAACgoBAAAA////AP////8AAA9GBgAAAQAAAAifAwAACw=="/>
</p:tagLst>
</file>

<file path=ppt/tags/tag775.xml><?xml version="1.0" encoding="utf-8"?>
<p:tagLst xmlns:a="http://schemas.openxmlformats.org/drawingml/2006/main" xmlns:r="http://schemas.openxmlformats.org/officeDocument/2006/relationships" xmlns:p="http://schemas.openxmlformats.org/presentationml/2006/main">
  <p:tag name="APLORISTAG" val="MSr6OjrYBJNoFELFg.925"/>
</p:tagLst>
</file>

<file path=ppt/tags/tag776.xml><?xml version="1.0" encoding="utf-8"?>
<p:tagLst xmlns:a="http://schemas.openxmlformats.org/drawingml/2006/main" xmlns:r="http://schemas.openxmlformats.org/officeDocument/2006/relationships" xmlns:p="http://schemas.openxmlformats.org/presentationml/2006/main">
  <p:tag name="APLORISTAG" val="MSr6OjrYBJNoFELFg.516"/>
</p:tagLst>
</file>

<file path=ppt/tags/tag777.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AFFQAAABlTeXN0ZW0uRHJhd2luZy5SZWN0YW5nbGVGBAAAAAF4AXkFd2lkdGgGaGVpZ2h0AAAAAAsLCwsEAAAA//9/////f////3////9//wEWAAAAFQAAAP//f////3////9/////f/8AAAAAAAUXAAAALEFwbG9yaXMuQ2hhcnQuQXhpc0JyZWFrK0F4aXNCcmVha0Rpc3BsYXlNb2RlAQAAAAd2YWx1ZV9fAAgCAAAAAQAAAAEBAQoKCRgAAAAKCgAAAAAACRkAAAAKCRoAAAAAAAAACgUbAAAAGUFwbG9yaXMuQ2hhcnQuT3JpZW50YXRpb24BAAAAB3ZhbHVlX18ACAIAAAABAAAACRwAAAABHQAAABUAAAD7kD1Cr5mEQUz7EkQ/PoZDAAQeAAAAC1N5c3RlbS5HdWlkCwAAAAJfYQJfYgJfYwJfZAJfZQJfZgJfZwJfaAJfaQJfagJfawAAAAAAAAAAAAAACAcHAgICAgICAgIAAAAAAAAAAAAAAAAAAAAAAAoKCR8AAAAACgoKAQAAAAAAAAD/////AAABIAAAABUAAACji9ZCRhe9QUf56UNbdH9DQegcQn8RI0NcjCFEo0usQwUhAAAAFVN5c3RlbS5EcmF3aW5nLlBvaW50RgIAAAABeAF5AAALCwQAAAACEsxDIo18QwYiAAAAEHZtRFo3Z0VSOUdxS3hJdU0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5A9QtqHjkMBLwAAACEAAABc1B5E2oeOQwkwAAAACTEAAAAJMgAAAAkzAAAAAAAAAAAAAAAAAAAACTQAAAAAAAAAAAAJNQAAAAkBAAAACQEAAAAJNgAAAAEHAAAABgAAAAkBAAAAATcAAAAnAAAAAAAAAM3MTD8AAAAIAQAJAQAAAAk4AAAACTkAAAABAAAAAAAAAAABAAAAAAAA8D8BmpmZmZmZuT8AAAAgQQEBCToAAAAKCTsAAAAJPAAAAAk9AAAAAT4AAAAhAAAA+5A9QtqHjkMBPwAAACEAAAD7kD1Cr5mEQQ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BXUUdCo4uaQ9JFWUMAAMhBCWUAAAAD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BQAAAAgBAAAAAgAAAAMAAAAEAAAABQAAAAUc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bgAAACEAAAD7kD1Cr5mEQQFvAAAAIQAAAFzUHkTah45DCXAAAAAJcQAAAAAAAAAKBXIAAAAUU3lzdGVtLkRyYXdpbmcuU2l6ZUYCAAAABXdpZHRoBmhlaWdodAAACwsEAAAAAAAAAAAAAAABcwAAAHIAAAAAAAAAAAAAAAAAAAABdAAAABUAAAAAAAAAAAAAAAAAAAAAAAAAFAAAAP////8BAQoJdQAAAAEACgAPHwAAAOE0AAACUEsDBBQABgAIAAAAIQBJEqz3jAEAAHg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d1OwjAUvjfxHZbemq3AhTGGwQXopZKID1DbA1vo2qan/L29ZwOMkrlJWOLNmq39/s52zobjXaGjDXjMrUlZP+mxCIy0KjfLlL3Pn+MHFmEQRgltDaRsD8jGo9ub4XzvACNCG0xZFoJ75BxlBoXAxDowtLOwvhCBbv2SOyFXYgl80Ovdc2lNABPiUHKw0XAKC7HWIXra0eODE4KzaHI4V0qlTDincykCGeXlLq/FbRpxG6POzMV2scglKCvXBVlKCD/1YkvxfxHwoLHBWY3CMXpCyMo9ZrnDu2OEV6q9zxVEM+HDiygoKN9pvrV+9WHtKmmuQ43aWR50HoTCDCAUOqnWpBC5+YN+dRh5tfQ7NlLmq4gv9DH4Jx+BPmzg1fX6UlQ0LcEx7DVgx2kPpG3KmfCg3oKnHujcwHfuFh/SFmVH4vX1/tkDJ942eaHlJKNO6fgdyBNvkz6No5m3DmlSerjcwGnilOjYERH4kEPjzPlSpDF7ueDZ0IFyjitQNdq8+m+MPgE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ABBmPgJAQAAz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zWrDMBCE74W+g9h7LdttQymRc2gp5NqmDyDktWViS0a7/fHbVyTUcSC4F9PjzqKZj5G03nx3rfjEQI13CrIkBYHO+LJxtYL33cvNAwhi7UrdeocKBiTYFNdX61dsNcdDZJueRHRxpMAy949SkrHYaUp8jy5uKh86zXEMtey12esaZZ6mKxmmHlCceYptqSBsy1sQu6GPyX97+6pqDD5789Gh4wsRkiMXRkMdamQFh/EoZkkEBXmZ4W5JBuKhjSWOEMd5Lv5+0XirA5ZvHOINTymm8hzMakkYo1vzZHXjTnWM0hxEtiTElw97soh8ghglkofN7OvI/xkm/21Gnv3B4gcAAP//AwBQSwMEFAAGAAgAAAAhAEBBgYLcAQAAFgMAAA8AAAB4bC93b3JrYm9vay54bWyMUslu2zAQvRfoPxC826QoyQkMS4HrBTXQBkGR5cxQtEWEi0BSlYKi/56RVLdOe+lpOAtn5r15q5veaPRd+qCcLXAypxhJK1yl7KnAD/f72TVGIXJbce2sLPCrDPim/Phh1Tn/8uzcC4IGNhS4jrFZEhJELQ0Pc9dIC5mj84ZHcP2JhMZLXoVaymg0YZQuiOHK4qnD0v9PD3c8KiG3TrRG2jg18VLzCOuHWjUBl6uj0vJxQoR409xyA3v3GiPNQ9xVKsqqwDm4rpPvAr5tPrVKQ5YtKM0wKX+jvPOIt9FtnAEQIdwpEVt4FJgOVQMPj0p24c+HwUX9k7KV6wqcXlEg9vXsMsrA7cbkk6piDROTZCiZYp+lOtURzsHSbBxALiaMBMKk0SI7ols32nkVtjxyONfA8AFQJBj5pYKHP1TJsOfll2+8Q3/Vpxf1bKgn51mCawEUDGZsnFFKofvgf3UV0DuQc+vu+bOWEHZWtN7DgTZQ8Isj2ccvIZYrsKj1qsA/rnKW7vJtOmP5Pp2t8x2dJYuUzRbZnuXZhrEsZz/P6jD9P/IwSngX3DHOhTNkUgYoShDZCzkK7HoSWLky/XLtRX3Yor3mJzjbBA92AZDnzchZ0uUbAAAA//8DAFBLAwQUAAYACAAAACEAKBtn0uQIAACogwAADQAAAHhsL3N0eWxlcy54bWzsXetvm0gQ/37S/Q+I6j4mPAw2RLarS1LfVepVlZKT7ivGaxuVhwW4dXq6//1mdsEY4oDxbh6qth9SHjOzs7957MKuh/H7XRQq30iaBUk8UY1LXVVI7CeLIF5N1L/vZxeOqmS5Fy+8MInJRH0gmfp++usv4yx/CMndmpBcARFxNlHXeb650rTMX5PIyy6TDYnhzjJJIy+H03SlZZuUeIsMmaJQM3V9qEVeEKtMwlXknyIk8tKv282Fn0QbLw/mQRjkD1SWqkT+1cdVnKTePARVd4bl+aVsevJIfBT4aZIly/wSxGnJchn45LGWruZqIGk6jrfRLMozxU+2cT5RB/tLCrvzcQEQDi1VYZ2+SRaghn6p/6ZqJXON0q5Tvnv3Tn+CcviYshCrFUpNx8skrnRzoePY/6uvcfI9nuEt0A0URqrpOPuhfPNCuGJgg34SJqmSg91AX3ol9iLCKG68MJinAZItvSgIH9hlEy9QUxd0UQDA40WNtcD+zpGqaMvFu6ypIF6QHQG0nEZr9946iTwkfNRYTW4p87n13x7of6wtZi9BYHU11sCKzzJ7BKklmVnS1XyizmY6/YdGqNzgjyAMlTsvzvBypykOBM1mpwoKnsD6LGH77lHQat1jHezWivYyA0+Eru9j3sQQggvTMWSfnKTxDIEpju8fNhBAMSRKhhKl66Bepd6DYdoHDBptcDqeJ+kCEnOZbTB42aXpOCTLHNBKg9Ua/8+TDfydJ3kOWWw6XgTeKom9EA61kqM4gO74JAzvMHn/s6xk25jLdsuD7AQDAYYwpjQ8hK4Uh0wiO4EWakyQdUom80kmxdtswocZCKei2RnIr86uac+r89/DYBVH5JDhS5rkxM/pqEWDsKbHgfJP69FUXjLB4FbauzD9WegNOkz/eRvNSTqjE4PKyBhI1ZlIF8AB+bj/Mld8aX0kPpBSWqJP4iPx4Un50n+k/0j/eb7xVMaXjC8ZXzK+4IGJPrzJ+bN8vmibz8vnr/bxQuIj8eEZT6X/SP+R/vN88zEZXzK+ZHzJ+Hqt5x2Zf2T+kflH5h+Zf9h+BPn+uT0fSnwkPjzjhfQf6T/Sf55vvnHWpirJxLMlTaIn0St2shZAyEFODnI8g5zMKDwZRUafjD6e6JP+I/1H+s/zPaLI+JLxJeNLxtdrLTnI/CPzj8w/Mv/I/MOWPOUWkPZ8KPGR+PCMF9J/pP9I/3m++YaMLxlfMr5kfL3WfP6t5Z83snqoHRaDYqWhDqtCOWcVhVJ2y+PVocD4ZXUoPHyiJE/JXZSJolWBaBGvpyo89ZbFJB+kIyyt5ZU1ppR1kgY/YHET6+P5UHSKsLJ2u2Wj2FVR6a+rRlYBh3H0x9LlVVYNa39WdPonVlT5nnqbe7KDGmDUuNojeHm8pQM4oW2XRqv/Cr68KsqwvfDCapGnRRe4ORqgHmvsrKzAVd49KV6wMJ368rqerhvWxGtztdGrQVekmpcHj8PQUDg2D3xMlFCC8BXsfpbqJwNtDGmBVpbgT46p/nmAqxeVCU4eq7BXremhDPk32pUDq0B14vauwChypEZJ2cG27PwiVqF1fZmDdVvF/qk6U9rgjTpZP8vAfP5NuRmd2MNU/qDca6PY637mr2CRXyj7m4Rh8p0slD+hiG0aBvFXqCBNJ/IGuN18G4R5EOO8Hmq8roPFgmC5cKz60kMQoCRGEDzOiREEVhYjCBKREEGmKLBNUWCbosA2RYFtigJ7IArsgSiwB6LAHogCeyAKbEsU2JYosC1RYFuiwLZEgY1TBSH5yBYFti0KbFsU2LYosIeiwB6KAhu/QSHE/ENRYA9FgT0SBfZIFNgjUWC7sOtNiNVceJYQIsjQRalk6OJ0gnc0gnoHc1kxkuDbIKIkCUPcEIa4IQxxQxjipjDETWGIw2c8BHmBKQxxUxjiA2GID4QhPhCG+EAY4gNhiFvCELeEIW4JQ9wShrjVD/FHbzjq7DBTaX3B8Yi9kfz789eN05+/bpL+/HVD9OfnxK+Rynu330jg/fk58Wsk6/7tc+LXSMy922+k4/78nPg1Um//9jnxa6TZ3u03kmt/fk78Gom0f/uc+Nn1Yap3+/DxscNpU39+Tvxszvxnc+I35MRvyIkfLnMePAb1xn/Iid+QE78RJ34jTvzc+puE3vi59RcIvfkNnVMBQ+fWoP6e6IwuAAuPDxqNVar+Ghi8IBq8IBq8IBq8IDZWn/qD2Fh1OkMAL4iNVaYzNOAFsbGq1F+DxmrSGQJ4QWysHp2hAS+IjdWi/ho0VonOEMALYmNV6AwN+oH4GT+oGZar9vXX5PR7i82V+i8kxT1DJUd9FKVfpG1y0I9+G5Y1cgaGaRoWeirbJHASOQ60jJx9dLj8Em2xBaEpHcdFRm4d22jQIB9i+mTkw1PI0ccZuXMK+WhPPjiBfIQvOpn0URu54zq261g6vjksyFuRLOhNfOQt6Fs7W9LjFL2gP0Uf06n0aUWnkG/hwmUhn33m+wnTlvSjPb1z1DVL2xb0tl7RH9100qTHR0qmj9PqaiB/BGA6uKrE6N0uPCm9s3dNtwsfpHf1vXwDDo/smjnoAGXAl/eFQl0Go/Q46BT0XQag9Pgaj9EbeheiI9uw6V5IxuC0BgAiivRg16IBpxNRpMc1q0J+ZweA3sT5XkHfmh0KfcwqwpxOQFE+DkBMvttpMKS3K/27IhjxMSuPczo9COmriHRb7QWuNnQd18YFV6a/AZsBWjyuZAA19gyntDDU9ykO1MMWql+TwL6zxa76vDhtP/fmIbnDD4/vd6IBxAuy9LZhfr+/OVGr47/IIthGMMYUVF+Cb0lORUzU6vgTfgUdkj9oAL8n+JTl9H9lmwYT9d8P1yP39sPMvHD0a+fCGhD7wrWvby9s6+b69nbm6qZ+8x90PArj7GpnWBN1neebK03L/DWJvOwyCvw0yZJlfunDx9WT5TLwiZZtUuItsjUheRRqpq67mqtFXhDjD2YM6yoLgSotOlsof1ddm6gHJ0x9ih+oDyiWndBoTrjDRqb/Aw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F9bkJwEEAABzDAAAGAAAAHhsL3dvcmtzaGVldHMvc2hlZXQyLnhtbIxXTY/bNhC9F+h/EHRqD7Y+LEu2YTtYWVISIIsumiY50xJlCyuJrsjd9aLof++QlB1xlDp7saX3hsN5M0N6vH53bmrrmXa8Yu3G9qaubdE2Z0XVHjb2l7+yycK2uCBtQWrW0o39Srn9bvvrL+sX1j3yI6XCAg8t39hHIU4rx+H5kTaET9mJtsCUrGuIgNfu4PBTR0mhFjW147tu6DSkam3tYdW9xQcryyqnCcufGtoK7aSjNREQPz9WJ37x1uRvcdeQ7vHpNMlZcwIX+6quxKtyaltNvvp4aFlH9jXoPnsByS++1cvIfVPlHeOsFFNw5+hAx5qXztIBT9t1UYECmXaro+XGvvNW7z3XdrZrlaCvFX3hg2dL5nvP2KMkPhYb2wUXnNY0l8otAl/PdEfremN/CKFkfyun8AgOnavH4fPFe6Yq9NBZe8LpjtXfqkIcoRWgEwpakqda/MlePtDqcBSABpADmYpV8ZpQnkMNZCiXqBMiyHbdsRcLiulBGCciW8NbRRBtLsE7iW7sSC5RQKwBaDPwxMHseest1s4zhJr3JruLyWVNgoEUA5kGZtdt3mvAV/mAAK9R+j+MUqJGlBpYDqKcoyDHFqFpkYwtItMiHVu4pkWmLQa6NDDWNTN0WbJ4/uJaBcnqGl+zjpIe9yaQt6vJ0gxm93OT5OcmqTYZphbtk2mLgWgNjEVDd/6g5SSKxKK0xr2Jr/rP9zwk1KDnc1S2xKD9CDlPezoA56VK5pF0tLD1uU+DVQraeaWO9Ocv97/FwSoJfl87pToL7gwVJtPuBtnQwDgbcyMbuAUki7Liocjj3kanJcRZMdiFb+YsMVgPnYW0Z0c50XmAgw7XwBz3gV40UK6BsXJ5A36/epTyQIrQV5BksXKkLe5ttHLPn5nidgY9mwUmnRi0F2LxPX1LfIi3zPSigXgNjMVHN8VLFotHpYt7m148aoqdwQaITQwWi0h79pbyCOU602sGwjUwFi5HFVT1wZUnWSwcbRX3Nr1wfMMb7AI1Z2Kwc3Ro0569JdwLUR0yvWigXANj5fIC+X/lksXKUcfGvY1WjuLYGaSH2MRg0dWorjbY+5ZuH529TDscyNbAWLacUQa6L+dbwbDp9cc/7pHvLncjJBkh6QjJRogc2WRyB7HpaUtPQidyoPekO1Qtt2pawg+pO43g0ur0NKVfBDvJYK09E4I16vEIczKFacmdgnHJmLi8wMVIz+ITF+rbeurgZ+OfMHBdP5p5k7swdidz+eGHkTuJIt+Lo527DF3338vs2pzfNrg2JHfoOadqUF/oQX27bs6rh09frXtWwEwM0v9o6QNoVM/fPudEjspqHIS1EKP8VME6178L2/8A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PCMwqqaBAAA6AsAABgAAAB4bC93b3Jrc2hlZXRzL3NoZWV0MS54bWyUVlFv2zYQfh+w/6AJA7pisEVSEiUZtovYcrAALRo0W/tMS7QtRBI1iY6dDvvvPZK2bMZNkLxIInn67r77juSNP+yr0nngbVeIeuLiIXIdXmciL+r1xP3n7+tB7DqdZHXOSlHzifvIO/fD9NdfxjvR3ncbzqUDCHU3cTdSNiPP67INr1g3FA2vYWUl2opJGLZrr2taznL9U1V6BCHqVayoXYMwal+DIVarIuOpyLYVr6UBaXnJJMTfbYqmO6Lt81fh5S3bAddjPGchpmalx8PBRXxVkbWiEys5zETlmdAuWSZeYvGssgugnySrYu39thkAcAPklkVZyEdN13WqbHSzrkXLliUosscBy86iZJfwr48TkKbjvIDcqoJwWr6auFd4tAhcbzrWyn0t+K47+3YkW97xkmeS51BArqMKYynEvTK8gSkEiJ02UIgsk8UDn/OynLgzArX1r/YxI6OZ9uH1Tqbj0/fR4bWuptvWWbKOz0X5rcjlBrxC1eZ8xbalPE3Gw9gnyMck7Be/iN1fvFhvJPwSQMpU5kb5Y8q7DIpJhQosM1GCO3g6VaG2BOSb7Q0z443QIaUBogq4k49KAzBa8k5eFwrZdbJtJ0V1DO4AauCAsoaD987AJUO/j/ME9wKEf4CA9xGiDwTmXhkI8NeBAIkDynnCDoH4Vuz0mArqx/D7879h9ZtnEqn1TJlk03Erdg5sSkhQ1zB1ZOBRCMWRqckrNavXIIUdzD5Mg7H3oGAOFrNLC2RbzI0F5KDHwKFtkhoTiP5kQm2ThTEBsieTqDfxgETPRNXviYmj6+rESK1OXMjvCaeH0Zx1/QNn9cvDFA2hWkkUhiSJaQhlS3zbfG4AsQ/mq+m7L2znqLy+++33WeidDxdAemUg/dinQRQlcRQQDIPEhkwtyD/OQWb0T2sYvfes9YW9voje905xglGCkzBABLjEIbadLl5wGttOk6dO7fVFcnSaDEmcUBwFMfX9GPgGiwHp3VqiQXm8IJpatUU7wRjRjAWmB9FCn1IUg1sMTsM4PJWKNp8fzC9Fmz8rWojDiEApoAAyqAY9EQ2ZWpCWKHNblPkbRAv9yA+pTzAUCYrBte108YJTW5T5q0VDwzCEWiEhjX1EEYY09k4tyWC7viCZWrVPjicbB24WbREd9xn4wiFFNIHNgaFqeq9GsoP5pWTps5JhaGagAn0U44jC4AlkakFakqW2ZOkbJCMRhgRGJMB+lPgYPTnr4NLWtA0P26ktWfoGyXxbs9PeNoqZO9uc9w1b80+sXRd155R8BccgGkau05obWH9L0ehZOCWXQsKleRxtoFPkcC+gIRTeSgh5HMDNonDvuNw2jmgLuLh18zdxG9HKlhXSdTYw/13AQpk2xcQNSBIkNCIJHDzQ6soiu1wA2JKvWfZ4aPucdlTkE7e9yfVlxvfyYyenY3g72xYw/4MOAJHIx4MrOkODUD0IjdAgigieRXOUUIT+P7ZlFTQQT/rjn/ZkFcs8vs+47o5j0zVOx9V+dPvxq/NJ5NBqQKvzuea3kAL9/e0OyOhPdeVCeOapg/X6Hn36AwAA//8DAFBLAwQUAAYACAAAACEAdKIHt04BAADgAgAAFAAAAHhsL3NoYXJlZFN0cmluZ3MueG1sjJJNS8NAEIbvgv9h2LNt0lasSpIiiiDYXmzxPCTTZmEzWzOTYP69G+vFpILHfXbmnY93ktVn5aClWqzn1MymsQHi3BeWD6nZbZ8ntwZEkQt0nik1HYlZZZcXiYhCyGVJTal6vI8iyUuqUKb+SBx+9r6uUMOzPkRyrAkLKYm0ctE8jm+iCi0byH3Dmpr5tYGG7UdDjycwuzNZIjZLNNt6RZdEmiVRD07w4VATDeGGGq3HsU9W8Fz4GznKNcw91IlhAot4SBezgJcjvOzxLB7xnRD4PWwpL9k7f+iGet+TDuG7Lei0LGiErgCdCzuqR6OO4hQcYbAkmPSvBPY8OSf8aiurVAQd1/UtDBvceNA/R3phJRbbjrLWvqAadcR/qg2LrDuwLGq16e2BPVonoB4wLy21BMgQ9oQOsGithFMFCbH428soXGj2BQAA//8DAFBLAwQUAAYACAAAACEA6UmDQJ0CAAAPBwAAGwAAAHhsL2RyYXdpbmdzL3ZtbERyYXdpbmcxLnZtbOxVTW/bMAy991cI6iEXB/5oG7SqHaDo0Ns2YO22Y6HYSqxWH4bFOE5//SjZSZMVG4rtsMsM2KZJiuR7fIDzXiuCt3GsK+i6NcyVtdDcTbUsW+vsEqal1azTip6MifZ3iXa5lKVgw2t/pH/HEdGX4rWJxnFqgIbFseblN63uw1xfW0nnJyS3zNW8EYpv7RpIx0QPBRWVBB/1YVlp3hwFSMWBFzSlsS8QH1WY591QELaNILIq6GOf4PUIWZJRUlrbVk6+iIJm6SxJovCkBGs02NfnYNeGQ11QnUSJGjOGvKNn0othRGwIrX0W5MlK42CrsLiWINowH8GBfD2yanklhYEA1z4XFHzb0hojSvDTFrRFawR1gGIP6RCOS5PsgpLh3OkRxmGESWOdBGkN4wtn1RrENSLTvF1JM1ViCWx22cD16ADbsPTsHB0bWUHN0szbtZCrGliWoP0ylaYSPUt9mU46uZBKwpbVsqqEudbOTjctb6ahOwN/cEKWUqnSKtsW9HSJl0g9ZmRJgLYVIuZrsDsWfTIuCLOz13S/Yk8hslbZDbFm4G3hynUrcLsDX3uSfyLUWCP2WwCU1sL2ZOTHT1xJTzmSNOUKmB9m4vuRvJLdLs8fw7BcGeZpm8zzGKNhrLhjY9Hw2bNb5Tf8AeVJPi+esPRD2OsnC4NWSN6zj7YT3yXUt0IpF+B57z1q8q33xpS1bcNIJInI7DIiVxG5iEgakbMMX+hM0zzu2UEmVrtBJHdI5/yOKydCfOcJ8Hr2xW7m4aA3Rt8tykSbeeLzR9uT77/2uDA3R9hBxL8U5uzvhJmlXnwHysxedZl6e6fL9ECX2X9d/htdohQvziMvTxQkGmdBnVd/KsqgvreizN4vyhj/gvMfAAAA//8DAFBLAwQUAAYACAAAACEAM1hfDjYBAAAS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FfS8MwFMXfBb9DyXubdt2GhLYDlSHiQHBD8e2S3G3B5g9JtNu3N+tmnczHyzn3xzn3VrOdapMvdF4aXZMiy0mCmhsh9aYmq+U8vSGJD6AFtEZjTfboyay5vqq4Zdw4fHbGogsSfRJJ2jNua7INwTJKPd+iAp9Fh47i2jgFIY5uQy3wD9ggHeX5lCoMICAAPQBTOxDJCSn4gLSfru0BglNsUaEOnhZZQX+9AZ3y/y70yplTybC3sdMp7jlb8KM4uHdeDsau67Ku7GPE/AV9Wzy99FVTqQ+34kiaSnDGHUIwrqno+RAP14IPi3jjtURxu28ejYawBZ08GBcBKHVFL12R2Bdg6rSZxEzs2OBHei3v7pdz0ozyYpIWozQvl/mEjadsXL4fUvwFxGAXX2y+AQAA//8DAFBLAwQUAAYACAAAACEArU7jEg8BAAAiAgAAEAAAAHhsL2NvbW1lbnRzMS54bWy8UE1LxDAUvAv+h/DubtoeZJUmiwgrggfB9QfE5nUbyEfJyy5df71v7daDJ09CCJnJvJnhtZspeHHETC5FBfWqAoGxS9bFvYL33fZmDYKKidb4FFHBCQk2+vqq7VIIGAsJNoikYChlvJeSugGDoVUaMfJPn3IwhWHeSxozGksDYgleNlV1K4NxEXRrDmVImZaH1K38oS45L46KXkJFxl7BYw1ilj1bBRX7FJxYlPm88vXBPvQpjsYruAMGXfIpCxctTsgT6/pM5m2KZRbtzJCCOZO9Cc6fZrY5E/LbseinnA6jsEhddmPhnVErOVJynJzT5aXwr7IPzf+XfcPskP7Yduk9L3pBpL8AAAD//wMAUEsDBBQABgAIAAAAIQA/byhtjgEAACo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QW/bMAyF7wP2HwTdG7lZMQyBrKJoN/SwYsGSdmdOpmOhiiSIrJfs10+OkcbpDgN2I/menz5T0te7rRc9ZnIx1PJyVkmBwcbGhU0tH9dfLj5JQQyhAR8D1nKPJK/N+3d6mWPCzA5JlIhAteyY00Ipsh1ugWZFDkVpY94ClzZvVGxbZ/Eu2pctBlbzqvqocMcYGmwu0mugHBMXPf9vaBPtwEdP630qwEbfpOSdBS5/aR6czZFiy+IBrAscqROfdxa9VlObLpwrtC/Z8d5UWk1bvbLg8bYcYVrwhFqdBvoeYVjfElwmo3te9Gg5ZkHud1ngXIqfQDiA1bKH7CBwARxsY3OofSLO5kfMz9QhMmlVDOPwUE6909pdmfnBUIpz4xAwghThHHHt2CN9a5eQ+V/EB4aRd8S5ST5mR3fAMIV8xf0Ov8Rb8YzlzelfXXimx7SO5SM8bvd8qFcdZGzKhRz100Dfl8VmP4TcdhA22Bw9fwvDq3gan765vJpVH6pyzZOZVqdHbv4AAAD//wMAUEsDBBQABgAIAAAAIQAX7MrRzQAAAJcBAAAQAAAAeGwvY2FsY0NoYWluLnhtbGyQWw7CIBBF/03cA5l/pb4fKe1HW1egCyB0tE14NECM7l5SXw36yeHcOwNpflOSXNG61mgGs2kCBLUwdasvDE7Hw2QLxHmuay6NRgZ3dJBn41EquBRFw1tNQoN2DBrvuz2lTjSouJuaDnW4ORuruA9He6Gus8hr1yB6Jek8SdZUhQLIUkEsg2oFpGWwACLDJkBfuJj3+Auq9ct7G9UmAuVPZBcZVXhWP+vTsfwPBmPDYiEyAPGU8tnxNco4UsRGMTDo50uzBwAAAP//AwBQSwECLQAUAAYACAAAACEASRKs94wBAAB4BgAAEwAAAAAAAAAAAAAAAAAAAAAAW0NvbnRlbnRfVHlwZXNdLnhtbFBLAQItABQABgAIAAAAIQBQfE7B9gAAAEwCAAALAAAAAAAAAAAAAAAAAMUDAABfcmVscy8ucmVsc1BLAQItABQABgAIAAAAIQAAQZj4CQEAAMwDAAAaAAAAAAAAAAAAAAAAAOwGAAB4bC9fcmVscy93b3JrYm9vay54bWwucmVsc1BLAQItABQABgAIAAAAIQBAQYGC3AEAABYDAAAPAAAAAAAAAAAAAAAAADUJAAB4bC93b3JrYm9vay54bWxQSwECLQAUAAYACAAAACEAKBtn0uQIAACogwAADQAAAAAAAAAAAAAAAAA+CwAAeGwvc3R5bGVzLnhtbFBLAQItABQABgAIAAAAIQDnZXW41gAAALgBAAAjAAAAAAAAAAAAAAAAAE0UAAB4bC93b3Jrc2hlZXRzL19yZWxzL3NoZWV0MS54bWwucmVsc1BLAQItABQABgAIAAAAIQAX1uQnAQQAAHMMAAAYAAAAAAAAAAAAAAAAAGQVAAB4bC93b3Jrc2hlZXRzL3NoZWV0Mi54bWxQSwECLQAUAAYACAAAACEA+2KlbZQGAACnGwAAEwAAAAAAAAAAAAAAAACbGQAAeGwvdGhlbWUvdGhlbWUxLnhtbFBLAQItABQABgAIAAAAIQDwjMKqmgQAAOgLAAAYAAAAAAAAAAAAAAAAAGAgAAB4bC93b3Jrc2hlZXRzL3NoZWV0MS54bWxQSwECLQAUAAYACAAAACEAdKIHt04BAADgAgAAFAAAAAAAAAAAAAAAAAAwJQAAeGwvc2hhcmVkU3RyaW5ncy54bWxQSwECLQAUAAYACAAAACEA6UmDQJ0CAAAPBwAAGwAAAAAAAAAAAAAAAACwJgAAeGwvZHJhd2luZ3Mvdm1sRHJhd2luZzEudm1sUEsBAi0AFAAGAAgAAAAhADNYXw42AQAAEgIAABEAAAAAAAAAAAAAAAAAhikAAGRvY1Byb3BzL2NvcmUueG1sUEsBAi0AFAAGAAgAAAAhAK1O4xIPAQAAIgIAABAAAAAAAAAAAAAAAAAA8ysAAHhsL2NvbW1lbnRzMS54bWxQSwECLQAUAAYACAAAACEAP28obY4BAAAqAwAAEAAAAAAAAAAAAAAAAAAwLQAAZG9jUHJvcHMvYXBwLnhtbFBLAQItABQABgAIAAAAIQAX7MrRzQAAAJcBAAAQAAAAAAAAAAAAAAAAAPQvAAB4bC9jYWxjQ2hhaW4ueG1sUEsFBgAAAAAPAA8A3AMAAO8wAAAAAAUj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2AAAABUFyaWFsBncAAAAGK21uLWVhCXgAAAABAAl5AAAAByQAAAAAAQAAABEAAAAEFFN5c3RlbS5EcmF3aW5nLkNvbG9yBAAAAAV6AAAAFFN5c3RlbS5EcmF3aW5nLkNvbG9yBAAAAAV2YWx1ZQVzdGF0ZQprbm93bkNvbG9yBG5hbWUAAAABCQcHBAAAAAAAAAAAAAAAAAAAAAoBewAAAHoAAAAAAAD//////wIAAAAKAXwAAAB6AAAA//////////8CAAAACgF9AAAAegAAAE5BIv//////AgAAAAoBfgAAAHoAAADe3Nv//////wIAAAAKAX8AAAB6AAAAfmk///////8CAAAACgGAAAAAegAAAIyEcv//////AgAAAAoBgQAAAHoAAAAlIe3//////wIAAAAKAYIAAAB6AAAANDtG//////8CAAAACgGDAAAAegAAAHSYw///////AgAAAAoBhAAAAHoAAAAelPf//////wIAAAAKAYUAAAB6AAAAHpT3//////8CAAAACgGGAAAAegAAACUh7f//////AgAAAAoBhwAAAHoAAAAAAAD//////wIAAAAKAYgAAAB6AAAA//////////8CAAAACgGJAAAAegAAAE5BIv//////AgAAAAoBigAAAHoAAADe3Nv//////wIAAAAKBCUAAACYAVN5c3RlbS5Db2xsZWN0aW9ucy5HZW5lcmljLkxpc3RgMVtbQXBsb3Jpcy5CYXNlLk9iamVjdHMuRGF0YU9iamVjdCwgQXBsb3Jpcy5CYXNlLCBWZXJzaW9uPTQuMC4wLjE0ODYsIEN1bHR1cmU9bmV1dHJhbCwgUHVibGljS2V5VG9rZW49MTZmYzEzYTIyNmMwZTk1MV1dAwAAAAZfaXRlbXMFX3NpemUIX3ZlcnNpb24EAAAhQXBsb3Jpcy5CYXNlLk9iamVjdHMuRGF0YU9iamVjdFtdAwAAAAgICYsAAAANAAAAEQAAAAQmAAAAlQFTeXN0ZW0uQ29sbGVjdGlvbnMuR2VuZXJpYy5MaXN0YDFbW0FwbG9yaXMuQmFzZS5VSS5WaXN1YWxPYmplY3QsIEFwbG9yaXMuQmFzZSwgVmVyc2lvbj00LjAuMC4xNDg2LCBDdWx0dXJlPW5ldXRyYWwsIFB1YmxpY0tleVRva2VuPTE2ZmMxM2EyMjZjMGU5NTFdXQMAAAAGX2l0ZW1zBV9zaXplCF92ZXJzaW9uBAAAHkFwbG9yaXMuQmFzZS5VSS5WaXN1YWxPYmplY3RbXQMAAAAICAmMAAAAAQAAAAEAAAAFKAAAAJsBQXBsb3Jpcy5CYXNlLk9iamVjdHMuRGF0YU9iamVjdENvbGxlY3Rpb25gMVtbQXBsb3Jpcy5DaGFydC5WYWx1ZUxpbmU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AuMC4xNDg2LCBDdWx0dXJlPW5ldXRyYWwsIFB1YmxpY0tleVRva2VuPTE2ZmMxM2EyMjZjMGU5NTFdXQMAAACRAVN5c3RlbS5Db2xsZWN0aW9ucy5HZW5lcmljLkxpc3RgMVtbQXBsb3Jpcy5DaGFydC5WYWx1ZUxpbm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jQAAAAmOAAAACQYAAAAJAQAAAAmPAAAABSkAAACbAUFwbG9yaXMuQmFzZS5PYmplY3RzLkRhdGFPYmplY3RDb2xsZWN0aW9uYDFbW0FwbG9yaXMuQ2hhcnQuQXhpc0JyZWFr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wLjAuMTQ4NiwgQ3VsdHVyZT1uZXV0cmFsLCBQdWJsaWNLZXlUb2tlbj0xNmZjMTNhMjI2YzBlOTUxXV0DAAAAkQFTeXN0ZW0uQ29sbGVjdGlvbnMuR2VuZXJpYy5MaXN0YDFbW0FwbG9yaXMuQ2hhcnQuQXhpc0JyZWF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AAAAAJkQAAAAkGAAAACQEAAAAJkg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aAAAAAMAAAAJaQAAAAlqAAAACWsAAAABAAAAAAoKCWwAAAAAAAAACgAAAAAAAAAABS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gAAAADAAAACWkAAAAJagAAAAlrAAAAAQAAAAAKBpMAAAABJQlsAAAAAQAAAAoAAAAAAAAAAAUtAAAAmgFBcGxvcmlzLkJhc2UuT2JqZWN0cy5EYXRhT2JqZWN0Q29sbGVjdGlvbmAxW1tBcGxvcmlzLkNoYXJ0LlRpY2tNYXJr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AuMC4xNDg2LCBDdWx0dXJlPW5ldXRyYWwsIFB1YmxpY0tleVRva2VuPTE2ZmMxM2EyMjZjMGU5NTFdXQMAAACQAVN5c3RlbS5Db2xsZWN0aW9ucy5HZW5lcmljLkxpc3RgMVtbQXBsb3Jpcy5DaGFydC5UaWNrTWFy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UAAAACZUAAAAJBgAAAAkBAAAACZYAAAAFMA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XAAAAIQAAAPuQPULah45DAZgAAAAhAAAAXNQeRNqHjkMJmQAAALgBAAD/////AQEKCZoAAAABAAoABzEAAAAAAQAAAAUAAAAEFVN5c3RlbS5EcmF3aW5nLlBvaW50RgQAAAABmwAAACEAAABclB9E2oeOQwGcAAAAIQAAAPuQPULxZJdDAZ0AAAAhAAAAbK2qQ/Fkl0MBngAAACEAAABc1B5E8WSXQwGfAAAAIQAAAFyUH0TaB5FDBzIAAAAAAQAAAAUAAAAEF0FwbG9yaXMuQmFzZS5BbmNob3JNb2RlAwAAAAWgAAAAF0FwbG9yaXMuQmFzZS5BbmNob3JNb2RlAQAAAAd2YWx1ZV9fAAgDAAAABAAAAAGhAAAAoAAAAAUAAAABogAAAKAAAAADAAAAAaMAAACgAAAABgAAAAGkAAAAoAAAAAUAAAAPMwAAAAUAAAABAAAAAAEFNAAAABVBcGxvcmlzLkJhc2UuVUkuTGFiZWwcAAAAD21BbmNob3JQb3NpdGlvbgttQW5jaG9yTW9kZQ9tQWRkSW5uZXJNYXJnaW4WbU9mZnNldERpcmVjdGlvbkFuY2hvchdtT2Zmc2V0T3J0aG9nb25hbEFuY2hvcgttVGV4dEZvcm1hdAltUm90YXRpb24KbUJhY2tDb2xvcg1tVXNlQmFja0NvbG9yDm1Vc2V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BAQEAAEDAwEAAAAABwIAAAMA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MAAAABpQAAACEAAABclB9E2oeOQwGmAAAAoAAAAAQAAAAAAAAAAAAAAAAJpwAAAAAAAAAJqAAAAAAABakAAAAqQXBsb3Jpcy5CYXNlLlVJLkxhYmVsK0xpbmVBbGlnbm1lbnRPcHRpb25zAQAAAAd2YWx1ZV9fAAgDAAAAAAAAAAGqAAAAcgAAAAAAAAAAAAAAAasAAAAVAAAAAAAAAAAAAAAAAAAAAAAAAAAAAAAGrAAAAA1DYXRlZ29yeSBheGlzCgmtAAAACawAAADkAgAA/////wABCgmuAAAAAQAKAAE1AAAAJQAAAAmvAAAABgAAAAYAAAABNgAAACYAAAAJsAAAAAIAAAACAAAAATgAAAAoAAAACgmxAAAACbIAAAAJBwAAAAkBAAAACbMAAAABOQAAACkAAAAKCbQAAAAJtQAAAAkHAAAACQEAAAAJtg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oAAAAAwAAAAlpAAAACWoAAAAJawAAAAEAAAAACgmTAAAACWwAAAAAAAAACgAAAAAAAAAABT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gAAAADAAAACWkAAAAJagAAAAlrAAAAAQAAAAAKBrcAAAABJQlsAAAAAAAAAAoAAAAAAAAAAAU8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BAAAAAQloAAAAAwAAAAlpAAAACWoAAAAJawAAAAEAAAAACgmTAAAACWwAAAABAAAACgAAAAAAAAAAAT0AAAAtAAAACgm4AAAACbkAAAAJBwAAAAkBAAAACboAAAABQAAAADAAAAABuwAAACEAAAD7kD1C2oeOQwG8AAAAIQAAAPuQPUKvmYRBCb0AAAC4AQAA/////wEBCgm+AAAAAQAKAAdBAAAAAAEAAAAFAAAABBVTeXN0ZW0uRHJhd2luZy5Qb2ludEYEAAAAAb8AAAAhAAAA+5A9QuphI0EBwAAAACEAAACkDCNB2oeOQwHBAAAAIQAAAKQMI0F10RZDAcIAAAAhAAAApAwjQa+ZhEEBwwAAACEAAACkDCNB6mEjQQdCAAAAAAEAAAAFAAAABBdBcGxvcmlzLkJhc2UuQW5jaG9yTW9kZQMAAAABxAAAAKAAAAABAAAAAcUAAACgAAAACAAAAAHGAAAAoAAAAAIAAAABxwAAAKAAAAAGAAAAAcgAAACgAAAABwAAAA9DAAAABQAAAAEAAAAAAQFEAAAANAAAAAHJAAAAIQAAAPuQPULqYSNBAcoAAACgAAAAAQAAAAAAAAAAAAAAAAnLAAAAAAAAAAnMAAAAAAABzQAAAKkAAAAAAAAAAc4AAAByAAAAAAAAAAAAAAABzwAAABUAAAAAAAAAAAAAAAAAAAAAAAAAAAAAAAbQAAAAClZhbHVlIGF4aXMKCdEAAAAJ0AAAAOQCAAD/////AAEKCdIAAAABAAoAAUUAAAAlAAAACdMAAAAHAAAABwAAAAFGAAAAJgAAAAnUAAAAAgAAAAIAAAAHRwAAAAABAAAAAAAAAAQuQXBsb3Jpcy5DaGFydC5Db2x1bW5PcmllbnRlZENoYXJ0K1VudXNlZFNlcmllcwIAAAAESA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1QAAAAMAAABOAQAAAUkAAAAlAAAACdYAAAADAAAAewAAAAFKAAAAJgAAAAnXAAAAAAAAAAAAAAAESw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dgAAAAAAAAAAAAAAAFMAAAAJQAAAAnZAAAAAAAAAAAAAAABTQAAACYAAAAJ1wAAAAAAAAAAAAAABE4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doAAAAAAAAAAAAAAAFPAAAAJQAAAAnZAAAAAAAAAAAAAAABUAAAACYAAAAJ1wAAAAAAAAAAAAAABFE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bAAAABAAAACwAAAABUgAAACUAAAAJ3AAAAAQAAAAcAAAAAVMAAAAmAAAACdcAAAAAAAAAAAAAAARU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3QAAAAAAAAAAAAAAAVUAAAAlAAAACdkAAAAAAAAAAAAAAAFWAAAAJgAAAAnXAAAAAAAAAAAAAAAEVw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d4AAAAAAAAAAAAAAAFYAAAAJQAAAAnZAAAAAAAAAAAAAAABWQAAACYAAAAJ1wAAAAAAAAAAAAAABFo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fAAAAAAAAAAAAAAABWwAAACUAAAAJ2QAAAAAAAAAAAAAAAVwAAAAmAAAACdcAAAAAAAAAAAAAAARd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gAAAAAAAAAAAAAAABXgAAACUAAAAJ2QAAAAAAAAAAAAAAAV8AAAAmAAAACdcAAAAAAAAAAAAAAARg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eEAAAAAAAAAAAAAAAFhAAAAJQAAAAnZAAAAAAAAAAAAAAABYgAAACYAAAAJ1wAAAAAAAAAAAAAABWMAAACtAUFwbG9yaXMuQmFzZS5PYmplY3RzLkRhdGFPYmplY3RDb2xsZWN0aW9uYDFbW0FwbG9yaXMuQ2hhcnQuQ29sdW1uT3JpZW50ZWRMZWdlbmR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qwFBcGxvcmlzLkJhc2UuT2JqZWN0cy5Tb3J0YWJsZUNvbGxlY3Rpb25gMVtbQXBsb3Jpcy5DaGFydC5Db2x1bW5PcmllbnRlZExlZ2VuZEVsZW1lbnQsIEFwbG9yaXMuQ2hhcnQsIFZlcnNpb249NC4wLjAuMTQ4NiwgQ3VsdHVyZT1uZXV0cmFsLCBQdWJsaWNLZXlUb2tlbj0xNmZjMTNhMjI2YzBlOTUxXV0DAAAAowFTeXN0ZW0uQ29sbGVjdGlvbnMuR2VuZXJpYy5MaXN0YDFbW0FwbG9yaXMuQ2hhcnQuQ29sdW1uT3JpZW50ZWRMZWdlbmR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eIAAAAJ4wAAAAkUAAAACQEAAAAJ5AAAAAFlAAAAHAAAAAHlAAAAIQAAAFdRR0Kji5pDAeYAAAAhAAAAFI2FQ6MLp0MJ5wAAAAnoAAAAAAAAAAoB6QAAAHIAAAAAAAAAAAAAAAHqAAAAcgAAAAAAAAAAAAAAAAAAAAHrAAAAFQAAAAAAAAAAAAAAAAAAAAAAAACkAQAA/////wEBCgnsAAAAAQAKAAFmAAAAJQAAAAntAAAAAQAAAAEAAAABZwAAACYAAAAJ7gAAAAEAAAABAAAABXA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7wAAAAnwAAAAAQAAAP7///8BAAAAAQAAAAEAAAABAAAAAQAAAAEAAAAAAAEFcQ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xAAAACfIAAAABAAAAAAAAAAAAAAAAAAAAAAEFdQAAAB9BcGxvcmlzLkJhc2UuT2JqZWN0cy5QZXJzSWREYXRhAgAAAANtSWQLbUN1c3RvbURhdGEHAggDAAAACfMAAAAKBXgAAAAaQXBsb3Jpcy5CYXNlLk9iamVjdHMuQ29sb3IHAAAAEkRhdGFPYmplY3QrbVBhcmVudBVEYXRhT2JqZWN0K21Db250YWluZXIFbVR5cGUEbVJHQhBtVGhlbWVDb2xvckluZGV4DG1BdXRvVXBkYXRlZAltTW9kaWZpZWQCAgAAAAAACAgIAQEDAAAACgoAAAAAAAAAAA0AAAAAAQF5AAAAeAAAAAoKAQAAAAAAAAD/////AAEHiwAAAAABAAAAEAAAAAQfQXBsb3Jpcy5CYXNlLk9iamVjdHMuRGF0YU9iamVjdAMAAAAJCQAAAAkKAAAACQsAAAAJDAAAAAkQAAAACREAAAAJDQAAAAkOAAAACQ8AAAAJBwAAAAkGAAAACRgAAAAJFAAAAA0DB4wAAAAAAQAAAAQAAAAEHEFwbG9yaXMuQmFzZS5VSS5WaXN1YWxPYmplY3QDAAAACRwAAAANAwSNAAAAkQFTeXN0ZW0uQ29sbGVjdGlvbnMuR2VuZXJpYy5MaXN0YDFbW0FwbG9yaXMuQ2hhcnQuVmFsdWVMaW5lLCBBcGxvcmlzLkNoYXJ0LCBWZXJzaW9uPTQuMC4wLjE0ODYsIEN1bHR1cmU9bmV1dHJhbCwgUHVibGljS2V5VG9rZW49MTZmYzEzYTIyNmMwZTk1MV1dAwAAAAZfaXRlbXMFX3NpemUIX3ZlcnNpb24EAAAZQXBsb3Jpcy5DaGFydC5WYWx1ZUxpbmVbXQIAAAAICAn0AAAAAAAAAAAAAAABjgAAACUAAAAJ2QAAAAAAAAAAAAAAAY8AAAAmAAAACdcAAAAAAAAAAAAAAASQAAAAkQFTeXN0ZW0uQ29sbGVjdGlvbnMuR2VuZXJpYy5MaXN0YDFbW0FwbG9yaXMuQ2hhcnQuQXhpc0JyZWFrLCBBcGxvcmlzLkNoYXJ0LCBWZXJzaW9uPTQuMC4wLjE0ODYsIEN1bHR1cmU9bmV1dHJhbCwgUHVibGljS2V5VG9rZW49MTZmYzEzYTIyNmMwZTk1MV1dAwAAAAZfaXRlbXMFX3NpemUIX3ZlcnNpb24EAAAZQXBsb3Jpcy5DaGFydC5BeGlzQnJlYWtbXQIAAAAICAn1AAAAAAAAAAAAAAABkQAAACUAAAAJ2QAAAAAAAAAAAAAAAZIAAAAmAAAACdcAAAAAAAAAAAAAAASUAAAAkAFTeXN0ZW0uQ29sbGVjdGlvbnMuR2VuZXJpYy5MaXN0YDFbW0FwbG9yaXMuQ2hhcnQuVGlja01hcmssIEFwbG9yaXMuQ2hhcnQsIFZlcnNpb249NC4wLjAuMTQ4NiwgQ3VsdHVyZT1uZXV0cmFsLCBQdWJsaWNLZXlUb2tlbj0xNmZjMTNhMjI2YzBlOTUxXV0DAAAABl9pdGVtcwVfc2l6ZQhfdmVyc2lvbgQAABhBcGxvcmlzLkNoYXJ0LlRpY2tNYXJrW10CAAAACAgJ9gAAAAAAAAAAAAAAAZUAAAAlAAAACdkAAAAAAAAAAAAAAAGWAAAAJgAAAAnXAAAAAAAAAAAAAAABmQAAAHAAAAAKCgAAAEA/CfcAAAAJ+AAAAAEAAAD+////AAAAAAEAAAAAAAAAAAAAAAEAAAAAAAAAAAAAAZoAAAB1AAAACfkAAAAKBac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2AAAACXcAAAAJ+gAAAAEACfsAAAABqAAAAHgAAAAKCgEAAAAAAAAA/////wABBK0AAACWAVN5c3RlbS5Db2xsZWN0aW9ucy5HZW5lcmljLkxpc3RgMVtbQXBsb3Jpcy5CYXNlLk9iamVjdHMuVmFyaWFibGUsIEFwbG9yaXMuQmFzZSwgVmVyc2lvbj00LjAuMC4xNDg2LCBDdWx0dXJlPW5ldXRyYWwsIFB1YmxpY0tleVRva2VuPTE2ZmMxM2EyMjZjMGU5NTFdXQMAAAAGX2l0ZW1zBV9zaXplCF92ZXJzaW9uBAAAH0FwbG9yaXMuQmFzZS5PYmplY3RzLlZhcmlhYmxlW10DAAAACAgJ/AAAAAAAAAAAAAAAAa4AAAB1AAAACf0AAAAKB68AAAAAAQAAAAgAAAAEH0FwbG9yaXMuQmFzZS5PYmplY3RzLkRhdGFPYmplY3QDAAAACSoAAAAJKwAAAAksAAAACS0AAAAJKAAAAAkpAAAACgoHsAAAAAABAAAABAAAAAQcQXBsb3Jpcy5CYXNlLlVJLlZpc3VhbE9iamVjdAMAAAAJMAAAAAk0AAAACgoBsQAAAI0AAAAJ9AAAAAAAAAAAAAAAAbIAAAAlAAAACdkAAAAAAAAAAAAAAAGzAAAAJgAAAAnXAAAAAAAAAAAAAAABtAAAAJAAAAAJ9QAAAAAAAAAAAAAAAbUAAAAlAAAACdkAAAAAAAAAAAAAAAG2AAAAJgAAAAnXAAAAAAAAAAAAAAABuAAAAJQAAAAJ/gAAAAsAAAAhAAAAAbkAAAAlAAAACf8AAAALAAAAIQAAAAG6AAAAJgAAAAnXAAAAAAAAAAAAAAABvQAAAHAAAAAKCgAAAEA/CQABAAAJAQEAAAEAAAD+////AAAAAAEAAAAAAAAAAAAAAAEAAAAAAAAAAAAAAb4AAAB1AAAACQIBAAAKBcs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2AAAACXcAAAAJAwEAAAEACQQBAAABzAAAAHgAAAAKCgEAAAAAAAAA/////wABAdEAAACtAAAACfwAAAAAAAAAAAAAAAHSAAAAdQAAAAkFAQAACgfTAAAAAAEAAAAIAAAABB9BcGxvcmlzLkJhc2UuT2JqZWN0cy5EYXRhT2JqZWN0AwAAAAk6AAAACTsAAAAJPAAAAAk9AAAACTgAAAAJOQAAAAkGAQAACgfUAAAAAAEAAAAEAAAABBxBcGxvcmlzLkJhc2UuVUkuVmlzdWFsT2JqZWN0AwAAAAlAAAAACUQAAAAKCgfVAAAAAAEAAAAgAAAABB1BcGxvcmlzLkNoYXJ0LkNoYXJ0RGF0YVNlcmllcwIAAAAJBwEAAAkIAQAACQkBAAANHQfWAAAAAAEAAAAgAAAABB9BcGxvcmlzLkJhc2UuT2JqZWN0cy5EYXRhT2JqZWN0AwAAAAkJAQAACQgBAAAJBwEAAA0dB9cAAAAAAQAAAAAAAAAEHEFwbG9yaXMuQmFzZS5VSS5WaXN1YWxPYmplY3QDAAAAB9gAAAAAAQAAAAAAAAAEIkFwbG9yaXMuQ2hhcnQuQW5ub3RhdGlvbkRhdGFTZXJpZXMCAAAAB9kAAAAAAQAAAAAAAAAEH0FwbG9yaXMuQmFzZS5PYmplY3RzLkRhdGFPYmplY3QDAAAAB9oAAAAAAQAAAAAAAAAEHUFwbG9yaXMuQ2hhcnQuQW5ub3RhdGlvbkdyb3VwAgAAAAfbAAAAAAEAAAAQAAAABBxBcGxvcmlzLkNoYXJ0LkNoYXJ0RGF0YUdyb3VwAgAAAAkKAQAACQsBAAAJDAEAAAkNAQAADQwH3AAAAAABAAAAEAAAAAQfQXBsb3Jpcy5CYXNlLk9iamVjdHMuRGF0YU9iamVjdAMAAAAJCgEAAAkMAQAACQsBAAAJDQEAAA0MB90AAAAAAQAAAAAAAAAEFkFwbG9yaXMuQ2hhcnQuRGVsdGFCYXICAAAAB94AAAAAAQAAAAAAAAAEGUFwbG9yaXMuQ2hhcnQuRGVsdGFCcmlkZ2UCAAAAB98AAAAAAQAAAAAAAAAEGUFwbG9yaXMuQ2hhcnQuR3Jvd3RoQXJyb3cCAAAAB+AAAAAAAQAAAAAAAAAEIEFwbG9yaXMuQ2hhcnQuV2F0ZXJmYWxsQ29ubmVjdG9yAgAAAAfhAAAAAAEAAAAAAAAABB5BcGxvcmlzLkNoYXJ0LkVsZW1lbnRDb25uZWN0b3ICAAAABOIAAACjAVN5c3RlbS5Db2xsZWN0aW9ucy5HZW5lcmljLkxpc3RgMVtbQXBsb3Jpcy5DaGFydC5Db2x1bW5PcmllbnRlZExlZ2VuZEVsZW1lbnQsIEFwbG9yaXMuQ2hhcnQsIFZlcnNpb249NC4wLjAuMTQ4NiwgQ3VsdHVyZT1uZXV0cmFsLCBQdWJsaWNLZXlUb2tlbj0xNmZjMTNhMjI2YzBlOTUxXV0DAAAABl9pdGVtcwVfc2l6ZQhfdmVyc2lvbgQAACtBcGxvcmlzLkNoYXJ0LkNvbHVtbk9yaWVudGVkTGVnZW5kRWxlbWVudFtdAgAAAAgICQ4BAAADAAAAEgAAAAHjAAAAJQAAAAkPAQAAAwAAAAMAAAAB5AAAACYAAAAJEAEAAAAAAAAAAAAAAecAAABwAAAACgoAAAAAAAkRAQAACRIBAAABAAAA/v///wEAAAABAAAAAQAAAAEAAAABAAAAAQAAAAAAAQHoAAAAcQAAAAoKCRMBAAAJFAEAAAEAAAAAAAAAAAAAAAAAAAAAAQHsAAAAdQAAAAkVAQAACgftAAAAAAEAAAAEAAAABB9BcGxvcmlzLkJhc2UuT2JqZWN0cy5EYXRhT2JqZWN0AwAAAAljAAAADQMH7gAAAAABAAAABAAAAAQcQXBsb3Jpcy5CYXNlLlVJLlZpc3VhbE9iamVjdAMAAAAJZQAAAA0DAe8AAAB4AAAACgoAAAAAAAAAAA0AAAAAAQHwAAAAeAAAAAoKAQAAAAAAAAD/////AAEB8QAAAHgAAAAKCgEAAAD///8A/////wABAfIAAAB4AAAACgoBAAAAAAAAAP////8AAQ/zAAAAAQAAAAgAAAAAB/QAAAAAAQAAAAAAAAAEF0FwbG9yaXMuQ2hhcnQuVmFsdWVMaW5lAgAAAAf1AAAAAAEAAAAAAAAABBdBcGxvcmlzLkNoYXJ0LkF4aXNCcmVhawIAAAAH9gAAAAABAAAAAAAAAAQWQXBsb3Jpcy5DaGFydC5UaWNrTWFyawIAAAAF9wAAABpBcGxvcmlzLkJhc2UuT2JqZWN0cy5Db2xvcgcAAAASRGF0YU9iamVjdCttUGFyZW50FURhdGFPYmplY3QrbUNvbnRhaW5lcgVtVHlwZQRtUkdCEG1UaGVtZUNvbG9ySW5kZXgMbUF1dG9VcGRhdGVkCW1Nb2RpZmllZAQCAAAAAAAfQXBsb3Jpcy5CYXNlLk9iamVjdHMuTGluZUZvcm1hdAMAAAAICAgBAQMAAAAJmQAAAAoAAAAAAAAAAA0AAAAAAAX4AAAAGkFwbG9yaXMuQmFzZS5PYmplY3RzLkNvbG9yBwAAABJEYXRhT2JqZWN0K21QYXJlbnQVRGF0YU9iamVjdCttQ29udGFpbmVyBW1UeXBlBG1SR0IQbVRoZW1lQ29sb3JJbmRleAxtQXV0b1VwZGF0ZWQJbU1vZGlmaWVkBAIAAAAAAB9BcGxvcmlzLkJhc2UuT2JqZWN0cy5MaW5lRm9ybWF0AwAAAAgICAEBAwAAAAmZAAAACgEAAAAAAAAA/////wABD/kAAAABAAAACEkDAAAB+gAAAHgAAAAKCgAAAAAAAAAADQAAAAABAfsAAAB4AAAACgoBAAAAAAAAAP////8AAQf8AAAAAAEAAAAAAAAABB1BcGxvcmlzLkJhc2UuT2JqZWN0cy5WYXJpYWJsZQMAAAAP/QAAAAEAAAAIAAAAAAf+AAAAAAEAAAAQAAAABBZBcGxvcmlzLkNoYXJ0LlRpY2tNYXJrAgAAAAkWAQAACRcBAAAJGAEAAAkZAQAACRoBAAAJGwEAAAkcAQAACR0BAAAJHgEAAAkfAQAACSABAAANBQf/AAAAAAEAAAAQAAAABB9BcGxvcmlzLkJhc2UuT2JqZWN0cy5EYXRhT2JqZWN0AwAAAAkWAQAACRcBAAAJGAEAAAkZAQAACRoBAAAJGwEAAAkcAQAACR0BAAAJHgEAAAkfAQAACSABAAANBQUAAQAAGkFwbG9yaXMuQmFzZS5PYmplY3RzLkNvbG9yBwAAABJEYXRhT2JqZWN0K21QYXJlbnQVRGF0YU9iamVjdCttQ29udGFpbmVyBW1UeXBlBG1SR0IQbVRoZW1lQ29sb3JJbmRleAxtQXV0b1VwZGF0ZWQJbU1vZGlmaWVkBAIAAAAAAB9BcGxvcmlzLkJhc2UuT2JqZWN0cy5MaW5lRm9ybWF0AwAAAAgICAEBAwAAAAm9AAAACgAAAAAAAAAADQAAAAAABQEBAAAaQXBsb3Jpcy5CYXNlLk9iamVjdHMuQ29sb3IHAAAAEkRhdGFPYmplY3QrbVBhcmVudBVEYXRhT2JqZWN0K21Db250YWluZXIFbVR5cGUEbVJHQhBtVGhlbWVDb2xvckluZGV4DG1BdXRvVXBkYXRlZAltTW9kaWZpZWQEAgAAAAAAH0FwbG9yaXMuQmFzZS5PYmplY3RzLkxpbmVGb3JtYXQDAAAACAgIAQEDAAAACb0AAAAKAQAAAAAAAAD/////AAEPAgEAAAEAAAAISgMAAAEDAQAAeAAAAAoKAAAAAAAAAAANAAAAAAEBBAEAAHgAAAAKCgEAAAAAAAAA/////wABDwUBAAABAAAACAAAAAAFBg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aAAAAAMAAAAJaQAAAAlqAAAACWsAAAABAAAAAAoJkwAAAAlsAAAAAQAAAAoAAAAAAAAAAAUHAQ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C4wLjE0ODY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BIQEAABMAAAAAAAAAAgAAAP////8JBwAAAAkiAQAABiMBAAAFQWdyZWUKCgAAAAAAAAAAAAAAAAoKAAkkAQAACSUBAAAJJgEAAAAAAAAAAAAAAAAAAAAAAAAAAAknAQAACQEAAAAJAQAAAAkoAQAAAQgBAAAHAQAACQEAAAABKQEAABMAAAAAAAAAAwAAAP////8JBwAAAAkqAQAABisBAAAHTmV1dHJhbAoKAAAAAAAAAAAAAAAACgoACSwBAAAJLQEAAAkuAQAAAAAAAAABAAAAAAAAAAAAAAAACS8BAAAJAQAAAAkBAAAACTABAAABCQEAAAcBAAAJAQAAAAExAQAAEwAAAAAAAAAEAAAA/////wkHAAAACTIBAAAGMwEAAAhEaXNhZ3JlZQoKAAAAAAAAAAAAAAAACgoACTQBAAAJNQEAAAk2AQAAAAAAAAACAAAAAAAAAAAAAAAACTcBAAAJAQAAAAkBAAAACTgBAAAFCg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Y5AQAABVRvdGFsAAU6AQAAHkFwbG9yaXMuQ2hhcnQuQ2hhcnRHcm91cEFuY2hvcgEAAAAHdmFsdWVfXwAIAgAAAAAAAAAKAAAAAAEAAAABAAAACTsBAAAJPAEAAAk9AQAACgkHAAAACT4BAAAJAQAAAAkBAAAACT8BAAABCwEAAAoBAAAJAQAAAAZAAQAACUludGVuc2l2ZQABQQEAADoBAAAAAAAACgAAAAABAAAAAQAAAAlCAQAACUMBAAAJRAEAAAoJBwAAAAlFAQAACQEAAAAJAQAAAAlGAQAAAQwBAAAKAQAACQEAAAAGRwEAAAhNb2RlcmF0ZQABSAEAADoBAAAAAAAACgAAAAABAAAAAQAAAAlJAQAACUoBAAAJSwEAAAoJBwAAAAlMAQAACQEAAAAJAQAAAAlNAQAAAQ0BAAAKAQAACQEAAAAGTgEAAAdMaW1pdGVkAAFPAQAAOgEAAAAAAAAKAAAAAAEAAAABAAAACVABAAAJUQEAAAlSAQAACgkHAAAACVMBAAAJAQAAAAkBAAAACVQBAAAHDgEAAAABAAAABAAAAAQpQXBsb3Jpcy5DaGFydC5Db2x1bW5PcmllbnRlZExlZ2VuZEVsZW1lbnQCAAAACVUBAAAJVgEAAAlXAQAACgcPAQAAAAEAAAAEAAAABB9BcGxvcmlzLkJhc2UuT2JqZWN0cy5EYXRhT2JqZWN0AwAAAAlVAQAACVYBAAAJVwEAAAoHEAEAAAABAAAAAAAAAAQcQXBsb3Jpcy5CYXNlLlVJLlZpc3VhbE9iamVjdAMAAAABEQEAAHgAAAAKCgAAAAAAAAAADQAAAAABARIBAAB4AAAACgoBAAAAAAAAAP////8AAQETAQAAeAAAAAoKAQAAAP///wD/////AAEBFAEAAHgAAAAKCgEAAAAAAAAA/////wABDxUBAAABAAAACAAAAAAFFgE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VgBAAAKCVkBAAAJBwAAAAEAAAAAAAAAAAFaAQAAIQAAAPuQPULah45DAVsBAAAhAAAA+5AtQtqHjkMACVwBAAAJBwAAAAkBAAAACV0BAAABFwEAABYBAAAJXgEAAAoJXwEAAAkHAAAAAZqZmZmZmbk/AWABAAAhAAAA+5A9QjobgUMBYQEAACEAAAD7kC1COhuBQwAJYgEAAAkHAAAACQEAAAAJYwEAAAEYAQAAFgEAAAlkAQAACgllAQAACQcAAAABmpmZmZmZyT8BZgEAACEAAAD7kD1CNF1nQwFnAQAAIQAAAPuQLUI0XWdDAAloAQAACQcAAAAJAQAAAAlpAQAAARkBAAAWAQAACWoBAAAKCWsBAAAJBwAAAAEzMzMzMzPTPwFsAQAAIQAAAPuQPUL1g0xDAW0BAAAhAAAA+5AtQvWDTEMACW4BAAAJBwAAAAkBAAAACW8BAAABGgEAABYBAAAJcAEAAAoJcQEAAAkHAAAAAZqZmZmZmdk/AXIBAAAhAAAA+5A9QrWqMUMBcwEAACEAAAD7kC1CtaoxQwAJdAEAAAkHAAAACQEAAAAJdQEAAAEbAQAAFgEAAAl2AQAACgl3AQAACQcAAAABAAAAAAAA4D8BeAEAACEAAAD7kD1CddEWQwF5AQAAIQAAAPuQLUJ10RZDAAl6AQAACQcAAAAJAQAAAAl7AQAAARwBAAAWAQAACXwBAAAKCX0BAAAJBwAAAAEzMzMzMzPjPwF+AQAAIQAAAPuQPUJq8PdCAX8BAAAhAAAA+5AtQmrw90IACYABAAAJBwAAAAkBAAAACYEBAAABHQEAABYBAAAJggEAAAoJgwEAAAkHAAAAAWZmZmZmZuY/AYQBAAAhAAAA+5A9Qus9wkIBhQEAACEAAAD7kC1C6z3CQgAJhgEAAAkHAAAACQEAAAAJhwEAAAEeAQAAFgEAAAmIAQAACgmJAQAACQcAAAABmpmZmZmZ6T8BigEAACEAAAD7kD1Ca4uMQgGLAQAAIQAAAPuQLUJri4xCAAmMAQAACQcAAAAJAQAAAAmNAQAAAR8BAAAWAQAACY4BAAAKCY8BAAAJBwAAAAHNzMzMzMzsPwGQAQAAIQAAAPuQPULXsS1CAZEBAAAhAAAA+5AtQtexLUIACZIBAAAJBwAAAAkBAAAACZMBAAABIAEAABYBAAAJlAEAAAoJlQEAAAkHAAAAAQAAAAAAAPA/AZYBAAAhAAAA+5A9Qq+ZhEEBlwEAACEAAAD7kC1Cr5mEQQAJmAEAAAkHAAAACQEAAAAJmQEAAAUiAQAAogFBcGxvcmlzLkJhc2UuT2JqZWN0cy5EYXRhT2JqZWN0Q29sbGVjdGlvbmAxW1tBcGxvcmlzLkNoYXJ0LkNoYXJ0RGF0YU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wLjAuMTQ4NiwgQ3VsdHVyZT1uZXV0cmFsLCBQdWJsaWNLZXlUb2tlbj0xNmZjMTNhMjI2YzBlOTUxXV0DAAAAmAFTeXN0ZW0uQ29sbGVjdGlvbnMuR2VuZXJpYy5MaXN0YDFbW0FwbG9yaXMuQ2hhcnQuQ2hhcnREYXRh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aAQAACZsBAAAJBwEAAAkBAAAACZwBAAAFJAEAABxBcGxvcmlzLkNoYXJ0LkNvbm5lY3RlZExhYmVsJA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CAAAAClgCAAAFnQEAACtBcGxvcmlzLkNoYXJ0LkNvbm5lY3RlZExhYmVsK2VDb25uZWN0b3JNb2RlAQAAAAd2YWx1ZV9fAAgCAAAAAQAAAAWeAQAANkFwbG9yaXMuQ2hhcnQuQ29ubmVjdGVkTGFiZWwrZUFuZ2xlZENvbm5lY3RvckRpcmVjdGlvbgEAAAAHdmFsdWVfXwAIAgAAAAAAAAABnwEAABUAAABQuQFEXI+DQyC6q0Lgh5dBBaABAAAtQXBsb3Jpcy5DaGFydC5Db25uZWN0ZWRMYWJlbCtlVGFyZ2V0QXJlYVNoYXBlAQAAAAd2YWx1ZV9fAAgCAAAAAAAAAAAAEEEBAaEBAAAhAAAAlDAZRJtLiEMBogEAAKAAAAAEAAAAAAAAAAAAAAAACaMBAAAAAAAACaQBAAAAAAGlAQAAqQAAAAAAAAABpgEAAHIAAAAAAAxCAABgQQGnAQAAFQAAAAAAAAAAAAAAAAAAAAAAAABeutk/CSMBAAAKCagBAAAGqQEAAAAgAwAA/////wABCgmqAQAAAQAKAAclAQAAAAEAAAACAAAABBVTeXN0ZW0uRHJhd2luZy5Qb2ludEYEAAAAAasBAAAhAAAAlDAZRJtLiEMBrAEAACEAAAD7kClC8uKAQwcmAQAAAAEAAAACAAAABBdBcGxvcmlzLkJhc2UuQW5jaG9yTW9kZQMAAAABrQEAAKAAAAAEAAAAAa4BAACgAAAAAgAAAAEnAQAAJQAAAAmvAQAAAQAAAAEAAAABKAEAACYAAAAJsAEAAAEAAAABAAAAASoBAAAiAQAACgmxAQAACbIBAAAJCAEAAAkBAAAACbMBAAABLAEAACQBAAAKWAIAAAG0AQAAnQEAAAEAAAABtQEAAJ4BAAAAAAAAAbYBAAAVAAAAULkBRMjg5UIguqtCVC4OQwG3AQAAoAEAAAAAAAAAABBBAQG4AQAAIQAAAJQwGUSOBzpDAbkBAACgAAAABAAAAAAAAAAAAAAAAAm6AQAAAAAAAAm7AQAAAAABvAEAAKkAAAAAAAAAAb0BAAByAAAAAAAoQgAAYEEBvgEAABUAAAAAAAAAAAAAAAAAAAAAAAAAXrrZPwkrAQAACgm/AQAACakBAAAgAwAA/////wABCgnAAQAAAQAKAActAQAAAAEAAAACAAAABBVTeXN0ZW0uRHJhd2luZy5Qb2ludEYEAAAAAcEBAAAhAAAAlDAZRI4HOkMBwgEAACEAAAD7kClC1nIeQwcuAQAAAAEAAAACAAAABBdBcGxvcmlzLkJhc2UuQW5jaG9yTW9kZQMAAAABwwEAAKAAAAAEAAAAAcQBAACgAAAAAgAAAAEvAQAAJQAAAAnFAQAAAQAAAAEAAAABMAEAACYAAAAJxgEAAAEAAAABAAAAATIBAAAiAQAACgnHAQAACcgBAAAJCQEAAAkBAAAACckBAAABNAEAACQBAAAKWAIAAAHKAQAAnQEAAAEAAAABywEAAJ4BAAAAAAAAAcwBAAAVAAAAULkBRK+ZnEEguqtCXLqyQgHNAQAAoAEAAAAAAAAAABBBAQHOAQAAIQAAAJQwGUSag4BCAc8BAACgAAAABAAAAAAAAAAAAAAAAAnQAQAAAAAAAAnRAQAAAAAB0gEAAKkAAAAAAAAAAdMBAAByAAAAAABQQgAAYEEB1AEAABUAAAAAAAAAAAAAAAAAAAAAAAAAXrrZPwkzAQAACgnVAQAACakBAAAgAwAA/////wABCgnWAQAAAQAKAAc1AQAAAAEAAAACAAAABBVTeXN0ZW0uRHJhd2luZy5Qb2ludEYEAAAAAdcBAAAhAAAAlDAZRJqDgEIB2AEAACEAAAD7kClCovlNQgc2AQAAAAEAAAACAAAABBdBcGxvcmlzLkJhc2UuQW5jaG9yTW9kZQMAAAAB2QEAAKAAAAAEAAAAAdoBAACgAAAAAgAAAAE3AQAAJQAAAAnbAQAAAQAAAAEAAAABOAEAACYAAAAJ3AEAAAEAAAABAAAADzsBAAABAAAACAAAAAAHPAEAAAABAAAAAQAAAAQVQXBsb3Jpcy5CYXNlLlVJLkxhYmVsAwAAAAndAQAAAT0BAAA0AAAAAd4BAAAhAAAAysPxQtoHkUMB3wEAAKAAAAADAAAAAAAAAAAAAAAACeABAAAAAAAACeEBAAAAAAHiAQAAqQAAAAAAAAAB4wEAAHIAAAAAAOhBAABgQQHkAQAAFQAAAC661EIAAJFDBSDuQeiiS0Feutk/CTkBAAAKCeUBAAAJqQEAACADAAD/////AQEKCeYBAAABAAoAAT4BAAAlAAAACdkAAAAAAAAAAAAAAAE/AQAAJgAAAAnnAQAAAgAAAAwAAAAPQgEAAAEAAAAIAAAAAAdDAQAAAAEAAAABAAAABBVBcGxvcmlzLkJhc2UuVUkuTGFiZWwDAAAACegBAAABRAEAADQAAAAB6QEAACEAAACY7oVD2geRQwHqAQAAoAAAAAMAAAAAAAAAAAAAAAAJ6wEAAAAAAAAJ7AEAAAAAAe0BAACpAAAAAAAAAAHuAQAAcgAAAAAAUEIAAGBBAe8BAAAVAAAALrpyQwAAkUPrskpC6KJLQV662T8JQAEAAAoJ8AEAAAmpAQAAIAMAAP////8BAQoJ8QEAAAEACgABRQEAACUAAAAJ8gEAAAAAAAAAAAAAAUYBAAAmAAAACfMBAAACAAAABAAAAA9JAQAAAQAAAAgAAAAAB0oBAAAAAQAAAAEAAAAEFUFwbG9yaXMuQmFzZS5VSS5MYWJlbAMAAAAJ9AEAAAFLAQAANAAAAAH1AQAAIQAAAD5sz0PaB5FDAfYBAACgAAAAAwAAAAAAAAAAAAAAAAn3AQAAAAAAAAn4AQAAAAAB+QEAAKkAAAAAAAAAAfoBAAByAAAAAABcQgAAYEEB+wEAABUAAABGF8JDAACRQ6WbVULooktBXrrZPwlHAQAACgn8AQAACakBAAAgAwAA/////wEBCgn9AQAAAQAKAAFMAQAAJQAAAAn+AQAAAAAAAAAAAAABTQEAACYAAAAJ/wEAAAIAAAAEAAAAD1ABAAABAAAACAAAAAAHUQEAAAABAAAAAQAAAAQVQXBsb3Jpcy5CYXNlLlVJLkxhYmVsAwAAAAkAAgAAAVIBAAA0AAAAAQECAAAhAAAA8nQMRNoHkUMBAgIAAKAAAAADAAAAAAAAAAAAAAAACQMCAAAAAAAACQQCAAAAAAEFAgAAqQAAAAAAAAABBgIAAHIAAAAAAChCAABgQQEHAgAAFQAAAC46B0QAAJFD1FUmQuiiS0Feutk/CU4BAAAKCQgCAAAJqQEAACADAAD/////AQEKCQkCAAABAAoAAVMBAAAlAAAACQoCAAAAAAAAAAAAAAFUAQAAJgAAAAkLAgAAAgAAAAIAAAAFVQEAAClBcGxvcmlzLkNoYXJ0LkNvbHVtbk9yaWVudGVkTGVnZW5kRWxlbWVudA0AAAAHbUxlZ2VuZAttRGF0YVNlcmllcxRMZWdlbmRFbGVtZW50K21MYWJlbBhMZWdlbmRFbGVtZW50K21SZWN0YW5nbGUTTGVnZW5kRWxlbWVudCttTGluZRVMZWdlbmRFbGVtZW50K21DaXJjbGUVTGVnZW5kRWxlbWVudCttTWFya2VyFExlZ2VuZEVsZW1lbnQrbUluZGV4HUxlZ2VuZEVsZW1lbnQrbUxhYmVsUG9zaXRpb25zGERhdGFPYmplY3QrbUNoaWxkT2JqZWN0cxJEYXRhT2JqZWN0K21QYXJlbnQVRGF0YU9iamVjdCttQ29udGFpbmVyGURhdGFPYmplY3QrbVZpc3VhbE9iamVjdHMEBAQEBAQEAAQDBAQDIkFwbG9yaXMuQ2hhcnQuQ29sdW1uT3JpZW50ZWRMZWdlbmQCAAAAHUFwbG9yaXMuQ2hhcnQuQ2hhcnREYXRhU2VyaWVzAgAAABVBcGxvcmlzLkJhc2UuVUkuTGFiZWwDAAAAGkFwbG9yaXMuQmFzZS5VSS5WaXN1YWxSZWN0AwAAABpBcGxvcmlzLkJhc2UuVUkuVmlzdWFsTGluZQMAAAAdQXBsb3Jpcy5CYXNlLlVJLlZpc3VhbEVsbGlwc2UDAAAAGkFwbG9yaXMuQ2hhcnQuVmlzdWFsTWFya2VyAgAAAAgXU3lzdGVtLkRyYXdpbmcuUG9pbnRGW10E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FAAAAAkHAQAACQwCAAAJDQIAAAoKCgAAAAAKCQ4CAAAJFAAAAAkBAAAACQ8CAAABVgEAAFUBAAAJFAAAAAkIAQAACRACAAAJEQIAAAoKCgEAAAAKCRICAAAJFAAAAAkBAAAACRMCAAABVwEAAFUBAAAJFAAAAAkJAQAACRQCAAAJFQIAAAoKCgIAAAAKCRYCAAAJFAAAAAkBAAAACRcCAAABWAEAADAAAAABGAIAACEAAAD7kD1C2oeOQwEZAgAAIQAAAPuQLULah45DCRoCAADMAQAA/////wEBCgkbAgAAAQAKAAFZAQAANAAAAAEcAgAAIQAAAPuQJ0Lah45DAR0CAACgAAAAAgAAAAAAAAAAAAAAAAkeAgAAAAAAAAkfAgAAAAABIAIAAKkAAAAAAAAAASECAAByAAAAAACYQQAAYEEBIgIAABUAAAB00bVBo4uLQ9hlpUHooktBXrrZPwYjAgAAAjAlCgkkAgAACakBAADQAgAA/////wEBCgklAgAAAQAKAAFcAQAAJQAAAAnZAAAAAAAAAAAAAAABXQEAACYAAAAJJgIAAAIAAAACAAAAAV4BAAAwAAAAAScCAAAhAAAA+5A9QjobgUMBKAIAACEAAAD7kC1COhuBQwkpAgAAzAEAAP////8BAQoJKgIAAAEACgABXwEAADQAAAABKwIAACEAAAD7kCdCOhuBQwEsAgAAoAAAAAIAAAAAAAAAAAAAAAAJLQIAAAAAAAAJLgIAAAAAAS8CAACpAAAAAAAAAAEwAgAAcgAAAAAA0EEAAGBBATECAAAVAAAAuuiCQXTRe0OSTthB6KJLQV662T8GMgIAAAMxMCUKCTMCAAAJqQEAANACAAD/////AQEKCTQCAAABAAoAAWIBAAAlAAAACdkAAAAAAAAAAAAAAAFjAQAAJgAAAAk1AgAAAgAAAAIAAAABZAEAADAAAAABNgIAACEAAAD7kD1CNF1nQwE3AgAAIQAAAPuQLUI0XWdDCTgCAADMAQAA/////wEBCgk5AgAAAQAKAAFlAQAANAAAAAE6AgAAIQAAAPuQJ0I0XWdDATsCAACgAAAAAgAAAAAAAAAAAAAAAAk8AgAAAAAAAAk9AgAAAAABPgIAAKkAAAAAAAAAAT8CAAByAAAAAADQQQAAYEEBQAIAABUAAAC66IJBXXRhQ5JO2EHooktBXrrZPwZBAgAAAzIwJQoJQgIAAAmpAQAA0AIAAP////8BAQoJQwIAAAEACgABaAEAACUAAAAJ2QAAAAAAAAAAAAAAAWkBAAAmAAAACUQCAAACAAAAAgAAAAFqAQAAMAAAAAFFAgAAIQAAAPuQPUL1g0xDAUYCAAAhAAAA+5AtQvWDTEMJRwIAAMwBAAD/////AQEKCUgCAAABAAoAAWsBAAA0AAAAAUkCAAAhAAAA+5AnQvWDTEMBSgIAAKAAAAACAAAAAAAAAAAAAAAACUsCAAAAAAAACUwCAAAAAAFNAgAAqQAAAAAAAAABTgIAAHIAAAAAANBBAABgQQFPAgAAFQAAALrogkGLLkZDkk7YQeiiS0Feutk/BlACAAADMzAlCglRAgAACakBAADQAgAA/////wEBCglSAgAAAQAKAAFuAQAAJQAAAAnZAAAAAAAAAAAAAAABbwEAACYAAAAJUwIAAAIAAAACAAAAAXABAAAwAAAAAVQCAAAhAAAA+5A9QrWqMUMBVQIAACEAAAD7kC1CtaoxQwlWAgAAzAEAAP////8BAQoJVwIAAAEACgABcQEAADQAAAABWAIAACEAAAD7kCdCtaoxQwFZAgAAoAAAAAIAAAAAAAAAAAAAAAAJWgIAAAAAAAAJWwIAAAAAAVwCAACpAAAAAAAAAAFdAgAAcgAAAAAA0EEAAGBBAV4CAAAVAAAAuuiCQbroKkOSTthB6KJLQV662T8GXwIAAAM0MCUKCWACAAAJqQEAANACAAD/////AQEKCWECAAABAAoAAXQBAAAlAAAACdkAAAAAAAAAAAAAAAF1AQAAJgAAAAliAgAAAgAAAAIAAAABdgEAADAAAAABYwIAACEAAAD7kD1CddEWQwFkAgAAIQAAAPuQLUJ10RZDCWUCAADMAQAA/////wEBCglmAgAAAQAKAAF3AQAANAAAAAFnAgAAIQAAAPuQJ0J10RZDAWgCAACgAAAAAgAAAAAAAAAAAAAAAAlpAgAAAAAAAAlqAgAAAAABawIAAKkAAAAAAAAAAWwCAAByAAAAAADQQQAAYEEBbQIAABUAAAC66IJBo4sQQ5JO2EHooktBXrrZPwZuAgAAAzUwJQoJbwIAAAmpAQAA0AIAAP////8BAQoJcAIAAAEACgABegEAACUAAAAJ2QAAAAAAAAAAAAAAAXsBAAAmAAAACXECAAACAAAAAgAAAAF8AQAAMAAAAAFyAgAAIQAAAPuQPUJq8PdCAXMCAAAhAAAA+5AtQmrw90IJdAIAAMwBAAD/////AQEKCXUCAAABAAoAAX0BAAA0AAAAAXYCAAAhAAAA+5AnQmrw90IBdwIAAKAAAAACAAAAAAAAAAAAAAAACXgCAAAAAAAACXkCAAAAAAF6AgAAqQAAAAAAAAABewIAAHIAAAAAANBBAABgQQF8AgAAFQAAALrogkGji+pCkk7YQeiiS0Feutk/Bn0CAAADNjAlCgl+AgAACakBAADQAgAA/////wEBCgl/AgAAAQAKAAGAAQAAJQAAAAnZAAAAAAAAAAAAAAABgQEAACYAAAAJgAIAAAIAAAACAAAAAYIBAAAwAAAAAYECAAAhAAAA+5A9Qus9wkIBggIAACEAAAD7kC1C6z3CQgmDAgAAzAEAAP////8BAQoJhAIAAAEACgABgwEAADQAAAABhQIAACEAAAD7kCdC6z3CQgGGAgAAoAAAAAIAAAAAAAAAAAAAAAAJhwIAAAAAAAAJiAIAAAAAAYkCAACpAAAAAAAAAAGKAgAAcgAAAAAA0EEAAGBBAYsCAAAVAAAAuuiCQXTRtUKSTthB6KJLQV662T8GjAIAAAM3MCUKCY0CAAAJqQEAANACAAD/////AQEKCY4CAAABAAoAAYYBAAAlAAAACdkAAAAAAAAAAAAAAAGHAQAAJgAAAAmPAgAAAgAAAAIAAAABiAEAADAAAAABkAIAACEAAAD7kD1Ca4uMQgGRAgAAIQAAAPuQLUJri4xCCZICAADMAQAA/////wEBCgmTAgAAAQAKAAGJAQAANAAAAAGUAgAAIQAAAPuQJ0Jri4xCAZUCAACgAAAAAgAAAAAAAAAAAAAAAAmWAgAAAAAAAAmXAgAAAAABmAIAAKkAAAAAAAAAAZkCAAByAAAAAADQQQAAYEEBmgIAABUAAAC66IJBo4t+QpJO2EHooktBXrrZPwabAgAAAzgwJQoJnAIAAAmpAQAA0AIAAP////8BAQoJnQIAAAEACgABjAEAACUAAAAJ2QAAAAAAAAAAAAAAAY0BAAAmAAAACZ4CAAACAAAAAgAAAAGOAQAAMAAAAAGfAgAAIQAAAPuQPULXsS1CAaACAAAhAAAA+5AtQtexLUIJoQIAAMwBAAD/////AQEKCaICAAABAAoAAY8BAAA0AAAAAaMCAAAhAAAA+5AnQtexLUIBpAIAAKAAAAACAAAAAAAAAAAAAAAACaUCAAAAAAAACaYCAAAAAAGnAgAAqQAAAAAAAAABqAIAAHIAAAAAANBBAABgQQGpAgAAFQAAALrogkFGFxVCkk7YQeiiS0Feutk/BqoCAAADOTAlCgmrAgAACakBAADQAgAA/////wEBCgmsAgAAAQAKAAGSAQAAJQAAAAnZAAAAAAAAAAAAAAABkwEAACYAAAAJrQIAAAIAAAACAAAAAZQBAAAwAAAAAa4CAAAhAAAA+5A9Qq+ZhEEBrwIAACEAAAD7kC1Cr5mEQQmwAgAAzAEAAP////8BAQoJsQIAAAEACgABlQEAADQAAAABsgIAACEAAAD7kCdCr5mEQQGzAgAAoAAAAAIAAAAAAAAAAAAAAAAJtAIAAAAAAAAJtQIAAAAAAbYCAACpAAAAAAAAAAG3AgAAcgAAAAAABEIAAGBBAbgCAAAVAAAAAAAgQQAAIEGlmwVC6KJLQV662T8GuQIAAAQxMDAlCgm6AgAACakBAADQAgAA/////wEBCgm7AgAAAQAKAAGYAQAAJQAAAAnZAAAAAAAAAAAAAAABmQEAACYAAAAJvAIAAAIAAAACAAAABJoBAACYAVN5c3RlbS5Db2xsZWN0aW9ucy5HZW5lcmljLkxpc3RgMVtbQXBsb3Jpcy5DaGFydC5DaGFydERhdGFFbGVtZW50LCBBcGxvcmlzLkNoYXJ0LCBWZXJzaW9uPTQuMC4wLjE0ODYsIEN1bHR1cmU9bmV1dHJhbCwgUHVibGljS2V5VG9rZW49MTZmYzEzYTIyNmMwZTk1MV1dAwAAAAZfaXRlbXMFX3NpemUIX3ZlcnNpb24EAAAgQXBsb3Jpcy5DaGFydC5DaGFydERhdGFFbGVtZW50W10CAAAACAgJvQIAAAQAAAAQAAAAAZsBAAAlAAAACb4CAAAEAAAAEAAAAAGcAQAAJgAAAAm/AgAAAAAAAAAAAAAFow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cBAAAKAAAAAABAQQl2AAAACXcAAAAJwAIAAAEACcECAAABpAEAAHgAAAAKCgAAAAD///8ADgAAAAABAagBAACtAAAACcICAAABAAAAAQAAAAGqAQAAdQAAAAnDAgAACgevAQAAAAEAAAAEAAAABB9BcGxvcmlzLkJhc2UuT2JqZWN0cy5EYXRhT2JqZWN0AwAAAAkiAQAADQMHsAEAAAABAAAABAAAAAQcQXBsb3Jpcy5CYXNlLlVJLlZpc3VhbE9iamVjdAMAAAAJJAEAAA0DAbEBAACaAQAACcQCAAAEAAAAEAAAAAGyAQAAJQAAAAnFAgAABAAAABAAAAABswEAACYAAAAJxgIAAAAAAAAAAAAABbo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IAQAACgAAAAAAQEEJdgAAAAl3AAAACccCAAABAAnIAgAAAbsBAAB4AAAACgoAAAAA////AA4AAAAAAQG/AQAArQAAAAnJAgAAAQAAAAEAAAABwAEAAHUAAAAJygIAAAoHxQEAAAABAAAABAAAAAQfQXBsb3Jpcy5CYXNlLk9iamVjdHMuRGF0YU9iamVjdAMAAAAJKgEAAA0DB8YBAAAAAQAAAAQAAAAEHEFwbG9yaXMuQmFzZS5VSS5WaXN1YWxPYmplY3QDAAAACSwBAAANAwHHAQAAmgEAAAnLAgAABAAAABAAAAAByAEAACUAAAAJzAIAAAQAAAAQAAAAAckBAAAmAAAACcYCAAAAAAAAAAAAAAXQ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CQEAAAoAAAAAAEBBCXYAAAAJdwAAAAnNAgAAAQAJzgIAAAHRAQAAeAAAAAoKAAAAAP///wAOAAAAAAEB1QEAAK0AAAAJzwIAAAEAAAABAAAAAdYBAAB1AAAACdACAAAKB9sBAAAAAQAAAAQAAAAEH0FwbG9yaXMuQmFzZS5PYmplY3RzLkRhdGFPYmplY3QDAAAACTIBAAANAwfcAQAAAAEAAAAEAAAABBxBcGxvcmlzLkJhc2UuVUkuVmlzdWFsT2JqZWN0AwAAAAk0AQAADQMB3QEAADQAAAAB0QIAACEAAADKw/FCXjNZQQHSAgAAoAAAAAEAAAAAAAAAAAAAAAAJ0wIAAAAAAAAJ1AIAAAAAAdUCAACpAAAAAAAAAAHWAgAAcgAAAAAAHEIAAEBBAdcCAAAVAAAAAAAAAAAAAAAAAAAAAAAAABKDvj8G2AIAAAQxMDAlCgnZAgAACakBAAA0AwAA/////wABCgnaAgAAAQAKAAHgAQAAIwAAAAoKAAAAAABAQQl2AAAACXcAAAAJ2wIAAAAACdwCAAAB4QEAAHgAAAAKCgAAAAD///8ADgAAAAABAeUBAACtAAAACd0CAAABAAAAAQAAAAHmAQAAdQAAAAneAgAACgfnAQAAAAEAAAAEAAAABBxBcGxvcmlzLkJhc2UuVUkuVmlzdWFsT2JqZWN0AwAAAAk9AQAACd0BAAAKCgHoAQAANAAAAAHfAgAAIQAAAJjuhUNeM1lBAeACAACgAAAAAQAAAAAAAAAAAAAAAAnhAgAAAAAAAAniAgAAAAAB4wIAAKkAAAAAAAAAAeQCAAByAAAAAAAcQgAAQEEB5QIAABUAAAAAAAAAAAAAAAAAAAAAAAAAEoO+PwbmAgAABDEwMCUKCecCAAAJqQEAADQDAAD/////AAEKCegCAAABAAoAAesBAAAjAAAACgoAAAAAAEBBCXYAAAAJdwAAAAnpAgAAAAAJ6gIAAAHsAQAAeAAAAAoKAAAAAP///wAOAAAAAAEB8AEAAK0AAAAJ6wIAAAEAAAABAAAAAfEBAAB1AAAACewCAAAKB/IBAAAAAQAAAAAAAAAEH0FwbG9yaXMuQmFzZS5PYmplY3RzLkRhdGFPYmplY3QDAAAAB/MBAAAAAQAAAAQAAAAEHEFwbG9yaXMuQmFzZS5VSS5WaXN1YWxPYmplY3QDAAAACUQBAAAJ6AEAAAoKAfQBAAA0AAAAAe0CAAAhAAAAPmzPQ14zWUEB7gIAAKAAAAABAAAAAAAAAAAAAAAACe8CAAAAAAAACfACAAAAAAHxAgAAqQAAAAAAAAAB8gIAAHIAAAAAABxCAABAQQHzAgAAFQAAAAAAAAAAAAAAAAAAAAAAAAASg74/BvQCAAAEMTAwJQoJ9QIAAAmpAQAANAMAAP////8AAQoJ9gIAAAEACgAB9wEAACMAAAAKCgAAAAAAQEEJdgAAAAl3AAAACfcCAAAAAAn4AgAAAfgBAAB4AAAACgoAAAAA////AA4AAAAAAQH8AQAArQAAAAn5AgAAAQAAAAEAAAAB/QEAAHUAAAAJ+gIAAAoH/gEAAAABAAAAAAAAAAQfQXBsb3Jpcy5CYXNlLk9iamVjdHMuRGF0YU9iamVjdAMAAAAH/wEAAAABAAAABAAAAAQcQXBsb3Jpcy5CYXNlLlVJLlZpc3VhbE9iamVjdAMAAAAJSwEAAAn0AQAACgoBAAIAADQAAAAB+wIAACEAAADydAxEXjNZQQH8AgAAoAAAAAEAAAAAAAAAAAAAAAAJ/QIAAAAAAAAJ/gIAAAAAAf8CAACpAAAAAAAAAAEAAwAAcgAAAAAAAAAAAAAAAQEDAAAVAAAAAAAAAAAAAAAAAAAAAAAAAAAAAAAGAgMAAAQxMDAlCgkDAwAACakBAAA0AwAA/////wABCgkEAwAAAQAKAAEDAgAAIwAAAAoKAAAAAABAQQl2AAAACXcAAAAJBQMAAAAACQYDAAABBAIAAHgAAAAKCgAAAAD///8ADgAAAAABAQgCAACtAAAACQcDAAABAAAAAQAAAAEJAgAAdQAAAAkIAwAACgcKAgAAAAEAAAAAAAAABB9BcGxvcmlzLkJhc2UuT2JqZWN0cy5EYXRhT2JqZWN0AwAAAAcLAgAAAAEAAAAEAAAABBxBcGxvcmlzLkJhc2UuVUkuVmlzdWFsT2JqZWN0AwAAAAlSAQAACQACAAAKCgEMAgAANAAAAAEJAwAAIQAAAFrwjUKjC51DAQoDAACgAAAABQAAAAAAAAAAAAAAAAkLAwAAAAAAAAkMAwAAAAABDQMAAKkAAAAAAAAAAQ4DAAByAAAAAAAMQgAAYEEBDwMAABUAAACLLopC0UWdQ3fhDELooktBXrrZPwkjAQAACgkQAwAACakBAACEAwAA/////wEBCgkRAwAAAQAKAAENAgAAHAAAAAESAwAAIQAAAFdRW0KjC51DARMDAAAhAAAAWvCHQo+do0MJFAMAAAkVAwAAAAAAAAoBFgMAAHIAAAAAAAAAAAAAAAEXAwAAcgAAAAAAAAAAAAAAAAAAAAEYAwAAFQAAAAAAAAAAAAAAAAAAAAAAAACYAwAA/////wEBCgkZAwAAAQAKAAEOAgAAJQAAAAkaAwAAAAAAAAAAAAABDwIAACYAAAAJGwMAAAIAAAACAAAAARACAAA0AAAAARwDAAAhAAAAQQQKQ6MLnUMBHQMAAKAAAAAFAAAAAAAAAAAAAAAACR4DAAAAAAAACR8DAAAAAAEgAwAAqQAAAAAAAAABIQMAAHIAAAAAAChCAABgQQEiAwAAFQAAABddCEPRRZ1D1FUmQuiiS0Feutk/CSsBAAAKCSMDAAAJqQEAAIQDAAD/////AQEKCSQDAAABAAoAARECAAAcAAAAASUDAAAhAAAA1MDzQqMLnUMBJgMAACEAAABBBAdDj52jQwknAwAACSgDAAAAAAAACgEpAwAAcgAAAAAAAAAAAAAAASoDAAByAAAAAAAAAAAAAAAAAAAAASsDAAAVAAAAAAAAAAAAAAAAAAAAAAAAAJgDAAD/////AQEKCSwDAAABAAoAARICAAAlAAAACRoDAAAAAAAAAAAAAAETAgAAJgAAAAktAwAAAgAAAAIAAAABFAIAADQAAAABLgMAACEAAABtbVNDowudQwEvAwAAoAAAAAUAAAAAAAAAAAAAAAAJMAMAAAAAAAAJMQMAAAAAATIDAACpAAAAAAAAAAEzAwAAcgAAAAAAUEIAAGBBATQDAAAVAAAAAABSQ9FFnUPrskpC6KJLQV662T8JMwEAAAoJNQMAAAmpAQAAhAMAAP////8BAQoJNgMAAAEACgABFQIAABwAAAABNwMAACEAAACWSUNDowudQwE4AwAAIQAAAG1tUEOPnaNDCTkDAAAJOgMAAAAAAAAKATsDAAByAAAAAAAAAAAAAAABPAMAAHIAAAAAAAAAAAAAAAAAAAABPQMAABUAAAAAAAAAAAAAAAAAAAAAAAAAmAMAAP////8BAQoJPgMAAAEACgABFgIAACUAAAAJGgMAAAAAAAAAAAAAARcCAAAmAAAACT8DAAACAAAAAgAAAAEaAgAAcAAAAAoKAAAAQD8JQAMAAAlBAwAAAQAAAP7///8AAAAAAQAAAAAAAAAAAAAAAQAAAAAAAAAAAAABGwIAAHUAAAAJQgMAAAoBHgIAACMAAAAKCgAAAAAAQEEJdgAAAAl3AAAACUMDAAAAAAlEAwAAAR8CAAB4AAAACgoAAAAA////AA4AAAAAAQEkAgAArQAAAAlFAwAAAQAAAAEAAAABJQIAAHUAAAAJRgMAAAoHJgIAAAABAAAABAAAAAQcQXBsb3Jpcy5CYXNlLlVJLlZpc3VhbE9iamVjdAMAAAAJWAEAAAlZAQAACgoBKQIAAHAAAAAKCgAAAEA/CUcDAAAJSAMAAAEAAAD+////AAAAAAEAAAAAAAAAAAAAAAEAAAAAAAAAAAAAASoCAAB1AAAACUkDAAAKAS0CAAAjAAAACgoAAAAAAEBBCXYAAAAJdwAAAAlKAwAAAAAJSwMAAAEuAgAAeAAAAAoKAAAAAP///wAOAAAAAAEBMwIAAK0AAAAJTAMAAAEAAAADAAAAATQCAAB1AAAACU0DAAAKBzUCAAAAAQAAAAQAAAAEHEFwbG9yaXMuQmFzZS5VSS5WaXN1YWxPYmplY3QDAAAACV4BAAAJXwEAAAoKATgCAABwAAAACgoAAABAPwlOAwAACU8DAAABAAAA/v///wAAAAABAAAAAAAAAAAAAAABAAAAAAAAAAAAAAE5AgAAdQAAAAlQAwAACgE8AgAAIwAAAAoKAAAAAABAQQl2AAAACXcAAAAJUQMAAAAACVIDAAABPQIAAHgAAAAKCgAAAAD///8ADgAAAAABAUICAACtAAAACVMDAAABAAAAAwAAAAFDAgAAdQAAAAlUAwAACgdEAgAAAAEAAAAEAAAABBxBcGxvcmlzLkJhc2UuVUkuVmlzdWFsT2JqZWN0AwAAAAlkAQAACWUBAAAKCgFHAgAAcAAAAAoKAAAAQD8JVQMAAAlWAwAAAQAAAP7///8AAAAAAQAAAAAAAAAAAAAAAQAAAAAAAAAAAAABSAIAAHUAAAAJVwMAAAoBSwIAACMAAAAKCgAAAAAAQEEJdgAAAAl3AAAACVgDAAAAAAlZAwAAAUwCAAB4AAAACgoAAAAA////AA4AAAAAAQFRAgAArQAAAAlaAwAAAQAAAAMAAAABUgIAAHUAAAAJWwMAAAoHUwIAAAABAAAABAAAAAQcQXBsb3Jpcy5CYXNlLlVJLlZpc3VhbE9iamVjdAMAAAAJagEAAAlrAQAACgoBVgIAAHAAAAAKCgAAAEA/CVwDAAAJXQMAAAEAAAD+////AAAAAAEAAAAAAAAAAAAAAAEAAAAAAAAAAAAAAVcCAAB1AAAACV4DAAAKAVoCAAAjAAAACgoAAAAAAEBBCXYAAAAJdwAAAAlfAwAAAAAJYAMAAAFbAgAAeAAAAAoKAAAAAP///wAOAAAAAAEBYAIAAK0AAAAJYQMAAAEAAAADAAAAAWECAAB1AAAACWIDAAAKB2ICAAAAAQAAAAQAAAAEHEFwbG9yaXMuQmFzZS5VSS5WaXN1YWxPYmplY3QDAAAACXABAAAJcQEAAAoKAWUCAABwAAAACgoAAABAPwljAwAACWQDAAABAAAA/v///wAAAAABAAAAAAAAAAAAAAABAAAAAAAAAAAAAAFmAgAAdQAAAAllAwAACgFpAgAAIwAAAAoKAAAAAABAQQl2AAAACXcAAAAJZgMAAAAACWcDAAABagIAAHgAAAAKCgAAAAD///8ADgAAAAABAW8CAACtAAAACWgDAAABAAAAAwAAAAFwAgAAdQAAAAlpAwAACgdxAgAAAAEAAAAEAAAABBxBcGxvcmlzLkJhc2UuVUkuVmlzdWFsT2JqZWN0AwAAAAl2AQAACXcBAAAKCgF0AgAAcAAAAAoKAAAAQD8JagMAAAlrAwAAAQAAAP7///8AAAAAAQAAAAAAAAAAAAAAAQAAAAAAAAAAAAABdQIAAHUAAAAJbAMAAAoBeAIAACMAAAAKCgAAAAAAQEEJdgAAAAl3AAAACW0DAAAAAAluAwAAAXkCAAB4AAAACgoAAAAA////AA4AAAAAAQF+AgAArQAAAAlvAwAAAQAAAAMAAAABfwIAAHUAAAAJcAMAAAoHgAIAAAABAAAABAAAAAQcQXBsb3Jpcy5CYXNlLlVJLlZpc3VhbE9iamVjdAMAAAAJfAEAAAl9AQAACgoBgwIAAHAAAAAKCgAAAEA/CXEDAAAJcgMAAAEAAAD+////AAAAAAEAAAAAAAAAAAAAAAEAAAAAAAAAAAAAAYQCAAB1AAAACXMDAAAKAYcCAAAjAAAACgoAAAAAAEBBCXYAAAAJdwAAAAl0AwAAAAAJdQMAAAGIAgAAeAAAAAoKAAAAAP///wAOAAAAAAEBjQIAAK0AAAAJdgMAAAEAAAADAAAAAY4CAAB1AAAACXcDAAAKB48CAAAAAQAAAAQAAAAEHEFwbG9yaXMuQmFzZS5VSS5WaXN1YWxPYmplY3QDAAAACYIBAAAJgwEAAAoKAZICAABwAAAACgoAAABAPwl4AwAACXkDAAABAAAA/v///wAAAAABAAAAAAAAAAAAAAABAAAAAAAAAAAAAAGTAgAAdQAAAAl6AwAACgGWAgAAIwAAAAoKAAAAAABAQQl2AAAACXcAAAAJewMAAAAACXwDAAABlwIAAHgAAAAKCgAAAAD///8ADgAAAAABAZwCAACtAAAACX0DAAABAAAAAwAAAAGdAgAAdQAAAAl+AwAACgeeAgAAAAEAAAAEAAAABBxBcGxvcmlzLkJhc2UuVUkuVmlzdWFsT2JqZWN0AwAAAAmIAQAACYkBAAAKCgGhAgAAcAAAAAoKAAAAQD8JfwMAAAmAAwAAAQAAAP7///8AAAAAAQAAAAAAAAAAAAAAAQAAAAAAAAAAAAABogIAAHUAAAAJgQMAAAoBpQIAACMAAAAKCgAAAAAAQEEJdgAAAAl3AAAACYIDAAAAAAmDAwAAAaYCAAB4AAAACgoAAAAA////AA4AAAAAAQGrAgAArQAAAAmEAwAAAQAAAAMAAAABrAIAAHUAAAAJhQMAAAoHrQIAAAABAAAABAAAAAQcQXBsb3Jpcy5CYXNlLlVJLlZpc3VhbE9iamVjdAMAAAAJjgEAAAmPAQAACgoBsAIAAHAAAAAKCgAAAEA/CYYDAAAJhwMAAAEAAAD+////AAAAAAEAAAAAAAAAAAAAAAEAAAAAAAAAAAAAAbECAAB1AAAACYgDAAAKAbQCAAAjAAAACgoAAAAAAEBBCXYAAAAJdwAAAAmJAwAAAAAJigMAAAG1AgAAeAAAAAoKAAAAAP///wAOAAAAAAEBugIAAK0AAAAJiwMAAAEAAAADAAAAAbsCAAB1AAAACYwDAAAKB7wCAAAAAQAAAAQAAAAEHEFwbG9yaXMuQmFzZS5VSS5WaXN1YWxPYmplY3QDAAAACZQBAAAJlQEAAAoKB70CAAAAAQAAABAAAAAEHkFwbG9yaXMuQ2hhcnQuQ2hhcnREYXRhRWxlbWVudAIAAAAJjQMAAAmOAwAACY8DAAAJkAMAAA0MB74CAAAAAQAAABAAAAAEH0FwbG9yaXMuQmFzZS5PYmplY3RzLkRhdGFPYmplY3QDAAAACY0DAAAJjgMAAAmPAwAACZADAAANDAe/AgAAAAEAAAAAAAAABBxBcGxvcmlzLkJhc2UuVUkuVmlzdWFsT2JqZWN0AwAAAAHAAgAAeAAAAAoKAAAAAAAAAAANAAAAAAEBwQIAAHgAAAAKCgEAAAAAAAAA/////wABB8ICAAAAAQAAAAQAAAAEHUFwbG9yaXMuQmFzZS5PYmplY3RzLlZhcmlhYmxlAwAAAAWRAwAAHUFwbG9yaXMuQmFzZS5PYmplY3RzLlZhcmlhYmxlAgAAAAZOdW1iZXIIUG9zaXRpb24AAAgIAwAAAAEAAAAAAAAAAZIDAACRAwAAAAAAAAAAAAABkwMAAJEDAAAAAAAAAAAAAAGUAwAAkQMAAAAAAAAAAAAAD8MCAAABAAAACAAAAAAHxAIAAAABAAAAEAAAAAQeQXBsb3Jpcy5DaGFydC5DaGFydERhdGFFbGVtZW50AgAAAAmVAwAACZYDAAAJlwMAAAmYAwAADQwHxQIAAAABAAAAEAAAAAQfQXBsb3Jpcy5CYXNlLk9iamVjdHMuRGF0YU9iamVjdAMAAAAJlQMAAAmWAwAACZcDAAAJmAMAAA0MB8YCAAAAAQAAAAAAAAAEHEFwbG9yaXMuQmFzZS5VSS5WaXN1YWxPYmplY3QDAAAAAccCAAB4AAAACgoAAAAAAAAAAA0AAAAAAQHIAgAAeAAAAAoKAQAAAAAAAAD/////AAEHyQIAAAABAAAABAAAAAQdQXBsb3Jpcy5CYXNlLk9iamVjdHMuVmFyaWFibGUDAAAAAZkDAACRAwAAAQAAAAAAAAABmgMAAJEDAAAAAAAAAAAAAAGbAwAAkQMAAAAAAAAAAAAAAZwDAACRAwAAAAAAAAAAAAAPygIAAAEAAAAIAAAAAAfLAgAAAAEAAAAQAAAABB5BcGxvcmlzLkNoYXJ0LkNoYXJ0RGF0YUVsZW1lbnQCAAAACZ0DAAAJngMAAAmfAwAACaADAAANDAfMAgAAAAEAAAAQAAAABB9BcGxvcmlzLkJhc2UuT2JqZWN0cy5EYXRhT2JqZWN0AwAAAAmdAwAACZ4DAAAJnwMAAAmgAwAADQwBzQIAAHgAAAAKCgAAAAAAAAAADQAAAAABAc4CAAB4AAAACgoBAAAAAAAAAP////8AAQfPAgAAAAEAAAAEAAAABB1BcGxvcmlzLkJhc2UuT2JqZWN0cy5WYXJpYWJsZQMAAAABoQMAAJEDAAABAAAAAAAAAAGiAwAAkQMAAAAAAAAAAAAAAaMDAACRAwAAAAAAAAAAAAABpAMAAJEDAAAAAAAAAAAAAA/QAgAAAQAAAAgAAAAABdM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oBAAAKAAAAAABAQQl2AAAACXcAAAAJpQMAAAEACaYDAAAB1AIAAHgAAAAKCgAAAAD///8ADgAAAAABAdkCAACtAAAACacDAAABAAAAAQAAAAHaAgAAdQAAAAmoAwAACgHbAgAAeAAAAAoKAAAAAAAAAAANAAAAAAAB3AIAAHgAAAAKCgAAAAAAAAAADQAAAAABB90CAAAAAQAAAAQAAAAEHUFwbG9yaXMuQmFzZS5PYmplY3RzLlZhcmlhYmxlAwAAAAGpAwAAkQMAAAEAAAAAAAAAAaoDAACRAwAAAAAAAAAAAAABqwMAAJEDAAAAAAAAAAAAAAGsAwAAkQMAAAAAAAAAAAAAD94CAAABAAAACFIBAAAF4Q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CwEAAAoAAAAAAEBBCXYAAAAJdwAAAAmtAwAAAQAJrgMAAAHiAgAAeAAAAAoKAAAAAP///wAOAAAAAAEB5wIAAK0AAAAJrwMAAAEAAAADAAAAAegCAAB1AAAACbADAAAKAekCAAB4AAAACgoAAAAAAAAAAA0AAAAAAAHqAgAAeAAAAAoKAAAAAAAAAAANAAAAAAEH6wIAAAABAAAABAAAAAQdQXBsb3Jpcy5CYXNlLk9iamVjdHMuVmFyaWFibGUDAAAAAbEDAACRAwAAAQAAAAAAAAABsgMAAJEDAAAAAAAAAAAAAAGzAwAAkQMAAAAAAAAAAAAAAbQDAACRAwAAAAAAAAAAAAAP7AIAAAEAAAAITQEAAAXv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MAQAACgAAAAAAQEEJdgAAAAl3AAAACbUDAAABAAm2AwAAAfACAAB4AAAACgoAAAAA////AA4AAAAAAQH1AgAArQAAAAm3AwAAAQAAAAMAAAAB9gIAAHUAAAAJuAMAAAoB9wIAAHgAAAAKCgAAAAAAAAAADQAAAAAAAfgCAAB4AAAACgoAAAAAAAAAAA0AAAAAAQf5AgAAAAEAAAAEAAAABB1BcGxvcmlzLkJhc2UuT2JqZWN0cy5WYXJpYWJsZQMAAAABuQMAAJEDAAABAAAAAAAAAAG6AwAAkQMAAAAAAAAAAAAAAbsDAACRAwAAAAAAAAAAAAABvAMAAJEDAAAAAAAAAAAAAA/6AgAAAQAAAAjFAAAABf0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0BAAAKAAAAAABAQQl2AAAACXcAAAAJvQMAAAEACb4DAAAB/gIAAHgAAAAKCgEAAAAAAAAA/////wABAQMDAACtAAAACb8DAAABAAAAAwAAAAEEAwAAdQAAAAnAAwAACgEFAwAAeAAAAAoKAAAAAAAAAAANAAAAAAABBgMAAHgAAAAKCgAAAAAAAAAADQAAAAABBwcDAAAAAQAAAAQAAAAEHUFwbG9yaXMuQmFzZS5PYmplY3RzLlZhcmlhYmxlAwAAAAHBAwAAkQMAAAEAAAAAAAAAAcIDAACRAwAAAAAAAAAAAAABwwMAAJEDAAAAAAAAAAAAAAHEAwAAkQMAAAAAAAAAAAAADwgDAAABAAAACBwDAAABCwMAACMAAAAKCgAAAAAAQEEJdgAAAAl3AAAACcUDAAAAAAnGAwAAAQwDAAB4AAAACgoBAAAAAAAAAP////8AAQEQAwAArQAAAAnHAwAAAQAAAAEAAAABEQMAAHUAAAAJyAMAAAoBFAMAAHAAAAAKCgAAAEA/CckDAAAJygMAAAEAAAD+////AAAAAAEAAAAAAAAAAAAAAAEAAAAAAAAAAAAAARUDAABxAAAACgoJywMAAAnMAwAAAQAAAP7///8AAAAA/////wEAARkDAAB1AAAACc0DAAAKBxoDAAAAAQAAAAAAAAAEH0FwbG9yaXMuQmFzZS5PYmplY3RzLkRhdGFPYmplY3QDAAAABxsDAAAAAQAAAAQAAAAEHEFwbG9yaXMuQmFzZS5VSS5WaXN1YWxPYmplY3QDAAAACQwCAAAJDQIAAAoKAR4DAAAjAAAACgoAAAAAAEBBCXYAAAAJdwAAAAnOAwAAAAAJzwMAAAEfAwAAeAAAAAoKAQAAAAAAAAD/////AAEBIwMAAK0AAAAJ0AMAAAEAAAABAAAAASQDAAB1AAAACdEDAAAKAScDAABwAAAACgoAAABAPwnSAwAACdMDAAABAAAA/v///wAAAAABAAAAAAAAAAAAAAABAAAAAAAAAAAAAAEoAwAAcQAAAAoKCdQDAAAJ1QMAAAEAAAD+////AAAAAP////8BAAEsAwAAdQAAAAnWAwAACgctAwAAAAEAAAAEAAAABBxBcGxvcmlzLkJhc2UuVUkuVmlzdWFsT2JqZWN0AwAAAAkQAgAACRECAAAKCgEwAwAAIwAAAAoKAAAAAABAQQl2AAAACXcAAAAJ1wMAAAAACdgDAAABMQMAAHgAAAAKCgEAAAAAAAAA/////wABATUDAACtAAAACdkDAAABAAAAAQAAAAE2AwAAdQAAAAnaAwAACgE5AwAAcAAAAAoKAAAAQD8J2wMAAAncAwAAAQAAAP7///8AAAAAAQAAAAAAAAAAAAAAAQAAAAAAAAAAAAABOgMAAHEAAAAKCgndAwAACd4DAAABAAAA/v///wAAAAD/////AQABPgMAAHUAAAAJ3wMAAAoHPwMAAAABAAAABAAAAAQcQXBsb3Jpcy5CYXNlLlVJLlZpc3VhbE9iamVjdAMAAAAJFAIAAAkVAgAACgoBQAMAAHgAAAAKCgAAAAAAAAAADQAAAAAABUEDAAAaQXBsb3Jpcy5CYXNlLk9iamVjdHMuQ29sb3IHAAAAEkRhdGFPYmplY3QrbVBhcmVudBVEYXRhT2JqZWN0K21Db250YWluZXIFbVR5cGUEbVJHQhBtVGhlbWVDb2xvckluZGV4DG1BdXRvVXBkYXRlZAltTW9kaWZpZWQEAgAAAAAAH0FwbG9yaXMuQmFzZS5PYmplY3RzLkxpbmVGb3JtYXQDAAAACAgIAQEDAAAACRoCAAAKAQAAAAAAAAD/////AAEPQgMAAAEAAAAITgMAAAFDAwAAeAAAAAoKAAAAAAAAAAANAAAAAAABRAMAAHgAAAAKCgAAAAAAAAAADQAAAAABB0UDAAAAAQAAAAQAAAAEHUFwbG9yaXMuQmFzZS5PYmplY3RzLlZhcmlhYmxlAwAAAAHgAwAAkQMAAAEAAAAAAAAAAeEDAACRAwAAAAAAAAAAAAAB4gMAAJEDAAAAAAAAAAAAAAHjAwAAkQMAAAAAAAAAAAAAD0YDAAABAAAACCYAAAABRwMAAHgAAAAKCgAAAAAAAAAADQAAAAAABUgDAAAaQXBsb3Jpcy5CYXNlLk9iamVjdHMuQ29sb3IHAAAAEkRhdGFPYmplY3QrbVBhcmVudBVEYXRhT2JqZWN0K21Db250YWluZXIFbVR5cGUEbVJHQhBtVGhlbWVDb2xvckluZGV4DG1BdXRvVXBkYXRlZAltTW9kaWZpZWQEAgAAAAAAH0FwbG9yaXMuQmFzZS5PYmplY3RzLkxpbmVGb3JtYXQDAAAACAgIAQEDAAAACSkCAAAKAQAAAAAAAAD/////AAEPSQMAAAEAAAAITQMAAAFKAwAAeAAAAAoKAAAAAAAAAAANAAAAAAABSwMAAHgAAAAKCgAAAAAAAAAADQAAAAABB0wDAAAAAQAAAAQAAAAEHUFwbG9yaXMuQmFzZS5PYmplY3RzLlZhcmlhYmxlAwAAAAHkAwAAkQMAAAEAAAAAAAAAAeUDAACRAwAAAAAAAAAAAAAB5gMAAJEDAAAAAAAAAAAAAAHnAwAAkQMAAAAAAAAAAAAAD00DAAABAAAACCMAAAABTgMAAHgAAAAKCgAAAAAAAAAADQAAAAAABU8DAAAaQXBsb3Jpcy5CYXNlLk9iamVjdHMuQ29sb3IHAAAAEkRhdGFPYmplY3QrbVBhcmVudBVEYXRhT2JqZWN0K21Db250YWluZXIFbVR5cGUEbVJHQhBtVGhlbWVDb2xvckluZGV4DG1BdXRvVXBkYXRlZAltTW9kaWZpZWQEAgAAAAAAH0FwbG9yaXMuQmFzZS5PYmplY3RzLkxpbmVGb3JtYXQDAAAACAgIAQEDAAAACTgCAAAKAQAAAAAAAAD/////AAEPUAMAAAEAAAAISwMAAAFRAwAAeAAAAAoKAAAAAAAAAAANAAAAAAABUgMAAHgAAAAKCgAAAAAAAAAADQAAAAABB1MDAAAAAQAAAAQAAAAEHUFwbG9yaXMuQmFzZS5PYmplY3RzLlZhcmlhYmxlAwAAAAHoAwAAkQMAAAEAAAAAAAAAAekDAACRAwAAAAAAAAAAAAAB6gMAAJEDAAAAAAAAAAAAAAHrAwAAkQMAAAAAAAAAAAAAD1QDAAABAAAACCsAAAABVQMAAHgAAAAKCgAAAAAAAAAADQAAAAAABVYDAAAaQXBsb3Jpcy5CYXNlLk9iamVjdHMuQ29sb3IHAAAAEkRhdGFPYmplY3QrbVBhcmVudBVEYXRhT2JqZWN0K21Db250YWluZXIFbVR5cGUEbVJHQhBtVGhlbWVDb2xvckluZGV4DG1BdXRvVXBkYXRlZAltTW9kaWZpZWQEAgAAAAAAH0FwbG9yaXMuQmFzZS5PYmplY3RzLkxpbmVGb3JtYXQDAAAACAgIAQEDAAAACUcCAAAKAQAAAAAAAAD/////AAEPVwMAAAEAAAAIUQMAAAFYAwAAeAAAAAoKAAAAAAAAAAANAAAAAAABWQMAAHgAAAAKCgAAAAAAAAAADQAAAAABB1oDAAAAAQAAAAQAAAAEHUFwbG9yaXMuQmFzZS5PYmplY3RzLlZhcmlhYmxlAwAAAAHsAwAAkQMAAAEAAAAAAAAAAe0DAACRAwAAAAAAAAAAAAAB7gMAAJEDAAAAAAAAAAAAAAHvAwAAkQMAAAAAAAAAAAAAD1sDAAABAAAACCoAAAABXAMAAHgAAAAKCgAAAAAAAAAADQAAAAAABV0DAAAaQXBsb3Jpcy5CYXNlLk9iamVjdHMuQ29sb3IHAAAAEkRhdGFPYmplY3QrbVBhcmVudBVEYXRhT2JqZWN0K21Db250YWluZXIFbVR5cGUEbVJHQhBtVGhlbWVDb2xvckluZGV4DG1BdXRvVXBkYXRlZAltTW9kaWZpZWQEAgAAAAAAH0FwbG9yaXMuQmFzZS5PYmplY3RzLkxpbmVGb3JtYXQDAAAACAgIAQEDAAAACVYCAAAKAQAAAAAAAAD/////AAEPXgMAAAEAAAAIUAMAAAFfAwAAeAAAAAoKAAAAAAAAAAANAAAAAAABYAMAAHgAAAAKCgAAAAAAAAAADQAAAAABB2EDAAAAAQAAAAQAAAAEHUFwbG9yaXMuQmFzZS5PYmplY3RzLlZhcmlhYmxlAwAAAAHwAwAAkQMAAAEAAAAAAAAAAfEDAACRAwAAAAAAAAAAAAAB8gMAAJEDAAAAAAAAAAAAAAHzAwAAkQMAAAAAAAAAAAAAD2IDAAABAAAACCcAAAABYwMAAHgAAAAKCgAAAAAAAAAADQAAAAAABWQDAAAaQXBsb3Jpcy5CYXNlLk9iamVjdHMuQ29sb3IHAAAAEkRhdGFPYmplY3QrbVBhcmVudBVEYXRhT2JqZWN0K21Db250YWluZXIFbVR5cGUEbVJHQhBtVGhlbWVDb2xvckluZGV4DG1BdXRvVXBkYXRlZAltTW9kaWZpZWQEAgAAAAAAH0FwbG9yaXMuQmFzZS5PYmplY3RzLkxpbmVGb3JtYXQDAAAACAgIAQEDAAAACWUCAAAKAQAAAAAAAAD/////AAEPZQMAAAEAAAAITwMAAAFmAwAAeAAAAAoKAAAAAAAAAAANAAAAAAABZwMAAHgAAAAKCgAAAAAAAAAADQAAAAABB2gDAAAAAQAAAAQAAAAEHUFwbG9yaXMuQmFzZS5PYmplY3RzLlZhcmlhYmxlAwAAAAH0AwAAkQMAAAEAAAAAAAAAAfUDAACRAwAAAAAAAAAAAAAB9gMAAJEDAAAAAAAAAAAAAAH3AwAAkQMAAAAAAAAAAAAAD2kDAAABAAAACCkAAAABagMAAHgAAAAKCgAAAAAAAAAADQAAAAAABWsDAAAaQXBsb3Jpcy5CYXNlLk9iamVjdHMuQ29sb3IHAAAAEkRhdGFPYmplY3QrbVBhcmVudBVEYXRhT2JqZWN0K21Db250YWluZXIFbVR5cGUEbVJHQhBtVGhlbWVDb2xvckluZGV4DG1BdXRvVXBkYXRlZAltTW9kaWZpZWQEAgAAAAAAH0FwbG9yaXMuQmFzZS5PYmplY3RzLkxpbmVGb3JtYXQDAAAACAgIAQEDAAAACXQCAAAKAQAAAAAAAAD/////AAEPbAMAAAEAAAAITAMAAAFtAwAAeAAAAAoKAAAAAAAAAAANAAAAAAABbgMAAHgAAAAKCgAAAAAAAAAADQAAAAABB28DAAAAAQAAAAQAAAAEHUFwbG9yaXMuQmFzZS5PYmplY3RzLlZhcmlhYmxlAwAAAAH4AwAAkQMAAAEAAAAAAAAAAfkDAACRAwAAAAAAAAAAAAAB+gMAAJEDAAAAAAAAAAAAAAH7AwAAkQMAAAAAAAAAAAAAD3ADAAABAAAACCgAAAABcQMAAHgAAAAKCgAAAAAAAAAADQAAAAAABXIDAAAaQXBsb3Jpcy5CYXNlLk9iamVjdHMuQ29sb3IHAAAAEkRhdGFPYmplY3QrbVBhcmVudBVEYXRhT2JqZWN0K21Db250YWluZXIFbVR5cGUEbVJHQhBtVGhlbWVDb2xvckluZGV4DG1BdXRvVXBkYXRlZAltTW9kaWZpZWQEAgAAAAAAH0FwbG9yaXMuQmFzZS5PYmplY3RzLkxpbmVGb3JtYXQDAAAACAgIAQEDAAAACYMCAAAKAQAAAAAAAAD/////AAEPcwMAAAEAAAAIVQMAAAF0AwAAeAAAAAoKAAAAAAAAAAANAAAAAAABdQMAAHgAAAAKCgAAAAAAAAAADQAAAAABB3YDAAAAAQAAAAQAAAAEHUFwbG9yaXMuQmFzZS5PYmplY3RzLlZhcmlhYmxlAwAAAAH8AwAAkQMAAAEAAAAAAAAAAf0DAACRAwAAAAAAAAAAAAAB/gMAAJEDAAAAAAAAAAAAAAH/AwAAkQMAAAAAAAAAAAAAD3cDAAABAAAACCwAAAABeAMAAHgAAAAKCgAAAAAAAAAADQAAAAAABXkDAAAaQXBsb3Jpcy5CYXNlLk9iamVjdHMuQ29sb3IHAAAAEkRhdGFPYmplY3QrbVBhcmVudBVEYXRhT2JqZWN0K21Db250YWluZXIFbVR5cGUEbVJHQhBtVGhlbWVDb2xvckluZGV4DG1BdXRvVXBkYXRlZAltTW9kaWZpZWQEAgAAAAAAH0FwbG9yaXMuQmFzZS5PYmplY3RzLkxpbmVGb3JtYXQDAAAACAgIAQEDAAAACZICAAAKAQAAAAAAAAD/////AAEPegMAAAEAAAAIUgMAAAF7AwAAeAAAAAoKAAAAAAAAAAANAAAAAAABfAMAAHgAAAAKCgAAAAAAAAAADQAAAAABB30DAAAAAQAAAAQAAAAEHUFwbG9yaXMuQmFzZS5PYmplY3RzLlZhcmlhYmxlAwAAAAEABAAAkQMAAAEAAAAAAAAAAQEEAACRAwAAAAAAAAAAAAABAgQAAJEDAAAAAAAAAAAAAAEDBAAAkQMAAAAAAAAAAAAAD34DAAABAAAACC0AAAABfwMAAHgAAAAKCgAAAAAAAAAADQAAAAAABYADAAAaQXBsb3Jpcy5CYXNlLk9iamVjdHMuQ29sb3IHAAAAEkRhdGFPYmplY3QrbVBhcmVudBVEYXRhT2JqZWN0K21Db250YWluZXIFbVR5cGUEbVJHQhBtVGhlbWVDb2xvckluZGV4DG1BdXRvVXBkYXRlZAltTW9kaWZpZWQEAgAAAAAAH0FwbG9yaXMuQmFzZS5PYmplY3RzLkxpbmVGb3JtYXQDAAAACAgIAQEDAAAACaECAAAKAQAAAAAAAAD/////AAEPgQMAAAEAAAAIUwMAAAGCAwAAeAAAAAoKAAAAAAAAAAANAAAAAAABgwMAAHgAAAAKCgAAAAAAAAAADQAAAAABB4QDAAAAAQAAAAQAAAAEHUFwbG9yaXMuQmFzZS5PYmplY3RzLlZhcmlhYmxlAwAAAAEEBAAAkQMAAAEAAAAAAAAAAQUEAACRAwAAAAAAAAAAAAABBgQAAJEDAAAAAAAAAAAAAAEHBAAAkQMAAAAAAAAAAAAAD4UDAAABAAAACCUAAAABhgMAAHgAAAAKCgAAAAAAAAAADQAAAAAABYcDAAAaQXBsb3Jpcy5CYXNlLk9iamVjdHMuQ29sb3IHAAAAEkRhdGFPYmplY3QrbVBhcmVudBVEYXRhT2JqZWN0K21Db250YWluZXIFbVR5cGUEbVJHQhBtVGhlbWVDb2xvckluZGV4DG1BdXRvVXBkYXRlZAltTW9kaWZpZWQEAgAAAAAAH0FwbG9yaXMuQmFzZS5PYmplY3RzLkxpbmVGb3JtYXQDAAAACAgIAQEDAAAACbACAAAKAQAAAAAAAAD/////AAEPiAMAAAEAAAAIVAMAAAGJAwAAeAAAAAoKAAAAAAAAAAANAAAAAAABigMAAHgAAAAKCgAAAAAAAAAADQAAAAABB4sDAAAAAQAAAAQAAAAEHUFwbG9yaXMuQmFzZS5PYmplY3RzLlZhcmlhYmxlAwAAAAEIBAAAkQMAAAEAAAAAAAAAAQkEAACRAwAAAAAAAAAAAAABCgQAAJEDAAAAAAAAAAAAAAELBAAAkQMAAAAAAAAAAAAAD4wDAAABAAAACCQAAAAFjQM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MBAAACQ0EAAAKCQ4EAAAKCQcBAAAIBjGEbLzuBMo/CgAAAAAJDwQAAAkQBAAAAAAAAAAJEQQAAAkHAQAACQEAAAAJEgQAAAGOAwAAjQMAAAkTBAAACRQEAAAKCRUEAAAKCQcBAAAIBnbpMX+vjdg/CgEAAAAJFgQAAAkXBAAAAAAAAAAJGAQAAAkHAQAACQEAAAAJGQQAAAGPAwAAjQMAAAkaBAAACRsEAAAKCRwEAAAKCQcBAAAIBjhbh36zdcg/CgIAAAAJHQQAAAkeBAAAAAAAAAAJHwQAAAkHAQAACQEAAAAJIAQAAAGQAwAAjQMAAAkhBAAACSIEAAAKCSMEAAAKCQcBAAAIBik19jALyLc/CgMAAAAJJAQAAAklBAAAAAAAAAAJJgQAAAkHAQAACQEAAAAJJwQAAAGVAwAAjQMAAAkoBAAACSkEAAAKCSoEAAAKCQgBAAAIBrfLxVnmK+E/CgAAAAAJKwQAAAksBAAAAAAAAAAJLQQAAAkIAQAACQEAAAAJLgQAAAGWAwAAjQMAAAkvBAAACTAEAAAKCTEEAAAKCQgBAAAIBiV3ihbOgOA/CgEAAAAJMgQAAAkzBAAAAAAAAAAJNAQAAAkIAQAACQEAAAAJNQQAAAGXAwAAjQMAAAk2BAAACTcEAAAKCTgEAAAKCQgBAAAIBl4gk+IFMuE/CgIAAAAJOQQAAAk6BAAAAAAAAAAJOwQAAAkIAQAACQEAAAAJPAQAAAGYAwAAjQMAAAk9BAAACT4EAAAKCT8EAAAKCQgBAAAIBpgF5ItEqeE/CgMAAAAJQAQAAAlBBAAAAAAAAAAJQgQAAAkIAQAACQEAAAAJQwQAAAGdAwAAjQMAAAlEBAAACUUEAAAKCUYEAAAKCQkBAAAIBnkmPu67pdA/CgAAAAAJRwQAAAlIBAAAAAAAAAAJSQQAAAkJAQAACQEAAAAJSgQAAAGeAwAAjQMAAAlLBAAACUwEAAAKCU0EAAAKCQkBAAAIBgKh5E7Rwrk/CgEAAAAJTgQAAAlPBAAAAAAAAAAJUAQAAAkJAQAACQEAAAAJUQQAAAGfAwAAjQMAAAlSBAAACVMEAAAKCVQEAAAKCQkBAAAIBqgRlnsaYdE/CgIAAAAJVQQAAAlWBAAAAAAAAAAJVwQAAAkJAQAACQEAAAAJWAQAAAGgAwAAjQMAAAlZBAAACVoEAAAKCVsEAAAKCQkBAAAIBoVn+ht0u9Y/CgMAAAAJXAQAAAldBAAAAAAAAAAJXgQAAAkJAQAACQEAAAAJXwQAAAGlAwAAeAAAAAoKAAAAAAAAAAANAAAAAAEBpgMAAHgAAAAKCgEAAAAAAAAA/////wABB6cDAAAAAQAAAAQAAAAEHUFwbG9yaXMuQmFzZS5PYmplY3RzLlZhcmlhYmxlAwAAAAFgBAAAkQMAAAEAAAAAAAAAAWEEAACRAwAAAAAAAAAAAAABYgQAAJEDAAAAAAAAAAAAAAFjBAAAkQMAAAAAAAAAAAAAD6gDAAABAAAACAAAAAABrQMAAHgAAAAKCgAAAAAAAAAADQAAAAABAa4DAAB4AAAACgoBAAAAAAAAAP////8AAQevAwAAAAEAAAAEAAAABB1BcGxvcmlzLkJhc2UuT2JqZWN0cy5WYXJpYWJsZQMAAAABZAQAAJEDAAABAAAAAAAAAAFlBAAAkQMAAAAAAAAAAAAAAWYEAACRAwAAAAAAAAAAAAABZwQAAJEDAAAAAAAAAAAAAA+wAwAAAQAAAAgAAAAAAbUDAAB4AAAACgoAAAAAAAAAAA0AAAAAAQG2AwAAeAAAAAoKAQAAAAAAAAD/////AAEHtwMAAAABAAAABAAAAAQdQXBsb3Jpcy5CYXNlLk9iamVjdHMuVmFyaWFibGUDAAAAAWgEAACRAwAAAQAAAAAAAAABaQQAAJEDAAAAAAAAAAAAAAFqBAAAkQMAAAAAAAAAAAAAAWsEAACRAwAAAAAAAAAAAAAPuAMAAAEAAAAIAAAAAAG9AwAAeAAAAAoKAAAAAAAAAAANAAAAAAEBvgMAAHgAAAAKCgEAAAAAAAAA/////wABB78DAAAAAQAAAAQAAAAEHUFwbG9yaXMuQmFzZS5PYmplY3RzLlZhcmlhYmxlAwAAAAFsBAAAkQMAAAEAAAAAAAAAAW0EAACRAwAAAAAAAAAAAAABbgQAAJEDAAAAAAAAAAAAAAFvBAAAkQMAAAAAAAAAAAAAD8ADAAABAAAACAAAAAABxQMAAHgAAAAKCgAAAAAAAAAADQAAAAAAAcYDAAB4AAAACgoBAAAAAAAAAP////8AAQfHAwAAAAEAAAAEAAAABB1BcGxvcmlzLkJhc2UuT2JqZWN0cy5WYXJpYWJsZQMAAAABcAQAAJEDAAABAAAAAAAAAAFxBAAAkQMAAAAAAAAAAAAAAXIEAACRAwAAAAAAAAAAAAABcwQAAJEDAAAAAAAAAAAAAA/IAwAAAQAAAAhFAwAAAckDAAB4AAAACgoAAAAA////AA4AAAAAAAXKAwAAGkFwbG9yaXMuQmFzZS5PYmplY3RzLkNvbG9yBwAAABJEYXRhT2JqZWN0K21QYXJlbnQVRGF0YU9iamVjdCttQ29udGFpbmVyBW1UeXBlBG1SR0IQbVRoZW1lQ29sb3JJbmRleAxtQXV0b1VwZGF0ZWQJbU1vZGlmaWVkBAIAAAAAAB9BcGxvcmlzLkJhc2UuT2JqZWN0cy5MaW5lRm9ybWF0AwAAAAgICAEBAwAAAAkUAwAACgEAAAAAAAAA/////wABAcsDAAB4AAAACgoBAAAABSluAP////8AAAHMAwAAeAAAAAoKAQAAAP///wD/////AAAPzQMAAAEAAAAIRwMAAAHOAwAAeAAAAAoKAAAAAAAAAAANAAAAAAABzwMAAHgAAAAKCgEAAAAAAAAA/////wABB9ADAAAAAQAAAAQAAAAEHUFwbG9yaXMuQmFzZS5PYmplY3RzLlZhcmlhYmxlAwAAAAF0BAAAkQMAAAEAAAAAAAAAAXUEAACRAwAAAAAAAAAAAAABdgQAAJEDAAAAAAAAAAAAAAF3BAAAkQMAAAAAAAAAAAAAD9EDAAABAAAACEMDAAAB0gMAAHgAAAAKCgAAAAD///8ADgAAAAAABdMDAAAaQXBsb3Jpcy5CYXNlLk9iamVjdHMuQ29sb3IHAAAAEkRhdGFPYmplY3QrbVBhcmVudBVEYXRhT2JqZWN0K21Db250YWluZXIFbVR5cGUEbVJHQhBtVGhlbWVDb2xvckluZGV4DG1BdXRvVXBkYXRlZAltTW9kaWZpZWQEAgAAAAAAH0FwbG9yaXMuQmFzZS5PYmplY3RzLkxpbmVGb3JtYXQDAAAACAgIAQEDAAAACScDAAAKAQAAAAAAAAD/////AAEB1AMAAHgAAAAKCgEAAABFddQA/////wAAAdUDAAB4AAAACgoBAAAA////AP////8AAA/WAwAAAQAAAAhIAwAAAdcDAAB4AAAACgoAAAAAAAAAAA0AAAAAAAHYAwAAeAAAAAoKAQAAAAAAAAD/////AAEH2QMAAAABAAAABAAAAAQdQXBsb3Jpcy5CYXNlLk9iamVjdHMuVmFyaWFibGUDAAAAAXgEAACRAwAAAQAAAAAAAAABeQQAAJEDAAAAAAAAAAAAAAF6BAAAkQMAAAAAAAAAAAAAAXsEAACRAwAAAAAAAAAAAAAP2gMAAAEAAAAIRAMAAAHbAwAAeAAAAAoKAAAAAP///wAOAAAAAAAF3AMAABpBcGxvcmlzLkJhc2UuT2JqZWN0cy5Db2xvcgcAAAASRGF0YU9iamVjdCttUGFyZW50FURhdGFPYmplY3QrbUNvbnRhaW5lcgVtVHlwZQRtUkdCEG1UaGVtZUNvbG9ySW5kZXgMbUF1dG9VcGRhdGVkCW1Nb2RpZmllZAQCAAAAAAAfQXBsb3Jpcy5CYXNlLk9iamVjdHMuTGluZUZvcm1hdAMAAAAICAgBAQMAAAAJOQMAAAoBAAAAAAAAAP////8AAQHdAwAAeAAAAAoKAQAAAMHQ7QD/////AAAB3gMAAHgAAAAKCgEAAAD///8A/////wAAD98DAAABAAAACEYDAAABDAQAACQBAAAKWAIAAAF8BAAAnQEAAAIAAAABfQQAAJ4BAAABAAAAAX4EAAAVAAAAuuabQhJ8aUMguqtCiE5CQgF/BAAAoAEAAAAAAAAAAKBAAAGABAAAIQAAAMrD8ULy4oBDAYEEAACgAAAAAAAAAAAAAAAAAAAAAAmCBAAAAAAAAAmDBAAAAAABhAQAAKkAAAAAAAAAAYUEAAByAAAAAADQQQAAYEEBhgQAABUAAACji9ZCdNF7Q5JO2EHooktBXrrZPwaHBAAAAzIwJQoJiAQAAAmpAQAANAMAAP////8BAQoJiQQAAAEACgABDQQAABwAAAABigQAACEAAAC65pVC2oeOQwGLBAAAIQAAAG3QJkMSfGZDCYwEAAAJjQQAAAAAAAAKAY4EAAByAAAAAAAAAAAAAAABjwQAAHIAAAAAAAAAAAAAAAAAAAABkAQAABUAAAAAAAAAAAAAAAAAAAAAAAAApAEAAP////8BAQoJkQQAAAEACgAHDgQAAAABAAAAAgAAAAQaQXBsb3Jpcy5CYXNlLlVJLlZpc3VhbExpbmUDAAAACgoHDwQAAAABAAAAAwAAAAQVU3lzdGVtLkRyYXdpbmcuUG9pbnRGBAAAAAGSBAAAIQAAAMrD8ULy4oBDAZMEAAAhAAAAuuaPQvLigEMBlAQAACEAAABt0ClD8uKAQwcQBAAAAAEAAAADAAAABBdBcGxvcmlzLkJhc2UuQW5jaG9yTW9kZQMAAAABlQQAAKAAAAAAAAAAAZYEAACgAAAAAgAAAAGXBAAAoAAAAAQAAAABEQQAACUAAAAJmAQAAAAAAAAAAAAAARIEAAAmAAAACZkEAAACAAAACgAAAAETBAAAJAEAAApYAgAAAZoEAACdAQAAAgAAAAGbBAAAngEAAAEAAAABnAQAABUAAACo7mBDog45QyC6q0IkAsJCAZ0EAACgAQAAAAAAAAAAoEAAAZ4EAAAhAAAAmO6FQyuPaUMBnwQAAKAAAAAAAAAAAAAAAAAAAAAACaAEAAAAAAAACaEEAAAAAAGiBAAAqQAAAAAAAAABowQAAHIAAAAAANBBAABgQQGkBAAAFQAAAKOLfkPRRWNDkk7YQeiiS0Feutk/BqUEAAADMzglCgmmBAAACakBAAA0AwAA/////wEBCgmnBAAAAQAKAAEUBAAAHAAAAAGoBAAAIQAAAKjuXUPah45DAakEAAAhAAAA3OWcQ6IONkMJqgQAAAmrBAAAAAAAAAoBrAQAAHIAAAAAAAAAAAAAAAGtBAAAcgAAAAAAAAAAAAAAAAAAAAGuBAAAFQAAAAAAAAAAAAAAAAAAAAAAAACkAQAA/////wEBCgmvBAAAAQAKAAcVBAAAAAEAAAACAAAABBpBcGxvcmlzLkJhc2UuVUkuVmlzdWFsTGluZQMAAAAKCgcWBAAAAAEAAAADAAAABBVTeXN0ZW0uRHJhd2luZy5Qb2ludEYEAAAAAbAEAAAhAAAAmO6FQyuPaUMBsQQAACEAAACo7lpDK49pQwGyBAAAIQAAANxlnkMrj2lDBxcEAAAAAQAAAAMAAAAEF0FwbG9yaXMuQmFzZS5BbmNob3JNb2RlAwAAAAGzBAAAoAAAAAAAAAABtAQAAKAAAAACAAAAAbUEAACgAAAABAAAAAEYBAAAJQAAAAmYBAAAAAAAAAAAAAABGQQAACYAAAAJtgQAAAIAAAACAAAAARoEAAAkAQAAClgCAAABtwQAAJ0BAAACAAAAAbgEAACeAQAAAQAAAAG5BAAAFQAAAPr0uUN6wWxDILqrQug4NUIBugQAAKABAAAAAAAAAACgQAABuwQAACEAAAA+bM9DTLSBQwG8BAAAoAAAAAAAAAAAAAAAAAAAAAAJvQQAAAAAAAAJvgQAAAAAAb8EAACpAAAAAAAAAAHABAAAcgAAAAAA0EEAAGBBAcEEAAAVAAAAXXTIQy66fEOSTthB6KJLQV662T8GwgQAAAMxOSUKCcMEAAAJqQEAADQDAAD/////AQEKCcQEAAABAAoAARsEAAAcAAAAAcUEAAAhAAAA+nS4Q9qHjkMBxgQAACEAAACCY+ZDesFpQwnHBAAACcgEAAAAAAAACgHJBAAAcgAAAAAAAAAAAAAAAcoEAAByAAAAAAAAAAAAAAAAAAAAAcsEAAAVAAAAAAAAAAAAAAAAAAAAAAAAAKQBAAD/////AQEKCcwEAAABAAoABxwEAAAAAQAAAAIAAAAEGkFwbG9yaXMuQmFzZS5VSS5WaXN1YWxMaW5lAwAAAAoKBx0EAAAAAQAAAAMAAAAEFVN5c3RlbS5EcmF3aW5nLlBvaW50RgQAAAABzQQAACEAAAA+bM9DTLSBQwHOBAAAIQAAAPr0tkNMtIFDAc8EAAAhAAAAguPnQ0y0gUMHHgQAAAABAAAAAwAAAAQXQXBsb3Jpcy5CYXNlLkFuY2hvck1vZGUDAAAAAdAEAACgAAAAAAAAAAHRBAAAoAAAAAIAAAAB0gQAAKAAAAAEAAAAAR8EAAAlAAAACZgEAAAAAAAAAAAAAAEgBAAAJgAAAAnTBAAAAgAAAAIAAAABIQQAACQBAAAKWAIAAAHUBAAAnQEAAAIAAAAB1QQAAJ4BAAABAAAAAdYEAAAVAAAAULkBRFyPg0MguqtC4IeXQQHXBAAAoAEAAAAAAAAAAKBAAAHYBAAAIQAAAPJ0DESbS4hDAdkEAACgAAAAAAAAAAAAAAAAAAAAAAnaBAAAAAAAAAnbBAAAAAAB3AQAAKkAAAAAAAAAAd0EAAByAAAAAACYQQAAYEEB3gQAABUAAABd9AlEiy6FQ9hlpUHooktBXrrZPwbfBAAAAjklCgngBAAACakBAAA0AwAA/////wEBCgnhBAAAAQAKAAEiBAAAHAAAAAHiBAAAIQAAAFD5AETah45DAeMEAAAhAAAAlPAXRFwPgkMJ5AQAAAnlBAAAAAAAAAoB5gQAAHIAAAAAAAAAAAAAAAHnBAAAcgAAAAAAAAAAAAAAAAAAAAHoBAAAFQAAAAAAAAAAAAAAAAAAAAAAAACkAQAA/////wEBCgnpBAAAAQAKAAcjBAAAAAEAAAACAAAABBpBcGxvcmlzLkJhc2UuVUkuVmlzdWFsTGluZQMAAAAKCgckBAAAAAEAAAADAAAABBVTeXN0ZW0uRHJhd2luZy5Qb2ludEYEAAAAAeoEAAAhAAAA8nQMRJtLiEMB6wQAACEAAABQOQBEm0uIQwHsBAAAIQAAAJSwGESbS4hDByUEAAAAAQAAAAMAAAAEF0FwbG9yaXMuQmFzZS5BbmNob3JNb2RlAwAAAAHtBAAAoAAAAAAAAAAB7gQAAKAAAAACAAAAAe8EAACgAAAABAAAAAEmBAAAJQAAAAkKAgAAAAAAAAAAAAABJwQAACYAAAAJ8AQAAAIAAAACAAAAASgEAAAkAQAAClgCAAAB8QQAAJ0BAAACAAAAAfIEAACeAQAAAQAAAAHzBAAAFQAAALrmm0I207JCILqrQncSCkMB9AQAAKABAAAAAAAAAACgQAAB9QQAACEAAADKw/FC1nIeQwH2BAAAoAAAAAAAAAAAAAAAAAAAAAAJ9wQAAAAAAAAJ+AQAAAAAAfkEAACpAAAAAAAAAAH6BAAAcgAAAAAA0EEAAGBBAfsEAAAVAAAAo4vWQnTRF0OSTthB6KJLQV662T8G/AQAAAM1NCUKCf0EAAAJqQEAADQDAAD/////AQEKCf4EAAABAAoAASkEAAAcAAAAAf8EAAAhAAAAuuaVQhJ8ZkMBAAUAACEAAABt0CZDNtOsQgkBBQAACQIFAAAAAAAACgEDBQAAcgAAAAAAAAAAAAAAAQQFAAByAAAAAAAAAAAAAAAAAAAAAQUFAAAVAAAAAAAAAAAAAAAAAAAAAAAAAKQBAAD/////AQEKCQYFAAABAAoAByoEAAAAAQAAAAIAAAAEGkFwbG9yaXMuQmFzZS5VSS5WaXN1YWxMaW5lAwAAAAoKBysEAAAAAQAAAAMAAAAEFVN5c3RlbS5EcmF3aW5nLlBvaW50RgQAAAABBwUAACEAAADKw/FC1nIeQwEIBQAAIQAAALrmj0LWch5DAQkFAAAhAAAAbdApQ9ZyHkMHLAQAAAABAAAAAwAAAAQXQXBsb3Jpcy5CYXNlLkFuY2hvck1vZGUDAAAAAQoFAACgAAAAAAAAAAELBQAAoAAAAAIAAAABDAUAAKAAAAAEAAAAAS0EAAAlAAAACQ0FAAAAAAAAAAAAAAEuBAAAJgAAAAkOBQAAAgAAAAoAAAABLwQAACQBAAAKWAIAAAEPBQAAnQEAAAIAAAABEAUAAJ4BAAABAAAAAREFAAAVAAAAqO5gQ8BeOkIguqtC8nYEQwESBQAAoAEAAAAAAAAAAKBAAAETBQAAIQAAAJjuhUNSpuFCARQFAACgAAAAAAAAAAAAAAAAAAAAAAkVBQAAAAAAAAkWBQAAAAABFwUAAKkAAAAAAAAAARgFAAByAAAAAADQQQAAYEEBGQUAABUAAACji35DLrrUQpJO2EHooktBXrrZPwYaBQAAAzUyJQoJGwUAAAmpAQAANAMAAP////8BAQoJHAUAAAEACgABMAQAABwAAAABHQUAACEAAACo7l1Dog42QwEeBQAAIQAAANzlnEPAXi5CCR8FAAAJIAUAAAAAAAAKASEFAAByAAAAAAAAAAAAAAABIgUAAHIAAAAAAAAAAAAAAAAAAAABIwUAABUAAAAAAAAAAAAAAAAAAAAAAAAApAEAAP////8BAQoJJAUAAAEACgAHMQQAAAABAAAAAgAAAAQaQXBsb3Jpcy5CYXNlLlVJLlZpc3VhbExpbmUDAAAACgoHMgQAAAABAAAAAwAAAAQVU3lzdGVtLkRyYXdpbmcuUG9pbnRGBAAAAAElBQAAIQAAAJjuhUNSpuFCASYFAAAhAAAAqO5aQ1Km4UIBJwUAACEAAADcZZ5DUqbhQgczBAAAAAEAAAADAAAABBdBcGxvcmlzLkJhc2UuQW5jaG9yTW9kZQMAAAABKAUAAKAAAAAAAAAAASkFAACgAAAAAgAAAAEqBQAAoAAAAAQAAAABNAQAACUAAAAJDQUAAAAAAAAAAAAAATUEAAAmAAAACSsFAAACAAAAAgAAAAE2BAAAJAEAAApYAgAAASwFAACdAQAAAgAAAAEtBQAAngEAAAEAAAABLgUAABUAAAD69LlDRve4QiC6q0LXRQpDAS8FAACgAQAAAAAAAAAAoEAAATAFAAAhAAAAPmzPQ46eIUMBMQUAAKAAAAAAAAAAAAAAAAAAAAAACTIFAAAAAAAACTMFAAAAAAE0BQAAqQAAAAAAAAABNQUAAHIAAAAAANBBAABgQQE2BQAAFQAAAF10yENddBtDkk7YQeiiS0Feutk/BjcFAAADNTQlCgk4BQAACakBAAA0AwAA/////wEBCgk5BQAAAQAKAAE3BAAAHAAAAAE6BQAAIQAAAPp0uEN6wWlDATsFAAAhAAAAgmPmQ0b3skIJPAUAAAk9BQAAAAAAAAoBPgUAAHIAAAAAAAAAAAAAAAE/BQAAcgAAAAAAAAAAAAAAAAAAAAFABQAAFQAAAAAAAAAAAAAAAAAAAAAAAACkAQAA/////wEBCglBBQAAAQAKAAc4BAAAAAEAAAACAAAABBpBcGxvcmlzLkJhc2UuVUkuVmlzdWFsTGluZQMAAAAKCgc5BAAAAAEAAAADAAAABBVTeXN0ZW0uRHJhd2luZy5Qb2ludEYEAAAAAUIFAAAhAAAAPmzPQ46eIUMBQwUAACEAAAD69LZDjp4hQwFEBQAAIQAAAILj50OOniFDBzoEAAAAAQAAAAMAAAAEF0FwbG9yaXMuQmFzZS5BbmNob3JNb2RlAwAAAAFFBQAAoAAAAAAAAAABRgUAAKAAAAACAAAAAUcFAACgAAAABAAAAAE7BAAAJQAAAAkNBQAAAAAAAAAAAAABPAQAACYAAAAJSAUAAAIAAAACAAAAAT0EAAAkAQAAClgCAAABSQUAAJ0BAAACAAAAAUoFAACeAQAAAQAAAAFLBQAAFQAAAFC5AUTI4OVCILqrQlQuDkMBTAUAAKABAAAAAAAAAACgQAABTQUAACEAAADydAxEjgc6QwFOBQAAoAAAAAAAAAAAAAAAAAAAAAAJTwUAAAAAAAAJUAUAAAAAAVEFAACpAAAAAAAAAAFSBQAAcgAAAAAA0EEAAGBBAVMFAAAVAAAAowsJRAAANEOSTthB6KJLQV662T8GVAUAAAM1NSUKCVUFAAAJqQEAADQDAAD/////AQEKCVYFAAABAAoAAT4EAAAcAAAAAVcFAAAhAAAAUPkARFwPgkMBWAUAACEAAACU8BdEyODfQglZBQAACVoFAAAAAAAACgFbBQAAcgAAAAAAAAAAAAAAAVwFAAByAAAAAAAAAAAAAAAAAAAAAV0FAAAVAAAAAAAAAAAAAAAAAAAAAAAAAKQBAAD/////AQEKCV4FAAABAAoABz8EAAAAAQAAAAIAAAAEGkFwbG9yaXMuQmFzZS5VSS5WaXN1YWxMaW5lAwAAAAoKB0AEAAAAAQAAAAMAAAAEFVN5c3RlbS5EcmF3aW5nLlBvaW50RgQAAAABXwUAACEAAADydAxEjgc6QwFgBQAAIQAAAFA5AESOBzpDAWEFAAAhAAAAlLAYRI4HOkMHQQQAAAABAAAAAwAAAAQXQXBsb3Jpcy5CYXNlLkFuY2hvck1vZGUDAAAAAWIFAACgAAAAAAAAAAFjBQAAoAAAAAIAAAABZAUAAKAAAAAEAAAAAUIEAAAlAAAACQoCAAAAAAAAAAAAAAFDBAAAJgAAAAllBQAAAgAAAAIAAAABRAQAACQBAAAKWAIAAAFmBQAAnQEAAAIAAAABZwUAAJ4BAAABAAAAAWgFAAAVAAAAuuabQq+ZnEEguqtClFl/QgFpBQAAoAEAAAAAAAAAAKBAAAFqBQAAIQAAAMrD8UKi+U1CAWsFAACgAAAAAAAAAAAAAAAAAAAAAAlsBQAAAAAAAAltBQAAAAABbgUAAKkAAAAAAAAAAW8FAAByAAAAAADQQQAAYEEBcAUAABUAAACji9ZCdNE1QpJO2EHooktBXrrZPwZxBQAAAzI2JQoJcgUAAAmpAQAANAMAAP////8BAQoJcwUAAAEACgABRQQAABwAAAABdAUAACEAAAC65pVCNtOsQgF1BQAAIQAAAG3QJkOvmYRBCXYFAAAJdwUAAAAAAAAKAXgFAAByAAAAAAAAAAAAAAABeQUAAHIAAAAAAAAAAAAAAAAAAAABegUAABUAAAAAAAAAAAAAAAAAAAAAAAAApAEAAP////8BAQoJewUAAAEACgAHRgQAAAABAAAAAgAAAAQaQXBsb3Jpcy5CYXNlLlVJLlZpc3VhbExpbmUDAAAACgoHRwQAAAABAAAAAwAAAAQVU3lzdGVtLkRyYXdpbmcuUG9pbnRGBAAAAAF8BQAAIQAAAMrD8UKi+U1CAX0FAAAhAAAAuuaPQqL5TUIBfgUAACEAAABt0ClDovlNQgdIBAAAAAEAAAADAAAABBdBcGxvcmlzLkJhc2UuQW5jaG9yTW9kZQMAAAABfwUAAKAAAAAAAAAAAYAFAACgAAAAAgAAAAGBBQAAoAAAAAQAAAABSQQAACUAAAAJDQUAAAAAAAAAAAAAAUoEAAAmAAAACYIFAAACAAAACgAAAAFLBAAAJAEAAApYAgAAAYMFAACdAQAAAgAAAAGEBQAAngEAAAEAAAABhQUAABUAAACo7mBDr5mcQSC6q0LRI6hBAYYFAACgAQAAAAAAAAAAoEAAAYcFAAAhAAAAmO6FQ5ir8EEBiAUAAKAAAAAAAAAAAAAAAAAAAAAACYkFAAAAAAAACYoFAAAAAAGLBQAAqQAAAAAAAAABjAUAAHIAAAAAANBBAABgQQGNBQAAFQAAAKOLfkNGF71Bkk7YQeiiS0Feutk/Bo4FAAADMTAlCgmPBQAACakBAAA0AwAA/////wEBCgmQBQAAAQAKAAFMBAAAHAAAAAGRBQAAIQAAAKjuXUPAXi5CAZIFAAAhAAAA3OWcQ6+ZhEEJkwUAAAmUBQAAAAAAAAoBlQUAAHIAAAAAAAAAAAAAAAGWBQAAcgAAAAAAAAAAAAAAAAAAAAGXBQAAFQAAAAAAAAAAAAAAAAAAAAAAAACkAQAA/////wEBCgmYBQAAAQAKAAdNBAAAAAEAAAACAAAABBpBcGxvcmlzLkJhc2UuVUkuVmlzdWFsTGluZQMAAAAKCgdOBAAAAAEAAAADAAAABBVTeXN0ZW0uRHJhd2luZy5Qb2ludEYEAAAAAZkFAAAhAAAAmO6FQ5ir8EEBmgUAACEAAACo7lpDmKvwQQGbBQAAIQAAANxlnkOYq/BBB08EAAAAAQAAAAMAAAAEF0FwbG9yaXMuQmFzZS5BbmNob3JNb2RlAwAAAAGcBQAAoAAAAAAAAAABnQUAAKAAAAACAAAAAZ4FAACgAAAABAAAAAFQBAAAJQAAAAkNBQAAAAAAAAAAAAABUQQAACYAAAAJnwUAAAIAAAACAAAAAVIEAAAkAQAAClgCAAABoAUAAJ0BAAACAAAAAaEFAACeAQAAAQAAAAGiBQAAFQAAAPr0uUOvmZxBILqrQtrQhUIBowUAAKABAAAAAAAAAACgQAABpAUAACEAAAA+bM9Dsh1UQgGlBQAAoAAAAAAAAAAAAAAAAAAAAAAJpgUAAAAAAAAJpwUAAAAAAagFAACpAAAAAAAAAAGpBQAAcgAAAAAA0EEAAGBBAaoFAAAVAAAAXXTIQ110OUKSTthB6KJLQV662T8GqwUAAAMyNyUKCawFAAAJqQEAADQDAAD/////AQEKCa0FAAABAAoAAVMEAAAcAAAAAa4FAAAhAAAA+nS4Q0b3skIBrwUAACEAAACCY+ZDr5mEQQmwBQAACbEFAAAAAAAACgGyBQAAcgAAAAAAAAAAAAAAAbMFAAByAAAAAAAAAAAAAAAAAAAAAbQFAAAVAAAAAAAAAAAAAAAAAAAAAAAAAKQBAAD/////AQEKCbUFAAABAAoAB1QEAAAAAQAAAAIAAAAEGkFwbG9yaXMuQmFzZS5VSS5WaXN1YWxMaW5lAwAAAAoKB1UEAAAAAQAAAAMAAAAEFVN5c3RlbS5EcmF3aW5nLlBvaW50RgQAAAABtgUAACEAAAA+bM9Dsh1UQgG3BQAAIQAAAPr0tkOyHVRCAbgFAAAhAAAAguPnQ7IdVEIHVgQAAAABAAAAAwAAAAQXQXBsb3Jpcy5CYXNlLkFuY2hvck1vZGUDAAAAAbkFAACgAAAAAAAAAAG6BQAAoAAAAAIAAAABuwUAAKAAAAAEAAAAAVcEAAAlAAAACQ0FAAAAAAAAAAAAAAFYBAAAJgAAAAm8BQAAAgAAAAYAAAABWQQAACQBAAAKWAIAAAG9BQAAnQEAAAIAAAABvgUAAJ4BAAABAAAAAb8FAAAVAAAAULkBRK+ZnEEguqtCXLqyQgHABQAAoAEAAAAAAAAAAKBAAAHBBQAAIQAAAPJ0DESag4BCAcIFAACgAAAAAAAAAAAAAAAAAAAAAAnDBQAAAAAAAAnEBQAAAAABxQUAAKkAAAAAAAAAAcYFAAByAAAAAADQQQAAYEEBxwUAABUAAACjCwlELrpoQpJO2EHooktBXrrZPwbIBQAAAzM2JQoJyQUAAAmpAQAANAMAAP////8BAQoJygUAAAEACgABWgQAABwAAAABywUAACEAAABQ+QBEyODfQgHMBQAAIQAAAJTwF0SvmYRBCc0FAAAJzgUAAAAAAAAKAc8FAAByAAAAAAAAAAAAAAAB0AUAAHIAAAAAAAAAAAAAAAAAAAAB0QUAABUAAAAAAAAAAAAAAAAAAAAAAAAApAEAAP////8BAQoJ0gUAAAEACgAHWwQAAAABAAAAAgAAAAQaQXBsb3Jpcy5CYXNlLlVJLlZpc3VhbExpbmUDAAAACgoHXAQAAAABAAAAAwAAAAQVU3lzdGVtLkRyYXdpbmcuUG9pbnRGBAAAAAHTBQAAIQAAAPJ0DESag4BCAdQFAAAhAAAAUDkARJqDgEIB1QUAACEAAACUsBhEmoOAQgddBAAAAAEAAAADAAAABBdBcGxvcmlzLkJhc2UuQW5jaG9yTW9kZQMAAAAB1gUAAKAAAAAAAAAAAdcFAACgAAAAAgAAAAHYBQAAoAAAAAQAAAABXgQAACUAAAAJCgIAAAAAAAAAAAAAAV8EAAAmAAAACdkFAAACAAAAAgAAAAGCBAAAIwAAAAoKAAAAAABAQQl2AAAACXcAAAAJ2gUAAAAACdsFAAABgwQAAHgAAAAKCgEAAAAFKW4A/////wABAYgEAACtAAAACdwFAAABAAAAAwAAAAGJBAAAdQAAAAndBQAACgGMBAAAcAAAAAoKAAAAQD8J3gUAAAnfBQAAAQAAAP7///8AAAAAAQAAAAAAAAAAAAAAAQAAAAAAAAAAAAABjQQAAHEAAAAKCgngBQAACeEFAAABAAAA/v///wAAAAD/////AAABkQQAAHUAAAAJ4gUAAAoHmAQAAAABAAAAAAAAAAQfQXBsb3Jpcy5CYXNlLk9iamVjdHMuRGF0YU9iamVjdAMAAAAHmQQAAAABAAAABAAAAAQcQXBsb3Jpcy5CYXNlLlVJLlZpc3VhbE9iamVjdAMAAAAJDQQAAAkMBAAACgoBoAQAACMAAAAKCgAAAAAAQEEJdgAAAAl3AAAACeMFAAAAAAnkBQAAAaEEAAB4AAAACgoBAAAABSluAP////8AAQGmBAAArQAAAAnlBQAAAQAAAAMAAAABpwQAAHUAAAAJ5gUAAAoBqgQAAHAAAAAKCgAAAEA/CecFAAAJ6AUAAAEAAAD+////AAAAAAEAAAAAAAAAAAAAAAEAAAAAAAAAAAAAAasEAABxAAAACgoJ6QUAAAnqBQAAAQAAAP7///8AAAAA/////wAAAa8EAAB1AAAACesFAAAKB7YEAAAAAQAAAAQAAAAEHEFwbG9yaXMuQmFzZS5VSS5WaXN1YWxPYmplY3QDAAAACRQEAAAJEwQAAAoKAb0EAAAjAAAACgoAAAAAAEBBCXYAAAAJdwAAAAnsBQAAAAAJ7QUAAAG+BAAAeAAAAAoKAQAAAAUpbgD/////AAEBwwQAAK0AAAAJ7gUAAAEAAAADAAAAAcQEAAB1AAAACe8FAAAKAccEAABwAAAACgoAAABAPwnwBQAACfEFAAABAAAA/v///wAAAAABAAAAAAAAAAAAAAABAAAAAAAAAAAAAAHIBAAAcQAAAAoKCfIFAAAJ8wUAAAEAAAD+////AAAAAP////8AAAHMBAAAdQAAAAn0BQAACgfTBAAAAAEAAAAEAAAABBxBcGxvcmlzLkJhc2UuVUkuVmlzdWFsT2JqZWN0AwAAAAkbBAAACRoEAAAKCgHaBAAAIwAAAAoKAAAAAABAQQl2AAAACXcAAAAJ9QUAAAAACfYFAAAB2wQAAHgAAAAKCgEAAAAFKW4A/////wABAeAEAACtAAAACfcFAAABAAAAAwAAAAHhBAAAdQAAAAn4BQAACgHkBAAAcAAAAAoKAAAAQD8J+QUAAAn6BQAAAQAAAP7///8AAAAAAQAAAAAAAAAAAAAAAQAAAAAAAAAAAAAB5QQAAHEAAAAKCgn7BQAACfwFAAABAAAA/v///wAAAAD/////AAAB6QQAAHUAAAAJ/QUAAAoH8AQAAAABAAAABAAAAAQcQXBsb3Jpcy5CYXNlLlVJLlZpc3VhbE9iamVjdAMAAAAJIgQAAAkhBAAACgoB9wQAACMAAAAKCgAAAAAAQEEJdgAAAAl3AAAACf4FAAAAAAn/BQAAAfgEAAB4AAAACgoBAAAARXXUAP////8AAQH9BAAArQAAAAkABgAAAQAAAAMAAAAB/gQAAHUAAAAJAQYAAAoBAQUAAHAAAAAKCgAAAEA/CQIGAAAJAwYAAAEAAAD+////AAAAAAEAAAAAAAAAAAAAAAEAAAAAAAAAAAAAAQIFAABxAAAACgoJBAYAAAkFBgAAAQAAAP7///8AAAAA/////wAAAQYFAAB1AAAACQYGAAAKBw0FAAAAAQAAAAAAAAAEH0FwbG9yaXMuQmFzZS5PYmplY3RzLkRhdGFPYmplY3QDAAAABw4FAAAAAQAAAAQAAAAEHEFwbG9yaXMuQmFzZS5VSS5WaXN1YWxPYmplY3QDAAAACSkEAAAJKAQAAAoKARUFAAAjAAAACgoAAAAAAEBBCXYAAAAJdwAAAAkHBgAAAAAJCAYAAAEWBQAAeAAAAAoKAQAAAEV11AD/////AAEBGwUAAK0AAAAJCQYAAAEAAAADAAAAARwFAAB1AAAACQoGAAAKAR8FAABwAAAACgoAAABAPwkLBgAACQwGAAABAAAA/v///wAAAAABAAAAAAAAAAAAAAABAAAAAAAAAAAAAAEgBQAAcQAAAAoKCQ0GAAAJDgYAAAEAAAD+////AAAAAP////8AAAEkBQAAdQAAAAkPBgAACgcrBQAAAAEAAAAEAAAABBxBcGxvcmlzLkJhc2UuVUkuVmlzdWFsT2JqZWN0AwAAAAkwBAAACS8EAAAKCgEyBQAAIwAAAAoKAAAAAABAQQl2AAAACXcAAAAJEAYAAAAACREGAAABMwUAAHgAAAAKCgEAAABFddQA/////wABATgFAACtAAAACRIGAAABAAAAAwAAAAE5BQAAdQAAAAkTBgAACgE8BQAAcAAAAAoKAAAAQD8JFAYAAAkVBgAAAQAAAP7///8AAAAAAQAAAAAAAAAAAAAAAQAAAAAAAAAAAAABPQUAAHEAAAAKCgkWBgAACRcGAAABAAAA/v///wAAAAD/////AAABQQUAAHUAAAAJGAYAAAoHSAUAAAABAAAABAAAAAQcQXBsb3Jpcy5CYXNlLlVJLlZpc3VhbE9iamVjdAMAAAAJNwQAAAk2BAAACgoBTwUAACMAAAAKCgAAAAAAQEEJdgAAAAl3AAAACRkGAAAAAAkaBgAAAVAFAAB4AAAACgoBAAAARXXUAP////8AAQFVBQAArQAAAAkbBgAAAQAAAAMAAAABVgUAAHUAAAAJHAYAAAoBWQUAAHAAAAAKCgAAAEA/CR0GAAAJHgYAAAEAAAD+////AAAAAAEAAAAAAAAAAAAAAAEAAAAAAAAAAAAAAVoFAABxAAAACgoJHwYAAAkgBgAAAQAAAP7///8AAAAA/////wAAAV4FAAB1AAAACSEGAAAKB2UFAAAAAQAAAAQAAAAEHEFwbG9yaXMuQmFzZS5VSS5WaXN1YWxPYmplY3QDAAAACT4EAAAJPQQAAAoKAWwFAAAjAAAACgoAAAAAAEBBCXYAAAAJdwAAAAkiBgAAAAAJIwYAAAFtBQAAeAAAAAoKAQAAAMHQ7QD/////AAEBcgUAAK0AAAAJJAYAAAEAAAADAAAAAXMFAAB1AAAACSUGAAAKAXYFAABwAAAACgoAAABAPwkmBgAACScGAAABAAAA/v///wAAAAABAAAAAAAAAAAAAAABAAAAAAAAAAAAAAF3BQAAcQAAAAoKCSgGAAAJKQYAAAEAAAD+////AAAAAP////8AAAF7BQAAdQAAAAkqBgAACgeCBQAAAAEAAAAEAAAABBxBcGxvcmlzLkJhc2UuVUkuVmlzdWFsT2JqZWN0AwAAAAlFBAAACUQEAAAKCgGJBQAAIwAAAAoKAAAAAABAQQl2AAAACXcAAAAJKwYAAAAACSwGAAABigUAAHgAAAAKCgEAAADB0O0A/////wABAY8FAACtAAAACS0GAAABAAAAAwAAAAGQBQAAdQAAAAkuBgAACgGTBQAAcAAAAAoKAAAAQD8JLwYAAAkwBgAAAQAAAP7///8AAAAAAQAAAAAAAAAAAAAAAQAAAAAAAAAAAAABlAUAAHEAAAAKCgkxBgAACTIGAAABAAAA/v///wAAAAD/////AAABmAUAAHUAAAAJMwYAAAoHnwUAAAABAAAABAAAAAQcQXBsb3Jpcy5CYXNlLlVJLlZpc3VhbE9iamVjdAMAAAAJTAQAAAlLBAAACgoBpgUAACMAAAAKCgAAAAAAQEEJdgAAAAl3AAAACTQGAAAAAAk1BgAAAacFAAB4AAAACgoBAAAAwdDtAP////8AAQGsBQAArQAAAAk2BgAAAQAAAAMAAAABrQUAAHUAAAAJNwYAAAoBsAUAAHAAAAAKCgAAAEA/CTgGAAAJOQYAAAEAAAD+////AAAAAAEAAAAAAAAAAAAAAAEAAAAAAAAAAAAAAbEFAABxAAAACgoJOgYAAAk7BgAAAQAAAP7///8AAAAA/////wAAAbUFAAB1AAAACTwGAAAKB7wFAAAAAQAAAAQAAAAEHEFwbG9yaXMuQmFzZS5VSS5WaXN1YWxPYmplY3QDAAAACVMEAAAJUgQAAAoKAcMFAAAjAAAACgoAAAAAAEBBCXYAAAAJdwAAAAk9BgAAAAAJPgYAAAHEBQAAeAAAAAoKAQAAAMHQ7QD/////AAEByQUAAK0AAAAJPwYAAAEAAAADAAAAAcoFAAB1AAAACUAGAAAKAc0FAABwAAAACgoAAABAPwlBBgAACUIGAAABAAAA/v///wAAAAABAAAAAAAAAAAAAAABAAAAAAAAAAAAAAHOBQAAcQAAAAoKCUMGAAAJRAYAAAEAAAD+////AAAAAP////8AAAHSBQAAdQAAAAlFBgAACgfZBQAAAAEAAAAEAAAABBxBcGxvcmlzLkJhc2UuVUkuVmlzdWFsT2JqZWN0AwAAAAlaBAAACVkEAAAKCgHaBQAAeAAAAAoKAAAAAP///wAOAAAAAAAB2wUAAHgAAAAKCgAAAAD///8ADgAAAAABB9wFAAAAAQAAAAQAAAAEHUFwbG9yaXMuQmFzZS5PYmplY3RzLlZhcmlhYmxlAwAAAAFGBgAAkQMAAAEAAAAAAAAAAUcGAACRAwAAAAAAAAAAAAABSAYAAJEDAAAAAAAAAAAAAAFJBgAAkQMAAAAAAAAAAAAAD90FAAABAAAACDUDAAAF3gUAABpBcGxvcmlzLkJhc2UuT2JqZWN0cy5Db2xvcgcAAAASRGF0YU9iamVjdCttUGFyZW50FURhdGFPYmplY3QrbUNvbnRhaW5lcgVtVHlwZQRtUkdCEG1UaGVtZUNvbG9ySW5kZXgMbUF1dG9VcGRhdGVkCW1Nb2RpZmllZAQCAAAAAAAfQXBsb3Jpcy5CYXNlLk9iamVjdHMuTGluZUZvcm1hdAMAAAAICAgBAQMAAAAJjAQAAAoAAAAA////AA4AAAAAAAXfBQAAGkFwbG9yaXMuQmFzZS5PYmplY3RzLkNvbG9yBwAAABJEYXRhT2JqZWN0K21QYXJlbnQVRGF0YU9iamVjdCttQ29udGFpbmVyBW1UeXBlBG1SR0IQbVRoZW1lQ29sb3JJbmRleAxtQXV0b1VwZGF0ZWQJbU1vZGlmaWVkBAIAAAAAAB9BcGxvcmlzLkJhc2UuT2JqZWN0cy5MaW5lRm9ybWF0AwAAAAgICAEBAwAAAAmMBAAACgEAAAAAAAAA/////wABAeAFAAB4AAAACgoBAAAABSluAP////8AAAHhBQAAeAAAAAoKAQAAAP///wD/////AAAP4gUAAAEAAAAIJAMAAAHjBQAAeAAAAAoKAAAAAP///wAOAAAAAAAB5AUAAHgAAAAKCgAAAAD///8ADgAAAAABB+UFAAAAAQAAAAQAAAAEHUFwbG9yaXMuQmFzZS5PYmplY3RzLlZhcmlhYmxlAwAAAAFKBgAAkQMAAAEAAAAAAAAAAUsGAACRAwAAAAAAAAAAAAABTAYAAJEDAAAAAAAAAAAAAAFNBgAAkQMAAAAAAAAAAAAAD+YFAAABAAAACGoCAAAF5wUAABpBcGxvcmlzLkJhc2UuT2JqZWN0cy5Db2xvcgcAAAASRGF0YU9iamVjdCttUGFyZW50FURhdGFPYmplY3QrbUNvbnRhaW5lcgVtVHlwZQRtUkdCEG1UaGVtZUNvbG9ySW5kZXgMbUF1dG9VcGRhdGVkCW1Nb2RpZmllZAQCAAAAAAAfQXBsb3Jpcy5CYXNlLk9iamVjdHMuTGluZUZvcm1hdAMAAAAICAgBAQMAAAAJqgQAAAoAAAAA////AA4AAAAAAAXoBQAAGkFwbG9yaXMuQmFzZS5PYmplY3RzLkNvbG9yBwAAABJEYXRhT2JqZWN0K21QYXJlbnQVRGF0YU9iamVjdCttQ29udGFpbmVyBW1UeXBlBG1SR0IQbVRoZW1lQ29sb3JJbmRleAxtQXV0b1VwZGF0ZWQJbU1vZGlmaWVkBAIAAAAAAB9BcGxvcmlzLkJhc2UuT2JqZWN0cy5MaW5lRm9ybWF0AwAAAAgICAEBAwAAAAmqBAAACgEAAAAAAAAA/////wABAekFAAB4AAAACgoBAAAABSluAP////8AAAHqBQAAeAAAAAoKAQAAAP///wD/////AAAP6wUAAAEAAAAIWgIAAAHsBQAAeAAAAAoKAAAAAP///wAOAAAAAAAB7QUAAHgAAAAKCgAAAAD///8ADgAAAAABB+4FAAAAAQAAAAQAAAAEHUFwbG9yaXMuQmFzZS5PYmplY3RzLlZhcmlhYmxlAwAAAAFOBgAAkQMAAAEAAAAAAAAAAU8GAACRAwAAAAAAAAAAAAABUAYAAJEDAAAAAAAAAAAAAAFRBgAAkQMAAAAAAAAAAAAAD+8FAAABAAAACHACAAAF8AUAABpBcGxvcmlzLkJhc2UuT2JqZWN0cy5Db2xvcgcAAAASRGF0YU9iamVjdCttUGFyZW50FURhdGFPYmplY3QrbUNvbnRhaW5lcgVtVHlwZQRtUkdCEG1UaGVtZUNvbG9ySW5kZXgMbUF1dG9VcGRhdGVkCW1Nb2RpZmllZAQCAAAAAAAfQXBsb3Jpcy5CYXNlLk9iamVjdHMuTGluZUZvcm1hdAMAAAAICAgBAQMAAAAJxwQAAAoAAAAA////AA4AAAAAAAXxBQAAGkFwbG9yaXMuQmFzZS5PYmplY3RzLkNvbG9yBwAAABJEYXRhT2JqZWN0K21QYXJlbnQVRGF0YU9iamVjdCttQ29udGFpbmVyBW1UeXBlBG1SR0IQbVRoZW1lQ29sb3JJbmRleAxtQXV0b1VwZGF0ZWQJbU1vZGlmaWVkBAIAAAAAAB9BcGxvcmlzLkJhc2UuT2JqZWN0cy5MaW5lRm9ybWF0AwAAAAgICAEBAwAAAAnHBAAACgEAAAAAAAAA/////wABAfIFAAB4AAAACgoBAAAABSluAP////8AAAHzBQAAeAAAAAoKAQAAAP///wD/////AAAP9AUAAAEAAAAIWQIAAAH1BQAAeAAAAAoKAAAAAP///wAOAAAAAAAB9gUAAHgAAAAKCgAAAAD///8ADgAAAAABB/cFAAAAAQAAAAQAAAAEHUFwbG9yaXMuQmFzZS5PYmplY3RzLlZhcmlhYmxlAwAAAAFSBgAAkQMAAAEAAAAAAAAAAVMGAACRAwAAAAAAAAAAAAABVAYAAJEDAAAAAAAAAAAAAAFVBgAAkQMAAAAAAAAAAAAAD/gFAAABAAAACCADAAAF+QUAABpBcGxvcmlzLkJhc2UuT2JqZWN0cy5Db2xvcgcAAAASRGF0YU9iamVjdCttUGFyZW50FURhdGFPYmplY3QrbUNvbnRhaW5lcgVtVHlwZQRtUkdCEG1UaGVtZUNvbG9ySW5kZXgMbUF1dG9VcGRhdGVkCW1Nb2RpZmllZAQCAAAAAAAfQXBsb3Jpcy5CYXNlLk9iamVjdHMuTGluZUZvcm1hdAMAAAAICAgBAQMAAAAJ5AQAAAoAAAAA////AA4AAAAAAAX6BQAAGkFwbG9yaXMuQmFzZS5PYmplY3RzLkNvbG9yBwAAABJEYXRhT2JqZWN0K21QYXJlbnQVRGF0YU9iamVjdCttQ29udGFpbmVyBW1UeXBlBG1SR0IQbVRoZW1lQ29sb3JJbmRleAxtQXV0b1VwZGF0ZWQJbU1vZGlmaWVkBAIAAAAAAB9BcGxvcmlzLkJhc2UuT2JqZWN0cy5MaW5lRm9ybWF0AwAAAAgICAEBAwAAAAnkBAAACgEAAAAAAAAA/////wABAfsFAAB4AAAACgoBAAAABSluAP////8AAAH8BQAAeAAAAAoKAQAAAP///wD/////AAAP/QUAAAEAAAAIDAMAAAH+BQAAeAAAAAoKAAAAAP///wAOAAAAAAAB/wUAAHgAAAAKCgAAAAD///8ADgAAAAABBwAGAAAAAQAAAAQAAAAEHUFwbG9yaXMuQmFzZS5PYmplY3RzLlZhcmlhYmxlAwAAAAFWBgAAkQMAAAEAAAAAAAAAAVcGAACRAwAAAAAAAAAAAAABWAYAAJEDAAAAAAAAAAAAAAFZBgAAkQMAAAAAAAAAAAAADwEGAAABAAAACDMDAAAFAgYAABpBcGxvcmlzLkJhc2UuT2JqZWN0cy5Db2xvcgcAAAASRGF0YU9iamVjdCttUGFyZW50FURhdGFPYmplY3QrbUNvbnRhaW5lcgVtVHlwZQRtUkdCEG1UaGVtZUNvbG9ySW5kZXgMbUF1dG9VcGRhdGVkCW1Nb2RpZmllZAQCAAAAAAAfQXBsb3Jpcy5CYXNlLk9iamVjdHMuTGluZUZvcm1hdAMAAAAICAgBAQMAAAAJAQUAAAoAAAAA////AA4AAAAAAAUDBgAAGkFwbG9yaXMuQmFzZS5PYmplY3RzLkNvbG9yBwAAABJEYXRhT2JqZWN0K21QYXJlbnQVRGF0YU9iamVjdCttQ29udGFpbmVyBW1UeXBlBG1SR0IQbVRoZW1lQ29sb3JJbmRleAxtQXV0b1VwZGF0ZWQJbU1vZGlmaWVkBAIAAAAAAB9BcGxvcmlzLkJhc2UuT2JqZWN0cy5MaW5lRm9ybWF0AwAAAAgICAEBAwAAAAkBBQAACgEAAAAAAAAA/////wABAQQGAAB4AAAACgoBAAAARXXUAP////8AAAEFBgAAeAAAAAoKAQAAAP///wD/////AAAPBgYAAAEAAAAIIwMAAAEHBgAAeAAAAAoKAAAAAP///wAOAAAAAAABCAYAAHgAAAAKCgAAAAD///8ADgAAAAABBwkGAAAAAQAAAAQAAAAEHUFwbG9yaXMuQmFzZS5PYmplY3RzLlZhcmlhYmxlAwAAAAFaBgAAkQMAAAEAAAAAAAAAAVsGAACRAwAAAAAAAAAAAAABXAYAAJEDAAAAAAAAAAAAAAFdBgAAkQMAAAAAAAAAAAAADwoGAAABAAAACDICAAAFCwYAABpBcGxvcmlzLkJhc2UuT2JqZWN0cy5Db2xvcgcAAAASRGF0YU9iamVjdCttUGFyZW50FURhdGFPYmplY3QrbUNvbnRhaW5lcgVtVHlwZQRtUkdCEG1UaGVtZUNvbG9ySW5kZXgMbUF1dG9VcGRhdGVkCW1Nb2RpZmllZAQCAAAAAAAfQXBsb3Jpcy5CYXNlLk9iamVjdHMuTGluZUZvcm1hdAMAAAAICAgBAQMAAAAJHwUAAAoAAAAA////AA4AAAAAAAUMBgAAGkFwbG9yaXMuQmFzZS5PYmplY3RzLkNvbG9yBwAAABJEYXRhT2JqZWN0K21QYXJlbnQVRGF0YU9iamVjdCttQ29udGFpbmVyBW1UeXBlBG1SR0IQbVRoZW1lQ29sb3JJbmRleAxtQXV0b1VwZGF0ZWQJbU1vZGlmaWVkBAIAAAAAAB9BcGxvcmlzLkJhc2UuT2JqZWN0cy5MaW5lRm9ybWF0AwAAAAgICAEBAwAAAAkfBQAACgEAAAAAAAAA/////wABAQ0GAAB4AAAACgoBAAAARXXUAP////8AAAEOBgAAeAAAAAoKAQAAAP///wD/////AAAPDwYAAAEAAAAIBAIAAAEQBgAAeAAAAAoKAAAAAP///wAOAAAAAAABEQYAAHgAAAAKCgAAAAD///8ADgAAAAABBxIGAAAAAQAAAAQAAAAEHUFwbG9yaXMuQmFzZS5PYmplY3RzLlZhcmlhYmxlAwAAAAFeBgAAkQMAAAEAAAAAAAAAAV8GAACRAwAAAAAAAAAAAAABYAYAAJEDAAAAAAAAAAAAAAFhBgAAkQMAAAAAAAAAAAAADxMGAAABAAAACDYCAAAFFAYAABpBcGxvcmlzLkJhc2UuT2JqZWN0cy5Db2xvcgcAAAASRGF0YU9iamVjdCttUGFyZW50FURhdGFPYmplY3QrbUNvbnRhaW5lcgVtVHlwZQRtUkdCEG1UaGVtZUNvbG9ySW5kZXgMbUF1dG9VcGRhdGVkCW1Nb2RpZmllZAQCAAAAAAAfQXBsb3Jpcy5CYXNlLk9iamVjdHMuTGluZUZvcm1hdAMAAAAICAgBAQMAAAAJPAUAAAoAAAAA////AA4AAAAAAAUVBgAAGkFwbG9yaXMuQmFzZS5PYmplY3RzLkNvbG9yBwAAABJEYXRhT2JqZWN0K21QYXJlbnQVRGF0YU9iamVjdCttQ29udGFpbmVyBW1UeXBlBG1SR0IQbVRoZW1lQ29sb3JJbmRleAxtQXV0b1VwZGF0ZWQJbU1vZGlmaWVkBAIAAAAAAB9BcGxvcmlzLkJhc2UuT2JqZWN0cy5MaW5lRm9ybWF0AwAAAAgICAEBAwAAAAk8BQAACgEAAAAAAAAA/////wABARYGAAB4AAAACgoBAAAARXXUAP////8AAAEXBgAAeAAAAAoKAQAAAP///wD/////AAAPGAYAAAEAAAAIBwIAAAEZBgAAeAAAAAoKAAAAAP///wAOAAAAAAABGgYAAHgAAAAKCgAAAAD///8ADgAAAAABBxsGAAAAAQAAAAQAAAAEHUFwbG9yaXMuQmFzZS5PYmplY3RzLlZhcmlhYmxlAwAAAAFiBgAAkQMAAAEAAAAAAAAAAWMGAACRAwAAAAAAAAAAAAABZAYAAJEDAAAAAAAAAAAAAAFlBgAAkQMAAAAAAAAAAAAADxwGAAABAAAACCIDAAAFHQYAABpBcGxvcmlzLkJhc2UuT2JqZWN0cy5Db2xvcgcAAAASRGF0YU9iamVjdCttUGFyZW50FURhdGFPYmplY3QrbUNvbnRhaW5lcgVtVHlwZQRtUkdCEG1UaGVtZUNvbG9ySW5kZXgMbUF1dG9VcGRhdGVkCW1Nb2RpZmllZAQCAAAAAAAfQXBsb3Jpcy5CYXNlLk9iamVjdHMuTGluZUZvcm1hdAMAAAAICAgBAQMAAAAJWQUAAAoAAAAA////AA4AAAAAAAUeBgAAGkFwbG9yaXMuQmFzZS5PYmplY3RzLkNvbG9yBwAAABJEYXRhT2JqZWN0K21QYXJlbnQVRGF0YU9iamVjdCttQ29udGFpbmVyBW1UeXBlBG1SR0IQbVRoZW1lQ29sb3JJbmRleAxtQXV0b1VwZGF0ZWQJbU1vZGlmaWVkBAIAAAAAAB9BcGxvcmlzLkJhc2UuT2JqZWN0cy5MaW5lRm9ybWF0AwAAAAgICAEBAwAAAAlZBQAACgEAAAAAAAAA/////wABAR8GAAB4AAAACgoBAAAARXXUAP////8AAAEgBgAAeAAAAAoKAQAAAP///wD/////AAAPIQYAAAEAAAAICQMAAAEiBgAAeAAAAAoKAAAAAAAAAAANAAAAAAABIwYAAHgAAAAKCgAAAAAAAAAADQAAAAABByQGAAAAAQAAAAQAAAAEHUFwbG9yaXMuQmFzZS5PYmplY3RzLlZhcmlhYmxlAwAAAAFmBgAAkQMAAAEAAAAAAAAAAWcGAACRAwAAAAAAAAAAAAABaAYAAJEDAAAAAAAAAAAAAAFpBgAAkQMAAAAAAAAAAAAADyUGAAABAAAACDQDAAAFJgYAABpBcGxvcmlzLkJhc2UuT2JqZWN0cy5Db2xvcgcAAAASRGF0YU9iamVjdCttUGFyZW50FURhdGFPYmplY3QrbUNvbnRhaW5lcgVtVHlwZQRtUkdCEG1UaGVtZUNvbG9ySW5kZXgMbUF1dG9VcGRhdGVkCW1Nb2RpZmllZAQCAAAAAAAfQXBsb3Jpcy5CYXNlLk9iamVjdHMuTGluZUZvcm1hdAMAAAAICAgBAQMAAAAJdgUAAAoAAAAA////AA4AAAAAAAUnBgAAGkFwbG9yaXMuQmFzZS5PYmplY3RzLkNvbG9yBwAAABJEYXRhT2JqZWN0K21QYXJlbnQVRGF0YU9iamVjdCttQ29udGFpbmVyBW1UeXBlBG1SR0IQbVRoZW1lQ29sb3JJbmRleAxtQXV0b1VwZGF0ZWQJbU1vZGlmaWVkBAIAAAAAAB9BcGxvcmlzLkJhc2UuT2JqZWN0cy5MaW5lRm9ybWF0AwAAAAgICAEBAwAAAAl2BQAACgEAAAAAAAAA/////wABASgGAAB4AAAACgoBAAAAwdDtAP////8AAAEpBgAAeAAAAAoKAQAAAP///wD/////AAAPKgYAAAEAAAAIJQMAAAErBgAAeAAAAAoKAAAAAAAAAAANAAAAAAABLAYAAHgAAAAKCgAAAAAAAAAADQAAAAABBy0GAAAAAQAAAAQAAAAEHUFwbG9yaXMuQmFzZS5PYmplY3RzLlZhcmlhYmxlAwAAAAFqBgAAkQMAAAEAAAAAAAAAAWsGAACRAwAAAAAAAAAAAAABbAYAAJEDAAAAAAAAAAAAAAFtBgAAkQMAAAAAAAAAAAAADy4GAAABAAAACEkCAAAFLwYAABpBcGxvcmlzLkJhc2UuT2JqZWN0cy5Db2xvcgcAAAASRGF0YU9iamVjdCttUGFyZW50FURhdGFPYmplY3QrbUNvbnRhaW5lcgVtVHlwZQRtUkdCEG1UaGVtZUNvbG9ySW5kZXgMbUF1dG9VcGRhdGVkCW1Nb2RpZmllZAQCAAAAAAAfQXBsb3Jpcy5CYXNlLk9iamVjdHMuTGluZUZvcm1hdAMAAAAICAgBAQMAAAAJkwUAAAoAAAAA////AA4AAAAAAAUwBgAAGkFwbG9yaXMuQmFzZS5PYmplY3RzLkNvbG9yBwAAABJEYXRhT2JqZWN0K21QYXJlbnQVRGF0YU9iamVjdCttQ29udGFpbmVyBW1UeXBlBG1SR0IQbVRoZW1lQ29sb3JJbmRleAxtQXV0b1VwZGF0ZWQJbU1vZGlmaWVkBAIAAAAAAB9BcGxvcmlzLkJhc2UuT2JqZWN0cy5MaW5lRm9ybWF0AwAAAAgICAEBAwAAAAmTBQAACgEAAAAAAAAA/////wABATEGAAB4AAAACgoBAAAAwdDtAP////8AAAEyBgAAeAAAAAoKAQAAAP///wD/////AAAPMwYAAAEAAAAIFgIAAAE0BgAAeAAAAAoKAAAAAAAAAAANAAAAAAABNQYAAHgAAAAKCgAAAAAAAAAADQAAAAABBzYGAAAAAQAAAAQAAAAEHUFwbG9yaXMuQmFzZS5PYmplY3RzLlZhcmlhYmxlAwAAAAFuBgAAkQMAAAEAAAAAAAAAAW8GAACRAwAAAAAAAAAAAAABcAYAAJEDAAAAAAAAAAAAAAFxBgAAkQMAAAAAAAAAAAAADzcGAAABAAAACNsCAAAFOAYAABpBcGxvcmlzLkJhc2UuT2JqZWN0cy5Db2xvcgcAAAASRGF0YU9iamVjdCttUGFyZW50FURhdGFPYmplY3QrbUNvbnRhaW5lcgVtVHlwZQRtUkdCEG1UaGVtZUNvbG9ySW5kZXgMbUF1dG9VcGRhdGVkCW1Nb2RpZmllZAQCAAAAAAAfQXBsb3Jpcy5CYXNlLk9iamVjdHMuTGluZUZvcm1hdAMAAAAICAgBAQMAAAAJsAUAAAoAAAAA////AA4AAAAAAAU5BgAAGkFwbG9yaXMuQmFzZS5PYmplY3RzLkNvbG9yBwAAABJEYXRhT2JqZWN0K21QYXJlbnQVRGF0YU9iamVjdCttQ29udGFpbmVyBW1UeXBlBG1SR0IQbVRoZW1lQ29sb3JJbmRleAxtQXV0b1VwZGF0ZWQJbU1vZGlmaWVkBAIAAAAAAB9BcGxvcmlzLkJhc2UuT2JqZWN0cy5MaW5lRm9ybWF0AwAAAAgICAEBAwAAAAmwBQAACgEAAAAAAAAA/////wABAToGAAB4AAAACgoBAAAAwdDtAP////8AAAE7BgAAeAAAAAoKAQAAAP///wD/////AAAPPAYAAAEAAAAIzQIAAAE9BgAAeAAAAAoKAAAAAAAAAAANAAAAAAABPgYAAHgAAAAKCgAAAAAAAAAADQAAAAABBz8GAAAAAQAAAAQAAAAEHUFwbG9yaXMuQmFzZS5PYmplY3RzLlZhcmlhYmxlAwAAAAFyBgAAkQMAAAEAAAAAAAAAAXMGAACRAwAAAAAAAAAAAAABdAYAAJEDAAAAAAAAAAAAAAF1BgAAkQMAAAAAAAAAAAAAD0AGAAABAAAACB8DAAAFQQYAABpBcGxvcmlzLkJhc2UuT2JqZWN0cy5Db2xvcgcAAAASRGF0YU9iamVjdCttUGFyZW50FURhdGFPYmplY3QrbUNvbnRhaW5lcgVtVHlwZQRtUkdCEG1UaGVtZUNvbG9ySW5kZXgMbUF1dG9VcGRhdGVkCW1Nb2RpZmllZAQCAAAAAAAfQXBsb3Jpcy5CYXNlLk9iamVjdHMuTGluZUZvcm1hdAMAAAAICAgBAQMAAAAJzQUAAAoAAAAA////AA4AAAAAAAVCBgAAGkFwbG9yaXMuQmFzZS5PYmplY3RzLkNvbG9yBwAAABJEYXRhT2JqZWN0K21QYXJlbnQVRGF0YU9iamVjdCttQ29udGFpbmVyBW1UeXBlBG1SR0IQbVRoZW1lQ29sb3JJbmRleAxtQXV0b1VwZGF0ZWQJbU1vZGlmaWVkBAIAAAAAAB9BcGxvcmlzLkJhc2UuT2JqZWN0cy5MaW5lRm9ybWF0AwAAAAgICAEBAwAAAAnNBQAACgEAAAAAAAAA/////wABAUMGAAB4AAAACgoBAAAAwdDtAP////8AAAFEBgAAeAAAAAoKAQAAAP///wD/////AAAPRQYAAAEAAAAIDgMAAAs="/>
  <p:tag name="APLORISTAG" val="MSr6OjrYBJNoFELFg.519"/>
</p:tagLst>
</file>

<file path=ppt/tags/tag778.xml><?xml version="1.0" encoding="utf-8"?>
<p:tagLst xmlns:a="http://schemas.openxmlformats.org/drawingml/2006/main" xmlns:r="http://schemas.openxmlformats.org/officeDocument/2006/relationships" xmlns:p="http://schemas.openxmlformats.org/presentationml/2006/main">
  <p:tag name="APLORISTAG" val="MSr6OjrYBJNoFELFg.602"/>
</p:tagLst>
</file>

<file path=ppt/tags/tag779.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AUUAAAAGVN5c3RlbS5EcmF3aW5nLlJlY3RhbmdsZUYEAAAAAXgBeQV3aWR0aAZoZWlnaHQAAAAACwsLCwQAAAD//3////9/////f////3//ARUAAAAUAAAA//9/////f////3////9//wAAAAAABRYAAAAsQXBsb3Jpcy5DaGFydC5BeGlzQnJlYWsrQXhpc0JyZWFrRGlzcGxheU1vZGUBAAAAB3ZhbHVlX18ACAIAAAABAAAAAQEBCgoJFwAAAAoKAAAAAAAJGAAAAAoJGQAAAAAAAAAKBRoAAAAZQXBsb3Jpcy5DaGFydC5PcmllbnRhdGlvbgEAAAAHdmFsdWVfXwAIAgAAAAEAAAAJGwAAAAEcAAAAFAAAAEGoLkJeM3lBTPsSRD8+hkMABB0AAAALU3lzdGVtLkd1aWQLAAAAAl9hAl9iAl9jAl9kAl9lAl9mAl9nAl9oAl9pAl9qAl9rAAAAAAAAAAAAAAAIBwcCAgICAgICAgAAAAAAAAAAAAAAAAAAAAAACgoJHgAAAAAKCgoBAAAAAAAAAP////8AAQEfAAAAFAAAAAAAIEEAACBBPacNRAAAkUP70CtCgBEkQ9CdIEQAAJtDBSAAAAAVU3lzdGVtLkRyYXdpbmcuUG9pbnRGAgAAAAF4AXkAAAsLBAAAAAISzEN9acZDBiEAAAAQcEFuWkd2RmVmVXhNQU9NTA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wLjAuMTQ4NiwgQ3VsdHVyZT1uZXV0cmFsLCBQdWJsaWNLZXlUb2tlbj0xNmZjMTNhMjI2YzBlOTUxXV0DAAAAmwFBcGxvcmlzLkJhc2UuT2JqZWN0cy5EYXRhT2JqZWN0Q29sbGVjdGlvbmAxW1tBcGxvcmlzLkNoYXJ0LkF4aXNCcmVhaywgQXBsb3Jpcy5DaGFydCwgVmVyc2lvbj00LjAuMC4xNDg2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AuMC4xNDg2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SYAAAAWQXBsb3Jpcy5DaGFydC5BeGlzVHlwZQEAAAAHdmFsdWVfXwAIAgAAAAEAAACamRk/AAAACgkBAAAACScAAAAJKAAAAAEAAAAAAAAAAAEAAAAAAADwPwGamZmZmZm5PwAAACBBAAEJKQAAAAoJKgAAAAkrAAAACSwAAAABLQAAACAAAABBqC5C2geOQwEuAAAAIAAAANDlHUTaB45DCS8AAAAJMAAAAAkxAAAACTIAAAAAAAAAAAAAAAAAAAAJMwAAAAAAAAAAAAk0AAAACQEAAAAJAQAAAAk1AAAAAQcAAAAGAAAACQEAAAABNgAAACYAAAAAAAAAzcxMPwAAAAgBAAkBAAAACTcAAAAJOAAAAAEAAAAAAAAAAAEAAAAAAADwPwGamZmZmZm5PwAAACBBAQEJOQAAAAoJOgAAAAk7AAAACTwAAAABPQAAACAAAABBqC5C2geOQwE+AAAAIAAAAEGoLkJeM3lBCT8AAAAJQAAAAAlBAAAACUIAAAAAAAAAAAAAAAAAAAAJQwAAAAAAAAAAAAlEAAAACQEAAAAJAQAAAAlFAAAABAgAAACoAVN5c3RlbS5Db2xsZWN0aW9ucy5HZW5lcmljLkxpc3RgMVtbQXBsb3Jpcy5DaGFydC5Db2x1bW5PcmllbnRlZENoYXJ0K1VudXNlZFNlcmllcywgQXBsb3Jpcy5DaGFydCwgVmVyc2lvbj00LjAuMC4xNDg2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AuMC4xNDg2LCBDdWx0dXJlPW5ldXRyYWwsIFB1YmxpY0tleVRva2VuPTE2ZmMxM2EyMjZjMGU5NTFdXQMAAACXAVN5c3RlbS5Db2xsZWN0aW9ucy5HZW5lcmljLkxpc3RgMVtbQXBsb3Jpcy5DaGFydC5DaGFydERhdGFTZXJpZXM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RwAAAAlIAAAACQEAAAAJAQAAAAlJAAAABQoAAACmAUFwbG9yaXMuQmFzZS5PYmplY3RzLkRhdGFPYmplY3RDb2xsZWN0aW9uYDFbW0FwbG9yaXMuQ2hhcnQuQW5ub3RhdGlvbk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C4wLjE0ODYsIEN1bHR1cmU9bmV1dHJhbCwgUHVibGljS2V5VG9rZW49MTZmYzEzYTIyNmMwZTk1MV1dAwAAAJwBU3lzdGVtLkNvbGxlY3Rpb25zLkdlbmVyaWMuTGlzdGAxW1tBcGxvcmlzLkNoYXJ0LkFubm90YXRpb25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oAAAAJSwAAAAkBAAAACQEAAAAJTAAAAAULAAAAoQFBcGxvcmlzLkJhc2UuT2JqZWN0cy5EYXRhT2JqZWN0Q29sbGVjdGlvbmAxW1tBcGxvcmlzLkNoYXJ0LkFubm90YXRpb25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C4wLjE0ODYsIEN1bHR1cmU9bmV1dHJhbCwgUHVibGljS2V5VG9rZW49MTZmYzEzYTIyNmMwZTk1MV1dAwAAAJcBU3lzdGVtLkNvbGxlY3Rpb25zLkdlbmVyaWMuTGlzdGAxW1tBcGxvcmlzLkNoYXJ0LkFubm90YXRpb25Hcm91c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NAAAACU4AAAAJAQAAAAkBAAAACU8AAAAFDAAAAKABQXBsb3Jpcy5CYXNlLk9iamVjdHMuRGF0YU9iamVjdENvbGxlY3Rpb25gMVtbQXBsb3Jpcy5DaGFydC5DaGFydERhdGF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wLjAuMTQ4NiwgQ3VsdHVyZT1uZXV0cmFsLCBQdWJsaWNLZXlUb2tlbj0xNmZjMTNhMjI2YzBlOTUxXV0DAAAAlgFTeXN0ZW0uQ29sbGVjdGlvbnMuR2VuZXJpYy5MaXN0YDFbW0FwbG9yaXMuQ2hhcnQuQ2hhcnREYXRh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UAAAAAlRAAAACQEAAAAJAQAAAAlSAAAABQ0AAACaAUFwbG9yaXMuQmFzZS5PYmplY3RzLkRhdGFPYmplY3RDb2xsZWN0aW9uYDFbW0FwbG9yaXMuQ2hhcnQuRGVsdGFCYXI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C4wLjE0ODYsIEN1bHR1cmU9bmV1dHJhbCwgUHVibGljS2V5VG9rZW49MTZmYzEzYTIyNmMwZTk1MV1dAwAAAJABU3lzdGVtLkNvbGxlY3Rpb25zLkdlbmVyaWMuTGlzdGAxW1tBcGxvcmlzLkNoYXJ0LkRlbHRhQmF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MAAAAJVAAAAAkBAAAACQEAAAAJVQAAAAUOAAAAnQFBcGxvcmlzLkJhc2UuT2JqZWN0cy5EYXRhT2JqZWN0Q29sbGVjdGlvbmAxW1tBcGxvcmlzLkNoYXJ0LkRlbHRhQnJpZGdlLCBBcGxvcmlzLkNoYXJ0LCBWZXJzaW9uPTQuMC4wLjE0ODY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AuMC4xNDg2LCBDdWx0dXJlPW5ldXRyYWwsIFB1YmxpY0tleVRva2VuPTE2ZmMxM2EyMjZjMGU5NTFdXQMAAACTAVN5c3RlbS5Db2xsZWN0aW9ucy5HZW5lcmljLkxpc3RgMVtbQXBsb3Jpcy5DaGFydC5EZWx0YUJyaWRn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WAAAACVcAAAAJAQAAAAkBAAAACVgAAAAFDwAAAJ0BQXBsb3Jpcy5CYXNlLk9iamVjdHMuRGF0YU9iamVjdENvbGxlY3Rpb25gMVtbQXBsb3Jpcy5DaGFydC5Hcm93dGhBcnJvdy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wLjAuMTQ4NiwgQ3VsdHVyZT1uZXV0cmFsLCBQdWJsaWNLZXlUb2tlbj0xNmZjMTNhMjI2YzBlOTUxXV0DAAAAkwFTeXN0ZW0uQ29sbGVjdGlvbnMuR2VuZXJpYy5MaXN0YDFbW0FwbG9yaXMuQ2hhcnQuR3Jvd3RoQXJyb3c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WQAAAAlaAAAACQEAAAAJAQAAAAlbAAAABRAAAACkAUFwbG9yaXMuQmFzZS5PYmplY3RzLkRhdGFPYmplY3RDb2xsZWN0aW9uYDFbW0FwbG9yaXMuQ2hhcnQuV2F0ZXJmYWxs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wLjAuMTQ4NiwgQ3VsdHVyZT1uZXV0cmFsLCBQdWJsaWNLZXlUb2tlbj0xNmZjMTNhMjI2YzBlOTUxXV0DAAAAmgFTeXN0ZW0uQ29sbGVjdGlvbnMuR2VuZXJpYy5MaXN0YDFbW0FwbG9yaXMuQ2hhcnQuV2F0ZXJmYWxsQ29ubmVjdG9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wAAAAJXQAAAAkBAAAACQEAAAAJXgAAAAURAAAAogFBcGxvcmlzLkJhc2UuT2JqZWN0cy5EYXRhT2JqZWN0Q29sbGVjdGlvbmAxW1tBcGxvcmlzLkNoYXJ0LkVsZW1lbnRDb25uZWN0b3I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wLjAuMTQ4NiwgQ3VsdHVyZT1uZXV0cmFsLCBQdWJsaWNLZXlUb2tlbj0xNmZjMTNhMjI2YzBlOTUxXV0DAAAAmAFTeXN0ZW0uQ29sbGVjdGlvbnMuR2VuZXJpYy5MaXN0YDFbW0FwbG9yaXMuQ2hhcnQuRWxlbWVud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QAAAAgBAAAAAgAAAAMAAAAEAAAABQAAAAUb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aAAAACAAAABBqC5CXjN5QQFpAAAAIAAAANDlHUTaB45DCWoAAAAJawAAAAAAAAAKBWwAAAAUU3lzdGVtLkRyYXdpbmcuU2l6ZUYCAAAABXdpZHRoBmhlaWdodAAACwsEAAAAAAAAAAAAAAABbQAAAGwAAAAAAAAAAAAAAAAAAAABbgAAABQAAAAAAAAAAAAAAAAAAAAAAAAAFAAAAP////8BAQoJbwAAAAEACgAPHgAAAOE0AAACUEsDBBQABgAIAAAAIQBJEqz3jAEAAHg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d1OwjAUvjfxHZbemq3AhTGGwQXopZKID1DbA1vo2qan/L29ZwOMkrlJWOLNmq39/s52zobjXaGjDXjMrUlZP+mxCIy0KjfLlL3Pn+MHFmEQRgltDaRsD8jGo9ub4XzvACNCG0xZFoJ75BxlBoXAxDowtLOwvhCBbv2SOyFXYgl80Ovdc2lNABPiUHKw0XAKC7HWIXra0eODE4KzaHI4V0qlTDincykCGeXlLq/FbRpxG6POzMV2scglKCvXBVlKCD/1YkvxfxHwoLHBWY3CMXpCyMo9ZrnDu2OEV6q9zxVEM+HDiygoKN9pvrV+9WHtKmmuQ43aWR50HoTCDCAUOqnWpBC5+YN+dRh5tfQ7NlLmq4gv9DH4Jx+BPmzg1fX6UlQ0LcEx7DVgx2kPpG3KmfCg3oKnHujcwHfuFh/SFmVH4vX1/tkDJ942eaHlJKNO6fgdyBNvkz6No5m3DmlSerjcwGnilOjYERH4kEPjzPlSpDF7ueDZ0IFyjitQNdq8+m+MPgE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ABBmPgJAQAAz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zWrDMBCE74W+g9h7LdttQymRc2gp5NqmDyDktWViS0a7/fHbVyTUcSC4F9PjzqKZj5G03nx3rfjEQI13CrIkBYHO+LJxtYL33cvNAwhi7UrdeocKBiTYFNdX61dsNcdDZJueRHRxpMAy949SkrHYaUp8jy5uKh86zXEMtey12esaZZ6mKxmmHlCceYptqSBsy1sQu6GPyX97+6pqDD5789Gh4wsRkiMXRkMdamQFh/EoZkkEBXmZ4W5JBuKhjSWOEMd5Lv5+0XirA5ZvHOINTymm8hzMakkYo1vzZHXjTnWM0hxEtiTElw97soh8ghglkofN7OvI/xkm/21Gnv3B4gcAAP//AwBQSwMEFAAGAAgAAAAhAEBBgYLcAQAAFgMAAA8AAAB4bC93b3JrYm9vay54bWyMUslu2zAQvRfoPxC826QoyQkMS4HrBTXQBkGR5cxQtEWEi0BSlYKi/56RVLdOe+lpOAtn5r15q5veaPRd+qCcLXAypxhJK1yl7KnAD/f72TVGIXJbce2sLPCrDPim/Phh1Tn/8uzcC4IGNhS4jrFZEhJELQ0Pc9dIC5mj84ZHcP2JhMZLXoVaymg0YZQuiOHK4qnD0v9PD3c8KiG3TrRG2jg18VLzCOuHWjUBl6uj0vJxQoR409xyA3v3GiPNQ9xVKsqqwDm4rpPvAr5tPrVKQ5YtKM0wKX+jvPOIt9FtnAEQIdwpEVt4FJgOVQMPj0p24c+HwUX9k7KV6wqcXlEg9vXsMsrA7cbkk6piDROTZCiZYp+lOtURzsHSbBxALiaMBMKk0SI7ols32nkVtjxyONfA8AFQJBj5pYKHP1TJsOfll2+8Q3/Vpxf1bKgn51mCawEUDGZsnFFKofvgf3UV0DuQc+vu+bOWEHZWtN7DgTZQ8Isj2ccvIZYrsKj1qsA/rnKW7vJtOmP5Pp2t8x2dJYuUzRbZnuXZhrEsZz/P6jD9P/IwSngX3DHOhTNkUgYoShDZCzkK7HoSWLky/XLtRX3Yor3mJzjbBA92AZDnzchZ0uUbAAAA//8DAFBLAwQUAAYACAAAACEAKBtn0uQIAACogwAADQAAAHhsL3N0eWxlcy54bWzsXetvm0gQ/37S/Q+I6j4mPAw2RLarS1LfVepVlZKT7ivGaxuVhwW4dXq6//1mdsEY4oDxbh6qth9SHjOzs7957MKuh/H7XRQq30iaBUk8UY1LXVVI7CeLIF5N1L/vZxeOqmS5Fy+8MInJRH0gmfp++usv4yx/CMndmpBcARFxNlHXeb650rTMX5PIyy6TDYnhzjJJIy+H03SlZZuUeIsMmaJQM3V9qEVeEKtMwlXknyIk8tKv282Fn0QbLw/mQRjkD1SWqkT+1cdVnKTePARVd4bl+aVsevJIfBT4aZIly/wSxGnJchn45LGWruZqIGk6jrfRLMozxU+2cT5RB/tLCrvzcQEQDi1VYZ2+SRaghn6p/6ZqJXON0q5Tvnv3Tn+CcviYshCrFUpNx8skrnRzoePY/6uvcfI9nuEt0A0URqrpOPuhfPNCuGJgg34SJqmSg91AX3ol9iLCKG68MJinAZItvSgIH9hlEy9QUxd0UQDA40WNtcD+zpGqaMvFu6ypIF6QHQG0nEZr9946iTwkfNRYTW4p87n13x7of6wtZi9BYHU11sCKzzJ7BKklmVnS1XyizmY6/YdGqNzgjyAMlTsvzvBypykOBM1mpwoKnsD6LGH77lHQat1jHezWivYyA0+Eru9j3sQQggvTMWSfnKTxDIEpju8fNhBAMSRKhhKl66Bepd6DYdoHDBptcDqeJ+kCEnOZbTB42aXpOCTLHNBKg9Ua/8+TDfydJ3kOWWw6XgTeKom9EA61kqM4gO74JAzvMHn/s6xk25jLdsuD7AQDAYYwpjQ8hK4Uh0wiO4EWakyQdUom80kmxdtswocZCKei2RnIr86uac+r89/DYBVH5JDhS5rkxM/pqEWDsKbHgfJP69FUXjLB4FbauzD9WegNOkz/eRvNSTqjE4PKyBhI1ZlIF8AB+bj/Mld8aX0kPpBSWqJP4iPx4Un50n+k/0j/eb7xVMaXjC8ZXzK+4IGJPrzJ+bN8vmibz8vnr/bxQuIj8eEZT6X/SP+R/vN88zEZXzK+ZHzJ+Hqt5x2Zf2T+kflH5h+Zf9h+BPn+uT0fSnwkPjzjhfQf6T/Sf55vvnHWpirJxLMlTaIn0St2shZAyEFODnI8g5zMKDwZRUafjD6e6JP+I/1H+s/zPaLI+JLxJeNLxtdrLTnI/CPzj8w/Mv/I/MOWPOUWkPZ8KPGR+PCMF9J/pP9I/3m++YaMLxlfMr5kfL3WfP6t5Z83snqoHRaDYqWhDqtCOWcVhVJ2y+PVocD4ZXUoPHyiJE/JXZSJolWBaBGvpyo89ZbFJB+kIyyt5ZU1ppR1kgY/YHET6+P5UHSKsLJ2u2Wj2FVR6a+rRlYBh3H0x9LlVVYNa39WdPonVlT5nnqbe7KDGmDUuNojeHm8pQM4oW2XRqv/Cr68KsqwvfDCapGnRRe4ORqgHmvsrKzAVd49KV6wMJ368rqerhvWxGtztdGrQVekmpcHj8PQUDg2D3xMlFCC8BXsfpbqJwNtDGmBVpbgT46p/nmAqxeVCU4eq7BXremhDPk32pUDq0B14vauwChypEZJ2cG27PwiVqF1fZmDdVvF/qk6U9rgjTpZP8vAfP5NuRmd2MNU/qDca6PY637mr2CRXyj7m4Rh8p0slD+hiG0aBvFXqCBNJ/IGuN18G4R5EOO8Hmq8roPFgmC5cKz60kMQoCRGEDzOiREEVhYjCBKREEGmKLBNUWCbosA2RYFtigJ7IArsgSiwB6LAHogCeyAKbEsU2JYosC1RYFuiwLZEgY1TBSH5yBYFti0KbFsU2LYosIeiwB6KAhu/QSHE/ENRYA9FgT0SBfZIFNgjUWC7sOtNiNVceJYQIsjQRalk6OJ0gnc0gnoHc1kxkuDbIKIkCUPcEIa4IQxxQxjipjDETWGIw2c8BHmBKQxxUxjiA2GID4QhPhCG+EAY4gNhiFvCELeEIW4JQ9wShrjVD/FHbzjq7DBTaX3B8Yi9kfz789eN05+/bpL+/HVD9OfnxK+Rynu330jg/fk58Wsk6/7tc+LXSMy922+k4/78nPg1Um//9jnxa6TZ3u03kmt/fk78Gom0f/uc+Nn1Yap3+/DxscNpU39+Tvxszvxnc+I35MRvyIkfLnMePAb1xn/Iid+QE78RJ34jTvzc+puE3vi59RcIvfkNnVMBQ+fWoP6e6IwuAAuPDxqNVar+Ghi8IBq8IBq8IBq8IDZWn/qD2Fh1OkMAL4iNVaYzNOAFsbGq1F+DxmrSGQJ4QWysHp2hAS+IjdWi/ho0VonOEMALYmNV6AwN+oH4GT+oGZar9vXX5PR7i82V+i8kxT1DJUd9FKVfpG1y0I9+G5Y1cgaGaRoWeirbJHASOQ60jJx9dLj8Em2xBaEpHcdFRm4d22jQIB9i+mTkw1PI0ccZuXMK+WhPPjiBfIQvOpn0URu54zq261g6vjksyFuRLOhNfOQt6Fs7W9LjFL2gP0Uf06n0aUWnkG/hwmUhn33m+wnTlvSjPb1z1DVL2xb0tl7RH9100qTHR0qmj9PqaiB/BGA6uKrE6N0uPCm9s3dNtwsfpHf1vXwDDo/smjnoAGXAl/eFQl0Go/Q46BT0XQag9Pgaj9EbeheiI9uw6V5IxuC0BgAiivRg16IBpxNRpMc1q0J+ZweA3sT5XkHfmh0KfcwqwpxOQFE+DkBMvttpMKS3K/27IhjxMSuPczo9COmriHRb7QWuNnQd18YFV6a/AZsBWjyuZAA19gyntDDU9ykO1MMWql+TwL6zxa76vDhtP/fmIbnDD4/vd6IBxAuy9LZhfr+/OVGr47/IIthGMMYUVF+Cb0lORUzU6vgTfgUdkj9oAL8n+JTl9H9lmwYT9d8P1yP39sPMvHD0a+fCGhD7wrWvby9s6+b69nbm6qZ+8x90PArj7GpnWBN1neebK03L/DWJvOwyCvw0yZJlfunDx9WT5TLwiZZtUuItsjUheRRqpq67mqtFXhDjD2YM6yoLgSotOlsof1ddm6gHJ0x9ih+oDyiWndBoTrjDRqb/Aw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F9bkJwEEAABzDAAAGAAAAHhsL3dvcmtzaGVldHMvc2hlZXQyLnhtbIxXTY/bNhC9F+h/EHRqD7Y+LEu2YTtYWVISIIsumiY50xJlCyuJrsjd9aLof++QlB1xlDp7saX3hsN5M0N6vH53bmrrmXa8Yu3G9qaubdE2Z0XVHjb2l7+yycK2uCBtQWrW0o39Srn9bvvrL+sX1j3yI6XCAg8t39hHIU4rx+H5kTaET9mJtsCUrGuIgNfu4PBTR0mhFjW147tu6DSkam3tYdW9xQcryyqnCcufGtoK7aSjNREQPz9WJ37x1uRvcdeQ7vHpNMlZcwIX+6quxKtyaltNvvp4aFlH9jXoPnsByS++1cvIfVPlHeOsFFNw5+hAx5qXztIBT9t1UYECmXaro+XGvvNW7z3XdrZrlaCvFX3hg2dL5nvP2KMkPhYb2wUXnNY0l8otAl/PdEfremN/CKFkfyun8AgOnavH4fPFe6Yq9NBZe8LpjtXfqkIcoRWgEwpakqda/MlePtDqcBSABpADmYpV8ZpQnkMNZCiXqBMiyHbdsRcLiulBGCciW8NbRRBtLsE7iW7sSC5RQKwBaDPwxMHseest1s4zhJr3JruLyWVNgoEUA5kGZtdt3mvAV/mAAK9R+j+MUqJGlBpYDqKcoyDHFqFpkYwtItMiHVu4pkWmLQa6NDDWNTN0WbJ4/uJaBcnqGl+zjpIe9yaQt6vJ0gxm93OT5OcmqTYZphbtk2mLgWgNjEVDd/6g5SSKxKK0xr2Jr/rP9zwk1KDnc1S2xKD9CDlPezoA56VK5pF0tLD1uU+DVQraeaWO9Ocv97/FwSoJfl87pToL7gwVJtPuBtnQwDgbcyMbuAUki7Liocjj3kanJcRZMdiFb+YsMVgPnYW0Z0c50XmAgw7XwBz3gV40UK6BsXJ5A36/epTyQIrQV5BksXKkLe5ttHLPn5nidgY9mwUmnRi0F2LxPX1LfIi3zPSigXgNjMVHN8VLFotHpYt7m148aoqdwQaITQwWi0h79pbyCOU602sGwjUwFi5HFVT1wZUnWSwcbRX3Nr1wfMMb7AI1Z2Kwc3Ro0569JdwLUR0yvWigXANj5fIC+X/lksXKUcfGvY1WjuLYGaSH2MRg0dWorjbY+5ZuH529TDscyNbAWLacUQa6L+dbwbDp9cc/7pHvLncjJBkh6QjJRogc2WRyB7HpaUtPQidyoPekO1Qtt2pawg+pO43g0ur0NKVfBDvJYK09E4I16vEIczKFacmdgnHJmLi8wMVIz+ITF+rbeurgZ+OfMHBdP5p5k7swdidz+eGHkTuJIt+Lo527DF3338vs2pzfNrg2JHfoOadqUF/oQX27bs6rh09frXtWwEwM0v9o6QNoVM/fPudEjspqHIS1EKP8VME6178L2/8A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PCMwqqaBAAA6AsAABgAAAB4bC93b3Jrc2hlZXRzL3NoZWV0MS54bWyUVlFv2zYQfh+w/6AJA7pisEVSEiUZtovYcrAALRo0W/tMS7QtRBI1iY6dDvvvPZK2bMZNkLxIInn67r77juSNP+yr0nngbVeIeuLiIXIdXmciL+r1xP3n7+tB7DqdZHXOSlHzifvIO/fD9NdfxjvR3ncbzqUDCHU3cTdSNiPP67INr1g3FA2vYWUl2opJGLZrr2taznL9U1V6BCHqVayoXYMwal+DIVarIuOpyLYVr6UBaXnJJMTfbYqmO6Lt81fh5S3bAddjPGchpmalx8PBRXxVkbWiEys5zETlmdAuWSZeYvGssgugnySrYu39thkAcAPklkVZyEdN13WqbHSzrkXLliUosscBy86iZJfwr48TkKbjvIDcqoJwWr6auFd4tAhcbzrWyn0t+K47+3YkW97xkmeS51BArqMKYynEvTK8gSkEiJ02UIgsk8UDn/OynLgzArX1r/YxI6OZ9uH1Tqbj0/fR4bWuptvWWbKOz0X5rcjlBrxC1eZ8xbalPE3Gw9gnyMck7Be/iN1fvFhvJPwSQMpU5kb5Y8q7DIpJhQosM1GCO3g6VaG2BOSb7Q0z443QIaUBogq4k49KAzBa8k5eFwrZdbJtJ0V1DO4AauCAsoaD987AJUO/j/ME9wKEf4CA9xGiDwTmXhkI8NeBAIkDynnCDoH4Vuz0mArqx/D7879h9ZtnEqn1TJlk03Erdg5sSkhQ1zB1ZOBRCMWRqckrNavXIIUdzD5Mg7H3oGAOFrNLC2RbzI0F5KDHwKFtkhoTiP5kQm2ThTEBsieTqDfxgETPRNXviYmj6+rESK1OXMjvCaeH0Zx1/QNn9cvDFA2hWkkUhiSJaQhlS3zbfG4AsQ/mq+m7L2znqLy+++33WeidDxdAemUg/dinQRQlcRQQDIPEhkwtyD/OQWb0T2sYvfes9YW9voje905xglGCkzBABLjEIbadLl5wGttOk6dO7fVFcnSaDEmcUBwFMfX9GPgGiwHp3VqiQXm8IJpatUU7wRjRjAWmB9FCn1IUg1sMTsM4PJWKNp8fzC9Fmz8rWojDiEApoAAyqAY9EQ2ZWpCWKHNblPkbRAv9yA+pTzAUCYrBte108YJTW5T5q0VDwzCEWiEhjX1EEYY09k4tyWC7viCZWrVPjicbB24WbREd9xn4wiFFNIHNgaFqeq9GsoP5pWTps5JhaGagAn0U44jC4AlkakFakqW2ZOkbJCMRhgRGJMB+lPgYPTnr4NLWtA0P26ktWfoGyXxbs9PeNoqZO9uc9w1b80+sXRd155R8BccgGkau05obWH9L0ehZOCWXQsKleRxtoFPkcC+gIRTeSgh5HMDNonDvuNw2jmgLuLh18zdxG9HKlhXSdTYw/13AQpk2xcQNSBIkNCIJHDzQ6soiu1wA2JKvWfZ4aPucdlTkE7e9yfVlxvfyYyenY3g72xYw/4MOAJHIx4MrOkODUD0IjdAgigieRXOUUIT+P7ZlFTQQT/rjn/ZkFcs8vs+47o5j0zVOx9V+dPvxq/NJ5NBqQKvzuea3kAL9/e0OyOhPdeVCeOapg/X6Hn36AwAA//8DAFBLAwQUAAYACAAAACEAdKIHt04BAADgAgAAFAAAAHhsL3NoYXJlZFN0cmluZ3MueG1sjJJNS8NAEIbvgv9h2LNt0lasSpIiiiDYXmzxPCTTZmEzWzOTYP69G+vFpILHfXbmnY93ktVn5aClWqzn1MymsQHi3BeWD6nZbZ8ntwZEkQt0nik1HYlZZZcXiYhCyGVJTal6vI8iyUuqUKb+SBx+9r6uUMOzPkRyrAkLKYm0ctE8jm+iCi0byH3Dmpr5tYGG7UdDjycwuzNZIjZLNNt6RZdEmiVRD07w4VATDeGGGq3HsU9W8Fz4GznKNcw91IlhAot4SBezgJcjvOzxLB7xnRD4PWwpL9k7f+iGet+TDuG7Lei0LGiErgCdCzuqR6OO4hQcYbAkmPSvBPY8OSf8aiurVAQd1/UtDBvceNA/R3phJRbbjrLWvqAadcR/qg2LrDuwLGq16e2BPVonoB4wLy21BMgQ9oQOsGithFMFCbH428soXGj2BQAA//8DAFBLAwQUAAYACAAAACEA6UmDQJ0CAAAPBwAAGwAAAHhsL2RyYXdpbmdzL3ZtbERyYXdpbmcxLnZtbOxVTW/bMAy991cI6iEXB/5oG7SqHaDo0Ns2YO22Y6HYSqxWH4bFOE5//SjZSZMVG4rtsMsM2KZJiuR7fIDzXiuCt3GsK+i6NcyVtdDcTbUsW+vsEqal1azTip6MifZ3iXa5lKVgw2t/pH/HEdGX4rWJxnFqgIbFseblN63uw1xfW0nnJyS3zNW8EYpv7RpIx0QPBRWVBB/1YVlp3hwFSMWBFzSlsS8QH1WY591QELaNILIq6GOf4PUIWZJRUlrbVk6+iIJm6SxJovCkBGs02NfnYNeGQ11QnUSJGjOGvKNn0othRGwIrX0W5MlK42CrsLiWINowH8GBfD2yanklhYEA1z4XFHzb0hojSvDTFrRFawR1gGIP6RCOS5PsgpLh3OkRxmGESWOdBGkN4wtn1RrENSLTvF1JM1ViCWx22cD16ADbsPTsHB0bWUHN0szbtZCrGliWoP0ylaYSPUt9mU46uZBKwpbVsqqEudbOTjctb6ahOwN/cEKWUqnSKtsW9HSJl0g9ZmRJgLYVIuZrsDsWfTIuCLOz13S/Yk8hslbZDbFm4G3hynUrcLsDX3uSfyLUWCP2WwCU1sL2ZOTHT1xJTzmSNOUKmB9m4vuRvJLdLs8fw7BcGeZpm8zzGKNhrLhjY9Hw2bNb5Tf8AeVJPi+esPRD2OsnC4NWSN6zj7YT3yXUt0IpF+B57z1q8q33xpS1bcNIJInI7DIiVxG5iEgakbMMX+hM0zzu2UEmVrtBJHdI5/yOKydCfOcJ8Hr2xW7m4aA3Rt8tykSbeeLzR9uT77/2uDA3R9hBxL8U5uzvhJmlXnwHysxedZl6e6fL9ECX2X9d/htdohQvziMvTxQkGmdBnVd/KsqgvreizN4vyhj/gvMfAAAA//8DAFBLAwQUAAYACAAAACEAM1hfDjYBAAAS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FfS8MwFMXfBb9DyXubdt2GhLYDlSHiQHBD8e2S3G3B5g9JtNu3N+tmnczHyzn3xzn3VrOdapMvdF4aXZMiy0mCmhsh9aYmq+U8vSGJD6AFtEZjTfboyay5vqq4Zdw4fHbGogsSfRJJ2jNua7INwTJKPd+iAp9Fh47i2jgFIY5uQy3wD9ggHeX5lCoMICAAPQBTOxDJCSn4gLSfru0BglNsUaEOnhZZQX+9AZ3y/y70yplTybC3sdMp7jlb8KM4uHdeDsau67Ku7GPE/AV9Wzy99FVTqQ+34kiaSnDGHUIwrqno+RAP14IPi3jjtURxu28ejYawBZ08GBcBKHVFL12R2Bdg6rSZxEzs2OBHei3v7pdz0ozyYpIWozQvl/mEjadsXL4fUvwFxGAXX2y+AQAA//8DAFBLAwQUAAYACAAAACEArU7jEg8BAAAiAgAAEAAAAHhsL2NvbW1lbnRzMS54bWy8UE1LxDAUvAv+h/DubtoeZJUmiwgrggfB9QfE5nUbyEfJyy5df71v7daDJ09CCJnJvJnhtZspeHHETC5FBfWqAoGxS9bFvYL33fZmDYKKidb4FFHBCQk2+vqq7VIIGAsJNoikYChlvJeSugGDoVUaMfJPn3IwhWHeSxozGksDYgleNlV1K4NxEXRrDmVImZaH1K38oS45L46KXkJFxl7BYw1ilj1bBRX7FJxYlPm88vXBPvQpjsYruAMGXfIpCxctTsgT6/pM5m2KZRbtzJCCOZO9Cc6fZrY5E/LbseinnA6jsEhddmPhnVErOVJynJzT5aXwr7IPzf+XfcPskP7Yduk9L3pBpL8AAAD//wMAUEsDBBQABgAIAAAAIQA/byhtjgEAACo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QW/bMAyF7wP2HwTdG7lZMQyBrKJoN/SwYsGSdmdOpmOhiiSIrJfs10+OkcbpDgN2I/menz5T0te7rRc9ZnIx1PJyVkmBwcbGhU0tH9dfLj5JQQyhAR8D1nKPJK/N+3d6mWPCzA5JlIhAteyY00Ipsh1ugWZFDkVpY94ClzZvVGxbZ/Eu2pctBlbzqvqocMcYGmwu0mugHBMXPf9vaBPtwEdP630qwEbfpOSdBS5/aR6czZFiy+IBrAscqROfdxa9VlObLpwrtC/Z8d5UWk1bvbLg8bYcYVrwhFqdBvoeYVjfElwmo3te9Gg5ZkHud1ngXIqfQDiA1bKH7CBwARxsY3OofSLO5kfMz9QhMmlVDOPwUE6909pdmfnBUIpz4xAwghThHHHt2CN9a5eQ+V/EB4aRd8S5ST5mR3fAMIV8xf0Ov8Rb8YzlzelfXXimx7SO5SM8bvd8qFcdZGzKhRz100Dfl8VmP4TcdhA22Bw9fwvDq3gan765vJpVH6pyzZOZVqdHbv4AAAD//wMAUEsDBBQABgAIAAAAIQAX7MrRzQAAAJcBAAAQAAAAeGwvY2FsY0NoYWluLnhtbGyQWw7CIBBF/03cA5l/pb4fKe1HW1egCyB0tE14NECM7l5SXw36yeHcOwNpflOSXNG61mgGs2kCBLUwdasvDE7Hw2QLxHmuay6NRgZ3dJBn41EquBRFw1tNQoN2DBrvuz2lTjSouJuaDnW4ORuruA9He6Gus8hr1yB6Jek8SdZUhQLIUkEsg2oFpGWwACLDJkBfuJj3+Auq9ct7G9UmAuVPZBcZVXhWP+vTsfwPBmPDYiEyAPGU8tnxNco4UsRGMTDo50uzBwAAAP//AwBQSwECLQAUAAYACAAAACEASRKs94wBAAB4BgAAEwAAAAAAAAAAAAAAAAAAAAAAW0NvbnRlbnRfVHlwZXNdLnhtbFBLAQItABQABgAIAAAAIQBQfE7B9gAAAEwCAAALAAAAAAAAAAAAAAAAAMUDAABfcmVscy8ucmVsc1BLAQItABQABgAIAAAAIQAAQZj4CQEAAMwDAAAaAAAAAAAAAAAAAAAAAOwGAAB4bC9fcmVscy93b3JrYm9vay54bWwucmVsc1BLAQItABQABgAIAAAAIQBAQYGC3AEAABYDAAAPAAAAAAAAAAAAAAAAADUJAAB4bC93b3JrYm9vay54bWxQSwECLQAUAAYACAAAACEAKBtn0uQIAACogwAADQAAAAAAAAAAAAAAAAA+CwAAeGwvc3R5bGVzLnhtbFBLAQItABQABgAIAAAAIQDnZXW41gAAALgBAAAjAAAAAAAAAAAAAAAAAE0UAAB4bC93b3Jrc2hlZXRzL19yZWxzL3NoZWV0MS54bWwucmVsc1BLAQItABQABgAIAAAAIQAX1uQnAQQAAHMMAAAYAAAAAAAAAAAAAAAAAGQVAAB4bC93b3Jrc2hlZXRzL3NoZWV0Mi54bWxQSwECLQAUAAYACAAAACEA+2KlbZQGAACnGwAAEwAAAAAAAAAAAAAAAACbGQAAeGwvdGhlbWUvdGhlbWUxLnhtbFBLAQItABQABgAIAAAAIQDwjMKqmgQAAOgLAAAYAAAAAAAAAAAAAAAAAGAgAAB4bC93b3Jrc2hlZXRzL3NoZWV0MS54bWxQSwECLQAUAAYACAAAACEAdKIHt04BAADgAgAAFAAAAAAAAAAAAAAAAAAwJQAAeGwvc2hhcmVkU3RyaW5ncy54bWxQSwECLQAUAAYACAAAACEA6UmDQJ0CAAAPBwAAGwAAAAAAAAAAAAAAAACwJgAAeGwvZHJhd2luZ3Mvdm1sRHJhd2luZzEudm1sUEsBAi0AFAAGAAgAAAAhADNYXw42AQAAEgIAABEAAAAAAAAAAAAAAAAAhikAAGRvY1Byb3BzL2NvcmUueG1sUEsBAi0AFAAGAAgAAAAhAK1O4xIPAQAAIgIAABAAAAAAAAAAAAAAAAAA8ysAAHhsL2NvbW1lbnRzMS54bWxQSwECLQAUAAYACAAAACEAP28obY4BAAAqAwAAEAAAAAAAAAAAAAAAAAAwLQAAZG9jUHJvcHMvYXBwLnhtbFBLAQItABQABgAIAAAAIQAX7MrRzQAAAJcBAAAQAAAAAAAAAAAAAAAAAPQvAAB4bC9jYWxjQ2hhaW4ueG1sUEsFBgAAAAAPAA8A3AMAAO8wAAAAAAUi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wAAAABUFyaWFsBnEAAAAGK21uLWVhCXIAAAABAAlzAAAAByMAAAAAAQAAABEAAAAEFFN5c3RlbS5EcmF3aW5nLkNvbG9yBAAAAAV0AAAAFFN5c3RlbS5EcmF3aW5nLkNvbG9yBAAAAAV2YWx1ZQVzdGF0ZQprbm93bkNvbG9yBG5hbWUAAAABCQcHBAAAAAAAAAAAAAAAAAAAAAoBdQAAAHQAAAAAAAD//////wIAAAAKAXYAAAB0AAAA//////////8CAAAACgF3AAAAdAAAAE5BIv//////AgAAAAoBeAAAAHQAAADe3Nv//////wIAAAAKAXkAAAB0AAAAfmk///////8CAAAACgF6AAAAdAAAAIyEcv//////AgAAAAoBewAAAHQAAAAlIe3//////wIAAAAKAXwAAAB0AAAANDtG//////8CAAAACgF9AAAAdAAAAHSYw///////AgAAAAoBfgAAAHQAAAAelPf//////wIAAAAKAX8AAAB0AAAAHpT3//////8CAAAACgGAAAAAdAAAACUh7f//////AgAAAAoBgQAAAHQAAAAAAAD//////wIAAAAKAYIAAAB0AAAA//////////8CAAAACgGDAAAAdAAAAE5BIv//////AgAAAAoBhAAAAHQAAADe3Nv//////wIAAAAKBCQAAACYAVN5c3RlbS5Db2xsZWN0aW9ucy5HZW5lcmljLkxpc3RgMVtbQXBsb3Jpcy5CYXNlLk9iamVjdHMuRGF0YU9iamVjdCwgQXBsb3Jpcy5CYXNlLCBWZXJzaW9uPTQuMC4wLjE0ODYsIEN1bHR1cmU9bmV1dHJhbCwgUHVibGljS2V5VG9rZW49MTZmYzEzYTIyNmMwZTk1MV1dAwAAAAZfaXRlbXMFX3NpemUIX3ZlcnNpb24EAAAhQXBsb3Jpcy5CYXNlLk9iamVjdHMuRGF0YU9iamVjdFtdAwAAAAgICYUAAAAMAAAAEAAAAAQlAAAAlQFTeXN0ZW0uQ29sbGVjdGlvbnMuR2VuZXJpYy5MaXN0YDFbW0FwbG9yaXMuQmFzZS5VSS5WaXN1YWxPYmplY3QsIEFwbG9yaXMuQmFzZSwgVmVyc2lvbj00LjAuMC4xNDg2LCBDdWx0dXJlPW5ldXRyYWwsIFB1YmxpY0tleVRva2VuPTE2ZmMxM2EyMjZjMGU5NTFdXQMAAAAGX2l0ZW1zBV9zaXplCF92ZXJzaW9uBAAAHkFwbG9yaXMuQmFzZS5VSS5WaXN1YWxPYmplY3RbXQMAAAAICAmGAAAAAQAAAAEAAAAFJwAAAJsBQXBsb3Jpcy5CYXNlLk9iamVjdHMuRGF0YU9iamVjdENvbGxlY3Rpb25gMVtbQXBsb3Jpcy5DaGFydC5WYWx1ZUxpbmU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AuMC4xNDg2LCBDdWx0dXJlPW5ldXRyYWwsIFB1YmxpY0tleVRva2VuPTE2ZmMxM2EyMjZjMGU5NTFdXQMAAACRAVN5c3RlbS5Db2xsZWN0aW9ucy5HZW5lcmljLkxpc3RgMVtbQXBsb3Jpcy5DaGFydC5WYWx1ZUxpbm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hwAAAAmIAAAACQYAAAAJAQAAAAmJAAAABSgAAACbAUFwbG9yaXMuQmFzZS5PYmplY3RzLkRhdGFPYmplY3RDb2xsZWN0aW9uYDFbW0FwbG9yaXMuQ2hhcnQuQXhpc0JyZWFr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wLjAuMTQ4NiwgQ3VsdHVyZT1uZXV0cmFsLCBQdWJsaWNLZXlUb2tlbj0xNmZjMTNhMjI2YzBlOTUxXV0DAAAAkQFTeXN0ZW0uQ29sbGVjdGlvbnMuR2VuZXJpYy5MaXN0YDFbW0FwbG9yaXMuQ2hhcnQuQXhpc0JyZWF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YoAAAAJiwAAAAkGAAAACQEAAAAJjAAAAAUp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IAAAADAAAACWMAAAAJZAAAAAllAAAAAQAAAAAKBo0AAAABJQlmAAAAAQAAAAoAAAAAAAAAAAUsAAAAmgFBcGxvcmlzLkJhc2UuT2JqZWN0cy5EYXRhT2JqZWN0Q29sbGVjdGlvbmAxW1tBcGxvcmlzLkNoYXJ0LlRpY2tNYXJr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AuMC4xNDg2LCBDdWx0dXJlPW5ldXRyYWwsIFB1YmxpY0tleVRva2VuPTE2ZmMxM2EyMjZjMGU5NTFdXQMAAACQAVN5c3RlbS5Db2xsZWN0aW9ucy5HZW5lcmljLkxpc3RgMVtbQXBsb3Jpcy5DaGFydC5UaWNrTWFy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OAAAACY8AAAAJBgAAAAkBAAAACZAAAAAFLw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RAAAAIAAAAEGoLkLaB45DAZIAAAAgAAAA0OUdRNoHjkMJkwAAALgBAAD/////AQEKCZQAAAABAAoABzAAAAAAAQAAAAUAAAAEFVN5c3RlbS5EcmF3aW5nLlBvaW50RgQAAAABlQAAACAAAADQpR5E2geOQwGWAAAAIAAAAEGoLkI3/JVDAZcAAAAgAAAAVNCoQzf8lUMBmAAAACAAAADQ5R1EN/yVQwGZAAAAIAAAANClHkTah5BDBzEAAAAAAQAAAAUAAAAEF0FwbG9yaXMuQmFzZS5BbmNob3JNb2RlAwAAAAWaAAAAF0FwbG9yaXMuQmFzZS5BbmNob3JNb2RlAQAAAAd2YWx1ZV9fAAgDAAAABAAAAAGbAAAAmgAAAAUAAAABnAAAAJoAAAADAAAAAZ0AAACaAAAABgAAAAGeAAAAmgAAAAUAAAAPMgAAAAUAAAABAAAAAAEFMwAAABVBcGxvcmlzLkJhc2UuVUkuTGFiZWwcAAAAD21BbmNob3JQb3NpdGlvbgttQW5jaG9yTW9kZQ9tQWRkSW5uZXJNYXJnaW4WbU9mZnNldERpcmVjdGlvbkFuY2hvchdtT2Zmc2V0T3J0aG9nb25hbEFuY2hvcgttVGV4dEZvcm1hdAltUm90YXRpb24KbUJhY2tDb2xvcg1tVXNlQmFja0NvbG9yDm1Vc2V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BAQEAAEDAwEAAAAABwIAAAMA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MAAAABnwAAACAAAADQpR5E2geOQwGgAAAAmgAAAAQAAAAAAAAAAAAAAAAJoQAAAAAAAAAJogAAAAAABaMAAAAqQXBsb3Jpcy5CYXNlLlVJLkxhYmVsK0xpbmVBbGlnbm1lbnRPcHRpb25zAQAAAAd2YWx1ZV9fAAgDAAAAAAAAAAGkAAAAbAAAAAAAAAAAAAAAAaUAAAAUAAAAAAAAAAAAAAAAAAAAAAAAAAAAAAAGpgAAAA1DYXRlZ29yeSBheGlzCgmnAAAACaYAAADkAgAA/////wABCgmoAAAAAQAKAQE0AAAAJAAAAAmpAAAABgAAAAYAAAABNQAAACUAAAAJqgAAAAIAAAACAAAAATcAAAAnAAAACgmrAAAACawAAAAJBwAAAAkBAAAACa0AAAABOAAAACgAAAAKCa4AAAAJrwAAAAkHAAAACQEAAAAJsAAAAAU5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iAAAAAwAAAAljAAAACWQAAAAJZQAAAAEAAAAACgmNAAAACWYAAAAAAAAACgAAAAAA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EAAAABCWIAAAADAAAACWMAAAAJZAAAAAllAAAAAQAAAAAKBrEAAAABJQlmAAAAAAAAAAoAAAAAAA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BAAAAAQliAAAAAwAAAAljAAAACWQAAAAJZQAAAAEAAAAACgmNAAAACWYAAAABAAAACgAAAAAAAAAAATwAAAAsAAAACgmyAAAACbMAAAAJBwAAAAkBAAAACbQAAAABPwAAAC8AAAABtQAAACAAAABBqC5C2geOQwG2AAAAIAAAAEGoLkJeM3lBCbcAAAC4AQAA/////wEBCgm4AAAAAQAKAAdAAAAAAAEAAAAFAAAABBVTeXN0ZW0uRHJhd2luZy5Qb2ludEYEAAAAAbkAAAAgAAAAQaguQoztIUEBugAAACAAAAAu/yRB2geOQwG7AAAAIAAAAC7/JEF10RVDAbwAAAAgAAAALv8kQV4zeUEBvQAAACAAAAAu/yRBjO0hQQdBAAAAAAEAAAAFAAAABBdBcGxvcmlzLkJhc2UuQW5jaG9yTW9kZQMAAAABvgAAAJoAAAABAAAAAb8AAACaAAAACAAAAAHAAAAAmgAAAAIAAAABwQAAAJoAAAAGAAAAAcIAAACaAAAABwAAAA9CAAAABQAAAAEAAAAAAQFDAAAAMwAAAAHDAAAAIAAAAEGoLkKM7SFBAcQAAACaAAAAAQAAAAAAAAAAAAAAAAnFAAAAAAAAAAnGAAAAAAABxwAAAKMAAAAAAAAAAcgAAABsAAAAAAAAAAAAAAAByQAAABQAAAAAAAAAAAAAAAAAAAAAAAAAAAAAAAbKAAAAClZhbHVlIGF4aXMKCcsAAAAJygAAAOQCAAD/////AAEKCcwAAAABAAoBAUQAAAAkAAAACc0AAAAHAAAABwAAAAFFAAAAJQAAAAnOAAAAAgAAAAIAAAAHRgAAAAABAAAAAAAAAAQuQXBsb3Jpcy5DaGFydC5Db2x1bW5PcmllbnRlZENoYXJ0K1VudXNlZFNlcmllcwIAAAAERw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zwAAAAMAAABOAQAAAUgAAAAkAAAACdAAAAADAAAAewAAAAFJAAAAJQAAAAnRAAAAAAAAAAAAAAAESg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dIAAAAAAAAAAAAAAAFLAAAAJAAAAAnTAAAAAAAAAAAAAAABTAAAACUAAAAJ0QAAAAAAAAAAAAAABE0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dQAAAAAAAAAAAAAAAFOAAAAJAAAAAnTAAAAAAAAAAAAAAABTwAAACUAAAAJ0QAAAAAAAAAAAAAABFA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VAAAABAAAACwAAAABUQAAACQAAAAJ1gAAAAQAAAAcAAAAAVIAAAAlAAAACdEAAAAAAAAAAAAAAART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1wAAAAAAAAAAAAAAAVQAAAAkAAAACdMAAAAAAAAAAAAAAAFVAAAAJQAAAAnRAAAAAAAAAAAAAAAEVg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dgAAAAAAAAAAAAAAAFXAAAAJAAAAAnTAAAAAAAAAAAAAAABWAAAACUAAAAJ0QAAAAAAAAAAAAAABFk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ZAAAAAAAAAAAAAAABWgAAACQAAAAJ0wAAAAAAAAAAAAAAAVsAAAAlAAAACdEAAAAAAAAAAAAAAARc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aAAAAAAAAAAAAAAABXQAAACQAAAAJ0wAAAAAAAAAAAAAAAV4AAAAlAAAACdEAAAAAAAAAAAAAAARf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dsAAAAAAAAAAAAAAAFgAAAAJAAAAAnTAAAAAAAAAAAAAAABYQAAACUAAAAJ0QAAAAAAAAAAAAAABWo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3AAAAAndAAAAAQAAAP7///8BAAAAAQAAAAEAAAABAAAAAQAAAAEAAAAAAAEFaw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eAAAACd8AAAABAAAAAAAAAAAAAAAAAAAAAAEFbwAAAB9BcGxvcmlzLkJhc2UuT2JqZWN0cy5QZXJzSWREYXRhAgAAAANtSWQLbUN1c3RvbURhdGEHAggDAAAACeAAAAAKBXIAAAAaQXBsb3Jpcy5CYXNlLk9iamVjdHMuQ29sb3IHAAAAEkRhdGFPYmplY3QrbVBhcmVudBVEYXRhT2JqZWN0K21Db250YWluZXIFbVR5cGUEbVJHQhBtVGhlbWVDb2xvckluZGV4DG1BdXRvVXBkYXRlZAltTW9kaWZpZWQCAgAAAAAACAgIAQEDAAAACgoAAAAAAAAAAA0AAAAAAQFzAAAAcgAAAAoKAQAAAAAAAAD/////AAEHhQAAAAABAAAAEAAAAAQfQXBsb3Jpcy5CYXNlLk9iamVjdHMuRGF0YU9iamVjdAMAAAAJCQAAAAkKAAAACQsAAAAJDAAAAAkQAAAACREAAAAJDQAAAAkOAAAACQ8AAAAJBwAAAAkGAAAACRcAAAANBAeGAAAAAAEAAAAEAAAABBxBcGxvcmlzLkJhc2UuVUkuVmlzdWFsT2JqZWN0AwAAAAkbAAAADQMEhwAAAJEBU3lzdGVtLkNvbGxlY3Rpb25zLkdlbmVyaWMuTGlzdGAxW1tBcGxvcmlzLkNoYXJ0LlZhbHVlTGluZSwgQXBsb3Jpcy5DaGFydCwgVmVyc2lvbj00LjAuMC4xNDg2LCBDdWx0dXJlPW5ldXRyYWwsIFB1YmxpY0tleVRva2VuPTE2ZmMxM2EyMjZjMGU5NTFdXQMAAAAGX2l0ZW1zBV9zaXplCF92ZXJzaW9uBAAAGUFwbG9yaXMuQ2hhcnQuVmFsdWVMaW5lW10CAAAACAgJ4QAAAAAAAAAAAAAAAYgAAAAkAAAACdMAAAAAAAAAAAAAAAGJAAAAJQAAAAnRAAAAAAAAAAAAAAAEigAAAJEBU3lzdGVtLkNvbGxlY3Rpb25zLkdlbmVyaWMuTGlzdGAxW1tBcGxvcmlzLkNoYXJ0LkF4aXNCcmVhaywgQXBsb3Jpcy5DaGFydCwgVmVyc2lvbj00LjAuMC4xNDg2LCBDdWx0dXJlPW5ldXRyYWwsIFB1YmxpY0tleVRva2VuPTE2ZmMxM2EyMjZjMGU5NTFdXQMAAAAGX2l0ZW1zBV9zaXplCF92ZXJzaW9uBAAAGUFwbG9yaXMuQ2hhcnQuQXhpc0JyZWFrW10CAAAACAgJ4gAAAAAAAAAAAAAAAYsAAAAkAAAACdMAAAAAAAAAAAAAAAGMAAAAJQAAAAnRAAAAAAAAAAAAAAAEjgAAAJABU3lzdGVtLkNvbGxlY3Rpb25zLkdlbmVyaWMuTGlzdGAxW1tBcGxvcmlzLkNoYXJ0LlRpY2tNYXJrLCBBcGxvcmlzLkNoYXJ0LCBWZXJzaW9uPTQuMC4wLjE0ODYsIEN1bHR1cmU9bmV1dHJhbCwgUHVibGljS2V5VG9rZW49MTZmYzEzYTIyNmMwZTk1MV1dAwAAAAZfaXRlbXMFX3NpemUIX3ZlcnNpb24EAAAYQXBsb3Jpcy5DaGFydC5UaWNrTWFya1tdAgAAAAgICeMAAAAAAAAAAAAAAAGPAAAAJAAAAAnTAAAAAAAAAAAAAAABkAAAACUAAAAJ0QAAAAAAAAAAAAAAAZMAAABqAAAACgoAAABAPwnkAAAACeUAAAABAAAA/v///wAAAAABAAAAAAAAAAAAAAABAAAAAAAAAAAAAAGUAAAAbwAAAAnmAAAACgWh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QEEJcAAAAAlxAAAACecAAAABAAnoAAAAAaIAAAByAAAACgoBAAAAAAAAAP////8AAQSnAAAAlgFTeXN0ZW0uQ29sbGVjdGlvbnMuR2VuZXJpYy5MaXN0YDFbW0FwbG9yaXMuQmFzZS5PYmplY3RzLlZhcmlhYmxlLCBBcGxvcmlzLkJhc2UsIFZlcnNpb249NC4wLjAuMTQ4NiwgQ3VsdHVyZT1uZXV0cmFsLCBQdWJsaWNLZXlUb2tlbj0xNmZjMTNhMjI2YzBlOTUxXV0DAAAABl9pdGVtcwVfc2l6ZQhfdmVyc2lvbgQAAB9BcGxvcmlzLkJhc2UuT2JqZWN0cy5WYXJpYWJsZVtdAwAAAAgICekAAAAAAAAAAAAAAAGoAAAAbwAAAAnqAAAACgepAAAAAAEAAAAIAAAABB9BcGxvcmlzLkJhc2UuT2JqZWN0cy5EYXRhT2JqZWN0AwAAAAkpAAAACSoAAAAJKwAAAAksAAAACScAAAAJKAAAAAoKB6oAAAAAAQAAAAQAAAAEHEFwbG9yaXMuQmFzZS5VSS5WaXN1YWxPYmplY3QDAAAACS8AAAAJMwAAAAoKAasAAACHAAAACeEAAAAAAAAAAAAAAAGsAAAAJAAAAAnTAAAAAAAAAAAAAAABrQAAACUAAAAJ0QAAAAAAAAAAAAAAAa4AAACKAAAACeIAAAAAAAAAAAAAAAGvAAAAJAAAAAnTAAAAAAAAAAAAAAABsAAAACUAAAAJ0QAAAAAAAAAAAAAAAbIAAACOAAAACesAAAALAAAAIQAAAAGzAAAAJAAAAAnsAAAACwAAACEAAAABtAAAACUAAAAJ0QAAAAAAAAAAAAAAAbcAAABqAAAACgoAAABAPwntAAAACe4AAAABAAAA/v///wAAAAABAAAAAAAAAAAAAAABAAAAAAAAAAAAAAG4AAAAbwAAAAnvAAAACgXF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QEEJcAAAAAlxAAAACfAAAAABAAnxAAAAAcYAAAByAAAACgoBAAAAAAAAAP////8AAQHLAAAApwAAAAnpAAAAAAAAAAAAAAABzAAAAG8AAAAJ8gAAAAoHzQAAAAABAAAACAAAAAQfQXBsb3Jpcy5CYXNlLk9iamVjdHMuRGF0YU9iamVjdAMAAAAJOQAAAAk6AAAACTsAAAAJPAAAAAk3AAAACTgAAAAJ8wAAAAoHzgAAAAABAAAABAAAAAQcQXBsb3Jpcy5CYXNlLlVJLlZpc3VhbE9iamVjdAMAAAAJPwAAAAlDAAAACgoHzwAAAAABAAAAIAAAAAQdQXBsb3Jpcy5DaGFydC5DaGFydERhdGFTZXJpZXMCAAAACfQAAAAJ9QAAAAn2AAAADR0H0AAAAAABAAAAIAAAAAQfQXBsb3Jpcy5CYXNlLk9iamVjdHMuRGF0YU9iamVjdAMAAAAJ9gAAAAn1AAAACfQAAAANHQfRAAAAAAEAAAAAAAAABBxBcGxvcmlzLkJhc2UuVUkuVmlzdWFsT2JqZWN0AwAAAAfSAAAAAAEAAAAAAAAABCJBcGxvcmlzLkNoYXJ0LkFubm90YXRpb25EYXRhU2VyaWVzAgAAAAfTAAAAAAEAAAAAAAAABB9BcGxvcmlzLkJhc2UuT2JqZWN0cy5EYXRhT2JqZWN0AwAAAAfUAAAAAAEAAAAAAAAABB1BcGxvcmlzLkNoYXJ0LkFubm90YXRpb25Hcm91cAIAAAAH1QAAAAABAAAAEAAAAAQcQXBsb3Jpcy5DaGFydC5DaGFydERhdGFHcm91cAIAAAAJ9wAAAAn4AAAACfkAAAAJ+gAAAA0MB9YAAAAAAQAAABAAAAAEH0FwbG9yaXMuQmFzZS5PYmplY3RzLkRhdGFPYmplY3QDAAAACfcAAAAJ+QAAAAn4AAAACfoAAAANDAfXAAAAAAEAAAAAAAAABBZBcGxvcmlzLkNoYXJ0LkRlbHRhQmFyAgAAAAfYAAAAAAEAAAAAAAAABBlBcGxvcmlzLkNoYXJ0LkRlbHRhQnJpZGdlAgAAAAfZAAAAAAEAAAAAAAAABBlBcGxvcmlzLkNoYXJ0Lkdyb3d0aEFycm93AgAAAAfaAAAAAAEAAAAAAAAABCBBcGxvcmlzLkNoYXJ0LldhdGVyZmFsbENvbm5lY3RvcgIAAAAH2wAAAAABAAAAAAAAAAQeQXBsb3Jpcy5DaGFydC5FbGVtZW50Q29ubmVjdG9yAgAAAAHcAAAAcgAAAAoKAAAAAAAAAAANAAAAAAEB3QAAAHIAAAAKCgEAAAAAAAAA/////wABAd4AAAByAAAACgoBAAAA////AP////8AAQHfAAAAcgAAAAoKAQAAAAAAAAD/////AAEP4AAAAAEAAAAIAAAAAAfhAAAAAAEAAAAAAAAABBdBcGxvcmlzLkNoYXJ0LlZhbHVlTGluZQIAAAAH4gAAAAABAAAAAAAAAAQXQXBsb3Jpcy5DaGFydC5BeGlzQnJlYWsCAAAAB+MAAAAAAQAAAAAAAAAEFkFwbG9yaXMuQ2hhcnQuVGlja01hcmsCAAAABeQAAAAaQXBsb3Jpcy5CYXNlLk9iamVjdHMuQ29sb3IHAAAAEkRhdGFPYmplY3QrbVBhcmVudBVEYXRhT2JqZWN0K21Db250YWluZXIFbVR5cGUEbVJHQhBtVGhlbWVDb2xvckluZGV4DG1BdXRvVXBkYXRlZAltTW9kaWZpZWQEAgAAAAAAH0FwbG9yaXMuQmFzZS5PYmplY3RzLkxpbmVGb3JtYXQDAAAACAgIAQEDAAAACZMAAAAKAAAAAAAAAAANAAAAAAAF5QAAABpBcGxvcmlzLkJhc2UuT2JqZWN0cy5Db2xvcgcAAAASRGF0YU9iamVjdCttUGFyZW50FURhdGFPYmplY3QrbUNvbnRhaW5lcgVtVHlwZQRtUkdCEG1UaGVtZUNvbG9ySW5kZXgMbUF1dG9VcGRhdGVkCW1Nb2RpZmllZAQCAAAAAAAfQXBsb3Jpcy5CYXNlLk9iamVjdHMuTGluZUZvcm1hdAMAAAAICAgBAQMAAAAJkwAAAAoBAAAAAAAAAP////8AAQ/mAAAAAQAAAAgmAwAAAecAAAByAAAACgoAAAAAAAAAAA0AAAAAAQHoAAAAcgAAAAoKAQAAAAAAAAD/////AAEH6QAAAAABAAAAAAAAAAQdQXBsb3Jpcy5CYXNlLk9iamVjdHMuVmFyaWFibGUDAAAAD+oAAAABAAAACAAAAAAH6wAAAAABAAAAEAAAAAQWQXBsb3Jpcy5DaGFydC5UaWNrTWFyawIAAAAJ+wAAAAn8AAAACf0AAAAJ/gAAAAn/AAAACQABAAAJAQEAAAkCAQAACQMBAAAJBAEAAAkFAQAADQUH7AAAAAABAAAAEAAAAAQfQXBsb3Jpcy5CYXNlLk9iamVjdHMuRGF0YU9iamVjdAMAAAAJ+wAAAAn8AAAACf0AAAAJ/gAAAAn/AAAACQABAAAJAQEAAAkCAQAACQMBAAAJBAEAAAkFAQAADQUF7QAAABpBcGxvcmlzLkJhc2UuT2JqZWN0cy5Db2xvcgcAAAASRGF0YU9iamVjdCttUGFyZW50FURhdGFPYmplY3QrbUNvbnRhaW5lcgVtVHlwZQRtUkdCEG1UaGVtZUNvbG9ySW5kZXgMbUF1dG9VcGRhdGVkCW1Nb2RpZmllZAQCAAAAAAAfQXBsb3Jpcy5CYXNlLk9iamVjdHMuTGluZUZvcm1hdAMAAAAICAgBAQMAAAAJtwAAAAoAAAAAAAAAAA0AAAAAAAXuAAAAGkFwbG9yaXMuQmFzZS5PYmplY3RzLkNvbG9yBwAAABJEYXRhT2JqZWN0K21QYXJlbnQVRGF0YU9iamVjdCttQ29udGFpbmVyBW1UeXBlBG1SR0IQbVRoZW1lQ29sb3JJbmRleAxtQXV0b1VwZGF0ZWQJbU1vZGlmaWVkBAIAAAAAAB9BcGxvcmlzLkJhc2UuT2JqZWN0cy5MaW5lRm9ybWF0AwAAAAgICAEBAwAAAAm3AAAACgEAAAAAAAAA/////wABD+8AAAABAAAACCcDAAAB8AAAAHIAAAAKCgAAAAAAAAAADQAAAAABAfEAAAByAAAACgoBAAAAAAAAAP////8AAQ/yAAAAAQAAAAgAAAAABfM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IAAAADAAAACWMAAAAJZAAAAAllAAAAAQAAAAAKCY0AAAAJZgAAAAEAAAAKAAAAAAAAAAAF9AA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AuMC4xNDg2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AQYBAAATAAAAAAAAAAIAAAD/////CQcAAAAJBwEAAAYIAQAABUFncmVlCgoAAAAAAAAAAAAAAAAKCgAJCQEAAAkKAQAACQsBAAAAAAAAAAAAAAAAAAAAAAAAAAAJDAEAAAkBAAAACQEAAAAJDQEAAAH1AAAA9AAAAAkBAAAAAQ4BAAATAAAAAAAAAAMAAAD/////CQcAAAAJDwEAAAYQAQAAB05ldXRyYWwKCgAAAAAAAAAAAAAAAAoKAAkRAQAACRIBAAAJEwEAAAAAAAAAAQAAAAAAAAAAAAAAAAkUAQAACQEAAAAJAQAAAAkVAQAAAfYAAAD0AAAACQEAAAABFgEAABMAAAAAAAAABAAAAP////8JBwAAAAkXAQAABhgBAAAIRGlzYWdyZWUKCgAAAAAAAAAAAAAAAAoKAAkZAQAACRoBAAAJGwEAAAAAAAAAAgAAAAAAAAAAAAAAAAkcAQAACQEAAAAJAQAAAAkdAQAABfcA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GHgEAAAVUb3RhbAAFHwEAAB5BcGxvcmlzLkNoYXJ0LkNoYXJ0R3JvdXBBbmNob3IBAAAAB3ZhbHVlX18ACAIAAAAAAAAACgAAAAABAAAAAQAAAAkgAQAACSEBAAAJIgEAAAoJBwAAAAkjAQAACQEAAAAJAQAAAAkkAQAAAfgAAAD3AAAACQEAAAAGJQEAAAlJbnRlbnNpdmUAASYBAAAfAQAAAAAAAAoAAAAAAQAAAAEAAAAJJwEAAAkoAQAACSkBAAAKCQcAAAAJKgEAAAkBAAAACQEAAAAJKwEAAAH5AAAA9wAAAAkBAAAABiwBAAAITW9kZXJhdGUAAS0BAAAfAQAAAAAAAAoAAAAAAQAAAAEAAAAJLgEAAAkvAQAACTABAAAKCQcAAAAJMQEAAAkBAAAACQEAAAAJMgEAAAH6AAAA9wAAAAkBAAAABjMBAAAHTGltaXRlZAABNAEAAB8BAAAAAAAACgAAAAABAAAAAQAAAAk1AQAACTYBAAAJNwEAAAoJBwAAAAk4AQAACQEAAAAJAQAAAAk5AQAABfsAAAAWQXBsb3Jpcy5DaGFydC5UaWNrTWFyaw0AAAALbVZpc3VhbExpbmUJbUdyaWRMaW5lBm1MYWJlbAVtQXhpcwhtVmlzaWJsZQltUG9zaXRpb24LbVN0YXJ0UG9pbnQJbUVuZFBvaW50DG1IYXNHcmlkTGluZRhEYXRhT2JqZWN0K21DaGlsZE9iamVjdHMSRGF0YU9iamVjdCttUGFyZW50FURhdGFPYmplY3QrbUNvbnRhaW5lchlEYXRhT2JqZWN0K21WaXN1YWxPYmplY3RzBAQEBAAABAQAAwQEAxpBcGxvcmlzLkJhc2UuVUkuVmlzdWFsTGluZQMAAAAaQXBsb3Jpcy5CYXNlLlVJLlZpc3VhbExpbmUDAAAAFUFwbG9yaXMuQmFzZS5VSS5MYWJlbAMAAAASQXBsb3Jpcy5DaGFydC5BeGlzAgAAAAEGFVN5c3RlbS5EcmF3aW5nLlBvaW50RgQAAAAVU3lzdGVtLkRyYXdpbmcuUG9pbnRG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6AQAACgk7AQAACQcAAAABAAAAAAAAAAABPAEAACAAAABBqC5C2geOQwE9AQAAIAAAAEGoHkLaB45DAAk+AQAACQcAAAAJAQAAAAk/AQAAAfwAAAD7AAAACUABAAAKCUEBAAAJBwAAAAGamZmZmZm5PwFCAQAAIAAAAEGoLkI6m4BDAUMBAAAgAAAAQageQjqbgEMACUQBAAAJBwAAAAkBAAAACUUBAAAB/QAAAPsAAAAJRgEAAAoJRwEAAAkHAAAAAZqZmZmZmck/AUgBAAAgAAAAQaguQjRdZkMBSQEAACAAAABBqB5CNF1mQwAJSgEAAAkHAAAACQEAAAAJSwEAAAH+AAAA+wAAAAlMAQAACglNAQAACQcAAAABMzMzMzMz0z8BTgEAACAAAABBqC5C9YNLQwFPAQAAIAAAAEGoHkL1g0tDAAlQAQAACQcAAAAJAQAAAAlRAQAAAf8AAAD7AAAACVIBAAAKCVMBAAAJBwAAAAGamZmZmZnZPwFUAQAAIAAAAEGoLkK1qjBDAVUBAAAgAAAAQageQrWqMEMACVYBAAAJBwAAAAkBAAAACVcBAAABAAEAAPsAAAAJWAEAAAoJWQEAAAkHAAAAAQAAAAAAAOA/AVoBAAAgAAAAQaguQnXRFUMBWwEAACAAAABBqB5CddEVQwAJXAEAAAkHAAAACQEAAAAJXQEAAAEBAQAA+wAAAAleAQAACglfAQAACQcAAAABMzMzMzMz4z8BYAEAACAAAABBqC5CavD1QgFhAQAAIAAAAEGoHkJq8PVCAAliAQAACQcAAAAJAQAAAAljAQAAAQIBAAD7AAAACWQBAAAKCWUBAAAJBwAAAAFmZmZmZmbmPwFmAQAAIAAAAEGoLkLrPcBCAWcBAAAgAAAAQageQus9wEIACWgBAAAJBwAAAAkBAAAACWkBAAABAwEAAPsAAAAJagEAAAoJawEAAAkHAAAAAZqZmZmZmek/AWwBAAAgAAAAQaguQmuLikIBbQEAACAAAABBqB5Ca4uKQgAJbgEAAAkHAAAACQEAAAAJbwEAAAEEAQAA+wAAAAlwAQAACglxAQAACQcAAAABzczMzMzM7D8BcgEAACAAAABBqC5C17EpQgFzAQAAIAAAAEGoHkLXsSlCAAl0AQAACQcAAAAJAQAAAAl1AQAAAQUBAAD7AAAACXYBAAAKCXcBAAAJBwAAAAEAAAAAAADwPwF4AQAAIAAAAEGoLkJeM3lBAXkBAAAgAAAAQageQl4zeUEACXoBAAAJBwAAAAkBAAAACXsBAAAFBwEAAKIBQXBsb3Jpcy5CYXNlLk9iamVjdHMuRGF0YU9iamVjdENvbGxlY3Rpb25gMVtbQXBsb3Jpcy5DaGFydC5DaGFydERhdGF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C4wLjE0ODYsIEN1bHR1cmU9bmV1dHJhbCwgUHVibGljS2V5VG9rZW49MTZmYzEzYTIyNmMwZTk1MV1dAwAAAJgBU3lzdGVtLkNvbGxlY3Rpb25zLkdlbmVyaWMuTGlzdGAxW1tBcGxvcmlzLkNoYXJ0LkNoYXJ0RGF0YU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fAEAAAl9AQAACfQAAAAJAQAAAAl+AQAABQkBAAAcQXBsb3Jpcy5DaGFydC5Db25uZWN0ZWRMYWJlbCQAAAAObUNvbm5lY3RvckxpbmUQbVpPcmRlckNvbm5lY3Rvcg5tQ29ubmVjdG9yTW9kZRltQW5nbGVkQ29ubmVjdG9yRGlyZWN0aW9uEG1Db25uZWN0b3JUYXJnZXQZbUNvbm5lY3RvclRhcmdldEFyZWFTaGFwZRptQ29ubmVjdG9yRGlzcGxheVRocmVzaG9sZBNtQ29ubmVjdEFuY2hvclBvaW5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QEAAAABAAE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gAAAApYAgAABX8BAAArQXBsb3Jpcy5DaGFydC5Db25uZWN0ZWRMYWJlbCtlQ29ubmVjdG9yTW9kZQEAAAAHdmFsdWVfXwAIAgAAAAEAAAAFgAEAADZBcGxvcmlzLkNoYXJ0LkNvbm5lY3RlZExhYmVsK2VBbmdsZWRDb25uZWN0b3JEaXJlY3Rpb24BAAAAB3ZhbHVlX18ACAIAAAAAAAAAAYEBAAAUAAAAxcoARFwPg0MguqtC4IeXQQWCAQAALUFwbG9yaXMuQ2hhcnQuQ29ubmVjdGVkTGFiZWwrZVRhcmdldEFyZWFTaGFwZQEAAAAHdmFsdWVfXwAIAgAAAAAAAAAAABBBAQGDAQAAIAAAAAlCGESby4dDAYQBAACaAAAABAAAAAAAAAAAAAAAAAmFAQAAAAAAAAmGAQAAAAABhwEAAKMAAAAAAAAAAYgBAABsAAAAAAAMQgAAYEEBiQEAABQAAAAAAAAAAAAAAAAAAAAAAAAAXrrZPwkIAQAACgmKAQAABosBAAAAIAMAAP////8AAQoJjAEAAAEACgEHCgEAAAABAAAAAgAAAAQVU3lzdGVtLkRyYXdpbmcuUG9pbnRGBAAAAAGNAQAAIAAAAAlCGESby4dDAY4BAAAgAAAAQagaQvJigEMHCwEAAAABAAAAAgAAAAQXQXBsb3Jpcy5CYXNlLkFuY2hvck1vZGUDAAAAAY8BAACaAAAABAAAAAGQAQAAmgAAAAIAAAABDAEAACQAAAAJkQEAAAEAAAABAAAAAQ0BAAAlAAAACZIBAAABAAAAAQAAAAEPAQAABwEAAAoJkwEAAAmUAQAACfUAAAAJAQAAAAmVAQAAAREBAAAJAQAAClgCAAABlgEAAH8BAAABAAAAAZcBAACAAQAAAAAAAAGYAQAAFAAAAMXKAETI4ONCILqrQlQuDkMBmQEAAIIBAAAAAAAAAAAQQQEBmgEAACAAAAAJQhhEjgc5QwGbAQAAmgAAAAQAAAAAAAAAAAAAAAAJnAEAAAAAAAAJnQEAAAAAAZ4BAACjAAAAAAAAAAGfAQAAbAAAAAAAKEIAAGBBAaABAAAUAAAAAAAAAAAAAAAAAAAAAAAAAF662T8JEAEAAAoJoQEAAAmLAQAAIAMAAP////8AAQoJogEAAAEACgEHEgEAAAABAAAAAgAAAAQVU3lzdGVtLkRyYXdpbmcuUG9pbnRGBAAAAAGjAQAAIAAAAAlCGESOBzlDAaQBAAAgAAAAQagaQtZyHUMHEwEAAAABAAAAAgAAAAQXQXBsb3Jpcy5CYXNlLkFuY2hvck1vZGUDAAAAAaUBAACaAAAABAAAAAGmAQAAmgAAAAIAAAABFAEAACQAAAAJpwEAAAEAAAABAAAAARUBAAAlAAAACagBAAABAAAAAQAAAAEXAQAABwEAAAoJqQEAAAmqAQAACfYAAAAJAQAAAAmrAQAAARkBAAAJAQAAClgCAAABrAEAAH8BAAABAAAAAa0BAACAAQAAAAAAAAGuAQAAFAAAAMXKAESvmZRBILqrQly6skIBrwEAAIIBAAAAAAAAAAAQQQEBsAEAACAAAAAJQhhENAd9QgGxAQAAmgAAAAQAAAAAAAAAAAAAAAAJsgEAAAAAAAAJswEAAAAAAbQBAACjAAAAAAAAAAG1AQAAbAAAAAAAUEIAAGBBAbYBAAAUAAAAAAAAAAAAAAAAAAAAAAAAAF662T8JGAEAAAoJtwEAAAmLAQAAIAMAAP////8AAQoJuAEAAAEACgEHGgEAAAABAAAAAgAAAAQVU3lzdGVtLkRyYXdpbmcuUG9pbnRGBAAAAAG5AQAAIAAAAAlCGEQ0B31CAboBAAAgAAAAQagaQqL5SUIHGwEAAAABAAAAAgAAAAQXQXBsb3Jpcy5CYXNlLkFuY2hvck1vZGUDAAAAAbsBAACaAAAABAAAAAG8AQAAmgAAAAIAAAABHAEAACQAAAAJvQEAAAEAAAABAAAAAR0BAAAlAAAACb4BAAABAAAAAQAAAA8gAQAAAQAAAAgAAAAAByEBAAAAAQAAAAEAAAAEFUFwbG9yaXMuQmFzZS5VSS5MYWJlbAMAAAAJvwEAAAEiAQAAMwAAAAHAAQAAIAAAAGxP6kLah5BDAcEBAACaAAAAAwAAAAAAAAAAAAAAAAnCAQAAAAAAAAnDAQAAAAABxAEAAKMAAAAAAAAAAcUBAABsAAAAAADIQQAAQEEBxgEAABQAAABGF9FCo4uQQ9ehzUGjiy5BEoO+PwkeAQAACgnHAQAACYsBAAAgAwAA/////wEBCgnIAQAAAQAKAAEjAQAAJAAAAAnTAAAAAAAAAAAAAAABJAEAACUAAAAJyQEAAAIAAAAMAAAADycBAAABAAAACAAAAAAHKAEAAAABAAAAAQAAAAQVQXBsb3Jpcy5CYXNlLlVJLkxhYmVsAwAAAAnKAQAAASkBAAAzAAAAAcsBAAAgAAAAgRGEQ9qHkEMBzAEAAJoAAAADAAAAAAAAAAAAAAAACc0BAAAAAAAACc4BAAAAAAHPAQAAowAAAAAAAAAB0AEAAGwAAAAAADhCAABAQQHRAQAAFAAAAHTRcUOji5BDAi4zQqOLLkESg74/CSUBAAAKCdIBAAAJiwEAACADAAD/////AQEKCdMBAAABAAoAASoBAAAkAAAACdQBAAAAAAAAAAAAAAErAQAAJQAAAAnVAQAAAgAAAAQAAAAPLgEAAAEAAAAIAAAAAAcvAQAAAAEAAAABAAAABBVBcGxvcmlzLkJhc2UuVUkuTGFiZWwDAAAACdYBAAABMAEAADMAAAAB1wEAACAAAAAnj81D2oeQQwHYAQAAmgAAAAMAAAAAAAAAAAAAAAAJ2QEAAAAAAAAJ2gEAAAAAAdsBAACjAAAAAAAAAAHcAQAAbAAAAAAAQEIAAEBBAd0BAAAUAAAARhfCQ6OLkEPUczpCo4suQRKDvj8JLAEAAAoJ3gEAAAmLAQAAIAMAAP////8BAQoJ3wEAAAEACgABMQEAACQAAAAJ4AEAAAAAAAAAAAAAATIBAAAlAAAACeEBAAACAAAABAAAAA81AQAAAQAAAAgAAAAABzYBAAAAAQAAAAEAAAAEFUFwbG9yaXMuQmFzZS5VSS5MYWJlbAMAAAAJ4gEAAAE3AQAAMwAAAAHjAQAAIAAAAGeGC0Tah5BDAeQBAACaAAAAAwAAAAAAAAAAAAAAAAnlAQAAAAAAAAnmAQAAAAAB5wEAAKMAAAAAAAAAAegBAABsAAAAAAAUQgAAQEEB6QEAABQAAAAAAAdEo4uQQ9RzEkKjiy5BEoO+PwkzAQAACgnqAQAACYsBAAAgAwAA/////wEBCgnrAQAAAQAKAAE4AQAAJAAAAAnsAQAAAAAAAAAAAAABOQEAACUAAAAJ7QEAAAIAAAACAAAAAToBAAAvAAAAAe4BAAAgAAAAQaguQtoHjkMB7wEAACAAAABBqB5C2geOQwnwAQAAzAEAAP////8BAQoJ8QEAAAEACgABOwEAADMAAAAB8gEAACAAAABBqBhC2geOQwHzAQAAmgAAAAIAAAAAAAAAAAAAAAAJ9AEAAAAAAAAJ9QEAAAAAAfYBAACjAAAAAAAAAAH3AQAAbAAAAAAAgEEAAEBBAfgBAAAUAAAAo4uuQUYXi0N6LYxBo4suQRKDvj8G+QEAAAIwJQoJ+gEAAAmLAQAA0AIAAP////8BAQoJ+wEAAAEACgABPgEAACQAAAAJ0wAAAAAAAAAAAAAAAT8BAAAlAAAACfwBAAACAAAAAgAAAAFAAQAALwAAAAH9AQAAIAAAAEGoLkI6m4BDAf4BAAAgAAAAQageQjqbgEMJ/wEAAMwBAAD/////AQEKCQACAAABAAoAAUEBAAAzAAAAAQECAAAgAAAAQagYQjqbgEMBAgIAAJoAAAACAAAAAAAAAAAAAAAACQMCAAAAAAAACQQCAAAAAAEFAgAAowAAAAAAAAABBgIAAGwAAAAAALhBAABAQQEHAgAAFAAAANFFd0F00XtDNBa/QaOLLkESg74/BggCAAADMTAlCgkJAgAACYsBAADQAgAA/////wEBCgkKAgAAAQAKAAFEAQAAJAAAAAnTAAAAAAAAAAAAAAABRQEAACUAAAAJCwIAAAIAAAACAAAAAUYBAAAvAAAAAQwCAAAgAAAAQaguQjRdZkMBDQIAACAAAABBqB5CNF1mQwkOAgAAzAEAAP////8BAQoJDwIAAAEACgABRwEAADMAAAABEAIAACAAAABBqBhCNF1mQwERAgAAmgAAAAIAAAAAAAAAAAAAAAAJEgIAAAAAAAAJEwIAAAAAARQCAACjAAAAAAAAAAEVAgAAbAAAAAAAuEEAAEBBARYCAAAUAAAA0UV3QaOLYEM0Fr9Bo4suQRKDvj8GFwIAAAMyMCUKCRgCAAAJiwEAANACAAD/////AQEKCRkCAAABAAoAAUoBAAAkAAAACdMAAAAAAAAAAAAAAAFLAQAAJQAAAAkaAgAAAgAAAAIAAAABTAEAAC8AAAABGwIAACAAAABBqC5C9YNLQwEcAgAAIAAAAEGoHkL1g0tDCR0CAADMAQAA/////wEBCgkeAgAAAQAKAAFNAQAAMwAAAAEfAgAAIAAAAEGoGEL1g0tDASACAACaAAAAAgAAAAAAAAAAAAAAAAkhAgAAAAAAAAkiAgAAAAABIwIAAKMAAAAAAAAAASQCAABsAAAAAAC4QQAAQEEBJQIAABQAAADRRXdBiy5GQzQWv0Gjiy5BEoO+PwYmAgAAAzMwJQoJJwIAAAmLAQAA0AIAAP////8BAQoJKAIAAAEACgABUAEAACQAAAAJ0wAAAAAAAAAAAAAAAVEBAAAlAAAACSkCAAACAAAAAgAAAAFSAQAALwAAAAEqAgAAIAAAAEGoLkK1qjBDASsCAAAgAAAAQageQrWqMEMJLAIAAMwBAAD/////AQEKCS0CAAABAAoAAVMBAAAzAAAAAS4CAAAgAAAAQagYQrWqMEMBLwIAAJoAAAACAAAAAAAAAAAAAAAACTACAAAAAAAACTECAAAAAAEyAgAAowAAAAAAAAABMwIAAGwAAAAAALhBAABAQQE0AgAAFAAAANFFd0G66CpDNBa/QaOLLkESg74/BjUCAAADNDAlCgk2AgAACYsBAADQAgAA/////wEBCgk3AgAAAQAKAAFWAQAAJAAAAAnTAAAAAAAAAAAAAAABVwEAACUAAAAJOAIAAAIAAAACAAAAAVgBAAAvAAAAATkCAAAgAAAAQaguQnXRFUMBOgIAACAAAABBqB5CddEVQwk7AgAAzAEAAP////8BAQoJPAIAAAEACgABWQEAADMAAAABPQIAACAAAABBqBhCddEVQwE+AgAAmgAAAAIAAAAAAAAAAAAAAAAJPwIAAAAAAAAJQAIAAAAAAUECAACjAAAAAAAAAAFCAgAAbAAAAAAAuEEAAEBBAUMCAAAUAAAA0UV3QaOLEEM0Fr9Bo4suQRKDvj8GRAIAAAM1MCUKCUUCAAAJiwEAANACAAD/////AQEKCUYCAAABAAoAAVwBAAAkAAAACdMAAAAAAAAAAAAAAAFdAQAAJQAAAAlHAgAAAgAAAAIAAAABXgEAAC8AAAABSAIAACAAAABBqC5CavD1QgFJAgAAIAAAAEGoHkJq8PVCCUoCAADMAQAA/////wEBCglLAgAAAQAKAAFfAQAAMwAAAAFMAgAAIAAAAEGoGEJq8PVCAU0CAACaAAAAAgAAAAAAAAAAAAAAAAlOAgAAAAAAAAlPAgAAAAABUAIAAKMAAAAAAAAAAVECAABsAAAAAAC4QQAAQEEBUgIAABQAAADRRXdBo4vqQjQWv0Gjiy5BEoO+PwZTAgAAAzYwJQoJVAIAAAmLAQAA0AIAAP////8BAQoJVQIAAAEACgABYgEAACQAAAAJ0wAAAAAAAAAAAAAAAWMBAAAlAAAACVYCAAACAAAAAgAAAAFkAQAALwAAAAFXAgAAIAAAAEGoLkLrPcBCAVgCAAAgAAAAQageQus9wEIJWQIAAMwBAAD/////AQEKCVoCAAABAAoAAWUBAAAzAAAAAVsCAAAgAAAAQagYQus9wEIBXAIAAJoAAAACAAAAAAAAAAAAAAAACV0CAAAAAAAACV4CAAAAAAFfAgAAowAAAAAAAAABYAIAAGwAAAAAALhBAABAQQFhAgAAFAAAANFFd0F00bVCNBa/QaOLLkESg74/BmICAAADNzAlCgljAgAACYsBAADQAgAA/////wEBCglkAgAAAQAKAAFoAQAAJAAAAAnTAAAAAAAAAAAAAAABaQEAACUAAAAJZQIAAAIAAAACAAAAAWoBAAAvAAAAAWYCAAAgAAAAQaguQmuLikIBZwIAACAAAABBqB5Ca4uKQgloAgAAzAEAAP////8BAQoJaQIAAAEACgABawEAADMAAAABagIAACAAAABBqBhCa4uKQgFrAgAAmgAAAAIAAAAAAAAAAAAAAAAJbAIAAAAAAAAJbQIAAAAAAW4CAACjAAAAAAAAAAFvAgAAbAAAAAAAuEEAAEBBAXACAAAUAAAA0UV3QaOLfkI0Fr9Bo4suQRKDvj8GcQIAAAM4MCUKCXICAAAJiwEAANACAAD/////AQEKCXMCAAABAAoAAW4BAAAkAAAACdMAAAAAAAAAAAAAAAFvAQAAJQAAAAl0AgAAAgAAAAIAAAABcAEAAC8AAAABdQIAACAAAABBqC5C17EpQgF2AgAAIAAAAEGoHkLXsSlCCXcCAADMAQAA/////wEBCgl4AgAAAQAKAAFxAQAAMwAAAAF5AgAAIAAAAEGoGELXsSlCAXoCAACaAAAAAgAAAAAAAAAAAAAAAAl7AgAAAAAAAAl8AgAAAAABfQIAAKMAAAAAAAAAAX4CAABsAAAAAAC4QQAAQEEBfwIAABQAAADRRXdBRhcVQjQWv0Gjiy5BEoO+PwaAAgAAAzkwJQoJgQIAAAmLAQAA0AIAAP////8BAQoJggIAAAEACgABdAEAACQAAAAJ0wAAAAAAAAAAAAAAAXUBAAAlAAAACYMCAAACAAAAAgAAAAF2AQAALwAAAAGEAgAAIAAAAEGoLkJeM3lBAYUCAAAgAAAAQageQl4zeUEJhgIAAMwBAAD/////AQEKCYcCAAABAAoAAXcBAAAzAAAAAYgCAAAgAAAAQagYQl4zeUEBiQIAAJoAAAACAAAAAAAAAAAAAAAACYoCAAAAAAAACYsCAAAAAAGMAgAAowAAAAAAAAABjQIAAGwAAAAAAOhBAABAQQGOAgAAFAAAAAAAIEEAACBBHLnqQaOLLkESg74/Bo8CAAAEMTAwJQoJkAIAAAmLAQAA0AIAAP////8BAQoJkQIAAAEACgABegEAACQAAAAJ0wAAAAAAAAAAAAAAAXsBAAAlAAAACZICAAACAAAAAgAAAAR8AQAAmAFTeXN0ZW0uQ29sbGVjdGlvbnMuR2VuZXJpYy5MaXN0YDFbW0FwbG9yaXMuQ2hhcnQuQ2hhcnREYXRhRWxlbWVudCwgQXBsb3Jpcy5DaGFydCwgVmVyc2lvbj00LjAuMC4xNDg2LCBDdWx0dXJlPW5ldXRyYWwsIFB1YmxpY0tleVRva2VuPTE2ZmMxM2EyMjZjMGU5NTFdXQMAAAAGX2l0ZW1zBV9zaXplCF92ZXJzaW9uBAAAIEFwbG9yaXMuQ2hhcnQuQ2hhcnREYXRhRWxlbWVudFtdAgAAAAgICZMCAAAEAAAAEAAAAAF9AQAAJAAAAAmUAgAABAAAABAAAAABfgEAACUAAAAJlQIAAAAAAAAAAAAABYU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0AAAACgAAAAAAQEEJcAAAAAlxAAAACZYCAAABAAmXAgAAAYYBAAByAAAACgoAAAAA////AA4AAAAAAQGKAQAApwAAAAmYAgAAAQAAAAEAAAABjAEAAG8AAAAJmQIAAAoHkQEAAAABAAAABAAAAAQfQXBsb3Jpcy5CYXNlLk9iamVjdHMuRGF0YU9iamVjdAMAAAAJBwEAAA0DB5IBAAAAAQAAAAQAAAAEHEFwbG9yaXMuQmFzZS5VSS5WaXN1YWxPYmplY3QDAAAACQkBAAANAwGTAQAAfAEAAAmaAgAABAAAABAAAAABlAEAACQAAAAJmwIAAAQAAAAQAAAAAZUBAAAlAAAACZwCAAAAAAAAAAAAAAWc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QAAAAoAAAAAAEBBCXAAAAAJcQAAAAmdAgAAAQAJngIAAAGdAQAAcgAAAAoKAAAAAP///wAOAAAAAAEBoQEAAKcAAAAJnwIAAAEAAAABAAAAAaIBAABvAAAACaACAAAKB6cBAAAAAQAAAAQAAAAEH0FwbG9yaXMuQmFzZS5PYmplY3RzLkRhdGFPYmplY3QDAAAACQ8BAAANAweoAQAAAAEAAAAEAAAABBxBcGxvcmlzLkJhc2UuVUkuVmlzdWFsT2JqZWN0AwAAAAkRAQAADQMBqQEAAHwBAAAJoQIAAAQAAAAQAAAAAaoBAAAkAAAACaICAAAEAAAAEAAAAAGrAQAAJQAAAAmcAgAAAAAAAAAAAAAFs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YAAAAKAAAAAABAQQlwAAAACXEAAAAJowIAAAEACaQCAAABswEAAHIAAAAKCgAAAAD///8ADgAAAAABAbcBAACnAAAACaUCAAABAAAAAQAAAAG4AQAAbwAAAAmmAgAACge9AQAAAAEAAAAEAAAABB9BcGxvcmlzLkJhc2UuT2JqZWN0cy5EYXRhT2JqZWN0AwAAAAkXAQAADQMHvgEAAAABAAAABAAAAAQcQXBsb3Jpcy5CYXNlLlVJLlZpc3VhbE9iamVjdAMAAAAJGQEAAA0DAb8BAAAzAAAAAacCAAAgAAAAbE/qQl4zSUEBqAIAAJoAAAABAAAAAAAAAAAAAAAACakCAAAAAAAACaoCAAAAAAGrAgAAowAAAAAAAAABrAIAAGwAAAAAABxCAABAQQGtAgAAFAAAAAAAAAAAAAAAAAAAAAAAAAASg74/Bq4CAAAGMTAwLjAlCgmvAgAACYsBAAA0AwAA/////wABCgmwAgAAAQAKAAHCAQAAIgAAAAoKAAAAAAAoQQlwAAAACXEAAAAJsQIAAAAACbICAAABwwEAAHIAAAAKCgAAAAD///8ADgAAAAABAccBAACnAAAACbMCAAABAAAAAQAAAAHIAQAAbwAAAAm0AgAACgfJAQAAAAEAAAAEAAAABBxBcGxvcmlzLkJhc2UuVUkuVmlzdWFsT2JqZWN0AwAAAAkiAQAACb8BAAAKCgHKAQAAMwAAAAG1AgAAIAAAAIERhENeM0lBAbYCAACaAAAAAQAAAAAAAAAAAAAAAAm3AgAAAAAAAAm4AgAAAAABuQIAAKMAAAAAAAAAAboCAABsAAAAAAAcQgAAQEEBuwIAABQAAAAAAAAAAAAAAAAAAAAAAAAAEoO+Pwa8AgAABjEwMC4wJQoJvQIAAAmLAQAANAMAAP////8AAQoJvgIAAAEACgABzQEAACIAAAAKCgAAAAAAKEEJcAAAAAlxAAAACb8CAAAAAAnAAgAAAc4BAAByAAAACgoAAAAA////AA4AAAAAAQHSAQAApwAAAAnBAgAAAQAAAAEAAAAB0wEAAG8AAAAJwgIAAAoH1AEAAAABAAAAAAAAAAQfQXBsb3Jpcy5CYXNlLk9iamVjdHMuRGF0YU9iamVjdAMAAAAH1QEAAAABAAAABAAAAAQcQXBsb3Jpcy5CYXNlLlVJLlZpc3VhbE9iamVjdAMAAAAJKQEAAAnKAQAACgoB1gEAADMAAAABwwIAACAAAAAnj81DXjNJQQHEAgAAmgAAAAEAAAAAAAAAAAAAAAAJxQIAAAAAAAAJxgIAAAAAAccCAACjAAAAAAAAAAHIAgAAbAAAAAAAHEIAAEBBAckCAAAUAAAAAAAAAAAAAAAAAAAAAAAAABKDvj8GygIAAAYxMDAuMCUKCcsCAAAJiwEAADQDAAD/////AAEKCcwCAAABAAoAAdkBAAAiAAAACgoAAAAAAChBCXAAAAAJcQAAAAnNAgAAAAAJzgIAAAHaAQAAcgAAAAoKAAAAAP///wAOAAAAAAEB3gEAAKcAAAAJzwIAAAEAAAABAAAAAd8BAABvAAAACdACAAAKB+ABAAAAAQAAAAAAAAAEH0FwbG9yaXMuQmFzZS5PYmplY3RzLkRhdGFPYmplY3QDAAAAB+EBAAAAAQAAAAQAAAAEHEFwbG9yaXMuQmFzZS5VSS5WaXN1YWxPYmplY3QDAAAACTABAAAJ1gEAAAoKAeIBAAAzAAAAAdECAAAgAAAAZ4YLRF4zSUEB0gIAAJoAAAABAAAAAAAAAAAAAAAACdMCAAAAAAAACdQCAAAAAAHVAgAAowAAAAAAAAAB1gIAAGwAAAAAAAAAAAAAAAHXAgAAFAAAAAAAAAAAAAAAAAAAAAAAAAAAAAAABtgCAAAGMTAwLjAlCgnZAgAACYsBAAA0AwAA/////wABCgnaAgAAAQAKAAHlAQAAIgAAAAoKAAAAAAAoQQlwAAAACXEAAAAJ2wIAAAAACdwCAAAB5gEAAHIAAAAKCgAAAAD///8ADgAAAAABAeoBAACnAAAACd0CAAABAAAAAQAAAAHrAQAAbwAAAAneAgAACgfsAQAAAAEAAAAAAAAABB9BcGxvcmlzLkJhc2UuT2JqZWN0cy5EYXRhT2JqZWN0AwAAAAftAQAAAAEAAAAEAAAABBxBcGxvcmlzLkJhc2UuVUkuVmlzdWFsT2JqZWN0AwAAAAk3AQAACeIBAAAKCgHwAQAAagAAAAoKAAAAQD8J3wIAAAngAgAAAQAAAP7///8AAAAAAQAAAAAAAAAAAAAAAQAAAAAAAAAAAAAB8QEAAG8AAAAJ4QIAAAoB9AEAACIAAAAKCgAAAAAAKEEJcAAAAAlxAAAACeICAAAAAAnjAgAAAfUBAAByAAAACgoAAAAA////AA4AAAAAAQH6AQAApwAAAAnkAgAAAQAAAAEAAAAB+wEAAG8AAAAJ5QIAAAoH/AEAAAABAAAABAAAAAQcQXBsb3Jpcy5CYXNlLlVJLlZpc3VhbE9iamVjdAMAAAAJOgEAAAk7AQAACgoB/wEAAGoAAAAKCgAAAEA/CeYCAAAJ5wIAAAEAAAD+////AAAAAAEAAAAAAAAAAAAAAAEAAAAAAAAAAAAAAQACAABvAAAACegCAAAKAQMCAAAiAAAACgoAAAAAAChBCXAAAAAJcQAAAAnpAgAAAAAJ6gIAAAEEAgAAcgAAAAoKAAAAAP///wAOAAAAAAEBCQIAAKcAAAAJ6wIAAAEAAAADAAAAAQoCAABvAAAACewCAAAKBwsCAAAAAQAAAAQAAAAEHEFwbG9yaXMuQmFzZS5VSS5WaXN1YWxPYmplY3QDAAAACUABAAAJQQEAAAoKAQ4CAABqAAAACgoAAABAPwntAgAACe4CAAABAAAA/v///wAAAAABAAAAAAAAAAAAAAABAAAAAAAAAAAAAAEPAgAAbwAAAAnvAgAACgESAgAAIgAAAAoKAAAAAAAoQQlwAAAACXEAAAAJ8AIAAAAACfECAAABEwIAAHIAAAAKCgAAAAD///8ADgAAAAABARgCAACnAAAACfICAAABAAAAAwAAAAEZAgAAbwAAAAnzAgAACgcaAgAAAAEAAAAEAAAABBxBcGxvcmlzLkJhc2UuVUkuVmlzdWFsT2JqZWN0AwAAAAlGAQAACUcBAAAKCgEdAgAAagAAAAoKAAAAQD8J9AIAAAn1AgAAAQAAAP7///8AAAAAAQAAAAAAAAAAAAAAAQAAAAAAAAAAAAABHgIAAG8AAAAJ9gIAAAoBIQIAACIAAAAKCgAAAAAAKEEJcAAAAAlxAAAACfcCAAAAAAn4AgAAASICAAByAAAACgoAAAAA////AA4AAAAAAQEnAgAApwAAAAn5AgAAAQAAAAMAAAABKAIAAG8AAAAJ+gIAAAoHKQIAAAABAAAABAAAAAQcQXBsb3Jpcy5CYXNlLlVJLlZpc3VhbE9iamVjdAMAAAAJTAEAAAlNAQAACgoBLAIAAGoAAAAKCgAAAEA/CfsCAAAJ/AIAAAEAAAD+////AAAAAAEAAAAAAAAAAAAAAAEAAAAAAAAAAAAAAS0CAABvAAAACf0CAAAKATACAAAiAAAACgoAAAAAAChBCXAAAAAJcQAAAAn+AgAAAAAJ/wIAAAExAgAAcgAAAAoKAAAAAP///wAOAAAAAAEBNgIAAKcAAAAJAAMAAAEAAAADAAAAATcCAABvAAAACQEDAAAKBzgCAAAAAQAAAAQAAAAEHEFwbG9yaXMuQmFzZS5VSS5WaXN1YWxPYmplY3QDAAAACVIBAAAJUwEAAAoKATsCAABqAAAACgoAAABAPwkCAwAACQMDAAABAAAA/v///wAAAAABAAAAAAAAAAAAAAABAAAAAAAAAAAAAAE8AgAAbwAAAAkEAwAACgE/AgAAIgAAAAoKAAAAAAAoQQlwAAAACXEAAAAJBQMAAAAACQYDAAABQAIAAHIAAAAKCgAAAAD///8ADgAAAAABAUUCAACnAAAACQcDAAABAAAAAwAAAAFGAgAAbwAAAAkIAwAACgdHAgAAAAEAAAAEAAAABBxBcGxvcmlzLkJhc2UuVUkuVmlzdWFsT2JqZWN0AwAAAAlYAQAACVkBAAAKCgFKAgAAagAAAAoKAAAAQD8JCQMAAAkKAwAAAQAAAP7///8AAAAAAQAAAAAAAAAAAAAAAQAAAAAAAAAAAAABSwIAAG8AAAAJCwMAAAoBTgIAACIAAAAKCgAAAAAAKEEJcAAAAAlxAAAACQwDAAAAAAkNAwAAAU8CAAByAAAACgoAAAAA////AA4AAAAAAQFUAgAApwAAAAkOAwAAAQAAAAMAAAABVQIAAG8AAAAJDwMAAAoHVgIAAAABAAAABAAAAAQcQXBsb3Jpcy5CYXNlLlVJLlZpc3VhbE9iamVjdAMAAAAJXgEAAAlfAQAACgoBWQIAAGoAAAAKCgAAAEA/CRADAAAJEQMAAAEAAAD+////AAAAAAEAAAAAAAAAAAAAAAEAAAAAAAAAAAAAAVoCAABvAAAACRIDAAAKAV0CAAAiAAAACgoAAAAAAChBCXAAAAAJcQAAAAkTAwAAAAAJFAMAAAFeAgAAcgAAAAoKAAAAAP///wAOAAAAAAEBYwIAAKcAAAAJFQMAAAEAAAADAAAAAWQCAABvAAAACRYDAAAKB2UCAAAAAQAAAAQAAAAEHEFwbG9yaXMuQmFzZS5VSS5WaXN1YWxPYmplY3QDAAAACWQBAAAJZQEAAAoKAWgCAABqAAAACgoAAABAPwkXAwAACRgDAAABAAAA/v///wAAAAABAAAAAAAAAAAAAAABAAAAAAAAAAAAAAFpAgAAbwAAAAkZAwAACgFsAgAAIgAAAAoKAAAAAAAoQQlwAAAACXEAAAAJGgMAAAAACRsDAAABbQIAAHIAAAAKCgAAAAD///8ADgAAAAABAXICAACnAAAACRwDAAABAAAAAwAAAAFzAgAAbwAAAAkdAwAACgd0AgAAAAEAAAAEAAAABBxBcGxvcmlzLkJhc2UuVUkuVmlzdWFsT2JqZWN0AwAAAAlqAQAACWsBAAAKCgF3AgAAagAAAAoKAAAAQD8JHgMAAAkfAwAAAQAAAP7///8AAAAAAQAAAAAAAAAAAAAAAQAAAAAAAAAAAAABeAIAAG8AAAAJIAMAAAoBewIAACIAAAAKCgAAAAAAKEEJcAAAAAlxAAAACSEDAAAAAAkiAwAAAXwCAAByAAAACgoAAAAA////AA4AAAAAAQGBAgAApwAAAAkjAwAAAQAAAAMAAAABggIAAG8AAAAJJAMAAAoHgwIAAAABAAAABAAAAAQcQXBsb3Jpcy5CYXNlLlVJLlZpc3VhbE9iamVjdAMAAAAJcAEAAAlxAQAACgoBhgIAAGoAAAAKCgAAAEA/CSUDAAAJJgMAAAEAAAD+////AAAAAAEAAAAAAAAAAAAAAAEAAAAAAAAAAAAAAYcCAABvAAAACScDAAAKAYoCAAAiAAAACgoAAAAAAChBCXAAAAAJcQAAAAkoAwAAAAAJKQMAAAGLAgAAcgAAAAoKAAAAAP///wAOAAAAAAEBkAIAAKcAAAAJKgMAAAEAAAADAAAAAZECAABvAAAACSsDAAAKB5ICAAAAAQAAAAQAAAAEHEFwbG9yaXMuQmFzZS5VSS5WaXN1YWxPYmplY3QDAAAACXYBAAAJdwEAAAoKB5MCAAAAAQAAABAAAAAEHkFwbG9yaXMuQ2hhcnQuQ2hhcnREYXRhRWxlbWVudAIAAAAJLAMAAAktAwAACS4DAAAJLwMAAA0MB5QCAAAAAQAAABAAAAAEH0FwbG9yaXMuQmFzZS5PYmplY3RzLkRhdGFPYmplY3QDAAAACSwDAAAJLQMAAAkuAwAACS8DAAANDAeVAgAAAAEAAAAAAAAABBxBcGxvcmlzLkJhc2UuVUkuVmlzdWFsT2JqZWN0AwAAAAGWAgAAcgAAAAoKAAAAAAAAAAANAAAAAAEBlwIAAHIAAAAKCgEAAAAAAAAA/////wABB5gCAAAAAQAAAAQAAAAEHUFwbG9yaXMuQmFzZS5PYmplY3RzLlZhcmlhYmxlAwAAAAUwAwAAHUFwbG9yaXMuQmFzZS5PYmplY3RzLlZhcmlhYmxlAgAAAAZOdW1iZXIIUG9zaXRpb24AAAgIAwAAAAEAAAAAAAAAATEDAAAwAwAAAAAAAAAAAAABMgMAADADAAAAAAAAAAAAAAEzAwAAMAMAAAAAAAAAAAAAD5kCAAABAAAACAAAAAAHmgIAAAABAAAAEAAAAAQeQXBsb3Jpcy5DaGFydC5DaGFydERhdGFFbGVtZW50AgAAAAk0AwAACTUDAAAJNgMAAAk3AwAADQwHmwIAAAABAAAAEAAAAAQfQXBsb3Jpcy5CYXNlLk9iamVjdHMuRGF0YU9iamVjdAMAAAAJNAMAAAk1AwAACTYDAAAJNwMAAA0MB5wCAAAAAQAAAAAAAAAEHEFwbG9yaXMuQmFzZS5VSS5WaXN1YWxPYmplY3QDAAAAAZ0CAAByAAAACgoAAAAAAAAAAA0AAAAAAQGeAgAAcgAAAAoKAQAAAAAAAAD/////AAEHnwIAAAABAAAABAAAAAQdQXBsb3Jpcy5CYXNlLk9iamVjdHMuVmFyaWFibGUDAAAAATgDAAAwAwAAAQAAAAAAAAABOQMAADADAAAAAAAAAAAAAAE6AwAAMAMAAAAAAAAAAAAAATsDAAAwAwAAAAAAAAAAAAAPoAIAAAEAAAAIAAAAAAehAgAAAAEAAAAQAAAABB5BcGxvcmlzLkNoYXJ0LkNoYXJ0RGF0YUVsZW1lbnQCAAAACTwDAAAJPQMAAAk+AwAACT8DAAANDAeiAgAAAAEAAAAQAAAABB9BcGxvcmlzLkJhc2UuT2JqZWN0cy5EYXRhT2JqZWN0AwAAAAk8AwAACT0DAAAJPgMAAAk/AwAADQwBowIAAHIAAAAKCgAAAAAAAAAADQAAAAABAaQCAAByAAAACgoBAAAAAAAAAP////8AAQelAgAAAAEAAAAEAAAABB1BcGxvcmlzLkJhc2UuT2JqZWN0cy5WYXJpYWJsZQMAAAABQAMAADADAAABAAAAAAAAAAFBAwAAMAMAAAAAAAAAAAAAAUIDAAAwAwAAAAAAAAAAAAABQwMAADADAAAAAAAAAAAAAA+mAgAAAQAAAAgAAAAABak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cAAAAKAAAAAABAQQlwAAAACXEAAAAJRAMAAAEACUUDAAABqgIAAHIAAAAKCgAAAAD///8ADgAAAAABAa8CAACnAAAACUYDAAABAAAAAQAAAAGwAgAAbwAAAAlHAwAACgGxAgAAcgAAAAoKAAAAAAAAAAANAAAAAAABsgIAAHIAAAAKCgAAAAAAAAAADQAAAAABB7MCAAAAAQAAAAQAAAAEHUFwbG9yaXMuQmFzZS5PYmplY3RzLlZhcmlhYmxlAwAAAAFIAwAAMAMAAAEAAAAAAAAAAUkDAAAwAwAAAAAAAAAAAAABSgMAADADAAAAAAAAAAAAAAFLAwAAMAMAAAAAAAAAAAAAD7QCAAABAAAACFIBAAAFtw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AAAAAoAAAAAAEBBCXAAAAAJcQAAAAlMAwAAAQAJTQMAAAG4AgAAcgAAAAoKAAAAAP///wAOAAAAAAEBvQIAAKcAAAAJTgMAAAEAAAADAAAAAb4CAABvAAAACU8DAAAKAb8CAAByAAAACgoAAAAAAAAAAA0AAAAAAAHAAgAAcgAAAAoKAAAAAAAAAAANAAAAAAEHwQIAAAABAAAABAAAAAQdQXBsb3Jpcy5CYXNlLk9iamVjdHMuVmFyaWFibGUDAAAAAVADAAAwAwAAAQAAAAAAAAABUQMAADADAAAAAAAAAAAAAAFSAwAAMAMAAAAAAAAAAAAAAVMDAAAwAwAAAAAAAAAAAAAPwgIAAAEAAAAITQEAAAXF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5AAAACgAAAAAAQEEJcAAAAAlxAAAACVQDAAABAAlVAwAAAcYCAAByAAAACgoAAAAA////AA4AAAAAAQHLAgAApwAAAAlWAwAAAQAAAAMAAAABzAIAAG8AAAAJVwMAAAoBzQIAAHIAAAAKCgAAAAAAAAAADQAAAAAAAc4CAAByAAAACgoAAAAAAAAAAA0AAAAAAQfPAgAAAAEAAAAEAAAABB1BcGxvcmlzLkJhc2UuT2JqZWN0cy5WYXJpYWJsZQMAAAABWAMAADADAAABAAAAAAAAAAFZAwAAMAMAAAAAAAAAAAAAAVoDAAAwAwAAAAAAAAAAAAABWwMAADADAAAAAAAAAAAAAA/QAgAAAQAAAAjFAAAABdM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oAAAAKAAAAAABAQQlwAAAACXEAAAAJXAMAAAEACV0DAAAB1AIAAHIAAAAKCgEAAAAAAAAA/////wABAdkCAACnAAAACV4DAAABAAAAAwAAAAHaAgAAbwAAAAlfAwAACgHbAgAAcgAAAAoKAAAAAAAAAAANAAAAAAAB3AIAAHIAAAAKCgAAAAAAAAAADQAAAAABB90CAAAAAQAAAAQAAAAEHUFwbG9yaXMuQmFzZS5PYmplY3RzLlZhcmlhYmxlAwAAAAFgAwAAMAMAAAEAAAAAAAAAAWEDAAAwAwAAAAAAAAAAAAABYgMAADADAAAAAAAAAAAAAAFjAwAAMAMAAAAAAAAAAAAAD94CAAABAAAACBwDAAAB3wIAAHIAAAAKCgAAAAAAAAAADQAAAAAABeACAAAaQXBsb3Jpcy5CYXNlLk9iamVjdHMuQ29sb3IHAAAAEkRhdGFPYmplY3QrbVBhcmVudBVEYXRhT2JqZWN0K21Db250YWluZXIFbVR5cGUEbVJHQhBtVGhlbWVDb2xvckluZGV4DG1BdXRvVXBkYXRlZAltTW9kaWZpZWQEAgAAAAAAH0FwbG9yaXMuQmFzZS5PYmplY3RzLkxpbmVGb3JtYXQDAAAACAgIAQEDAAAACfABAAAKAQAAAAAAAAD/////AAEP4QIAAAEAAAAILwMAAAHiAgAAcgAAAAoKAAAAAAAAAAANAAAAAAAB4wIAAHIAAAAKCgAAAAAAAAAADQAAAAABB+QCAAAAAQAAAAQAAAAEHUFwbG9yaXMuQmFzZS5PYmplY3RzLlZhcmlhYmxlAwAAAAFkAwAAMAMAAAEAAAAAAAAAAWUDAAAwAwAAAAAAAAAAAAABZgMAADADAAAAAAAAAAAAAAFnAwAAMAMAAAAAAAAAAAAAD+UCAAABAAAACCYAAAAB5gIAAHIAAAAKCgAAAAAAAAAADQAAAAAABecCAAAaQXBsb3Jpcy5CYXNlLk9iamVjdHMuQ29sb3IHAAAAEkRhdGFPYmplY3QrbVBhcmVudBVEYXRhT2JqZWN0K21Db250YWluZXIFbVR5cGUEbVJHQhBtVGhlbWVDb2xvckluZGV4DG1BdXRvVXBkYXRlZAltTW9kaWZpZWQEAgAAAAAAH0FwbG9yaXMuQmFzZS5PYmplY3RzLkxpbmVGb3JtYXQDAAAACAgIAQEDAAAACf8BAAAKAQAAAAAAAAD/////AAEP6AIAAAEAAAAILgMAAAHpAgAAcgAAAAoKAAAAAAAAAAANAAAAAAAB6gIAAHIAAAAKCgAAAAAAAAAADQAAAAABB+sCAAAAAQAAAAQAAAAEHUFwbG9yaXMuQmFzZS5PYmplY3RzLlZhcmlhYmxlAwAAAAFoAwAAMAMAAAEAAAAAAAAAAWkDAAAwAwAAAAAAAAAAAAABagMAADADAAAAAAAAAAAAAAFrAwAAMAMAAAAAAAAAAAAAD+wCAAABAAAACCMAAAAB7QIAAHIAAAAKCgAAAAAAAAAADQAAAAAABe4CAAAaQXBsb3Jpcy5CYXNlLk9iamVjdHMuQ29sb3IHAAAAEkRhdGFPYmplY3QrbVBhcmVudBVEYXRhT2JqZWN0K21Db250YWluZXIFbVR5cGUEbVJHQhBtVGhlbWVDb2xvckluZGV4DG1BdXRvVXBkYXRlZAltTW9kaWZpZWQEAgAAAAAAH0FwbG9yaXMuQmFzZS5PYmplY3RzLkxpbmVGb3JtYXQDAAAACAgIAQEDAAAACQ4CAAAKAQAAAAAAAAD/////AAEP7wIAAAEAAAAILAMAAAHwAgAAcgAAAAoKAAAAAAAAAAANAAAAAAAB8QIAAHIAAAAKCgAAAAAAAAAADQAAAAABB/ICAAAAAQAAAAQAAAAEHUFwbG9yaXMuQmFzZS5PYmplY3RzLlZhcmlhYmxlAwAAAAFsAwAAMAMAAAEAAAAAAAAAAW0DAAAwAwAAAAAAAAAAAAABbgMAADADAAAAAAAAAAAAAAFvAwAAMAMAAAAAAAAAAAAAD/MCAAABAAAACCsAAAAB9AIAAHIAAAAKCgAAAAAAAAAADQAAAAAABfUCAAAaQXBsb3Jpcy5CYXNlLk9iamVjdHMuQ29sb3IHAAAAEkRhdGFPYmplY3QrbVBhcmVudBVEYXRhT2JqZWN0K21Db250YWluZXIFbVR5cGUEbVJHQhBtVGhlbWVDb2xvckluZGV4DG1BdXRvVXBkYXRlZAltTW9kaWZpZWQEAgAAAAAAH0FwbG9yaXMuQmFzZS5PYmplY3RzLkxpbmVGb3JtYXQDAAAACAgIAQEDAAAACR0CAAAKAQAAAAAAAAD/////AAEP9gIAAAEAAAAIKgMAAAH3AgAAcgAAAAoKAAAAAAAAAAANAAAAAAAB+AIAAHIAAAAKCgAAAAAAAAAADQAAAAABB/kCAAAAAQAAAAQAAAAEHUFwbG9yaXMuQmFzZS5PYmplY3RzLlZhcmlhYmxlAwAAAAFwAwAAMAMAAAEAAAAAAAAAAXEDAAAwAwAAAAAAAAAAAAABcgMAADADAAAAAAAAAAAAAAFzAwAAMAMAAAAAAAAAAAAAD/oCAAABAAAACCoAAAAB+wIAAHIAAAAKCgAAAAAAAAAADQAAAAAABfwCAAAaQXBsb3Jpcy5CYXNlLk9iamVjdHMuQ29sb3IHAAAAEkRhdGFPYmplY3QrbVBhcmVudBVEYXRhT2JqZWN0K21Db250YWluZXIFbVR5cGUEbVJHQhBtVGhlbWVDb2xvckluZGV4DG1BdXRvVXBkYXRlZAltTW9kaWZpZWQEAgAAAAAAH0FwbG9yaXMuQmFzZS5PYmplY3RzLkxpbmVGb3JtYXQDAAAACAgIAQEDAAAACSwCAAAKAQAAAAAAAAD/////AAEP/QIAAAEAAAAIKQMAAAH+AgAAcgAAAAoKAAAAAAAAAAANAAAAAAAB/wIAAHIAAAAKCgAAAAAAAAAADQAAAAABBwADAAAAAQAAAAQAAAAEHUFwbG9yaXMuQmFzZS5PYmplY3RzLlZhcmlhYmxlAwAAAAF0AwAAMAMAAAEAAAAAAAAAAXUDAAAwAwAAAAAAAAAAAAABdgMAADADAAAAAAAAAAAAAAF3AwAAMAMAAAAAAAAAAAAADwEDAAABAAAACCcAAAABAgMAAHIAAAAKCgAAAAAAAAAADQAAAAAABQMDAAAaQXBsb3Jpcy5CYXNlLk9iamVjdHMuQ29sb3IHAAAAEkRhdGFPYmplY3QrbVBhcmVudBVEYXRhT2JqZWN0K21Db250YWluZXIFbVR5cGUEbVJHQhBtVGhlbWVDb2xvckluZGV4DG1BdXRvVXBkYXRlZAltTW9kaWZpZWQEAgAAAAAAH0FwbG9yaXMuQmFzZS5PYmplY3RzLkxpbmVGb3JtYXQDAAAACAgIAQEDAAAACTsCAAAKAQAAAAAAAAD/////AAEPBAMAAAEAAAAIKAMAAAEFAwAAcgAAAAoKAAAAAAAAAAANAAAAAAABBgMAAHIAAAAKCgAAAAAAAAAADQAAAAABBwcDAAAAAQAAAAQAAAAEHUFwbG9yaXMuQmFzZS5PYmplY3RzLlZhcmlhYmxlAwAAAAF4AwAAMAMAAAEAAAAAAAAAAXkDAAAwAwAAAAAAAAAAAAABegMAADADAAAAAAAAAAAAAAF7AwAAMAMAAAAAAAAAAAAADwgDAAABAAAACCkAAAABCQMAAHIAAAAKCgAAAAAAAAAADQAAAAAABQoDAAAaQXBsb3Jpcy5CYXNlLk9iamVjdHMuQ29sb3IHAAAAEkRhdGFPYmplY3QrbVBhcmVudBVEYXRhT2JqZWN0K21Db250YWluZXIFbVR5cGUEbVJHQhBtVGhlbWVDb2xvckluZGV4DG1BdXRvVXBkYXRlZAltTW9kaWZpZWQEAgAAAAAAH0FwbG9yaXMuQmFzZS5PYmplY3RzLkxpbmVGb3JtYXQDAAAACAgIAQEDAAAACUoCAAAKAQAAAAAAAAD/////AAEPCwMAAAEAAAAIKwMAAAEMAwAAcgAAAAoKAAAAAAAAAAANAAAAAAABDQMAAHIAAAAKCgAAAAAAAAAADQAAAAABBw4DAAAAAQAAAAQAAAAEHUFwbG9yaXMuQmFzZS5PYmplY3RzLlZhcmlhYmxlAwAAAAF8AwAAMAMAAAEAAAAAAAAAAX0DAAAwAwAAAAAAAAAAAAABfgMAADADAAAAAAAAAAAAAAF/AwAAMAMAAAAAAAAAAAAADw8DAAABAAAACCgAAAABEAMAAHIAAAAKCgAAAAAAAAAADQAAAAAABREDAAAaQXBsb3Jpcy5CYXNlLk9iamVjdHMuQ29sb3IHAAAAEkRhdGFPYmplY3QrbVBhcmVudBVEYXRhT2JqZWN0K21Db250YWluZXIFbVR5cGUEbVJHQhBtVGhlbWVDb2xvckluZGV4DG1BdXRvVXBkYXRlZAltTW9kaWZpZWQEAgAAAAAAH0FwbG9yaXMuQmFzZS5PYmplY3RzLkxpbmVGb3JtYXQDAAAACAgIAQEDAAAACVkCAAAKAQAAAAAAAAD/////AAEPEgMAAAEAAAAIMgMAAAETAwAAcgAAAAoKAAAAAAAAAAANAAAAAAABFAMAAHIAAAAKCgAAAAAAAAAADQAAAAABBxUDAAAAAQAAAAQAAAAEHUFwbG9yaXMuQmFzZS5PYmplY3RzLlZhcmlhYmxlAwAAAAGAAwAAMAMAAAEAAAAAAAAAAYEDAAAwAwAAAAAAAAAAAAABggMAADADAAAAAAAAAAAAAAGDAwAAMAMAAAAAAAAAAAAADxYDAAABAAAACCwAAAABFwMAAHIAAAAKCgAAAAAAAAAADQAAAAAABRgDAAAaQXBsb3Jpcy5CYXNlLk9iamVjdHMuQ29sb3IHAAAAEkRhdGFPYmplY3QrbVBhcmVudBVEYXRhT2JqZWN0K21Db250YWluZXIFbVR5cGUEbVJHQhBtVGhlbWVDb2xvckluZGV4DG1BdXRvVXBkYXRlZAltTW9kaWZpZWQEAgAAAAAAH0FwbG9yaXMuQmFzZS5PYmplY3RzLkxpbmVGb3JtYXQDAAAACAgIAQEDAAAACWgCAAAKAQAAAAAAAAD/////AAEPGQMAAAEAAAAIMQMAAAEaAwAAcgAAAAoKAAAAAAAAAAANAAAAAAABGwMAAHIAAAAKCgAAAAAAAAAADQAAAAABBxwDAAAAAQAAAAQAAAAEHUFwbG9yaXMuQmFzZS5PYmplY3RzLlZhcmlhYmxlAwAAAAGEAwAAMAMAAAEAAAAAAAAAAYUDAAAwAwAAAAAAAAAAAAABhgMAADADAAAAAAAAAAAAAAGHAwAAMAMAAAAAAAAAAAAADx0DAAABAAAACC0AAAABHgMAAHIAAAAKCgAAAAAAAAAADQAAAAAABR8DAAAaQXBsb3Jpcy5CYXNlLk9iamVjdHMuQ29sb3IHAAAAEkRhdGFPYmplY3QrbVBhcmVudBVEYXRhT2JqZWN0K21Db250YWluZXIFbVR5cGUEbVJHQhBtVGhlbWVDb2xvckluZGV4DG1BdXRvVXBkYXRlZAltTW9kaWZpZWQEAgAAAAAAH0FwbG9yaXMuQmFzZS5PYmplY3RzLkxpbmVGb3JtYXQDAAAACAgIAQEDAAAACXcCAAAKAQAAAAAAAAD/////AAEPIAMAAAEAAAAILQMAAAEhAwAAcgAAAAoKAAAAAAAAAAANAAAAAAABIgMAAHIAAAAKCgAAAAAAAAAADQAAAAABByMDAAAAAQAAAAQAAAAEHUFwbG9yaXMuQmFzZS5PYmplY3RzLlZhcmlhYmxlAwAAAAGIAwAAMAMAAAEAAAAAAAAAAYkDAAAwAwAAAAAAAAAAAAABigMAADADAAAAAAAAAAAAAAGLAwAAMAMAAAAAAAAAAAAADyQDAAABAAAACCUAAAABJQMAAHIAAAAKCgAAAAAAAAAADQAAAAAABSYDAAAaQXBsb3Jpcy5CYXNlLk9iamVjdHMuQ29sb3IHAAAAEkRhdGFPYmplY3QrbVBhcmVudBVEYXRhT2JqZWN0K21Db250YWluZXIFbVR5cGUEbVJHQhBtVGhlbWVDb2xvckluZGV4DG1BdXRvVXBkYXRlZAltTW9kaWZpZWQEAgAAAAAAH0FwbG9yaXMuQmFzZS5PYmplY3RzLkxpbmVGb3JtYXQDAAAACAgIAQEDAAAACYYCAAAKAQAAAAAAAAD/////AAEPJwMAAAEAAAAIMAMAAAEoAwAAcgAAAAoKAAAAAAAAAAANAAAAAAABKQMAAHIAAAAKCgAAAAAAAAAADQAAAAABByoDAAAAAQAAAAQAAAAEHUFwbG9yaXMuQmFzZS5PYmplY3RzLlZhcmlhYmxlAwAAAAGMAwAAMAMAAAEAAAAAAAAAAY0DAAAwAwAAAAAAAAAAAAABjgMAADADAAAAAAAAAAAAAAGPAwAAMAMAAAAAAAAAAAAADysDAAABAAAACCQAAAAFLAM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mQAwAACZEDAAAKCZIDAAAKCfQAAAAIBjGEbLzuBMo/CgAAAAAJkwMAAAmUAwAAAAAAAAAJlQMAAAn0AAAACQEAAAAJlgMAAAEtAwAALAMAAAmXAwAACZgDAAAKCZkDAAAKCfQAAAAIBnbpMX+vjdg/CgEAAAAJmgMAAAmbAwAAAAAAAAAJnAMAAAn0AAAACQEAAAAJnQMAAAEuAwAALAMAAAmeAwAACZ8DAAAKCaADAAAKCfQAAAAIBjhbh36zdcg/CgIAAAAJoQMAAAmiAwAAAAAAAAAJowMAAAn0AAAACQEAAAAJpAMAAAEvAwAALAMAAAmlAwAACaYDAAAKCacDAAAKCfQAAAAIBik19jALyLc/CgMAAAAJqAMAAAmpAwAAAAAAAAAJqgMAAAn0AAAACQEAAAAJqwMAAAE0AwAALAMAAAmsAwAACa0DAAAKCa4DAAAKCfUAAAAIBrfLxVnmK+E/CgAAAAAJrwMAAAmwAwAAAAAAAAAJsQMAAAn1AAAACQEAAAAJsgMAAAE1AwAALAMAAAmzAwAACbQDAAAKCbUDAAAKCfUAAAAIBiV3ihbOgOA/CgEAAAAJtgMAAAm3AwAAAAAAAAAJuAMAAAn1AAAACQEAAAAJuQMAAAE2AwAALAMAAAm6AwAACbsDAAAKCbwDAAAKCfUAAAAIBl4gk+IFMuE/CgIAAAAJvQMAAAm+AwAAAAAAAAAJvwMAAAn1AAAACQEAAAAJwAMAAAE3AwAALAMAAAnBAwAACcIDAAAKCcMDAAAKCfUAAAAIBpgF5ItEqeE/CgMAAAAJxAMAAAnFAwAAAAAAAAAJxgMAAAn1AAAACQEAAAAJxwMAAAE8AwAALAMAAAnIAwAACckDAAAKCcoDAAAKCfYAAAAIBnkmPu67pdA/CgAAAAAJywMAAAnMAwAAAAAAAAAJzQMAAAn2AAAACQEAAAAJzgMAAAE9AwAALAMAAAnPAwAACdADAAAKCdEDAAAKCfYAAAAIBgKh5E7Rwrk/CgEAAAAJ0gMAAAnTAwAAAAAAAAAJ1AMAAAn2AAAACQEAAAAJ1QMAAAE+AwAALAMAAAnWAwAACdcDAAAKCdgDAAAKCfYAAAAIBqgRlnsaYdE/CgIAAAAJ2QMAAAnaAwAAAAAAAAAJ2wMAAAn2AAAACQEAAAAJ3AMAAAE/AwAALAMAAAndAwAACd4DAAAKCd8DAAAKCfYAAAAIBoVn+ht0u9Y/CgMAAAAJ4AMAAAnhAwAAAAAAAAAJ4gMAAAn2AAAACQEAAAAJ4wMAAAFEAwAAcgAAAAoKAAAAAAAAAAANAAAAAAEBRQMAAHIAAAAKCgEAAAAAAAAA/////wABB0YDAAAAAQAAAAQAAAAEHUFwbG9yaXMuQmFzZS5PYmplY3RzLlZhcmlhYmxlAwAAAAHkAwAAMAMAAAEAAAAAAAAAAeUDAAAwAwAAAAAAAAAAAAAB5gMAADADAAAAAAAAAAAAAAHnAwAAMAMAAAAAAAAAAAAAD0cDAAABAAAACAAAAAABTAMAAHIAAAAKCgAAAAAAAAAADQAAAAABAU0DAAByAAAACgoBAAAAAAAAAP////8AAQdOAwAAAAEAAAAEAAAABB1BcGxvcmlzLkJhc2UuT2JqZWN0cy5WYXJpYWJsZQMAAAAB6AMAADADAAABAAAAAAAAAAHpAwAAMAMAAAAAAAAAAAAAAeoDAAAwAwAAAAAAAAAAAAAB6wMAADADAAAAAAAAAAAAAA9PAwAAAQAAAAgAAAAAAVQDAAByAAAACgoAAAAAAAAAAA0AAAAAAQFVAwAAcgAAAAoKAQAAAAAAAAD/////AAEHVgMAAAABAAAABAAAAAQdQXBsb3Jpcy5CYXNlLk9iamVjdHMuVmFyaWFibGUDAAAAAewDAAAwAwAAAQAAAAAAAAAB7QMAADADAAAAAAAAAAAAAAHuAwAAMAMAAAAAAAAAAAAAAe8DAAAwAwAAAAAAAAAAAAAPVwMAAAEAAAAIAAAAAAFcAwAAcgAAAAoKAAAAAAAAAAANAAAAAAEBXQMAAHIAAAAKCgEAAAAAAAAA/////wABB14DAAAAAQAAAAQAAAAEHUFwbG9yaXMuQmFzZS5PYmplY3RzLlZhcmlhYmxlAwAAAAHwAwAAMAMAAAEAAAAAAAAAAfEDAAAwAwAAAAAAAAAAAAAB8gMAADADAAAAAAAAAAAAAAHzAwAAMAMAAAAAAAAAAAAAD18DAAABAAAACAAAAAABkAMAAAkBAAAKWAIAAAH0AwAAfwEAAAIAAAAB9QMAAIABAAABAAAAAfYDAAAUAAAAXHKUQhJ8aEMguqtCiE5CQgH3AwAAggEAAAAAAAAAAKBAAAH4AwAAIAAAAGxP6kLyYoBDAfkDAACaAAAAAAAAAAAAAAAAAAAAAAn6AwAAAAAAAAn7AwAAAAAB/AMAAKMAAAAAAAAAAf0DAABsAAAAAAAAQgAAQEEB/gMAABQAAAB00clCuuh6Q0hFAEKjiy5BEoO+Pwb/AwAABTIwLjMlCgkABAAACYsBAAA0AwAA/////wEBCgkBBAAAAQAKAAGRAwAAGwAAAAECBAAAIAAAAFxyjkLaB45DAQMEAAAgAAAAPhYjQxJ8ZUMJBAQAAAkFBAAAAAAAAAoBBgQAAGwAAAAAAAAAAAAAAAEHBAAAbAAAAAAAAAAAAAAAAAAAAAEIBAAAFAAAAAAAAAAAAAAAAAAAAAAAAACkAQAA/////wEBCgkJBAAAAQAKAAeSAwAAAAEAAAACAAAABBpBcGxvcmlzLkJhc2UuVUkuVmlzdWFsTGluZQMAAAAKCgeTAwAAAAEAAAADAAAABBVTeXN0ZW0uRHJhd2luZy5Qb2ludEYEAAAAAQoEAAAgAAAAbE/qQvJigEMBCwQAACAAAABccohC8mKAQwEMBAAAIAAAAD4WJkPyYoBDB5QDAAAAAQAAAAMAAAAEF0FwbG9yaXMuQmFzZS5BbmNob3JNb2RlAwAAAAENBAAAmgAAAAAAAAABDgQAAJoAAAACAAAAAQ8EAACaAAAABAAAAAGVAwAAJAAAAAkQBAAAAAAAAAAAAAABlgMAACUAAAAJEQQAAAIAAAAKAAAAAZcDAAAJAQAAClgCAAABEgQAAH8BAAACAAAAARMEAACAAQAAAQAAAAEUBAAAFAAAAHo0XUOiDjhDILqrQiQCwkIBFQQAAIIBAAAAAAAAAACgQAABFgQAACAAAACBEYRDK49oQwEXBAAAmgAAAAAAAAAAAAAAAAAAAAAJGAQAAAAAAAAJGQQAAAAAARoEAACjAAAAAAAAAAEbBAAAbAAAAAAAAEIAAEBBARwEAAAUAAAAiy54Q9FFY0NIRQBCo4suQRKDvj8GHQQAAAUzOC40JQoJHgQAAAmLAQAANAMAAP////8BAQoJHwQAAAEACgABmAMAABsAAAABIAQAACAAAAB6NFpD2geOQwEhBAAAIAAAAMUIm0OiDjVDCSIEAAAJIwQAAAAAAAAKASQEAABsAAAAAAAAAAAAAAABJQQAAGwAAAAAAAAAAAAAAAAAAAABJgQAABQAAAAAAAAAAAAAAAAAAAAAAAAApAEAAP////8BAQoJJwQAAAEACgAHmQMAAAABAAAAAgAAAAQaQXBsb3Jpcy5CYXNlLlVJLlZpc3VhbExpbmUDAAAACgoHmgMAAAABAAAAAwAAAAQVU3lzdGVtLkRyYXdpbmcuUG9pbnRGBAAAAAEoBAAAIAAAAIERhEMrj2hDASkEAAAgAAAAejRXQyuPaEMBKgQAACAAAADFiJxDK49oQwebAwAAAAEAAAADAAAABBdBcGxvcmlzLkJhc2UuQW5jaG9yTW9kZQMAAAABKwQAAJoAAAAAAAAAASwEAACaAAAAAgAAAAEtBAAAmgAAAAQAAAABnAMAACQAAAAJEAQAAAAAAAAAAAAAAZ0DAAAlAAAACS4EAAACAAAAAgAAAAGeAwAACQEAAApYAgAAAS8EAAB/AQAAAgAAAAEwBAAAgAEAAAEAAAABMQQAABQAAADjF7hDesFrQyC6q0LoODVCATIEAACCAQAAAAAAAAAAoEAAATMEAAAgAAAAJ4/NQ0w0gUMBNAQAAJoAAAAAAAAAAAAAAAAAAAAACTUEAAAAAAAACTYEAAAAAAE3BAAAowAAAAAAAAABOAQAAGwAAAAAAABCAABAQQE5BAAAFAAAAC66xUMuunxDSEUAQqOLLkESg74/BjoEAAAFMTkuMSUKCTsEAAAJiwEAADQDAAD/////AQEKCTwEAAABAAoAAZ8DAAAbAAAAAT0EAAAgAAAA45e2Q9oHjkMBPgQAACAAAABrhuRDesFoQwk/BAAACUAEAAAAAAAACgFBBAAAbAAAAAAAAAAAAAAAAUIEAABsAAAAAAAAAAAAAAAAAAAAAUMEAAAUAAAAAAAAAAAAAAAAAAAAAAAAAKQBAAD/////AQEKCUQEAAABAAoAB6ADAAAAAQAAAAIAAAAEGkFwbG9yaXMuQmFzZS5VSS5WaXN1YWxMaW5lAwAAAAoKB6EDAAAAAQAAAAMAAAAEFVN5c3RlbS5EcmF3aW5nLlBvaW50RgQAAAABRQQAACAAAAAnj81DTDSBQwFGBAAAIAAAAOMXtUNMNIFDAUcEAAAgAAAAawbmQ0w0gUMHogMAAAABAAAAAwAAAAQXQXBsb3Jpcy5CYXNlLkFuY2hvck1vZGUDAAAAAUgEAACaAAAAAAAAAAFJBAAAmgAAAAIAAAABSgQAAJoAAAAEAAAAAaMDAAAkAAAACRAEAAAAAAAAAAAAAAGkAwAAJQAAAAlLBAAAAgAAAAIAAAABpQMAAAkBAAAKWAIAAAFMBAAAfwEAAAIAAAABTQQAAIABAAABAAAAAU4EAAAUAAAAxcoARFwPg0MguqtC4IeXQQFPBAAAggEAAAAAAAAAAKBAAAFQBAAAIAAAAGeGC0Sby4dDAVEEAACaAAAAAAAAAAAAAAAAAAAAAAlSBAAAAAAAAAlTBAAAAAABVAQAAKMAAAAAAAAAAVUEAABsAAAAAADQQQAAQEEBVgQAABQAAADpIghEiy6FQ6jn1EGjiy5BEoO+PwZXBAAABDkuMyUKCVgEAAAJiwEAADQDAAD/////AQEKCVkEAAABAAoAAaYDAAAbAAAAAVoEAAAgAAAAxQoARNoHjkMBWwQAACAAAAAJAhdEXI+BQwlcBAAACV0EAAAAAAAACgFeBAAAbAAAAAAAAAAAAAAAAV8EAABsAAAAAAAAAAAAAAAAAAAAAWAEAAAUAAAAAAAAAAAAAAAAAAAAAAAAAKQBAAD/////AQEKCWEEAAABAAoAB6cDAAAAAQAAAAIAAAAEGkFwbG9yaXMuQmFzZS5VSS5WaXN1YWxMaW5lAwAAAAoKB6gDAAAAAQAAAAMAAAAEFVN5c3RlbS5EcmF3aW5nLlBvaW50RgQAAAABYgQAACAAAABnhgtEm8uHQwFjBAAAIAAAAIqV/kOby4dDAWQEAAAgAAAACcIXRJvLh0MHqQMAAAABAAAAAwAAAAQXQXBsb3Jpcy5CYXNlLkFuY2hvck1vZGUDAAAAAWUEAACaAAAAAAAAAAFmBAAAmgAAAAIAAAABZwQAAJoAAAAEAAAAAaoDAAAkAAAACewBAAAAAAAAAAAAAAGrAwAAJQAAAAloBAAAAgAAAAIAAAABrAMAAAkBAAAKWAIAAAFpBAAAfwEAAAIAAAABagQAAIABAAABAAAAAWsEAAAUAAAAXHKUQjbTsEIguqtCdxIKQwFsBAAAggEAAAAAAAAAAKBAAAFtBAAAIAAAAGxP6kLWch1DAW4EAACaAAAAAAAAAAAAAAAAAAAAAAlvBAAAAAAAAAlwBAAAAAABcQQAAKMAAAAAAAAAAXIEAABsAAAAAAAAQgAAQEEBcwQAABQAAAB00clCdNEXQ0hFAEKjiy5BEoO+PwZ0BAAABTUzLjclCgl1BAAACYsBAAA0AwAA/////wEBCgl2BAAAAQAKAAGtAwAAGwAAAAF3BAAAIAAAAFxyjkISfGVDAXgEAAAgAAAAPhYjQzbTqkIJeQQAAAl6BAAAAAAAAAoBewQAAGwAAAAAAAAAAAAAAAF8BAAAbAAAAAAAAAAAAAAAAAAAAAF9BAAAFAAAAAAAAAAAAAAAAAAAAAAAAACkAQAA/////wEBCgl+BAAAAQAKAAeuAwAAAAEAAAACAAAABBpBcGxvcmlzLkJhc2UuVUkuVmlzdWFsTGluZQMAAAAKCgevAwAAAAEAAAADAAAABBVTeXN0ZW0uRHJhd2luZy5Qb2ludEYEAAAAAX8EAAAgAAAAbE/qQtZyHUMBgAQAACAAAABccohC1nIdQwGBBAAAIAAAAD4WJkPWch1DB7ADAAAAAQAAAAMAAAAEF0FwbG9yaXMuQmFzZS5BbmNob3JNb2RlAwAAAAGCBAAAmgAAAAAAAAABgwQAAJoAAAACAAAAAYQEAACaAAAABAAAAAGxAwAAJAAAAAmFBAAAAAAAAAAAAAABsgMAACUAAAAJhgQAAAIAAAAKAAAAAbMDAAAJAQAAClgCAAABhwQAAH8BAAACAAAAAYgEAACAAQAAAQAAAAGJBAAAFAAAAHo0XUPAXjZCILqrQvJ2BEMBigQAAIIBAAAAAAAAAACgQAABiwQAACAAAACBEYRDUqbfQgGMBAAAmgAAAAAAAAAAAAAAAAAAAAAJjQQAAAAAAAAJjgQAAAAAAY8EAACjAAAAAAAAAAGQBAAAbAAAAAAAAEIAAEBBAZEEAAAUAAAAiy54Qy661EJIRQBCo4suQRKDvj8GkgQAAAU1MS42JQoJkwQAAAmLAQAANAMAAP////8BAQoJlAQAAAEACgABtAMAABsAAAABlQQAACAAAAB6NFpDog41QwGWBAAAIAAAAMUIm0PAXipCCZcEAAAJmAQAAAAAAAAKAZkEAABsAAAAAAAAAAAAAAABmgQAAGwAAAAAAAAAAAAAAAAAAAABmwQAABQAAAAAAAAAAAAAAAAAAAAAAAAApAEAAP////8BAQoJnAQAAAEACgAHtQMAAAABAAAAAgAAAAQaQXBsb3Jpcy5CYXNlLlVJLlZpc3VhbExpbmUDAAAACgoHtgMAAAABAAAAAwAAAAQVU3lzdGVtLkRyYXdpbmcuUG9pbnRGBAAAAAGdBAAAIAAAAIERhENSpt9CAZ4EAAAgAAAAejRXQ1Km30IBnwQAACAAAADFiJxDUqbfQge3AwAAAAEAAAADAAAABBdBcGxvcmlzLkJhc2UuQW5jaG9yTW9kZQMAAAABoAQAAJoAAAAAAAAAAaEEAACaAAAAAgAAAAGiBAAAmgAAAAQAAAABuAMAACQAAAAJhQQAAAAAAAAAAAAAAbkDAAAlAAAACaMEAAACAAAAAgAAAAG6AwAACQEAAApYAgAAAaQEAAB/AQAAAgAAAAGlBAAAgAEAAAEAAAABpgQAABQAAADjF7hDRve2QiC6q0LXRQpDAacEAACCAQAAAAAAAAAAoEAAAagEAAAgAAAAJ4/NQ46eIEMBqQQAAJoAAAAAAAAAAAAAAAAAAAAACaoEAAAAAAAACasEAAAAAAGsBAAAowAAAAAAAAABrQQAAGwAAAAAAABCAABAQQGuBAAAFAAAAC66xUNddBtDSEUAQqOLLkESg74/Bq8EAAAFNTMuNyUKCbAEAAAJiwEAADQDAAD/////AQEKCbEEAAABAAoAAbsDAAAbAAAAAbIEAAAgAAAA45e2Q3rBaEMBswQAACAAAABrhuRDRvewQgm0BAAACbUEAAAAAAAACgG2BAAAbAAAAAAAAAAAAAAAAbcEAABsAAAAAAAAAAAAAAAAAAAAAbgEAAAUAAAAAAAAAAAAAAAAAAAAAAAAAKQBAAD/////AQEKCbkEAAABAAoAB7wDAAAAAQAAAAIAAAAEGkFwbG9yaXMuQmFzZS5VSS5WaXN1YWxMaW5lAwAAAAoKB70DAAAAAQAAAAMAAAAEFVN5c3RlbS5EcmF3aW5nLlBvaW50RgQAAAABugQAACAAAAAnj81Djp4gQwG7BAAAIAAAAOMXtUOOniBDAbwEAAAgAAAAawbmQ46eIEMHvgMAAAABAAAAAwAAAAQXQXBsb3Jpcy5CYXNlLkFuY2hvck1vZGUDAAAAAb0EAACaAAAAAAAAAAG+BAAAmgAAAAIAAAABvwQAAJoAAAAEAAAAAb8DAAAkAAAACYUEAAAAAAAAAAAAAAHAAwAAJQAAAAnABAAAAgAAAAIAAAABwQMAAAkBAAAKWAIAAAHBBAAAfwEAAAIAAAABwgQAAIABAAABAAAAAcMEAAAUAAAAxcoARMjg40IguqtCVC4OQwHEBAAAggEAAAAAAAAAAKBAAAHFBAAAIAAAAGeGC0SOBzlDAcYEAACaAAAAAAAAAAAAAAAAAAAAAAnHBAAAAAAAAAnIBAAAAAAByQQAAKMAAAAAAAAAAcoEAABsAAAAAAAAQgAAQEEBywQAABQAAABddAdEAAA0Q0hFAEKjiy5BEoO+PwbMBAAABTU1LjIlCgnNBAAACYsBAAA0AwAA/////wEBCgnOBAAAAQAKAAHCAwAAGwAAAAHPBAAAIAAAAMUKAERcj4FDAdAEAAAgAAAACQIXRMjg3UIJ0QQAAAnSBAAAAAAAAAoB0wQAAGwAAAAAAAAAAAAAAAHUBAAAbAAAAAAAAAAAAAAAAAAAAAHVBAAAFAAAAAAAAAAAAAAAAAAAAAAAAACkAQAA/////wEBCgnWBAAAAQAKAAfDAwAAAAEAAAACAAAABBpBcGxvcmlzLkJhc2UuVUkuVmlzdWFsTGluZQMAAAAKCgfEAwAAAAEAAAADAAAABBVTeXN0ZW0uRHJhd2luZy5Qb2ludEYEAAAAAdcEAAAgAAAAZ4YLRI4HOUMB2AQAACAAAACKlf5Djgc5QwHZBAAAIAAAAAnCF0SOBzlDB8UDAAAAAQAAAAMAAAAEF0FwbG9yaXMuQmFzZS5BbmNob3JNb2RlAwAAAAHaBAAAmgAAAAAAAAAB2wQAAJoAAAACAAAAAdwEAACaAAAABAAAAAHGAwAAJAAAAAnsAQAAAAAAAAAAAAABxwMAACUAAAAJ3QQAAAIAAAACAAAAAcgDAAAJAQAAClgCAAAB3gQAAH8BAAACAAAAAd8EAACAAQAAAQAAAAHgBAAAFAAAAFxylEKvmZRBILqrQpRZf0IB4QQAAIIBAAAAAAAAAACgQAAB4gQAACAAAABsT+pCovlJQgHjBAAAmgAAAAAAAAAAAAAAAAAAAAAJ5AQAAAAAAAAJ5QQAAAAAAeYEAACjAAAAAAAAAAHnBAAAbAAAAAAAAEIAAEBBAegEAAAUAAAAdNHJQnTRNUJIRQBCo4suQRKDvj8G6QQAAAUyNi4wJQoJ6gQAAAmLAQAANAMAAP////8BAQoJ6wQAAAEACgAByQMAABsAAAAB7AQAACAAAABcco5CNtOqQgHtBAAAIAAAAD4WI0NeM3lBCe4EAAAJ7wQAAAAAAAAKAfAEAABsAAAAAAAAAAAAAAAB8QQAAGwAAAAAAAAAAAAAAAAAAAAB8gQAABQAAAAAAAAAAAAAAAAAAAAAAAAApAEAAP////8BAQoJ8wQAAAEACgAHygMAAAABAAAAAgAAAAQaQXBsb3Jpcy5CYXNlLlVJLlZpc3VhbExpbmUDAAAACgoHywMAAAABAAAAAwAAAAQVU3lzdGVtLkRyYXdpbmcuUG9pbnRGBAAAAAH0BAAAIAAAAGxP6kKi+UlCAfUEAAAgAAAAXHKIQqL5SUIB9gQAACAAAAA+FiZDovlJQgfMAwAAAAEAAAADAAAABBdBcGxvcmlzLkJhc2UuQW5jaG9yTW9kZQMAAAAB9wQAAJoAAAAAAAAAAfgEAACaAAAAAgAAAAH5BAAAmgAAAAQAAAABzQMAACQAAAAJhQQAAAAAAAAAAAAAAc4DAAAlAAAACfoEAAACAAAACgAAAAHPAwAACQEAAApYAgAAAfsEAAB/AQAAAgAAAAH8BAAAgAEAAAEAAAAB/QQAABQAAAB6NF1Dr5mUQSC6q0LRI6hBAf4EAACCAQAAAAAAAAAAoEAAAf8EAAAgAAAAgRGEQ5ir6EEBAAUAAJoAAAAAAAAAAAAAAAAAAAAACQEFAAAAAAAACQIFAAAAAAEDBQAAowAAAAAAAAABBAUAAGwAAAAAAABCAABAQQEFBQAAFAAAAIsueENGF71BSEUAQqOLLkESg74/BgYFAAAFMTAuMSUKCQcFAAAJiwEAADQDAAD/////AQEKCQgFAAABAAoAAdADAAAbAAAAAQkFAAAgAAAAejRaQ8BeKkIBCgUAACAAAADFCJtDXjN5QQkLBQAACQwFAAAAAAAACgENBQAAbAAAAAAAAAAAAAAAAQ4FAABsAAAAAAAAAAAAAAAAAAAAAQ8FAAAUAAAAAAAAAAAAAAAAAAAAAAAAAKQBAAD/////AQEKCRAFAAABAAoAB9EDAAAAAQAAAAIAAAAEGkFwbG9yaXMuQmFzZS5VSS5WaXN1YWxMaW5lAwAAAAoKB9IDAAAAAQAAAAMAAAAEFVN5c3RlbS5EcmF3aW5nLlBvaW50RgQAAAABEQUAACAAAACBEYRDmKvoQQESBQAAIAAAAHo0V0OYq+hBARMFAAAgAAAAxYicQ5ir6EEH0wMAAAABAAAAAwAAAAQXQXBsb3Jpcy5CYXNlLkFuY2hvck1vZGUDAAAAARQFAACaAAAAAAAAAAEVBQAAmgAAAAIAAAABFgUAAJoAAAAEAAAAAdQDAAAkAAAACYUEAAAAAAAAAAAAAAHVAwAAJQAAAAkXBQAAAgAAAAIAAAAB1gMAAAkBAAAKWAIAAAEYBQAAfwEAAAIAAAABGQUAAIABAAABAAAAARoFAAAUAAAA4xe4Q6+ZlEEguqtC2tCFQgEbBQAAggEAAAAAAAAAAKBAAAEcBQAAIAAAACePzUOyHVBCAR0FAACaAAAAAAAAAAAAAAAAAAAAAAkeBQAAAAAAAAkfBQAAAAABIAUAAKMAAAAAAAAAASEFAABsAAAAAAAAQgAAQEEBIgUAABQAAAAuusVDXXQ5QkhFAEKjiy5BEoO+PwYjBQAABTI3LjIlCgkkBQAACYsBAAA0AwAA/////wEBCgklBQAAAQAKAAHXAwAAGwAAAAEmBQAAIAAAAOOXtkNG97BCAScFAAAgAAAAa4bkQ14zeUEJKAUAAAkpBQAAAAAAAAoBKgUAAGwAAAAAAAAAAAAAAAErBQAAbAAAAAAAAAAAAAAAAAAAAAEsBQAAFAAAAAAAAAAAAAAAAAAAAAAAAACkAQAA/////wEBCgktBQAAAQAKAAfYAwAAAAEAAAACAAAABBpBcGxvcmlzLkJhc2UuVUkuVmlzdWFsTGluZQMAAAAKCgfZAwAAAAEAAAADAAAABBVTeXN0ZW0uRHJhd2luZy5Qb2ludEYEAAAAAS4FAAAgAAAAJ4/NQ7IdUEIBLwUAACAAAADjF7VDsh1QQgEwBQAAIAAAAGsG5kOyHVBCB9oDAAAAAQAAAAMAAAAEF0FwbG9yaXMuQmFzZS5BbmNob3JNb2RlAwAAAAExBQAAmgAAAAAAAAABMgUAAJoAAAACAAAAATMFAACaAAAABAAAAAHbAwAAJAAAAAmFBAAAAAAAAAAAAAAB3AMAACUAAAAJNAUAAAIAAAAGAAAAAd0DAAAJAQAAClgCAAABNQUAAH8BAAACAAAAATYFAACAAQAAAQAAAAE3BQAAFAAAAMXKAESvmZRBILqrQly6skIBOAUAAIIBAAAAAAAAAACgQAABOQUAACAAAABnhgtENAd9QgE6BQAAmgAAAAAAAAAAAAAAAAAAAAAJOwUAAAAAAAAJPAUAAAAAAT0FAACjAAAAAAAAAAE+BQAAbAAAAAAAAEIAAEBBAT8FAAAUAAAAXXQHRC66aEJIRQBCo4suQRKDvj8GQAUAAAUzNS41JQoJQQUAAAmLAQAANAMAAP////8BAQoJQgUAAAEACgAB3gMAABsAAAABQwUAACAAAADFCgBEyODdQgFEBQAAIAAAAAkCF0ReM3lBCUUFAAAJRgUAAAAAAAAKAUcFAABsAAAAAAAAAAAAAAABSAUAAGwAAAAAAAAAAAAAAAAAAAABSQUAABQAAAAAAAAAAAAAAAAAAAAAAAAApAEAAP////8BAQoJSgUAAAEACgAH3wMAAAABAAAAAgAAAAQaQXBsb3Jpcy5CYXNlLlVJLlZpc3VhbExpbmUDAAAACgoH4AMAAAABAAAAAwAAAAQVU3lzdGVtLkRyYXdpbmcuUG9pbnRGBAAAAAFLBQAAIAAAAGeGC0Q0B31CAUwFAAAgAAAAipX+QzQHfUIBTQUAACAAAAAJwhdENAd9QgfhAwAAAAEAAAADAAAABBdBcGxvcmlzLkJhc2UuQW5jaG9yTW9kZQMAAAABTgUAAJoAAAAAAAAAAU8FAACaAAAAAgAAAAFQBQAAmgAAAAQAAAAB4gMAACQAAAAJ7AEAAAAAAAAAAAAAAeMDAAAlAAAACVEFAAACAAAAAgAAAAH6AwAAIgAAAAoKAAAAAAAoQQlwAAAACXEAAAAJUgUAAAAACVMFAAAB+wMAAHIAAAAKCgEAAAAFKW4A/////wABAQAEAACnAAAACVQFAAABAAAAAwAAAAEBBAAAbwAAAAlVBQAACgEEBAAAagAAAAoKAQAAQD8JVgUAAAlXBQAAAQAAAP7///8AAAAAAQAAAAAAAAAAAAAAAQAAAAAAAAAAAAABBQQAAGsAAAAKCglYBQAACVkFAAABAAAA/v///wAAAAD/////AAABCQQAAG8AAAAJWgUAAAoHEAQAAAABAAAAAAAAAAQfQXBsb3Jpcy5CYXNlLk9iamVjdHMuRGF0YU9iamVjdAMAAAAHEQQAAAABAAAABAAAAAQcQXBsb3Jpcy5CYXNlLlVJLlZpc3VhbE9iamVjdAMAAAAJkQMAAAmQAwAACgoBGAQAACIAAAAKCgAAAAAAKEEJcAAAAAlxAAAACVsFAAAAAAlcBQAAARkEAAByAAAACgoBAAAABSluAP////8AAQEeBAAApwAAAAldBQAAAQAAAAMAAAABHwQAAG8AAAAJXgUAAAoBIgQAAGoAAAAKCgAAAEA/CV8FAAAJYAUAAAEAAAD+////AAAAAAEAAAAAAAAAAAAAAAEAAAAAAAAAAAAAASMEAABrAAAACgoJYQUAAAliBQAAAQAAAP7///8AAAAA/////wAAAScEAABvAAAACWMFAAAKBy4EAAAAAQAAAAQAAAAEHEFwbG9yaXMuQmFzZS5VSS5WaXN1YWxPYmplY3QDAAAACZgDAAAJlwMAAAoKATUEAAAiAAAACgoAAAAAAChBCXAAAAAJcQAAAAlkBQAAAAAJZQUAAAE2BAAAcgAAAAoKAQAAAAUpbgD/////AAEBOwQAAKcAAAAJZgUAAAEAAAADAAAAATwEAABvAAAACWcFAAAKAT8EAABqAAAACgoAAABAPwloBQAACWkFAAABAAAA/v///wAAAAABAAAAAAAAAAAAAAABAAAAAAAAAAAAAAFABAAAawAAAAoKCWoFAAAJawUAAAEAAAD+////AAAAAP////8AAAFEBAAAbwAAAAlsBQAACgdLBAAAAAEAAAAEAAAABBxBcGxvcmlzLkJhc2UuVUkuVmlzdWFsT2JqZWN0AwAAAAmfAwAACZ4DAAAKCgFSBAAAIgAAAAoKAAAAAAAoQQlwAAAACXEAAAAJbQUAAAAACW4FAAABUwQAAHIAAAAKCgEAAAAFKW4A/////wABAVgEAACnAAAACW8FAAABAAAAAwAAAAFZBAAAbwAAAAlwBQAACgFcBAAAagAAAAoKAAAAQD8JcQUAAAlyBQAAAQAAAP7///8AAAAAAQAAAAAAAAAAAAAAAQAAAAAAAAAAAAABXQQAAGsAAAAKCglzBQAACXQFAAABAAAA/v///wAAAAD/////AAABYQQAAG8AAAAJdQUAAAoHaAQAAAABAAAABAAAAAQcQXBsb3Jpcy5CYXNlLlVJLlZpc3VhbE9iamVjdAMAAAAJpgMAAAmlAwAACgoBbwQAACIAAAAKCgAAAAAAKEEJcAAAAAlxAAAACXYFAAAAAAl3BQAAAXAEAAByAAAACgoBAAAARXXUAP////8AAQF1BAAApwAAAAl4BQAAAQAAAAMAAAABdgQAAG8AAAAJeQUAAAoBeQQAAGoAAAAKCgEAAEA/CXoFAAAJewUAAAEAAAD+////AAAAAAEAAAAAAAAAAAAAAAEAAAAAAAAAAAAAAXoEAABrAAAACgoJfAUAAAl9BQAAAQAAAP7///8AAAAA/////wAAAX4EAABvAAAACX4FAAAKB4UEAAAAAQAAAAAAAAAEH0FwbG9yaXMuQmFzZS5PYmplY3RzLkRhdGFPYmplY3QDAAAAB4YEAAAAAQAAAAQAAAAEHEFwbG9yaXMuQmFzZS5VSS5WaXN1YWxPYmplY3QDAAAACa0DAAAJrAMAAAoKAY0EAAAiAAAACgoAAAAAAChBCXAAAAAJcQAAAAl/BQAAAAAJgAUAAAGOBAAAcgAAAAoKAQAAAEV11AD/////AAEBkwQAAKcAAAAJgQUAAAEAAAADAAAAAZQEAABvAAAACYIFAAAKAZcEAABqAAAACgoAAABAPwmDBQAACYQFAAABAAAA/v///wAAAAABAAAAAAAAAAAAAAABAAAAAAAAAAAAAAGYBAAAawAAAAoKCYUFAAAJhgUAAAEAAAD+////AAAAAP////8AAAGcBAAAbwAAAAmHBQAACgejBAAAAAEAAAAEAAAABBxBcGxvcmlzLkJhc2UuVUkuVmlzdWFsT2JqZWN0AwAAAAm0AwAACbMDAAAKCgGqBAAAIgAAAAoKAAAAAAAoQQlwAAAACXEAAAAJiAUAAAAACYkFAAABqwQAAHIAAAAKCgEAAABFddQA/////wABAbAEAACnAAAACYoFAAABAAAAAwAAAAGxBAAAbwAAAAmLBQAACgG0BAAAagAAAAoKAAAAQD8JjAUAAAmNBQAAAQAAAP7///8AAAAAAQAAAAAAAAAAAAAAAQAAAAAAAAAAAAABtQQAAGsAAAAKCgmOBQAACY8FAAABAAAA/v///wAAAAD/////AAABuQQAAG8AAAAJkAUAAAoHwAQAAAABAAAABAAAAAQcQXBsb3Jpcy5CYXNlLlVJLlZpc3VhbE9iamVjdAMAAAAJuwMAAAm6AwAACgoBxwQAACIAAAAKCgAAAAAAKEEJcAAAAAlxAAAACZEFAAAAAAmSBQAAAcgEAAByAAAACgoBAAAARXXUAP////8AAQHNBAAApwAAAAmTBQAAAQAAAAMAAAABzgQAAG8AAAAJlAUAAAoB0QQAAGoAAAAKCgAAAEA/CZUFAAAJlgUAAAEAAAD+////AAAAAAEAAAAAAAAAAAAAAAEAAAAAAAAAAAAAAdIEAABrAAAACgoJlwUAAAmYBQAAAQAAAP7///8AAAAA/////wAAAdYEAABvAAAACZkFAAAKB90EAAAAAQAAAAQAAAAEHEFwbG9yaXMuQmFzZS5VSS5WaXN1YWxPYmplY3QDAAAACcIDAAAJwQMAAAoKAeQEAAAiAAAACgoAAAAAAChBCXAAAAAJcQAAAAmaBQAAAAAJmwUAAAHlBAAAcgAAAAoKAQAAAMHQ7QD/////AAEB6gQAAKcAAAAJnAUAAAEAAAADAAAAAesEAABvAAAACZ0FAAAKAe4EAABqAAAACgoBAABAPwmeBQAACZ8FAAABAAAA/v///wAAAAABAAAAAAAAAAAAAAABAAAAAAAAAAAAAAHvBAAAawAAAAoKCaAFAAAJoQUAAAEAAAD+////AAAAAP////8AAAHzBAAAbwAAAAmiBQAACgf6BAAAAAEAAAAEAAAABBxBcGxvcmlzLkJhc2UuVUkuVmlzdWFsT2JqZWN0AwAAAAnJAwAACcgDAAAKCgEBBQAAIgAAAAoKAAAAAAAoQQlwAAAACXEAAAAJowUAAAAACaQFAAABAgUAAHIAAAAKCgEAAADB0O0A/////wABAQcFAACnAAAACaUFAAABAAAAAwAAAAEIBQAAbwAAAAmmBQAACgELBQAAagAAAAoKAAAAQD8JpwUAAAmoBQAAAQAAAP7///8AAAAAAQAAAAAAAAAAAAAAAQAAAAAAAAAAAAABDAUAAGsAAAAKCgmpBQAACaoFAAABAAAA/v///wAAAAD/////AAABEAUAAG8AAAAJqwUAAAoHFwUAAAABAAAABAAAAAQcQXBsb3Jpcy5CYXNlLlVJLlZpc3VhbE9iamVjdAMAAAAJ0AMAAAnPAwAACgoBHgUAACIAAAAKCgAAAAAAKEEJcAAAAAlxAAAACawFAAAAAAmtBQAAAR8FAAByAAAACgoBAAAAwdDtAP////8AAQEkBQAApwAAAAmuBQAAAQAAAAMAAAABJQUAAG8AAAAJrwUAAAoBKAUAAGoAAAAKCgAAAEA/CbAFAAAJsQUAAAEAAAD+////AAAAAAEAAAAAAAAAAAAAAAEAAAAAAAAAAAAAASkFAABrAAAACgoJsgUAAAmzBQAAAQAAAP7///8AAAAA/////wAAAS0FAABvAAAACbQFAAAKBzQFAAAAAQAAAAQAAAAEHEFwbG9yaXMuQmFzZS5VSS5WaXN1YWxPYmplY3QDAAAACdcDAAAJ1gMAAAoKATsFAAAiAAAACgoAAAAAAChBCXAAAAAJcQAAAAm1BQAAAAAJtgUAAAE8BQAAcgAAAAoKAQAAAMHQ7QD/////AAEBQQUAAKcAAAAJtwUAAAEAAAADAAAAAUIFAABvAAAACbgFAAAKAUUFAABqAAAACgoAAABAPwm5BQAACboFAAABAAAA/v///wAAAAABAAAAAAAAAAAAAAABAAAAAAAAAAAAAAFGBQAAawAAAAoKCbsFAAAJvAUAAAEAAAD+////AAAAAP////8AAAFKBQAAbwAAAAm9BQAACgdRBQAAAAEAAAAEAAAABBxBcGxvcmlzLkJhc2UuVUkuVmlzdWFsT2JqZWN0AwAAAAneAwAACd0DAAAKCgFSBQAAcgAAAAoKAAAAAP///wAOAAAAAAABUwUAAHIAAAAKCgAAAAD///8ADgAAAAABB1QFAAAAAQAAAAQAAAAEHUFwbG9yaXMuQmFzZS5PYmplY3RzLlZhcmlhYmxlAwAAAAG+BQAAMAMAAAEAAAAAAAAAAb8FAAAwAwAAAAAAAAAAAAABwAUAADADAAAAAAAAAAAAAAHBBQAAMAMAAAAAAAAAAAAAD1UFAAABAAAACDUDAAAFVgUAABpBcGxvcmlzLkJhc2UuT2JqZWN0cy5Db2xvcgcAAAASRGF0YU9iamVjdCttUGFyZW50FURhdGFPYmplY3QrbUNvbnRhaW5lcgVtVHlwZQRtUkdCEG1UaGVtZUNvbG9ySW5kZXgMbUF1dG9VcGRhdGVkCW1Nb2RpZmllZAQCAAAAAAAfQXBsb3Jpcy5CYXNlLk9iamVjdHMuTGluZUZvcm1hdAMAAAAICAgBAQMAAAAJBAQAAAoAAAAA////AA4AAAAAAAVXBQAAGkFwbG9yaXMuQmFzZS5PYmplY3RzLkNvbG9yBwAAABJEYXRhT2JqZWN0K21QYXJlbnQVRGF0YU9iamVjdCttQ29udGFpbmVyBW1UeXBlBG1SR0IQbVRoZW1lQ29sb3JJbmRleAxtQXV0b1VwZGF0ZWQJbU1vZGlmaWVkBAIAAAAAAB9BcGxvcmlzLkJhc2UuT2JqZWN0cy5MaW5lRm9ybWF0AwAAAAgICAEBAwAAAAkEBAAACgEAAAAAAAAA/////wABAVgFAAByAAAACgoBAAAABSluAP////8AAAFZBQAAcgAAAAoKAQAAAP///wD/////AAEPWgUAAAEAAAAIJAMAAAFbBQAAcgAAAAoKAAAAAP///wAOAAAAAAABXAUAAHIAAAAKCgAAAAD///8ADgAAAAABB10FAAAAAQAAAAQAAAAEHUFwbG9yaXMuQmFzZS5PYmplY3RzLlZhcmlhYmxlAwAAAAHCBQAAMAMAAAEAAAAAAAAAAcMFAAAwAwAAAAAAAAAAAAABxAUAADADAAAAAAAAAAAAAAHFBQAAMAMAAAAAAAAAAAAAD14FAAABAAAACGoCAAAFXwUAABpBcGxvcmlzLkJhc2UuT2JqZWN0cy5Db2xvcgcAAAASRGF0YU9iamVjdCttUGFyZW50FURhdGFPYmplY3QrbUNvbnRhaW5lcgVtVHlwZQRtUkdCEG1UaGVtZUNvbG9ySW5kZXgMbUF1dG9VcGRhdGVkCW1Nb2RpZmllZAQCAAAAAAAfQXBsb3Jpcy5CYXNlLk9iamVjdHMuTGluZUZvcm1hdAMAAAAICAgBAQMAAAAJIgQAAAoAAAAA////AA4AAAAAAAVgBQAAGkFwbG9yaXMuQmFzZS5PYmplY3RzLkNvbG9yBwAAABJEYXRhT2JqZWN0K21QYXJlbnQVRGF0YU9iamVjdCttQ29udGFpbmVyBW1UeXBlBG1SR0IQbVRoZW1lQ29sb3JJbmRleAxtQXV0b1VwZGF0ZWQJbU1vZGlmaWVkBAIAAAAAAB9BcGxvcmlzLkJhc2UuT2JqZWN0cy5MaW5lRm9ybWF0AwAAAAgICAEBAwAAAAkiBAAACgEAAAAAAAAA/////wABAWEFAAByAAAACgoBAAAABSluAP////8AAAFiBQAAcgAAAAoKAQAAAP///wD/////AAAPYwUAAAEAAAAIWgIAAAFkBQAAcgAAAAoKAAAAAP///wAOAAAAAAABZQUAAHIAAAAKCgAAAAD///8ADgAAAAABB2YFAAAAAQAAAAQAAAAEHUFwbG9yaXMuQmFzZS5PYmplY3RzLlZhcmlhYmxlAwAAAAHGBQAAMAMAAAEAAAAAAAAAAccFAAAwAwAAAAAAAAAAAAAByAUAADADAAAAAAAAAAAAAAHJBQAAMAMAAAAAAAAAAAAAD2cFAAABAAAACHACAAAFaAUAABpBcGxvcmlzLkJhc2UuT2JqZWN0cy5Db2xvcgcAAAASRGF0YU9iamVjdCttUGFyZW50FURhdGFPYmplY3QrbUNvbnRhaW5lcgVtVHlwZQRtUkdCEG1UaGVtZUNvbG9ySW5kZXgMbUF1dG9VcGRhdGVkCW1Nb2RpZmllZAQCAAAAAAAfQXBsb3Jpcy5CYXNlLk9iamVjdHMuTGluZUZvcm1hdAMAAAAICAgBAQMAAAAJPwQAAAoAAAAA////AA4AAAAAAAVpBQAAGkFwbG9yaXMuQmFzZS5PYmplY3RzLkNvbG9yBwAAABJEYXRhT2JqZWN0K21QYXJlbnQVRGF0YU9iamVjdCttQ29udGFpbmVyBW1UeXBlBG1SR0IQbVRoZW1lQ29sb3JJbmRleAxtQXV0b1VwZGF0ZWQJbU1vZGlmaWVkBAIAAAAAAB9BcGxvcmlzLkJhc2UuT2JqZWN0cy5MaW5lRm9ybWF0AwAAAAgICAEBAwAAAAk/BAAACgEAAAAAAAAA/////wABAWoFAAByAAAACgoBAAAABSluAP////8AAAFrBQAAcgAAAAoKAQAAAP///wD/////AAAPbAUAAAEAAAAIWQIAAAFtBQAAcgAAAAoKAAAAAP///wAOAAAAAAABbgUAAHIAAAAKCgAAAAD///8ADgAAAAABB28FAAAAAQAAAAQAAAAEHUFwbG9yaXMuQmFzZS5PYmplY3RzLlZhcmlhYmxlAwAAAAHKBQAAMAMAAAEAAAAAAAAAAcsFAAAwAwAAAAAAAAAAAAABzAUAADADAAAAAAAAAAAAAAHNBQAAMAMAAAAAAAAAAAAAD3AFAAABAAAACCADAAAFcQUAABpBcGxvcmlzLkJhc2UuT2JqZWN0cy5Db2xvcgcAAAASRGF0YU9iamVjdCttUGFyZW50FURhdGFPYmplY3QrbUNvbnRhaW5lcgVtVHlwZQRtUkdCEG1UaGVtZUNvbG9ySW5kZXgMbUF1dG9VcGRhdGVkCW1Nb2RpZmllZAQCAAAAAAAfQXBsb3Jpcy5CYXNlLk9iamVjdHMuTGluZUZvcm1hdAMAAAAICAgBAQMAAAAJXAQAAAoAAAAA////AA4AAAAAAAVyBQAAGkFwbG9yaXMuQmFzZS5PYmplY3RzLkNvbG9yBwAAABJEYXRhT2JqZWN0K21QYXJlbnQVRGF0YU9iamVjdCttQ29udGFpbmVyBW1UeXBlBG1SR0IQbVRoZW1lQ29sb3JJbmRleAxtQXV0b1VwZGF0ZWQJbU1vZGlmaWVkBAIAAAAAAB9BcGxvcmlzLkJhc2UuT2JqZWN0cy5MaW5lRm9ybWF0AwAAAAgICAEBAwAAAAlcBAAACgEAAAAAAAAA/////wABAXMFAAByAAAACgoBAAAABSluAP////8AAAF0BQAAcgAAAAoKAQAAAP///wD/////AAAPdQUAAAEAAAAIDAMAAAF2BQAAcgAAAAoKAAAAAP///wAOAAAAAAABdwUAAHIAAAAKCgAAAAD///8ADgAAAAABB3gFAAAAAQAAAAQAAAAEHUFwbG9yaXMuQmFzZS5PYmplY3RzLlZhcmlhYmxlAwAAAAHOBQAAMAMAAAEAAAAAAAAAAc8FAAAwAwAAAAAAAAAAAAAB0AUAADADAAAAAAAAAAAAAAHRBQAAMAMAAAAAAAAAAAAAD3kFAAABAAAACDMDAAAFegUAABpBcGxvcmlzLkJhc2UuT2JqZWN0cy5Db2xvcgcAAAASRGF0YU9iamVjdCttUGFyZW50FURhdGFPYmplY3QrbUNvbnRhaW5lcgVtVHlwZQRtUkdCEG1UaGVtZUNvbG9ySW5kZXgMbUF1dG9VcGRhdGVkCW1Nb2RpZmllZAQCAAAAAAAfQXBsb3Jpcy5CYXNlLk9iamVjdHMuTGluZUZvcm1hdAMAAAAICAgBAQMAAAAJeQQAAAoAAAAA////AA4AAAAAAAV7BQAAGkFwbG9yaXMuQmFzZS5PYmplY3RzLkNvbG9yBwAAABJEYXRhT2JqZWN0K21QYXJlbnQVRGF0YU9iamVjdCttQ29udGFpbmVyBW1UeXBlBG1SR0IQbVRoZW1lQ29sb3JJbmRleAxtQXV0b1VwZGF0ZWQJbU1vZGlmaWVkBAIAAAAAAB9BcGxvcmlzLkJhc2UuT2JqZWN0cy5MaW5lRm9ybWF0AwAAAAgICAEBAwAAAAl5BAAACgEAAAAAAAAA/////wABAXwFAAByAAAACgoBAAAARXXUAP////8AAAF9BQAAcgAAAAoKAQAAAP///wD/////AAEPfgUAAAEAAAAIIwMAAAF/BQAAcgAAAAoKAAAAAP///wAOAAAAAAABgAUAAHIAAAAKCgAAAAD///8ADgAAAAABB4EFAAAAAQAAAAQAAAAEHUFwbG9yaXMuQmFzZS5PYmplY3RzLlZhcmlhYmxlAwAAAAHSBQAAMAMAAAEAAAAAAAAAAdMFAAAwAwAAAAAAAAAAAAAB1AUAADADAAAAAAAAAAAAAAHVBQAAMAMAAAAAAAAAAAAAD4IFAAABAAAACDICAAAFgwUAABpBcGxvcmlzLkJhc2UuT2JqZWN0cy5Db2xvcgcAAAASRGF0YU9iamVjdCttUGFyZW50FURhdGFPYmplY3QrbUNvbnRhaW5lcgVtVHlwZQRtUkdCEG1UaGVtZUNvbG9ySW5kZXgMbUF1dG9VcGRhdGVkCW1Nb2RpZmllZAQCAAAAAAAfQXBsb3Jpcy5CYXNlLk9iamVjdHMuTGluZUZvcm1hdAMAAAAICAgBAQMAAAAJlwQAAAoAAAAA////AA4AAAAAAAWEBQAAGkFwbG9yaXMuQmFzZS5PYmplY3RzLkNvbG9yBwAAABJEYXRhT2JqZWN0K21QYXJlbnQVRGF0YU9iamVjdCttQ29udGFpbmVyBW1UeXBlBG1SR0IQbVRoZW1lQ29sb3JJbmRleAxtQXV0b1VwZGF0ZWQJbU1vZGlmaWVkBAIAAAAAAB9BcGxvcmlzLkJhc2UuT2JqZWN0cy5MaW5lRm9ybWF0AwAAAAgICAEBAwAAAAmXBAAACgEAAAAAAAAA/////wABAYUFAAByAAAACgoBAAAARXXUAP////8AAAGGBQAAcgAAAAoKAQAAAP///wD/////AAAPhwUAAAEAAAAIBAIAAAGIBQAAcgAAAAoKAAAAAP///wAOAAAAAAABiQUAAHIAAAAKCgAAAAD///8ADgAAAAABB4oFAAAAAQAAAAQAAAAEHUFwbG9yaXMuQmFzZS5PYmplY3RzLlZhcmlhYmxlAwAAAAHWBQAAMAMAAAEAAAAAAAAAAdcFAAAwAwAAAAAAAAAAAAAB2AUAADADAAAAAAAAAAAAAAHZBQAAMAMAAAAAAAAAAAAAD4sFAAABAAAACDYCAAAFjAUAABpBcGxvcmlzLkJhc2UuT2JqZWN0cy5Db2xvcgcAAAASRGF0YU9iamVjdCttUGFyZW50FURhdGFPYmplY3QrbUNvbnRhaW5lcgVtVHlwZQRtUkdCEG1UaGVtZUNvbG9ySW5kZXgMbUF1dG9VcGRhdGVkCW1Nb2RpZmllZAQCAAAAAAAfQXBsb3Jpcy5CYXNlLk9iamVjdHMuTGluZUZvcm1hdAMAAAAICAgBAQMAAAAJtAQAAAoAAAAA////AA4AAAAAAAWNBQAAGkFwbG9yaXMuQmFzZS5PYmplY3RzLkNvbG9yBwAAABJEYXRhT2JqZWN0K21QYXJlbnQVRGF0YU9iamVjdCttQ29udGFpbmVyBW1UeXBlBG1SR0IQbVRoZW1lQ29sb3JJbmRleAxtQXV0b1VwZGF0ZWQJbU1vZGlmaWVkBAIAAAAAAB9BcGxvcmlzLkJhc2UuT2JqZWN0cy5MaW5lRm9ybWF0AwAAAAgICAEBAwAAAAm0BAAACgEAAAAAAAAA/////wABAY4FAAByAAAACgoBAAAARXXUAP////8AAAGPBQAAcgAAAAoKAQAAAP///wD/////AAAPkAUAAAEAAAAIBwIAAAGRBQAAcgAAAAoKAAAAAP///wAOAAAAAAABkgUAAHIAAAAKCgAAAAD///8ADgAAAAABB5MFAAAAAQAAAAQAAAAEHUFwbG9yaXMuQmFzZS5PYmplY3RzLlZhcmlhYmxlAwAAAAHaBQAAMAMAAAEAAAAAAAAAAdsFAAAwAwAAAAAAAAAAAAAB3AUAADADAAAAAAAAAAAAAAHdBQAAMAMAAAAAAAAAAAAAD5QFAAABAAAACCIDAAAFlQUAABpBcGxvcmlzLkJhc2UuT2JqZWN0cy5Db2xvcgcAAAASRGF0YU9iamVjdCttUGFyZW50FURhdGFPYmplY3QrbUNvbnRhaW5lcgVtVHlwZQRtUkdCEG1UaGVtZUNvbG9ySW5kZXgMbUF1dG9VcGRhdGVkCW1Nb2RpZmllZAQCAAAAAAAfQXBsb3Jpcy5CYXNlLk9iamVjdHMuTGluZUZvcm1hdAMAAAAICAgBAQMAAAAJ0QQAAAoAAAAA////AA4AAAAAAAWWBQAAGkFwbG9yaXMuQmFzZS5PYmplY3RzLkNvbG9yBwAAABJEYXRhT2JqZWN0K21QYXJlbnQVRGF0YU9iamVjdCttQ29udGFpbmVyBW1UeXBlBG1SR0IQbVRoZW1lQ29sb3JJbmRleAxtQXV0b1VwZGF0ZWQJbU1vZGlmaWVkBAIAAAAAAB9BcGxvcmlzLkJhc2UuT2JqZWN0cy5MaW5lRm9ybWF0AwAAAAgICAEBAwAAAAnRBAAACgEAAAAAAAAA/////wABAZcFAAByAAAACgoBAAAARXXUAP////8AAAGYBQAAcgAAAAoKAQAAAP///wD/////AAAPmQUAAAEAAAAICQMAAAGaBQAAcgAAAAoKAAAAAAAAAAANAAAAAAABmwUAAHIAAAAKCgAAAAAAAAAADQAAAAABB5wFAAAAAQAAAAQAAAAEHUFwbG9yaXMuQmFzZS5PYmplY3RzLlZhcmlhYmxlAwAAAAHeBQAAMAMAAAEAAAAAAAAAAd8FAAAwAwAAAAAAAAAAAAAB4AUAADADAAAAAAAAAAAAAAHhBQAAMAMAAAAAAAAAAAAAD50FAAABAAAACDQDAAAFngUAABpBcGxvcmlzLkJhc2UuT2JqZWN0cy5Db2xvcgcAAAASRGF0YU9iamVjdCttUGFyZW50FURhdGFPYmplY3QrbUNvbnRhaW5lcgVtVHlwZQRtUkdCEG1UaGVtZUNvbG9ySW5kZXgMbUF1dG9VcGRhdGVkCW1Nb2RpZmllZAQCAAAAAAAfQXBsb3Jpcy5CYXNlLk9iamVjdHMuTGluZUZvcm1hdAMAAAAICAgBAQMAAAAJ7gQAAAoAAAAA////AA4AAAAAAAWfBQAAGkFwbG9yaXMuQmFzZS5PYmplY3RzLkNvbG9yBwAAABJEYXRhT2JqZWN0K21QYXJlbnQVRGF0YU9iamVjdCttQ29udGFpbmVyBW1UeXBlBG1SR0IQbVRoZW1lQ29sb3JJbmRleAxtQXV0b1VwZGF0ZWQJbU1vZGlmaWVkBAIAAAAAAB9BcGxvcmlzLkJhc2UuT2JqZWN0cy5MaW5lRm9ybWF0AwAAAAgICAEBAwAAAAnuBAAACgEAAAAAAAAA/////wABAaAFAAByAAAACgoBAAAAwdDtAP////8AAAGhBQAAcgAAAAoKAQAAAP///wD/////AAEPogUAAAEAAAAIJQMAAAGjBQAAcgAAAAoKAAAAAAAAAAANAAAAAAABpAUAAHIAAAAKCgAAAAAAAAAADQAAAAABB6UFAAAAAQAAAAQAAAAEHUFwbG9yaXMuQmFzZS5PYmplY3RzLlZhcmlhYmxlAwAAAAHiBQAAMAMAAAEAAAAAAAAAAeMFAAAwAwAAAAAAAAAAAAAB5AUAADADAAAAAAAAAAAAAAHlBQAAMAMAAAAAAAAAAAAAD6YFAAABAAAACEkCAAAFpwUAABpBcGxvcmlzLkJhc2UuT2JqZWN0cy5Db2xvcgcAAAASRGF0YU9iamVjdCttUGFyZW50FURhdGFPYmplY3QrbUNvbnRhaW5lcgVtVHlwZQRtUkdCEG1UaGVtZUNvbG9ySW5kZXgMbUF1dG9VcGRhdGVkCW1Nb2RpZmllZAQCAAAAAAAfQXBsb3Jpcy5CYXNlLk9iamVjdHMuTGluZUZvcm1hdAMAAAAICAgBAQMAAAAJCwUAAAoAAAAA////AA4AAAAAAAWoBQAAGkFwbG9yaXMuQmFzZS5PYmplY3RzLkNvbG9yBwAAABJEYXRhT2JqZWN0K21QYXJlbnQVRGF0YU9iamVjdCttQ29udGFpbmVyBW1UeXBlBG1SR0IQbVRoZW1lQ29sb3JJbmRleAxtQXV0b1VwZGF0ZWQJbU1vZGlmaWVkBAIAAAAAAB9BcGxvcmlzLkJhc2UuT2JqZWN0cy5MaW5lRm9ybWF0AwAAAAgICAEBAwAAAAkLBQAACgEAAAAAAAAA/////wABAakFAAByAAAACgoBAAAAwdDtAP////8AAAGqBQAAcgAAAAoKAQAAAP///wD/////AAAPqwUAAAEAAAAIFgIAAAGsBQAAcgAAAAoKAAAAAAAAAAANAAAAAAABrQUAAHIAAAAKCgAAAAAAAAAADQAAAAABB64FAAAAAQAAAAQAAAAEHUFwbG9yaXMuQmFzZS5PYmplY3RzLlZhcmlhYmxlAwAAAAHmBQAAMAMAAAEAAAAAAAAAAecFAAAwAwAAAAAAAAAAAAAB6AUAADADAAAAAAAAAAAAAAHpBQAAMAMAAAAAAAAAAAAAD68FAAABAAAACNsCAAAFsAUAABpBcGxvcmlzLkJhc2UuT2JqZWN0cy5Db2xvcgcAAAASRGF0YU9iamVjdCttUGFyZW50FURhdGFPYmplY3QrbUNvbnRhaW5lcgVtVHlwZQRtUkdCEG1UaGVtZUNvbG9ySW5kZXgMbUF1dG9VcGRhdGVkCW1Nb2RpZmllZAQCAAAAAAAfQXBsb3Jpcy5CYXNlLk9iamVjdHMuTGluZUZvcm1hdAMAAAAICAgBAQMAAAAJKAUAAAoAAAAA////AA4AAAAAAAWxBQAAGkFwbG9yaXMuQmFzZS5PYmplY3RzLkNvbG9yBwAAABJEYXRhT2JqZWN0K21QYXJlbnQVRGF0YU9iamVjdCttQ29udGFpbmVyBW1UeXBlBG1SR0IQbVRoZW1lQ29sb3JJbmRleAxtQXV0b1VwZGF0ZWQJbU1vZGlmaWVkBAIAAAAAAB9BcGxvcmlzLkJhc2UuT2JqZWN0cy5MaW5lRm9ybWF0AwAAAAgICAEBAwAAAAkoBQAACgEAAAAAAAAA/////wABAbIFAAByAAAACgoBAAAAwdDtAP////8AAAGzBQAAcgAAAAoKAQAAAP///wD/////AAAPtAUAAAEAAAAIzQIAAAG1BQAAcgAAAAoKAAAAAAAAAAANAAAAAAABtgUAAHIAAAAKCgAAAAAAAAAADQAAAAABB7cFAAAAAQAAAAQAAAAEHUFwbG9yaXMuQmFzZS5PYmplY3RzLlZhcmlhYmxlAwAAAAHqBQAAMAMAAAEAAAAAAAAAAesFAAAwAwAAAAAAAAAAAAAB7AUAADADAAAAAAAAAAAAAAHtBQAAMAMAAAAAAAAAAAAAD7gFAAABAAAACB8DAAAFuQUAABpBcGxvcmlzLkJhc2UuT2JqZWN0cy5Db2xvcgcAAAASRGF0YU9iamVjdCttUGFyZW50FURhdGFPYmplY3QrbUNvbnRhaW5lcgVtVHlwZQRtUkdCEG1UaGVtZUNvbG9ySW5kZXgMbUF1dG9VcGRhdGVkCW1Nb2RpZmllZAQCAAAAAAAfQXBsb3Jpcy5CYXNlLk9iamVjdHMuTGluZUZvcm1hdAMAAAAICAgBAQMAAAAJRQUAAAoAAAAA////AA4AAAAAAAW6BQAAGkFwbG9yaXMuQmFzZS5PYmplY3RzLkNvbG9yBwAAABJEYXRhT2JqZWN0K21QYXJlbnQVRGF0YU9iamVjdCttQ29udGFpbmVyBW1UeXBlBG1SR0IQbVRoZW1lQ29sb3JJbmRleAxtQXV0b1VwZGF0ZWQJbU1vZGlmaWVkBAIAAAAAAB9BcGxvcmlzLkJhc2UuT2JqZWN0cy5MaW5lRm9ybWF0AwAAAAgICAEBAwAAAAlFBQAACgEAAAAAAAAA/////wABAbsFAAByAAAACgoBAAAAwdDtAP////8AAAG8BQAAcgAAAAoKAQAAAP///wD/////AAAPvQUAAAEAAAAIDgMAAAs="/>
  <p:tag name="APLORISTAG" val="MSr6OjrYBJNoFELFg.601"/>
</p:tagLst>
</file>

<file path=ppt/tags/tag78.xml><?xml version="1.0" encoding="utf-8"?>
<p:tagLst xmlns:a="http://schemas.openxmlformats.org/drawingml/2006/main" xmlns:r="http://schemas.openxmlformats.org/officeDocument/2006/relationships" xmlns:p="http://schemas.openxmlformats.org/presentationml/2006/main">
  <p:tag name="APLORISTAG" val="MMq8K+TY0y1GzdU7X.209"/>
</p:tagLst>
</file>

<file path=ppt/tags/tag780.xml><?xml version="1.0" encoding="utf-8"?>
<p:tagLst xmlns:a="http://schemas.openxmlformats.org/drawingml/2006/main" xmlns:r="http://schemas.openxmlformats.org/officeDocument/2006/relationships" xmlns:p="http://schemas.openxmlformats.org/presentationml/2006/main">
  <p:tag name="APLORISTAG" val="MSr6OjrYBJNoFELFg.926"/>
</p:tagLst>
</file>

<file path=ppt/tags/tag781.xml><?xml version="1.0" encoding="utf-8"?>
<p:tagLst xmlns:a="http://schemas.openxmlformats.org/drawingml/2006/main" xmlns:r="http://schemas.openxmlformats.org/officeDocument/2006/relationships" xmlns:p="http://schemas.openxmlformats.org/presentationml/2006/main">
  <p:tag name="APLORISTAG" val="MSr6OjrYBJNoFELFg.855"/>
</p:tagLst>
</file>

<file path=ppt/tags/tag782.xml><?xml version="1.0" encoding="utf-8"?>
<p:tagLst xmlns:a="http://schemas.openxmlformats.org/drawingml/2006/main" xmlns:r="http://schemas.openxmlformats.org/officeDocument/2006/relationships" xmlns:p="http://schemas.openxmlformats.org/presentationml/2006/main">
  <p:tag name="APLORISTAG" val="MSr6OjrYBJNoFELFg.717"/>
</p:tagLst>
</file>

<file path=ppt/tags/tag783.xml><?xml version="1.0" encoding="utf-8"?>
<p:tagLst xmlns:a="http://schemas.openxmlformats.org/drawingml/2006/main" xmlns:r="http://schemas.openxmlformats.org/officeDocument/2006/relationships" xmlns:p="http://schemas.openxmlformats.org/presentationml/2006/main">
  <p:tag name="APLORISTAG" val="MSr6OjrYBJNoFELFg.856"/>
</p:tagLst>
</file>

<file path=ppt/tags/tag784.xml><?xml version="1.0" encoding="utf-8"?>
<p:tagLst xmlns:a="http://schemas.openxmlformats.org/drawingml/2006/main" xmlns:r="http://schemas.openxmlformats.org/officeDocument/2006/relationships" xmlns:p="http://schemas.openxmlformats.org/presentationml/2006/main">
  <p:tag name="APLORISTAG" val="MSr6OjrYBJNoFELFg.534"/>
</p:tagLst>
</file>

<file path=ppt/tags/tag785.xml><?xml version="1.0" encoding="utf-8"?>
<p:tagLst xmlns:a="http://schemas.openxmlformats.org/drawingml/2006/main" xmlns:r="http://schemas.openxmlformats.org/officeDocument/2006/relationships" xmlns:p="http://schemas.openxmlformats.org/presentationml/2006/main">
  <p:tag name="APLORISTAG" val="MSr6OjrYBJNoFELFg.927"/>
</p:tagLst>
</file>

<file path=ppt/tags/tag786.xml><?xml version="1.0" encoding="utf-8"?>
<p:tagLst xmlns:a="http://schemas.openxmlformats.org/drawingml/2006/main" xmlns:r="http://schemas.openxmlformats.org/officeDocument/2006/relationships" xmlns:p="http://schemas.openxmlformats.org/presentationml/2006/main">
  <p:tag name="APLORISTAG" val="MSr6OjrYBJNoFELFg.945"/>
</p:tagLst>
</file>

<file path=ppt/tags/tag787.xml><?xml version="1.0" encoding="utf-8"?>
<p:tagLst xmlns:a="http://schemas.openxmlformats.org/drawingml/2006/main" xmlns:r="http://schemas.openxmlformats.org/officeDocument/2006/relationships" xmlns:p="http://schemas.openxmlformats.org/presentationml/2006/main">
  <p:tag name="APLORISTAG" val="MSr6OjrYBJNoFELFg.946"/>
</p:tagLst>
</file>

<file path=ppt/tags/tag788.xml><?xml version="1.0" encoding="utf-8"?>
<p:tagLst xmlns:a="http://schemas.openxmlformats.org/drawingml/2006/main" xmlns:r="http://schemas.openxmlformats.org/officeDocument/2006/relationships" xmlns:p="http://schemas.openxmlformats.org/presentationml/2006/main">
  <p:tag name="APLORISTAG" val="MSr6OjrYBJNoFELFg.947"/>
</p:tagLst>
</file>

<file path=ppt/tags/tag789.xml><?xml version="1.0" encoding="utf-8"?>
<p:tagLst xmlns:a="http://schemas.openxmlformats.org/drawingml/2006/main" xmlns:r="http://schemas.openxmlformats.org/officeDocument/2006/relationships" xmlns:p="http://schemas.openxmlformats.org/presentationml/2006/main">
  <p:tag name="APLORISTAG" val="MSr6OjrYBJNoFELFg.948"/>
</p:tagLst>
</file>

<file path=ppt/tags/tag79.xml><?xml version="1.0" encoding="utf-8"?>
<p:tagLst xmlns:a="http://schemas.openxmlformats.org/drawingml/2006/main" xmlns:r="http://schemas.openxmlformats.org/officeDocument/2006/relationships" xmlns:p="http://schemas.openxmlformats.org/presentationml/2006/main">
  <p:tag name="APLORISTAG" val="MMq8K+TY0y1GzdU7X.210"/>
</p:tagLst>
</file>

<file path=ppt/tags/tag790.xml><?xml version="1.0" encoding="utf-8"?>
<p:tagLst xmlns:a="http://schemas.openxmlformats.org/drawingml/2006/main" xmlns:r="http://schemas.openxmlformats.org/officeDocument/2006/relationships" xmlns:p="http://schemas.openxmlformats.org/presentationml/2006/main">
  <p:tag name="APLORISTAG" val="MSr6OjrYBJNoFELFg.949"/>
</p:tagLst>
</file>

<file path=ppt/tags/tag791.xml><?xml version="1.0" encoding="utf-8"?>
<p:tagLst xmlns:a="http://schemas.openxmlformats.org/drawingml/2006/main" xmlns:r="http://schemas.openxmlformats.org/officeDocument/2006/relationships" xmlns:p="http://schemas.openxmlformats.org/presentationml/2006/main">
  <p:tag name="APLORISTAG" val="MSr6OjrYBJNoFELFg.950"/>
</p:tagLst>
</file>

<file path=ppt/tags/tag792.xml><?xml version="1.0" encoding="utf-8"?>
<p:tagLst xmlns:a="http://schemas.openxmlformats.org/drawingml/2006/main" xmlns:r="http://schemas.openxmlformats.org/officeDocument/2006/relationships" xmlns:p="http://schemas.openxmlformats.org/presentationml/2006/main">
  <p:tag name="APLORISTAG" val="MSr6OjrYBJNoFELFg.951"/>
</p:tagLst>
</file>

<file path=ppt/tags/tag793.xml><?xml version="1.0" encoding="utf-8"?>
<p:tagLst xmlns:a="http://schemas.openxmlformats.org/drawingml/2006/main" xmlns:r="http://schemas.openxmlformats.org/officeDocument/2006/relationships" xmlns:p="http://schemas.openxmlformats.org/presentationml/2006/main">
  <p:tag name="APLORISTAG" val="MSr6OjrYBJNoFELFg.952"/>
</p:tagLst>
</file>

<file path=ppt/tags/tag794.xml><?xml version="1.0" encoding="utf-8"?>
<p:tagLst xmlns:a="http://schemas.openxmlformats.org/drawingml/2006/main" xmlns:r="http://schemas.openxmlformats.org/officeDocument/2006/relationships" xmlns:p="http://schemas.openxmlformats.org/presentationml/2006/main">
  <p:tag name="APLORISTAG" val="MSr6OjrYBJNoFELFg.953"/>
</p:tagLst>
</file>

<file path=ppt/tags/tag795.xml><?xml version="1.0" encoding="utf-8"?>
<p:tagLst xmlns:a="http://schemas.openxmlformats.org/drawingml/2006/main" xmlns:r="http://schemas.openxmlformats.org/officeDocument/2006/relationships" xmlns:p="http://schemas.openxmlformats.org/presentationml/2006/main">
  <p:tag name="APLORISTAG" val="MSr6OjrYBJNoFELFg.954"/>
</p:tagLst>
</file>

<file path=ppt/tags/tag796.xml><?xml version="1.0" encoding="utf-8"?>
<p:tagLst xmlns:a="http://schemas.openxmlformats.org/drawingml/2006/main" xmlns:r="http://schemas.openxmlformats.org/officeDocument/2006/relationships" xmlns:p="http://schemas.openxmlformats.org/presentationml/2006/main">
  <p:tag name="APLORISTAG" val="MSr6OjrYBJNoFELFg.955"/>
</p:tagLst>
</file>

<file path=ppt/tags/tag797.xml><?xml version="1.0" encoding="utf-8"?>
<p:tagLst xmlns:a="http://schemas.openxmlformats.org/drawingml/2006/main" xmlns:r="http://schemas.openxmlformats.org/officeDocument/2006/relationships" xmlns:p="http://schemas.openxmlformats.org/presentationml/2006/main">
  <p:tag name="APLORISTAG" val="MSr6OjrYBJNoFELFg.956"/>
</p:tagLst>
</file>

<file path=ppt/tags/tag798.xml><?xml version="1.0" encoding="utf-8"?>
<p:tagLst xmlns:a="http://schemas.openxmlformats.org/drawingml/2006/main" xmlns:r="http://schemas.openxmlformats.org/officeDocument/2006/relationships" xmlns:p="http://schemas.openxmlformats.org/presentationml/2006/main">
  <p:tag name="APLORISTAG" val="MSr6OjrYBJNoFELFg.957"/>
</p:tagLst>
</file>

<file path=ppt/tags/tag799.xml><?xml version="1.0" encoding="utf-8"?>
<p:tagLst xmlns:a="http://schemas.openxmlformats.org/drawingml/2006/main" xmlns:r="http://schemas.openxmlformats.org/officeDocument/2006/relationships" xmlns:p="http://schemas.openxmlformats.org/presentationml/2006/main">
  <p:tag name="APLORISTAG" val="MSr6OjrYBJNoFELFg.35"/>
</p:tagLst>
</file>

<file path=ppt/tags/tag8.xml><?xml version="1.0" encoding="utf-8"?>
<p:tagLst xmlns:a="http://schemas.openxmlformats.org/drawingml/2006/main" xmlns:r="http://schemas.openxmlformats.org/officeDocument/2006/relationships" xmlns:p="http://schemas.openxmlformats.org/presentationml/2006/main">
  <p:tag name="APLORISTAG" val="MX/IjfW661gLV+xOY.292"/>
</p:tagLst>
</file>

<file path=ppt/tags/tag80.xml><?xml version="1.0" encoding="utf-8"?>
<p:tagLst xmlns:a="http://schemas.openxmlformats.org/drawingml/2006/main" xmlns:r="http://schemas.openxmlformats.org/officeDocument/2006/relationships" xmlns:p="http://schemas.openxmlformats.org/presentationml/2006/main">
  <p:tag name="APLORISTAG" val="MMq8K+TY0y1GzdU7X.211"/>
</p:tagLst>
</file>

<file path=ppt/tags/tag800.xml><?xml version="1.0" encoding="utf-8"?>
<p:tagLst xmlns:a="http://schemas.openxmlformats.org/drawingml/2006/main" xmlns:r="http://schemas.openxmlformats.org/officeDocument/2006/relationships" xmlns:p="http://schemas.openxmlformats.org/presentationml/2006/main">
  <p:tag name="APLORISTAG" val="MSr6OjrYBJNoFELFg.37"/>
</p:tagLst>
</file>

<file path=ppt/tags/tag801.xml><?xml version="1.0" encoding="utf-8"?>
<p:tagLst xmlns:a="http://schemas.openxmlformats.org/drawingml/2006/main" xmlns:r="http://schemas.openxmlformats.org/officeDocument/2006/relationships" xmlns:p="http://schemas.openxmlformats.org/presentationml/2006/main">
  <p:tag name="APLORISTAG" val="MSr6OjrYBJNoFELFg.38"/>
</p:tagLst>
</file>

<file path=ppt/tags/tag802.xml><?xml version="1.0" encoding="utf-8"?>
<p:tagLst xmlns:a="http://schemas.openxmlformats.org/drawingml/2006/main" xmlns:r="http://schemas.openxmlformats.org/officeDocument/2006/relationships" xmlns:p="http://schemas.openxmlformats.org/presentationml/2006/main">
  <p:tag name="APLORISTAG" val="MSr6OjrYBJNoFELFg.36"/>
</p:tagLst>
</file>

<file path=ppt/tags/tag803.xml><?xml version="1.0" encoding="utf-8"?>
<p:tagLst xmlns:a="http://schemas.openxmlformats.org/drawingml/2006/main" xmlns:r="http://schemas.openxmlformats.org/officeDocument/2006/relationships" xmlns:p="http://schemas.openxmlformats.org/presentationml/2006/main">
  <p:tag name="APLORISTAG" val="MSr6OjrYBJNoFELFg.40"/>
</p:tagLst>
</file>

<file path=ppt/tags/tag804.xml><?xml version="1.0" encoding="utf-8"?>
<p:tagLst xmlns:a="http://schemas.openxmlformats.org/drawingml/2006/main" xmlns:r="http://schemas.openxmlformats.org/officeDocument/2006/relationships" xmlns:p="http://schemas.openxmlformats.org/presentationml/2006/main">
  <p:tag name="APLORISTAG" val="MSr6OjrYBJNoFELFg.43"/>
</p:tagLst>
</file>

<file path=ppt/tags/tag805.xml><?xml version="1.0" encoding="utf-8"?>
<p:tagLst xmlns:a="http://schemas.openxmlformats.org/drawingml/2006/main" xmlns:r="http://schemas.openxmlformats.org/officeDocument/2006/relationships" xmlns:p="http://schemas.openxmlformats.org/presentationml/2006/main">
  <p:tag name="APLORISTAG" val="MSr6OjrYBJNoFELFg.41"/>
</p:tagLst>
</file>

<file path=ppt/tags/tag806.xml><?xml version="1.0" encoding="utf-8"?>
<p:tagLst xmlns:a="http://schemas.openxmlformats.org/drawingml/2006/main" xmlns:r="http://schemas.openxmlformats.org/officeDocument/2006/relationships" xmlns:p="http://schemas.openxmlformats.org/presentationml/2006/main">
  <p:tag name="APLORISTAG" val="MSr6OjrYBJNoFELFg.44"/>
</p:tagLst>
</file>

<file path=ppt/tags/tag807.xml><?xml version="1.0" encoding="utf-8"?>
<p:tagLst xmlns:a="http://schemas.openxmlformats.org/drawingml/2006/main" xmlns:r="http://schemas.openxmlformats.org/officeDocument/2006/relationships" xmlns:p="http://schemas.openxmlformats.org/presentationml/2006/main">
  <p:tag name="APLORISTAG" val="MSr6OjrYBJNoFELFg.39"/>
</p:tagLst>
</file>

<file path=ppt/tags/tag808.xml><?xml version="1.0" encoding="utf-8"?>
<p:tagLst xmlns:a="http://schemas.openxmlformats.org/drawingml/2006/main" xmlns:r="http://schemas.openxmlformats.org/officeDocument/2006/relationships" xmlns:p="http://schemas.openxmlformats.org/presentationml/2006/main">
  <p:tag name="APLORISTAG" val="MSr6OjrYBJNoFELFg.42"/>
</p:tagLst>
</file>

<file path=ppt/tags/tag809.xml><?xml version="1.0" encoding="utf-8"?>
<p:tagLst xmlns:a="http://schemas.openxmlformats.org/drawingml/2006/main" xmlns:r="http://schemas.openxmlformats.org/officeDocument/2006/relationships" xmlns:p="http://schemas.openxmlformats.org/presentationml/2006/main">
  <p:tag name="APLORISTAG" val="MSr6OjrYBJNoFELFg.45"/>
</p:tagLst>
</file>

<file path=ppt/tags/tag81.xml><?xml version="1.0" encoding="utf-8"?>
<p:tagLst xmlns:a="http://schemas.openxmlformats.org/drawingml/2006/main" xmlns:r="http://schemas.openxmlformats.org/officeDocument/2006/relationships" xmlns:p="http://schemas.openxmlformats.org/presentationml/2006/main">
  <p:tag name="APLORISTAG" val="MMq8K+TY0y1GzdU7X.212"/>
</p:tagLst>
</file>

<file path=ppt/tags/tag810.xml><?xml version="1.0" encoding="utf-8"?>
<p:tagLst xmlns:a="http://schemas.openxmlformats.org/drawingml/2006/main" xmlns:r="http://schemas.openxmlformats.org/officeDocument/2006/relationships" xmlns:p="http://schemas.openxmlformats.org/presentationml/2006/main">
  <p:tag name="APLORISTAG" val="MSr6OjrYBJNoFELFg.333"/>
</p:tagLst>
</file>

<file path=ppt/tags/tag811.xml><?xml version="1.0" encoding="utf-8"?>
<p:tagLst xmlns:a="http://schemas.openxmlformats.org/drawingml/2006/main" xmlns:r="http://schemas.openxmlformats.org/officeDocument/2006/relationships" xmlns:p="http://schemas.openxmlformats.org/presentationml/2006/main">
  <p:tag name="APLORISTAG" val="MSr6OjrYBJNoFELFg.197"/>
</p:tagLst>
</file>

<file path=ppt/tags/tag812.xml><?xml version="1.0" encoding="utf-8"?>
<p:tagLst xmlns:a="http://schemas.openxmlformats.org/drawingml/2006/main" xmlns:r="http://schemas.openxmlformats.org/officeDocument/2006/relationships" xmlns:p="http://schemas.openxmlformats.org/presentationml/2006/main">
  <p:tag name="APLORISTAG" val="MSr6OjrYBJNoFELFg.941"/>
</p:tagLst>
</file>

<file path=ppt/tags/tag813.xml><?xml version="1.0" encoding="utf-8"?>
<p:tagLst xmlns:a="http://schemas.openxmlformats.org/drawingml/2006/main" xmlns:r="http://schemas.openxmlformats.org/officeDocument/2006/relationships" xmlns:p="http://schemas.openxmlformats.org/presentationml/2006/main">
  <p:tag name="APLORISTAG" val="MSr6OjrYBJNoFELFg.796"/>
</p:tagLst>
</file>

<file path=ppt/tags/tag814.xml><?xml version="1.0" encoding="utf-8"?>
<p:tagLst xmlns:a="http://schemas.openxmlformats.org/drawingml/2006/main" xmlns:r="http://schemas.openxmlformats.org/officeDocument/2006/relationships" xmlns:p="http://schemas.openxmlformats.org/presentationml/2006/main">
  <p:tag name="APLORISTAG" val="MSr6OjrYBJNoFELFg.562"/>
</p:tagLst>
</file>

<file path=ppt/tags/tag815.xml><?xml version="1.0" encoding="utf-8"?>
<p:tagLst xmlns:a="http://schemas.openxmlformats.org/drawingml/2006/main" xmlns:r="http://schemas.openxmlformats.org/officeDocument/2006/relationships" xmlns:p="http://schemas.openxmlformats.org/presentationml/2006/main">
  <p:tag name="APLORISTAG" val="MSr6OjrYBJNoFELFg.872"/>
</p:tagLst>
</file>

<file path=ppt/tags/tag816.xml><?xml version="1.0" encoding="utf-8"?>
<p:tagLst xmlns:a="http://schemas.openxmlformats.org/drawingml/2006/main" xmlns:r="http://schemas.openxmlformats.org/officeDocument/2006/relationships" xmlns:p="http://schemas.openxmlformats.org/presentationml/2006/main">
  <p:tag name="APLORISTAG" val="MSr6OjrYBJNoFELFg.566"/>
</p:tagLst>
</file>

<file path=ppt/tags/tag817.xml><?xml version="1.0" encoding="utf-8"?>
<p:tagLst xmlns:a="http://schemas.openxmlformats.org/drawingml/2006/main" xmlns:r="http://schemas.openxmlformats.org/officeDocument/2006/relationships" xmlns:p="http://schemas.openxmlformats.org/presentationml/2006/main">
  <p:tag name="APLORISTAG" val="MSr6OjrYBJNoFELFg.731"/>
</p:tagLst>
</file>

<file path=ppt/tags/tag818.xml><?xml version="1.0" encoding="utf-8"?>
<p:tagLst xmlns:a="http://schemas.openxmlformats.org/drawingml/2006/main" xmlns:r="http://schemas.openxmlformats.org/officeDocument/2006/relationships" xmlns:p="http://schemas.openxmlformats.org/presentationml/2006/main">
  <p:tag name="APLORISTAG" val="MSr6OjrYBJNoFELFg.585"/>
</p:tagLst>
</file>

<file path=ppt/tags/tag819.xml><?xml version="1.0" encoding="utf-8"?>
<p:tagLst xmlns:a="http://schemas.openxmlformats.org/drawingml/2006/main" xmlns:r="http://schemas.openxmlformats.org/officeDocument/2006/relationships" xmlns:p="http://schemas.openxmlformats.org/presentationml/2006/main">
  <p:tag name="APLORISTAG" val="MSr6OjrYBJNoFELFg.942"/>
</p:tagLst>
</file>

<file path=ppt/tags/tag82.xml><?xml version="1.0" encoding="utf-8"?>
<p:tagLst xmlns:a="http://schemas.openxmlformats.org/drawingml/2006/main" xmlns:r="http://schemas.openxmlformats.org/officeDocument/2006/relationships" xmlns:p="http://schemas.openxmlformats.org/presentationml/2006/main">
  <p:tag name="APLORISTAG" val="MMq8K+TY0y1GzdU7X.213"/>
</p:tagLst>
</file>

<file path=ppt/tags/tag820.xml><?xml version="1.0" encoding="utf-8"?>
<p:tagLst xmlns:a="http://schemas.openxmlformats.org/drawingml/2006/main" xmlns:r="http://schemas.openxmlformats.org/officeDocument/2006/relationships" xmlns:p="http://schemas.openxmlformats.org/presentationml/2006/main">
  <p:tag name="APLORISTAG" val="MSr6OjrYBJNoFELFg.870"/>
</p:tagLst>
</file>

<file path=ppt/tags/tag821.xml><?xml version="1.0" encoding="utf-8"?>
<p:tagLst xmlns:a="http://schemas.openxmlformats.org/drawingml/2006/main" xmlns:r="http://schemas.openxmlformats.org/officeDocument/2006/relationships" xmlns:p="http://schemas.openxmlformats.org/presentationml/2006/main">
  <p:tag name="APLORISTAG" val="MSr6OjrYBJNoFELFg.943"/>
</p:tagLst>
</file>

<file path=ppt/tags/tag822.xml><?xml version="1.0" encoding="utf-8"?>
<p:tagLst xmlns:a="http://schemas.openxmlformats.org/drawingml/2006/main" xmlns:r="http://schemas.openxmlformats.org/officeDocument/2006/relationships" xmlns:p="http://schemas.openxmlformats.org/presentationml/2006/main">
  <p:tag name="APLORISTAG" val="MSr6OjrYBJNoFELFg.618"/>
</p:tagLst>
</file>

<file path=ppt/tags/tag823.xml><?xml version="1.0" encoding="utf-8"?>
<p:tagLst xmlns:a="http://schemas.openxmlformats.org/drawingml/2006/main" xmlns:r="http://schemas.openxmlformats.org/officeDocument/2006/relationships" xmlns:p="http://schemas.openxmlformats.org/presentationml/2006/main">
  <p:tag name="APLORISTAG" val="MSr6OjrYBJNoFELFg.944"/>
</p:tagLst>
</file>

<file path=ppt/tags/tag824.xml><?xml version="1.0" encoding="utf-8"?>
<p:tagLst xmlns:a="http://schemas.openxmlformats.org/drawingml/2006/main" xmlns:r="http://schemas.openxmlformats.org/officeDocument/2006/relationships" xmlns:p="http://schemas.openxmlformats.org/presentationml/2006/main">
  <p:tag name="APLORISTAG" val="MSr6OjrYBJNoFELFg.871"/>
</p:tagLst>
</file>

<file path=ppt/tags/tag825.xml><?xml version="1.0" encoding="utf-8"?>
<p:tagLst xmlns:a="http://schemas.openxmlformats.org/drawingml/2006/main" xmlns:r="http://schemas.openxmlformats.org/officeDocument/2006/relationships" xmlns:p="http://schemas.openxmlformats.org/presentationml/2006/main">
  <p:tag name="APLORISTAG" val="MSr6OjrYBJNoFELFg.624"/>
</p:tagLst>
</file>

<file path=ppt/tags/tag826.xml><?xml version="1.0" encoding="utf-8"?>
<p:tagLst xmlns:a="http://schemas.openxmlformats.org/drawingml/2006/main" xmlns:r="http://schemas.openxmlformats.org/officeDocument/2006/relationships" xmlns:p="http://schemas.openxmlformats.org/presentationml/2006/main">
  <p:tag name="APLORISTAG" val="MSr6OjrYBJNoFELFg.835"/>
</p:tagLst>
</file>

<file path=ppt/tags/tag827.xml><?xml version="1.0" encoding="utf-8"?>
<p:tagLst xmlns:a="http://schemas.openxmlformats.org/drawingml/2006/main" xmlns:r="http://schemas.openxmlformats.org/officeDocument/2006/relationships" xmlns:p="http://schemas.openxmlformats.org/presentationml/2006/main">
  <p:tag name="APLORISTAG" val="MSr6OjrYBJNoFELFg.836"/>
</p:tagLst>
</file>

<file path=ppt/tags/tag828.xml><?xml version="1.0" encoding="utf-8"?>
<p:tagLst xmlns:a="http://schemas.openxmlformats.org/drawingml/2006/main" xmlns:r="http://schemas.openxmlformats.org/officeDocument/2006/relationships" xmlns:p="http://schemas.openxmlformats.org/presentationml/2006/main">
  <p:tag name="APLORISTAG" val="MSr6OjrYBJNoFELFg.837"/>
</p:tagLst>
</file>

<file path=ppt/tags/tag829.xml><?xml version="1.0" encoding="utf-8"?>
<p:tagLst xmlns:a="http://schemas.openxmlformats.org/drawingml/2006/main" xmlns:r="http://schemas.openxmlformats.org/officeDocument/2006/relationships" xmlns:p="http://schemas.openxmlformats.org/presentationml/2006/main">
  <p:tag name="APLORISTAG" val="MSr6OjrYBJNoFELFg.838"/>
</p:tagLst>
</file>

<file path=ppt/tags/tag83.xml><?xml version="1.0" encoding="utf-8"?>
<p:tagLst xmlns:a="http://schemas.openxmlformats.org/drawingml/2006/main" xmlns:r="http://schemas.openxmlformats.org/officeDocument/2006/relationships" xmlns:p="http://schemas.openxmlformats.org/presentationml/2006/main">
  <p:tag name="APLORISTAG" val="MMq8K+TY0y1GzdU7X.214"/>
</p:tagLst>
</file>

<file path=ppt/tags/tag830.xml><?xml version="1.0" encoding="utf-8"?>
<p:tagLst xmlns:a="http://schemas.openxmlformats.org/drawingml/2006/main" xmlns:r="http://schemas.openxmlformats.org/officeDocument/2006/relationships" xmlns:p="http://schemas.openxmlformats.org/presentationml/2006/main">
  <p:tag name="APLORISTAG" val="MSr6OjrYBJNoFELFg.839"/>
</p:tagLst>
</file>

<file path=ppt/tags/tag831.xml><?xml version="1.0" encoding="utf-8"?>
<p:tagLst xmlns:a="http://schemas.openxmlformats.org/drawingml/2006/main" xmlns:r="http://schemas.openxmlformats.org/officeDocument/2006/relationships" xmlns:p="http://schemas.openxmlformats.org/presentationml/2006/main">
  <p:tag name="APLORISTAG" val="MSr6OjrYBJNoFELFg.840"/>
</p:tagLst>
</file>

<file path=ppt/tags/tag832.xml><?xml version="1.0" encoding="utf-8"?>
<p:tagLst xmlns:a="http://schemas.openxmlformats.org/drawingml/2006/main" xmlns:r="http://schemas.openxmlformats.org/officeDocument/2006/relationships" xmlns:p="http://schemas.openxmlformats.org/presentationml/2006/main">
  <p:tag name="APLORISTAG" val="MxTFIxVX6OdtQ0H5y"/>
</p:tagLst>
</file>

<file path=ppt/tags/tag833.xml><?xml version="1.0" encoding="utf-8"?>
<p:tagLst xmlns:a="http://schemas.openxmlformats.org/drawingml/2006/main" xmlns:r="http://schemas.openxmlformats.org/officeDocument/2006/relationships" xmlns:p="http://schemas.openxmlformats.org/presentationml/2006/main">
  <p:tag name="APLORISTAG" val="MxTFIxVX6OdtQ0H5y.854"/>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AFFQAAABlTeXN0ZW0uRHJhd2luZy5SZWN0YW5nbGVGBAAAAAF4AXkFd2lkdGgGaGVpZ2h0AAAAAAsLCwsEAAAA//9/////f////3////9//wEWAAAAFQAAAP//f////3////9/////f/8AAAAAAAUXAAAALEFwbG9yaXMuQ2hhcnQuQXhpc0JyZWFrK0F4aXNCcmVha0Rpc3BsYXlNb2RlAQAAAAd2YWx1ZV9fAAgCAAAAAQAAAAEBAQoKCRgAAAAKCgAAAAAACRkAAAAKCRoAAAAAAAAACgUbAAAAGUFwbG9yaXMuQ2hhcnQuT3JpZW50YXRpb24BAAAAB3ZhbHVlX18ACAIAAAABAAAACRwAAAABHQAAABUAAABBLy9CDt57QWMjD0Q/PoZDAAQeAAAAC1N5c3RlbS5HdWlkCwAAAAJfYQJfYgJfYwJfZAJfZQJfZgJfZwJfaAJfaQJfagJfawAAAAAAAAAAAAAACAcHAgICAgICAgIAAAAAAAAAAAAAAAAAAAAAAAoKCR8AAAAACgoKAQAAAAAAAAD/////AAEBIAAAABUAAACqqs5Cqqo6QQY9m0OpKn5DD8pwQtTmI0NXzhxE+OCrQwUhAAAAFVN5c3RlbS5EcmF3aW5nLlBvaW50RgIAAAABeAF5AAALCwQAAAD31AJD3jc3QwYiAAAAEHhURkl4Vlg2T2R0UTBINXk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QS8vQi8djkMBLwAAACEAAABXFhpELx2OQwkwAAAACTEAAAAJMgAAAAkzAAAAAAAAAAAAAAAAAAAACTQAAAAAAAAAAAAJNQAAAAkBAAAACQEAAAAJNgAAAAEHAAAABgAAAAkBAAAAATcAAAAnAAAAAAAAAM3MTD8AAAAIAQAJAQAAAAk4AAAACTkAAAABAAAAAAAAAAABAAAAAAAA8D8BmpmZmZmZuT8AAAAgQQEBCToAAAAKCTsAAAAJPAAAAAk9AAAAAT4AAAAhAAAAQS8vQi8djkMBPwAAACEAAABBLy9CDt57QQ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BXrjhC+CCaQ9gcSUMAAMhBCWUAAAAD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BQAAAAgBAAAAAgAAAAMAAAAEAAAABQAAAAUc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bgAAACEAAABBLy9CDt57QQFvAAAAIQAAAFcWGkQvHY5DCXAAAAAJcQAAAAAAAAAKBXIAAAAUU3lzdGVtLkRyYXdpbmcuU2l6ZUYCAAAABXdpZHRoBmhlaWdodAAACwsEAAAAAAAAAAAAAAABcwAAAHIAAAAAAAAAAAAAAAAAAAABdAAAABUAAAAAAAAAAAAAAAAAAAAAAAAAFAAAAP////8BAQoJdQAAAAEACgAPHwAAAHE1AAACUEsDBBQABgAIAAAAIQBJEqz3jAEAAHg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d1OwjAUvjfxHZbemq3AhTGGwQXopZKID1DbA1vo2qan/L29ZwOMkrlJWOLNmq39/s52zobjXaGjDXjMrUlZP+mxCIy0KjfLlL3Pn+MHFmEQRgltDaRsD8jGo9ub4XzvACNCG0xZFoJ75BxlBoXAxDowtLOwvhCBbv2SOyFXYgl80Ovdc2lNABPiUHKw0XAKC7HWIXra0eODE4KzaHI4V0qlTDincykCGeXlLq/FbRpxG6POzMV2scglKCvXBVlKCD/1YkvxfxHwoLHBWY3CMXpCyMo9ZrnDu2OEV6q9zxVEM+HDiygoKN9pvrV+9WHtKmmuQ43aWR50HoTCDCAUOqnWpBC5+YN+dRh5tfQ7NlLmq4gv9DH4Jx+BPmzg1fX6UlQ0LcEx7DVgx2kPpG3KmfCg3oKnHujcwHfuFh/SFmVH4vX1/tkDJ942eaHlJKNO6fgdyBNvkz6No5m3DmlSerjcwGnilOjYERH4kEPjzPlSpDF7ueDZ0IFyjitQNdq8+m+MPgE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ABBmPgJAQAAz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zWrDMBCE74W+g9h7LdttQymRc2gp5NqmDyDktWViS0a7/fHbVyTUcSC4F9PjzqKZj5G03nx3rfjEQI13CrIkBYHO+LJxtYL33cvNAwhi7UrdeocKBiTYFNdX61dsNcdDZJueRHRxpMAy949SkrHYaUp8jy5uKh86zXEMtey12esaZZ6mKxmmHlCceYptqSBsy1sQu6GPyX97+6pqDD5789Gh4wsRkiMXRkMdamQFh/EoZkkEBXmZ4W5JBuKhjSWOEMd5Lv5+0XirA5ZvHOINTymm8hzMakkYo1vzZHXjTnWM0hxEtiTElw97soh8ghglkofN7OvI/xkm/21Gnv3B4gcAAP//AwBQSwMEFAAGAAgAAAAhACprnTDOAQAA/wIAAA8AAAB4bC93b3JrYm9vay54bWyMUstu2zAQvBfoPxC826QoyQkMS4HrB2qgKIKgTc4sRVtE+BBIqlJQ9N+7kqrEbS89kctdzu7MzuauNxp9lz4oZwucLClG0gpXKXsp8Ncvx8UtRiFyW3HtrCzwiwz4rnz/btM5//zNuWcEADYUuI6xWRMSRC0ND0vXSAuZs/OGRwj9hYTGS16FWspoNGGUrojhyuIJYe3/B8Odz0rIvROtkTZOIF5qHmH8UKsm4HJzVlo+TowQb5rP3MDcvcZI8xAPlYqyKnAOoevkHw++bT60SkOWrSjNMClfWd57xNvods4AiRDulYgtXApMh6pBh0clu/D2YQhR/6Rs5boCpzcUhH2ZQ0YZhN2YfFJVrKFjkgwl09tHqS51hHWwNBsbkKsOo4DQaTyRHdltG+28CnseOaxrUPgELBKM/FrBxZ+qZJjz+ssD79Bf9elVPRvqydxLcC1AguEYgTNKKaALZ0XrPWxiB5nfYsg+fgqx3MCJWq8K/OMmZ+kh36cLlh/TxTY/0EWyStlilR1Znu0Yy3L2c7aB6f/xgVHCu+DOcSmcIZMFwDqCyF7I0Um3k5PKjenXWy/q0x4dNb/AfiYeMAuwmScjs3fLXwAAAP//AwBQSwMEFAAGAAgAAAAhABfrd+jkCQAAupcAAA0AAAB4bC9zdHlsZXMueG1s7F3db+O4EX8v0P9B0KKPiURZn0GcQ5M9twdcDwskBfoq27ItrD4MSd5Nruj/3hmSsizFkSWT2WQD5iGx5JnhzI8zw5HIkNe/PKaJ9i0qyjjPpjq5NHUtyhb5Ms7WU/3fD7MLX9fKKsyWYZJn0VR/ikr9l5u//uW6rJ6S6H4TRZUGIrJyqm+qantlGOViE6VheZlvowy+WeVFGlZwWayNcltE4bJEpjQxLNN0jTSMM51JuEoXQ4SkYfF1t71Y5Ok2rOJ5nMTVE5Wla+ni6rd1lhfhPAFVH4kdLmrZ9OKZ+DReFHmZr6pLEGfkq1W8iJ5rGRiBAZJurrNdOkurUlvku6ya6pP9LY1989sSIHRtXWNG3+VLUMO8NP+mGzVzi9JpU3769Ml8gdJ9TsnFGlypm+tVnjW6EehIavPV1yz/ns3wO1AONEaym+vyT+1bmMAdgi0u8iQvtAo6DhSmd7IwjRjFXZjE8yJGslWYxskTu23hDdrXnC6NAXm8abAW2O85UvG2AvyWNRVny+gxArj8TmsP4SZPQyR81lhLbi3ztfXfHeh/rC3WYZLAOtVYByuxntkjSHuSdUuxnk/12cykP9gJjRv8I04S7T7MSrx9sisOBM1mQwXFL2B9lrC9eRS0lnnMwKFa9QgaihOFqwSXBgxb2QNv3FxDHquiIpshwvzzw9MWIjGDlMvgpnQnqNdF+EQsZzhDmSfxEjPC+u4w/gNdq2LMb+alFwSBT1zf9wN7Qmybusqck+9jGDIe+sSBGeghVGX6Byyf58USBpk6c2IeYrdurpNoVQF7Ea83+LfKt/B7nlcVZOSb62UcrvMsTOCjUXPwDyB2ESXJPQ5E/1k1sj0XpD+uDjIt5ELMRpie8SNoxj8yiewCWmgxAQw1k/UikxZut8nTDIRT0ewK5DdXt9Ty5vrvSbzO0uiQ4UuRV9GioiMwzSctPQ6Uf1mPrvKKCQbqur9515+F3uRE1/+xS+dRMaNFTtPJGMrNlUwXwOLiuP8yV/zR+ih8IKX0RJ/CR+EjkvKV/yj/Uf7zeuOpii8VXyq+VHzBAxN9eFP1s3q+6Kvn1fNX/3ih8FH4iIynyn+U/yj/eb16TMWXii8VXyq+3up5R+UflX9U/lH5R+Ufth5BvX/uz4cKH4WPyHih/Ef5j/Kf16s3zlpUpZhElqQp9BR6fCUrB0INcmqQExnkVEYRySgq+lT0iUSf8h/lP8p/Xu8RRcWXii8VXyq+3mrKQeUflX9U/lH5R+UfNuWploD050OFj8JHZLxQ/qP8R/nP69UbKr5UfKn4UvH1VvX8e8s/avZQZPbwnaOnXl71D3YKH4WPSDGg/Ef5j/Kf1ysmVXz1x9c7KT+Mw5082b6eB1t6WrjT8kubYkIZvnphR8TH1fGtPZGF12wDuPken3RLR7qZrIAmbVns6iD8cV/UsN4gVNvkRfwn6In7NC9gx9CIba/8uOqAwbecPrXBqcbgIEd3uqnvsq1M91fc6A+sqPa9CLcP0SNs4Eo713gGr4i3nABOatt1p7W3MKrvyurYUXjhtuUnYpNHBLg5dgC/arldvX1q/e2geMFdhfUfr+tw3XBD4z5X894MOp5qfjx4Ah0NJxhU8QITJewf/Qb9fpbqg4EmLj0pgCX4wTE1Pg8IWdF0Qf9YdWAKnC0xLD28U1PoqQysV9Cq3kxHHChFj2wxV2e1vvz8Q/plnDHwEvLjGAOd93GMgX78OMbAKPhxjIF095MYg2cf8GwGD4hzeoQB302fP0R4P082G2DMz5PNBhjz3rIZfbaHp/mD4zo6h3XsH/41PG8GTqDJkyT/Hi21f8IxKEUSZ1/hMCP6LI/HGs13cQIHlKA/AhqbeLmM8Ogq3LVzhCD0aymCwHfkCILELUcQ5BkpgixZYFuywLZkgW3JAtuSBfZEFtgTWWBPZIE9kQX2RBbYtiyw4UQkObFmywLblgW2LQtsRxbYjiywHVlgO7LAdmSB7coC25UFNp6HKGU4cmWB7coC25MFticLbE8W2AHU91J6LYByVIogYspSiZjydIIHVEnWQS0rRxIcUylLkjTEiTTEiTTEiTTELWmIw0ynpL6DgyBlSZKGuCUN8Yk0xCfSEJ9IQ3wiDfGJNMRtaYjb0hC3pSFuS0Pcloa4tFKOSKvl6EoDOaOUtGoOjqeVlemk1XNkZEH37D1X24nAwN7XXM/YOyXAeP52iI7nbwfmeP52OI7nF8SvM6CPbr8zjI/nF8TPEsSvM1CP1r8zPI/nF/S/zlA8vn1B/DrD7uj2O4PteH5B/DoD6/j2BfHrDKKj23faxcp4fkH8HMH4dQTxcwTznyuInyuIH653OSgzRvefK4ifK4ifJ4gfzq6K2B+03yeNxi9ov0YazU9MQQWIKaxB+23hGSYAi0gfkM5c5XgNiCiIRBREIgoiEQWxMwc5HsTO3OMZAkRB7Mw1nqGBKIiducXxGnTmFM8QIApiZw7xDA1EQezMGY7XoDNXeIYAURA7c4NnaCAKomhhQkQrEyJamtC1uELjgmhxQkSrEzKyPPkjL9IwqZfgtOe8zGPLbr5EBa4BrjnaxZBzjKOsnpKI2LbnT4hlERsTDlvxM4gc6yVGbg2RjuUNI7cHkLs4CjJydwg5pipG7g8h9/bkkwHkHs5aMOleH7kf+E7g2yZOA3DyXiQ5vYVvLjh9r7E1PT5pcfoh+lh+o08vOly+jasQuPxggL3gQDW9f9Q1a0fj8h2zoT+6gqxLj6/mmT5+r6uBfA/A9PGVIqMPTuFJ6f29awan8EH6wNzLJ/DxyBK4AwMoA87EcYVOdRilx9qB05/qAEqPrw4YPTFPIeo5xKH5lDH4vQGAiCI99CtvwD+JKNLjBDSXf9IAoLewbOf0vdmB62M1EeafBBTlYx3B5AcnOwzp8V0C1+dUBCM+VuNx/kkPQvomIoPe/gJXcwM/cPB1O9OHwMqeHo+rGUCNPcOQFlxzn+JAvZ4WHNDIm7i+c+BzMBK8rNKeAadWuA2wYmIAQ5OkidfXC44JeNoeMXHKpUapXyXOAOlkzzCkBfqIXbfQ53i1SqRJ7QQWQPUZzVSC4bhRqS/U9i0cugb1vebfemH17/JxtV/3Sx2nCudJdI8j/8F9bRmtwl1SPey/nOrN539Fy3iXAlSc6kv8La+oiKnefP49Xm8qGLXBRvjHzt/Liv7VdkU81f/7660XfP51Zl345q1/YU8i5yJwbj9fOPbd7efPs8C0zLv/geFpkpVXj8Se6puq2l4ZRrnYRGlYXqbxosjLfFVdLvLUyFereBEZ5baIwmW5iaIqTQzLNAMjMNIwzvA/l4l9VSZAVXBjufL3zb2pfnDB1EftDVCf/aZGGDSZ32MjN/8HAAD//wMAUEsDBBQABgAIAAAAIQDnZXW41gAAALgBAAAjAAAAeGwvd29ya3NoZWV0cy9fcmVscy9zaGVldDEueG1sLnJlbHOskMlqAzEMQO+F/oPRPdZMDqGUeHIJhVxD+gHC1ix0vGC5afL3dSiFDAR66VHb05O2u4uf1ZmzTDEYaHUDioONbgqDgffT2+oFlBQKjuYY2MCVBXbd89P2yDOVOiTjlERVShADYynpFVHsyJ5Ex8ShVvqYPZUa5gET2Q8aGNdNs8F8z4BuwVQHZyAfXAvqdE1189/s2PeT5X20n55DebACz37eZ/qqx1Uq5YGLAa3R/eTkrt7q2gv42Gn9n042+puuLIx+k62u/7tp4OLf3TcAAAD//wMAUEsDBBQABgAIAAAAIQBju3WjAAQAAHMMAAAYAAAAeGwvd29ya3NoZWV0cy9zaGVldDIueG1sjFdNj9s2EL0X6H8QdGoPtj5sS7ZgO1hZUhIgiy6aJjnTEmULK4muyN31ouh/75CUHXGUOnuxpfeGw3kzQ3q8fnduauuZdrxi7cb2pq5t0TZnRdUeNvaXv7LJ0ra4IG1BatbSjf1Kuf1u++sv6xfWPfIjpcICDy3f2EchTpHj8PxIG8Kn7ERbYErWNUTAa3dw+KmjpFCLmtrxXTdwGlK1tvYQdW/xwcqyymnC8qeGtkI76WhNBMTPj9WJX7w1+VvcNaR7fDpNctacwMW+qivxqpzaVpNHHw8t68i+Bt1nb07yi2/1MnLfVHnHOCvFFNw5OtCx5pWzcsDTdl1UoECm3epoubHvvOi959rOdq0S9LWiL3zwbMl87xl7lMTHYmO74ILTmuZSuUXg65nuaF1v7A8BlOxv5RQewaFz9Th8vnjPVIUeOmtPON2x+ltViCO0AnRCQUvyVIs/2csHWh2OAtA55ECmIipeE8pzqIEM5RJ1QgTZrjv2YkExPQjjRGRreFEI0eYSvJPoxg7lEgXEGoA2A08czJ633mLtPEOoeW+yu5hc1iQYSDGQaWB23ea9BnyVDwjwGqX/wyglakSpgdUgShzk2CIwZSRji9C0SMcWrmmRaYuBLg2Mdc0MXZYsnr+8VkGyusbXrC/NneLeBPJ2NVmZJrufmyQ/N0m1yTC1aJ9MWwxEa2AsGrrzBy0nUSQWpTXuTXzVf77nIaEGvVigsiUG7YfIedrTM3BeqmQeSUcLW5/7dB6loJ1X6kh//nL/WzyPkvnva6dUZ8GdocJk2t0gGxoYZ2NhZAO3gGRRVjwUedzb6LQEOCsGu/TNnCUG66GzkPbsKCc6D3DQ5TWA+0AvGijXwFi5vAG/Xz1K+VyK0FeQZLFypC3ubbRyz5+Z4nYGPZvNTToxaC/A4nv6lvgAb5npRQPxGhiLD2+KlywWj0oX9za9eNQUO4OdIzYxWCwi7dlbykOU60yvGQjXwFi4HFVQ1QdXnmSxcLRV3Nv0wvENb7BL1JyJwS7QoU179pZwL0B1yPSigXINjJXLC+T/lUsWK0cdG/c2WjmKY2eQHmITg0VXo7raYO9bun109jLtcCBbA2PZckYZ6L6cbwXDptcf/7hHvrvcjZBkhKQjJBshcmSTyR3EpqctPQmdyIHek+5QtdyqaQk/pO40hEur09OUfhHsJIO19kwI1qjHI8zJFKYldwrGJWPi8gIXIz2LT1yob+upg5+Nf4K56/rhzJvcBbE7WcgPPwjdSRj6Xhzu3FXguv9eZtfm/LbBtSG5Q885VYP6Ug/q23Vzjh4+fbXuWQEzMUj/o6UPoFE9f/ucEzkqq3EQ1kKM8lMF61z/Lmz/AwAA//8DAFBLAwQUAAYACAAAACEA+2KlbZQGAACnGwAAEwAAAHhsL3RoZW1lL3RoZW1lMS54bWzsWU9v2zYUvw/YdyB0b20nthsHdYrYsZutTRvEboceaZmWWFOiQNJJfRva44ABw7phlwG77TBsK9ACu3SfJluHrQP6FfZISrIYy0vSBhvW1YdEIn98/9/jI3X12oOIoUMiJOVx26tdrnqIxD4f0zhoe3eG/UsbHpIKx2PMeEza3pxI79rW++9dxZsqJBFBsD6Wm7jthUolm5WK9GEYy8s8ITHMTbiIsIJXEVTGAh8B3YhV1qrVZiXCNPZQjCMge3syoT5BQ03S28qI9xi8xkrqAZ+JgSZNnBUGO57WNELOZZcJdIhZ2wM+Y340JA+UhxiWCibaXtX8vMrW1QreTBcxtWJtYV3f/NJ16YLxdM3wFMEoZ1rr11tXdnL6BsDUMq7X63V7tZyeAWDfB02tLEWa9f5GrZPRLIDs4zLtbrVRrbv4Av31JZlbnU6n0UplsUQNyD7Wl/Ab1WZ9e83BG5DFN5bw9c52t9t08AZk8c0lfP9Kq1l38QYUMhpPl9Daof1+Sj2HTDjbLYVvAHyjmsIXKIiGPLo0iwmP1apYi/B9LvoA0ECGFY2Rmidkgn2I4i6ORoJizQBvElyYsUO+XBrSvJD0BU1U2/swwZARC3qvnn//6vlT9Or5k+OHz44f/nT86NHxwx8tLWfhLo6D4sKX337259cfoz+efvPy8RfleFnE//rDJ7/8/Hk5EDJoIdGLL5/89uzJi68+/f27xyXwbYFHRfiQRkSiW+QIHfAIdDOGcSUnI3G+FcMQU2cFDoF2CemeCh3grTlmZbgOcY13V0DxKANen913ZB2EYqZoCecbYeQA9zhnHS5KDXBD8ypYeDiLg3LmYlbEHWB8WMa7i2PHtb1ZAlUzC0rH9t2QOGLuMxwrHJCYKKTn+JSQEu3uUerYdY/6gks+UegeRR1MS00ypCMnkBaLdmkEfpmX6Qyudmyzdxd1OCvTeoccukhICMxKhB8S5pjxOp4pHJWRHOKIFQ1+E6uwTMjBXPhFXE8q8HRAGEe9MZGybM1tAfoWnH4DQ70qdfsem0cuUig6LaN5E3NeRO7waTfEUVKGHdA4LGI/kFMIUYz2uSqD73E3Q/Q7+AHHK919lxLH3acXgjs0cERaBIiemYkSX14n3InfwZxNMDFVBkq6U6kjGv9d2WYU6rbl8K5st71t2MTKkmf3RLFehfsPlugdPIv3CWTF8hb1rkK/q9DeW1+hV+XyxdflRSmGKq0bEttrm847Wtl4TyhjAzVn5KY0vbeEDWjch0G9zhw6SX4QS0J41JkMDBxcILBZgwRXH1EVDkKcQN9e8zSRQKakA4kSLuG8aIZLaWs89P7KnjYb+hxiK4fEao+P7fC6Hs6OGzkZI1VgzrQZo3VN4KzM1q+kREG312FW00KdmVvNiGaKosMtV1mb2JzLweS5ajCYWxM6GwT9EFi5Ccd+zRrOO5iRsba79VHmFuOFi3SRDPGYpD7Sei/7qGaclMXKkiJaDxsM+ux4itUK3Fqa7BtwO4uTiuzqK9hl3nsTL2URvPASUDuZjiwuJieL0VHbazXWGh7ycdL2JnBUhscoAa9L3UxiFsB9k6+EDftTk9lk+cKbrUwxNwlqcPth7b6ksFMHEiHVDpahDQ0zlYYAizUnK/9aA8x6UQqUVKOzSbG+AcHwr0kBdnRdSyYT4quiswsj2nb2NS2lfKaIGITjIzRiM3GAwf06VEGfMZVw42Eqgn6B6zltbTPlFuc06YqXYgZnxzFLQpyWW52iWSZbuClIuQzmrSAe6FYqu1Hu/KqYlL8gVYph/D9TRe8ncAWxPtYe8OF2WGCkM6XtcaFCDlUoCanfF9A4mNoB0QJXvDANQQV31Oa/IIf6v805S8OkNZwk1QENkKCwH6lQELIPZclE3ynEauneZUmylJCJqIK4MrFij8ghYUNdA5t6b/dQCKFuqklaBgzuZPy572kGjQLd5BTzzalk+d5rc+Cf7nxsMoNSbh02DU1m/1zEvD1Y7Kp2vVme7b1FRfTEos2qZ1kBzApbQStN+9cU4Zxbra1YSxqvNTLhwIvLGsNg3hAlcJGE9B/Y/6jwmf3goTfUIT+A2org+4UmBmEDUX3JNh5IF0g7OILGyQ7aYNKkrGnT1klbLdusL7jTzfmeMLaW7Cz+Pqex8+bMZefk4kUaO7WwY2s7ttLU4NmTKQpDk+wgYxxjvpQVP2bx0X1w9A58NpgxJU0wwacqgaGHHpg8gOS3HM3Srb8AAAD//wMAUEsDBBQABgAIAAAAIQDmtX9wQgQAANEJAAAYAAAAeGwvd29ya3NoZWV0cy9zaGVldDEueG1sjFZtj+I2EP5eqf8hyneIXxLbQcBpgV11pTt11W3vPpvEQLRJnCZmYa/qf+/YDmGB62mFFBL7mWeeGY/Hnn46VmXwqtqu0PUsxGMUBqrOdF7U21n4158PIxEGnZF1Lktdq1n4prrw0/zXX6YH3b50O6VMAAx1Nwt3xjSTKOqynapkN9aNqmFmo9tKGvhst1HXtErmzqgqI4IQiypZ1KFnmLQf4dCbTZGplc72laqNJ2lVKQ3o73ZF053YjvmH+PJWHiDWk553Eld+ZuDD8Y2+qsha3emNGWe6iry02yjTKL2Is8puiH6QrEq2L/tmBMQNBLcuysK8uXDDoMomj9tat3JdwooccSyzdyrlLf3HdQLTfJoXkFtbEEGrNrPwDk/u4zCaT93KfS3UoXv3Hhi5flalyozKoYDCwBbGWusXC3yEIQSMnQNYRpmZ4lUtVVnOwgWB2vrb+ViQycr5iAYn8+n5/eTwwVXTUxusZaeWuvxW5GYHXqFqc7WR+9KcB8VYUIIoJskw+Yc+/KaK7c6ASQwps5mb5G8r1WVQTFYqRJnpEtzBM6gKuyUg3/LoI/PeCBszFiNmiTvzZtcAQGvVmYfCModBtu+Mrk7ielJPByE7Ovg/eLr3Ons6emFCexP4703SwTGMfdAxxOscg+iPOman0BkVYP7/ZtjqjXzi3PqtpJHzaasPAWxCSEjXSNsi8AS82+zHBIois5N3dtZhYLiD0dd5PI1eLV2PWHgEiBkQmF1Clh4CyThD+CVk5SEQxhkiLiH3t1JwOkAiiGYIyRbuVUg4GUKys7MQQj27Gmhc0K7wIWhr8jpHY0ESgRHHNBEiSTi60r70hFCyHo4FEjShKaUMgwGil+yrKzilQmAex2kqaIroOSSn5d6jid2mVgsVKVQ3iWOUckYEOyfpIgOQ659kwM5eZoBcalx4BOankBgSIDFhnPMkJclVDSx7OOvhCYF0sTTlMU8SEfOzSBfT6goOwQiW4ATQhMYEXZXPvYcTfEoBpQTbdWDwS2icDNovUgC19JMU2NnLur5apkWPSJ1XPKYUx4KkDJYrQbGg96OrnC17A9HLJCnUAWcoxdCKKGJXCwv91CkY4LYZcpomhFHIGrpKMbR4Cyd2Z9o6IJxjgrBIrCSwO4vxSfDN2W/0Rm7VF9lui7oLSrWBskdjHgatb7Xu3ejGjcKuWGsD3fH0tYMrgYJGAJUXBhutzekDWorlfVZm3wS6LaBDu1N+Fja6Na0sDPQSGP+uYaJcNYVtK2mcMk5SqGm405giu50A2lJtZfbWn+9BOynyWdg+5q6LqaP53Jn5FP6DfQuc/0CrR4RTPLpjCzRK7IMwjkacE7zgS5QyhP49nb8VnBRXF6EfHr6VzCJ1zJS7Bgl/PZhPq+Pk6fPX4IvO4UyBM+33Wj1BCtz7t2cIxr3aXgvy/NOJjYbL2Pw/AAAA//8DAFBLAwQUAAYACAAAACEAMZLWc2oBAAAZAwAAFAAAAHhsL3NoYXJlZFN0cmluZ3MueG1sjJLBbttADETvBfIPxJ5rS7aLuigkBYWTnBJf4qBnQqIloiuuLFJO/fdZNykSSC7Q4z5yBxwOs+vfrYcj9cpBcreYpw5IylCx1Ll72t3NvjlQQ6nQB6HcnUjddXH1KVM1iH9Fc9eYdd+TRMuGWtR56EhiZR/6Fi0++zrRriestCGy1ifLNP2atMjioAyDWO6WXxwMwoeBNm8gdUWmXGRW7IKhzxIrsuQMXuGPuicawy0N1k97b1jxUvsjeSot+h7rpDCDVTqmq0XE6wlen/EinfAnJQh72FHZSPChPo31/jgdw59c0euyYFD6DOh93FE/sTrpM/CEMZIY0n99kCCzS8L33LJRFXX86TzCeMBtAPunpYcTsKixDee1wh7ZK1gALBumIwEKRH/oAasjazwx0NiLlzK4PQzcdXGQLR65Rgu9jke5D89wN5CfFDYNlb/gVmoWmhT/GnwPBmJUH9WTeNrFCwAAAP//AwBQSwMEFAAGAAgAAAAhAIz17tqbAgAAEAcAABsAAAB4bC9kcmF3aW5ncy92bWxEcmF3aW5nMS52bWzsVclu2zAQvecrCObgiwwtblKXkQwEKXJrCzRdjgEt0RYTLoI4luV8fYeU7NgNWgTtoZcKsEzO/t48QHmvFcGfcawr6KY1zJW10NxNtSxb6+wKpqXVrNOKno2B9neBdrWSpWDD3yGlf0WK6Evx3ETjODVAw+JY8/KbVndhrq+tpIszklvmat4IxXd2A6RjooeCikqC93q3rDRvThyk4sALmtLYF4hPKizybigIu0YQWRX0vk/wuYcsySgprW0rJ59EQbP0Mkmi8KYEazTY18dg14ZDXVCdRIkaI4a4k3fSi2FEbAitfRTkwUrjYKewuJYg2jAfwYF8PbJueSWFgQDXPhYUfNvSGiNK8NMWtMXTCOoIxQHSMRyXJtkFJUPe+QnGYYRJY50EaQ3jS2fVBsQVItO8XUszVWIF7HLewNVoANuwdPYGDVtZQc3SzJ9rIdc1sCzB89NUmkr0LPVlOunkUioJO1bLqhLmSjs73ba8mYbuDHzihKykUqVVti3o+QofkXrMyJIAbStEzDdg9yz6YFwQRmfP4X7FnkJkrbJbYs3A29KVm1bgdge+DiT/RKixRhy2ACitpe3JyI+fuJKeciRpyhUwP8zE9yN5Jbt9nE9Dt1wb5mmbLPIYvWGsuGNj0XDt2Y3yG36P8iSflg9Y+kvY60cLg1ZI3rMPthPfJdQ3QikX4HnrHWrypfXalLVtw0gkicjlPCJvI3IRkTQisywieE/TPO7ZUSAWu0Ygt8jm4pYrJ4J/bwnoevbZbhch0R9G2w2qRJtF4uPHs+fe3w6wMDZH1EHDv9Tl/O90mc2zU2H66yjL1EtxL8v0SJbZf1n+G1nOUIIoSFQn6tEr891wmf2pLIP+Xsoye70sY/wMLn4AAAD//wMAUEsDBBQABgAIAAAAIQABdY4wNgEAABI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V9LwzAUxd8Fv0PJe5t2m0ND24HKEHEgOFF8uyR3XbD5QxLt9u3Nuq1O5uPlnPvjnHvL2Ua1yTc6L42uSJHlJEHNjZC6qcjrcp5ek8QH0AJao7EiW/RkVl9elNwybhw+O2PRBYk+iSTtGbcVWYdgGaWer1GBz6JDR3FlnIIQR9dQC/wTGqSjPJ9ShQEEBKA7YGoHIjkgBR+Q9su1PUBwii0q1MHTIivorzegU/7fhV45cSoZtjZ2OsQ9ZQu+Fwf3xsvB2HVd1o37GDF/Qd8XTy991VTq3a04kroUnHGHEIyrS3o6xMO14MMi3nglUdxu60ejIaxBJw/GRQBKXdJzVyT2BZg6bCYxE9s3OEpv47v75ZzUo7yYpvkkzafLYsxGE3Z187FL8RcQg519sf4BAAD//wMAUEsDBBQABgAIAAAAIQCtTuMSDwEAACICAAAQAAAAeGwvY29tbWVudHMxLnhtbLxQTUvEMBS8C/6H8O5u2h5klSaLCCuCB8H1B8TmdRvIR8nLLl1/vW/t1oMnT0IImcm8meG1myl4ccRMLkUF9aoCgbFL1sW9gvfd9mYNgoqJ1vgUUcEJCTb6+qrtUggYCwk2iKRgKGW8l5K6AYOhVRox8k+fcjCFYd5LGjMaSwNiCV42VXUrg3ERdGsOZUiZlofUrfyhLjkvjopeQkXGXsFjDWKWPVsFFfsUnFiU+bzy9cE+9CmOxiu4AwZd8ikLFy1OyBPr+kzmbYplFu3MkII5k70Jzp9mtjkT8tux6KecDqOwSF12Y+GdUSs5UnKcnNPlpfCvsg/N/5d9w+yQ/th26T0vekGkvwAAAP//AwBQSwMEFAAGAAgAAAAhAD9vKG2OAQAAKg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JBb9swDIXvA/YfBN0buVkxDIGsomg39LBiwZJ2Z06mY6GKJIisl+zXT46RxukOA3Yj+Z6fPlPS17utFz1mcjHU8nJWSYHBxsaFTS0f118uPklBDKEBHwPWco8kr837d3qZY8LMDkmUiEC17JjTQimyHW6BZkUORWlj3gKXNm9UbFtn8S7aly0GVvOq+qhwxxgabC7Sa6AcExc9/29oE+3AR0/rfSrARt+k5J0FLn9pHpzNkWLL4gGsCxypE593Fr1WU5sunCu0L9nx3lRaTVu9suDxthxhWvCEWp0G+h5hWN8SXCaje170aDlmQe53WeBcip9AOIDVsofsIHABHGxjc6h9Is7mR8zP1CEyaVUM4/BQTr3T2l2Z+cFQinPjEDCCFOEcce3YI31rl5D5X8QHhpF3xLlJPmZHd8AwhXzF/Q6/xFvxjOXN6V9deKbHtI7lIzxu93yoVx1kbMqFHPXTQN+XxWY/hNx2EDbYHD1/C8OreBqfvrm8mlUfqnLNk5lWp0du/gAAAP//AwBQSwMEFAAGAAgAAAAhAOUE3lGqAAAA/gAAABAAAAB4bC9jYWxjQ2hhaW4ueG1sXI7LCsIwEEX3gv8QZm9TX/VB0y5Ev0A/IKRjE8ijZILo3xtEK3Q5Z7iHU7dPZ9kDI5ngBSyLEhh6FTrjewG362WxB0ZJ+k7a4FHACwnaZj6rlbTqpKXxLBs8CdApDUfOSWl0koowoM+fe4hOpnzGntMQUXakEZOzfFWWFXdZAE2tWBRw3gIzAtbAbC4B/sPVF49gNwWHKcjRH9M42fwBH8ubNwAAAP//AwBQSwECLQAUAAYACAAAACEASRKs94wBAAB4BgAAEwAAAAAAAAAAAAAAAAAAAAAAW0NvbnRlbnRfVHlwZXNdLnhtbFBLAQItABQABgAIAAAAIQBQfE7B9gAAAEwCAAALAAAAAAAAAAAAAAAAAMUDAABfcmVscy8ucmVsc1BLAQItABQABgAIAAAAIQAAQZj4CQEAAMwDAAAaAAAAAAAAAAAAAAAAAOwGAAB4bC9fcmVscy93b3JrYm9vay54bWwucmVsc1BLAQItABQABgAIAAAAIQAqa50wzgEAAP8CAAAPAAAAAAAAAAAAAAAAADUJAAB4bC93b3JrYm9vay54bWxQSwECLQAUAAYACAAAACEAF+t36OQJAAC6lwAADQAAAAAAAAAAAAAAAAAwCwAAeGwvc3R5bGVzLnhtbFBLAQItABQABgAIAAAAIQDnZXW41gAAALgBAAAjAAAAAAAAAAAAAAAAAD8VAAB4bC93b3Jrc2hlZXRzL19yZWxzL3NoZWV0MS54bWwucmVsc1BLAQItABQABgAIAAAAIQBju3WjAAQAAHMMAAAYAAAAAAAAAAAAAAAAAFYWAAB4bC93b3Jrc2hlZXRzL3NoZWV0Mi54bWxQSwECLQAUAAYACAAAACEA+2KlbZQGAACnGwAAEwAAAAAAAAAAAAAAAACMGgAAeGwvdGhlbWUvdGhlbWUxLnhtbFBLAQItABQABgAIAAAAIQDmtX9wQgQAANEJAAAYAAAAAAAAAAAAAAAAAFEhAAB4bC93b3Jrc2hlZXRzL3NoZWV0MS54bWxQSwECLQAUAAYACAAAACEAMZLWc2oBAAAZAwAAFAAAAAAAAAAAAAAAAADJJQAAeGwvc2hhcmVkU3RyaW5ncy54bWxQSwECLQAUAAYACAAAACEAjPXu2psCAAAQBwAAGwAAAAAAAAAAAAAAAABlJwAAeGwvZHJhd2luZ3Mvdm1sRHJhd2luZzEudm1sUEsBAi0AFAAGAAgAAAAhAAF1jjA2AQAAEgIAABEAAAAAAAAAAAAAAAAAOSoAAGRvY1Byb3BzL2NvcmUueG1sUEsBAi0AFAAGAAgAAAAhAK1O4xIPAQAAIgIAABAAAAAAAAAAAAAAAAAApiwAAHhsL2NvbW1lbnRzMS54bWxQSwECLQAUAAYACAAAACEAP28obY4BAAAqAwAAEAAAAAAAAAAAAAAAAADjLQAAZG9jUHJvcHMvYXBwLnhtbFBLAQItABQABgAIAAAAIQDlBN5RqgAAAP4AAAAQAAAAAAAAAAAAAAAAAKcwAAB4bC9jYWxjQ2hhaW4ueG1sUEsFBgAAAAAPAA8A3AMAAH8xAAAAAAUj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2AAAABUFyaWFsBncAAAAGK21uLWVhCXgAAAABAAl5AAAAByQAAAAAAQAAABEAAAAEFFN5c3RlbS5EcmF3aW5nLkNvbG9yBAAAAAV6AAAAFFN5c3RlbS5EcmF3aW5nLkNvbG9yBAAAAAV2YWx1ZQVzdGF0ZQprbm93bkNvbG9yBG5hbWUAAAABCQcHBAAAAAAAAAAAAAAAAAAAAAoBewAAAHoAAAAAAAD//////wIAAAAKAXwAAAB6AAAA//////////8CAAAACgF9AAAAegAAAE5BIv//////AgAAAAoBfgAAAHoAAADe3Nv//////wIAAAAKAX8AAAB6AAAAfmk///////8CAAAACgGAAAAAegAAAIyEcv//////AgAAAAoBgQAAAHoAAAAlIe3//////wIAAAAKAYIAAAB6AAAANDtG//////8CAAAACgGDAAAAegAAAHSYw///////AgAAAAoBhAAAAHoAAAAelPf//////wIAAAAKAYUAAAB6AAAAHpT3//////8CAAAACgGGAAAAegAAACUh7f//////AgAAAAoBhwAAAHoAAAAAAAD//////wIAAAAKAYgAAAB6AAAA//////////8CAAAACgGJAAAAegAAAE5BIv//////AgAAAAoBigAAAHoAAADe3Nv//////wIAAAAKBCUAAACYAVN5c3RlbS5Db2xsZWN0aW9ucy5HZW5lcmljLkxpc3RgMVtbQXBsb3Jpcy5CYXNlLk9iamVjdHMuRGF0YU9iamVjdCwgQXBsb3Jpcy5CYXNlLCBWZXJzaW9uPTQuMC4wLjE0ODYsIEN1bHR1cmU9bmV1dHJhbCwgUHVibGljS2V5VG9rZW49MTZmYzEzYTIyNmMwZTk1MV1dAwAAAAZfaXRlbXMFX3NpemUIX3ZlcnNpb24EAAAhQXBsb3Jpcy5CYXNlLk9iamVjdHMuRGF0YU9iamVjdFtdAwAAAAgICYsAAAANAAAAEQAAAAQmAAAAlQFTeXN0ZW0uQ29sbGVjdGlvbnMuR2VuZXJpYy5MaXN0YDFbW0FwbG9yaXMuQmFzZS5VSS5WaXN1YWxPYmplY3QsIEFwbG9yaXMuQmFzZSwgVmVyc2lvbj00LjAuMC4xNDg2LCBDdWx0dXJlPW5ldXRyYWwsIFB1YmxpY0tleVRva2VuPTE2ZmMxM2EyMjZjMGU5NTFdXQMAAAAGX2l0ZW1zBV9zaXplCF92ZXJzaW9uBAAAHkFwbG9yaXMuQmFzZS5VSS5WaXN1YWxPYmplY3RbXQMAAAAICAmMAAAAAQAAAAEAAAAFKAAAAJsBQXBsb3Jpcy5CYXNlLk9iamVjdHMuRGF0YU9iamVjdENvbGxlY3Rpb25gMVtbQXBsb3Jpcy5DaGFydC5WYWx1ZUxpbmU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AuMC4xNDg2LCBDdWx0dXJlPW5ldXRyYWwsIFB1YmxpY0tleVRva2VuPTE2ZmMxM2EyMjZjMGU5NTFdXQMAAACRAVN5c3RlbS5Db2xsZWN0aW9ucy5HZW5lcmljLkxpc3RgMVtbQXBsb3Jpcy5DaGFydC5WYWx1ZUxpbm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jQAAAAmOAAAACQYAAAAJAQAAAAmPAAAABSkAAACbAUFwbG9yaXMuQmFzZS5PYmplY3RzLkRhdGFPYmplY3RDb2xsZWN0aW9uYDFbW0FwbG9yaXMuQ2hhcnQuQXhpc0JyZWFr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wLjAuMTQ4NiwgQ3VsdHVyZT1uZXV0cmFsLCBQdWJsaWNLZXlUb2tlbj0xNmZjMTNhMjI2YzBlOTUxXV0DAAAAkQFTeXN0ZW0uQ29sbGVjdGlvbnMuR2VuZXJpYy5MaXN0YDFbW0FwbG9yaXMuQ2hhcnQuQXhpc0JyZWF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AAAAAJkQAAAAkGAAAACQEAAAAJkg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aAAAAAMAAAAJaQAAAAlqAAAACWsAAAABAAAAAAoKCWwAAAAAAAAACgAAAAAAAAAABS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gAAAADAAAACWkAAAAJagAAAAlrAAAAAQAAAAAKBpMAAAABJQlsAAAAAQAAAAoAAAAAAAAAAAUtAAAAmgFBcGxvcmlzLkJhc2UuT2JqZWN0cy5EYXRhT2JqZWN0Q29sbGVjdGlvbmAxW1tBcGxvcmlzLkNoYXJ0LlRpY2tNYXJr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AuMC4xNDg2LCBDdWx0dXJlPW5ldXRyYWwsIFB1YmxpY0tleVRva2VuPTE2ZmMxM2EyMjZjMGU5NTFdXQMAAACQAVN5c3RlbS5Db2xsZWN0aW9ucy5HZW5lcmljLkxpc3RgMVtbQXBsb3Jpcy5DaGFydC5UaWNrTWFy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UAAAACZUAAAAJBgAAAAkBAAAACZYAAAAFMA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XAAAAIQAAAEEvL0IvHY5DAZgAAAAhAAAAVxYaRC8djkMJmQAAALgBAAD/////AQEKCZoAAAABAAoABzEAAAAAAQAAAAUAAAAEFVN5c3RlbS5EcmF3aW5nLlBvaW50RgQAAAABmwAAACEAAABX1hpELx2OQwGcAAAAIQAAAEEvL0KFcpZDAZ0AAAAhAAAASwmlQ4VylkMBngAAACEAAABXFhpEhXKWQwGfAAAAIQAAAFfWGkQvnZBDBzIAAAAAAQAAAAUAAAAEF0FwbG9yaXMuQmFzZS5BbmNob3JNb2RlAwAAAAWgAAAAF0FwbG9yaXMuQmFzZS5BbmNob3JNb2RlAQAAAAd2YWx1ZV9fAAgDAAAABAAAAAGhAAAAoAAAAAUAAAABogAAAKAAAAADAAAAAaMAAACgAAAABgAAAAGkAAAAoAAAAAUAAAAPMwAAAAUAAAABAAAAAAEFNAAAABVBcGxvcmlzLkJhc2UuVUkuTGFiZWwcAAAAD21BbmNob3JQb3NpdGlvbgttQW5jaG9yTW9kZQ9tQWRkSW5uZXJNYXJnaW4WbU9mZnNldERpcmVjdGlvbkFuY2hvchdtT2Zmc2V0T3J0aG9nb25hbEFuY2hvcgttVGV4dEZvcm1hdAltUm90YXRpb24KbUJhY2tDb2xvcg1tVXNlQmFja0NvbG9yDm1Vc2V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BAQEAAEDAwEAAAAABwIAAAMA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MAAAABpQAAACEAAABX1hpELx2OQwGmAAAAoAAAAAQAAAAAAAAAAAAAAAAJpwAAAAAAAAAJqAAAAAAABakAAAAqQXBsb3Jpcy5CYXNlLlVJLkxhYmVsK0xpbmVBbGlnbm1lbnRPcHRpb25zAQAAAAd2YWx1ZV9fAAgDAAAAAAAAAAGqAAAAcgAAAAAAAAAAAAAAAasAAAAVAAAAAAAAAAAAAAAAAAAAAAAAAAAAAAAGrAAAAA1DYXRlZ29yeSBheGlzCgmtAAAACawAAADkAgAA/////wABCgmuAAAAAQAKAAE1AAAAJQAAAAmvAAAABgAAAAYAAAABNgAAACYAAAAJsAAAAAIAAAACAAAAATgAAAAoAAAACgmxAAAACbIAAAAJBwAAAAkBAAAACbMAAAABOQAAACkAAAAKCbQAAAAJtQAAAAkHAAAACQEAAAAJtg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oAAAAAwAAAAlpAAAACWoAAAAJawAAAAEAAAAACgmTAAAACWwAAAAAAAAACgAAAAAAAAAABT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gAAAADAAAACWkAAAAJagAAAAlrAAAAAQAAAAAKBrcAAAABJQlsAAAAAAAAAAoAAAAAAAAAAAU8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BAAAAAQloAAAAAwAAAAlpAAAACWoAAAAJawAAAAEAAAAACgmTAAAACWwAAAABAAAACgAAAAAAAAAAAT0AAAAtAAAACgm4AAAACbkAAAAJBwAAAAkBAAAACboAAAABQAAAADAAAAABuwAAACEAAABBLy9CLx2OQwG8AAAAIQAAAEEvL0IO3ntBCb0AAAC4AQAA/////wEBCgm+AAAAAQAKAAdBAAAAAAEAAAAFAAAABBVTeXN0ZW0uRHJhd2luZy5Qb2ludEYEAAAAAb8AAAAhAAAAQS8vQrmIHkEBwAAAACEAAAD2QSJBLx2OQwHBAAAAIQAAAPZBIkEf/BVDAcIAAAAhAAAA9kEiQQ7ee0EBwwAAACEAAAD2QSJBuYgeQQdCAAAAAAEAAAAFAAAABBdBcGxvcmlzLkJhc2UuQW5jaG9yTW9kZQMAAAABxAAAAKAAAAABAAAAAcUAAACgAAAACAAAAAHGAAAAoAAAAAIAAAABxwAAAKAAAAAGAAAAAcgAAACgAAAABwAAAA9DAAAABQAAAAEAAAAAAQFEAAAANAAAAAHJAAAAIQAAAEEvL0K5iB5BAcoAAACgAAAAAQAAAAAAAAAAAAAAAAnLAAAAAAAAAAnMAAAAAAABzQAAAKkAAAAAAAAAAc4AAAByAAAAAAAAAAAAAAABzwAAABUAAAAAAAAAAAAAAAAAAAAAAAAAAAAAAAbQAAAAClZhbHVlIGF4aXMKCdEAAAAJ0AAAAOQCAAD/////AAEKCdIAAAABAAoAAUUAAAAlAAAACdMAAAAHAAAABwAAAAFGAAAAJgAAAAnUAAAAAgAAAAIAAAAHRwAAAAABAAAAAAAAAAQuQXBsb3Jpcy5DaGFydC5Db2x1bW5PcmllbnRlZENoYXJ0K1VudXNlZFNlcmllcwIAAAAESA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1QAAAAMAAABhAQAAAUkAAAAlAAAACdYAAAADAAAAewAAAAFKAAAAJgAAAAnXAAAAAAAAAAAAAAAESw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dgAAAAAAAAAAAAAAAFMAAAAJQAAAAnZAAAAAAAAAAAAAAABTQAAACYAAAAJ1wAAAAAAAAAAAAAABE4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doAAAAAAAAAAAAAAAFPAAAAJQAAAAnZAAAAAAAAAAAAAAABUAAAACYAAAAJ1wAAAAAAAAAAAAAABFE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bAAAABAAAAEIAAAABUgAAACUAAAAJ3AAAAAQAAAAeAAAAAVMAAAAmAAAACdcAAAAAAAAAAAAAAARU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3QAAAAAAAAAAAAAAAVUAAAAlAAAACdkAAAAAAAAAAAAAAAFWAAAAJgAAAAnXAAAAAAAAAAAAAAAEVw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d4AAAAAAAAAAAAAAAFYAAAAJQAAAAnZAAAAAAAAAAAAAAABWQAAACYAAAAJ1wAAAAAAAAAAAAAABFo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fAAAAAAAAAAAAAAABWwAAACUAAAAJ2QAAAAAAAAAAAAAAAVwAAAAmAAAACdcAAAAAAAAAAAAAAARd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gAAAAAAAAAAAAAAABXgAAACUAAAAJ2QAAAAAAAAAAAAAAAV8AAAAmAAAACdcAAAAAAAAAAAAAAARg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eEAAAAAAAAAAAAAAAFhAAAAJQAAAAnZAAAAAAAAAAAAAAABYgAAACYAAAAJ1wAAAAAAAAAAAAAABWMAAACtAUFwbG9yaXMuQmFzZS5PYmplY3RzLkRhdGFPYmplY3RDb2xsZWN0aW9uYDFbW0FwbG9yaXMuQ2hhcnQuQ29sdW1uT3JpZW50ZWRMZWdlbmR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qwFBcGxvcmlzLkJhc2UuT2JqZWN0cy5Tb3J0YWJsZUNvbGxlY3Rpb25gMVtbQXBsb3Jpcy5DaGFydC5Db2x1bW5PcmllbnRlZExlZ2VuZEVsZW1lbnQsIEFwbG9yaXMuQ2hhcnQsIFZlcnNpb249NC4wLjAuMTQ4NiwgQ3VsdHVyZT1uZXV0cmFsLCBQdWJsaWNLZXlUb2tlbj0xNmZjMTNhMjI2YzBlOTUxXV0DAAAAowFTeXN0ZW0uQ29sbGVjdGlvbnMuR2VuZXJpYy5MaXN0YDFbW0FwbG9yaXMuQ2hhcnQuQ29sdW1uT3JpZW50ZWRMZWdlbmR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eIAAAAJ4wAAAAkUAAAACQEAAAAJ5AAAAAFlAAAAHAAAAAHlAAAAIQAAAFeuOEL4IJpDAeYAAAAhAAAAbkh3Q/igpkMJ5wAAAAnoAAAAAAAAAAoB6QAAAHIAAAAAAAAAAAAAAAHqAAAAcgAAAAAAAAAAAAAAAAAAAAHrAAAAFQAAAAAAAAAAAAAAAAAAAAAAAACkAQAA/////wEBCgnsAAAAAQAKAAFmAAAAJQAAAAntAAAAAQAAAAEAAAABZwAAACYAAAAJ7gAAAAEAAAABAAAABXA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7wAAAAnwAAAAAQAAAP7///8BAAAAAQAAAAEAAAABAAAAAQAAAAEAAAAAAAEFcQ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xAAAACfIAAAABAAAAAAAAAAAAAAAAAAAAAAEFdQAAAB9BcGxvcmlzLkJhc2UuT2JqZWN0cy5QZXJzSWREYXRhAgAAAANtSWQLbUN1c3RvbURhdGEHAggDAAAACfMAAAAKBXgAAAAaQXBsb3Jpcy5CYXNlLk9iamVjdHMuQ29sb3IHAAAAEkRhdGFPYmplY3QrbVBhcmVudBVEYXRhT2JqZWN0K21Db250YWluZXIFbVR5cGUEbVJHQhBtVGhlbWVDb2xvckluZGV4DG1BdXRvVXBkYXRlZAltTW9kaWZpZWQCAgAAAAAACAgIAQEDAAAACgoAAAAAAAAAAA0AAAAAAQF5AAAAeAAAAAoKAQAAAAAAAAD/////AAEHiwAAAAABAAAAEAAAAAQfQXBsb3Jpcy5CYXNlLk9iamVjdHMuRGF0YU9iamVjdAMAAAAJCQAAAAkKAAAACQsAAAAJDAAAAAkQAAAACREAAAAJDQAAAAkOAAAACQ8AAAAJBwAAAAkGAAAACRgAAAAJFAAAAA0DB4wAAAAAAQAAAAQAAAAEHEFwbG9yaXMuQmFzZS5VSS5WaXN1YWxPYmplY3QDAAAACRwAAAANAwSNAAAAkQFTeXN0ZW0uQ29sbGVjdGlvbnMuR2VuZXJpYy5MaXN0YDFbW0FwbG9yaXMuQ2hhcnQuVmFsdWVMaW5lLCBBcGxvcmlzLkNoYXJ0LCBWZXJzaW9uPTQuMC4wLjE0ODYsIEN1bHR1cmU9bmV1dHJhbCwgUHVibGljS2V5VG9rZW49MTZmYzEzYTIyNmMwZTk1MV1dAwAAAAZfaXRlbXMFX3NpemUIX3ZlcnNpb24EAAAZQXBsb3Jpcy5DaGFydC5WYWx1ZUxpbmVbXQIAAAAICAn0AAAAAAAAAAAAAAABjgAAACUAAAAJ2QAAAAAAAAAAAAAAAY8AAAAmAAAACdcAAAAAAAAAAAAAAASQAAAAkQFTeXN0ZW0uQ29sbGVjdGlvbnMuR2VuZXJpYy5MaXN0YDFbW0FwbG9yaXMuQ2hhcnQuQXhpc0JyZWFrLCBBcGxvcmlzLkNoYXJ0LCBWZXJzaW9uPTQuMC4wLjE0ODYsIEN1bHR1cmU9bmV1dHJhbCwgUHVibGljS2V5VG9rZW49MTZmYzEzYTIyNmMwZTk1MV1dAwAAAAZfaXRlbXMFX3NpemUIX3ZlcnNpb24EAAAZQXBsb3Jpcy5DaGFydC5BeGlzQnJlYWtbXQIAAAAICAn1AAAAAAAAAAAAAAABkQAAACUAAAAJ2QAAAAAAAAAAAAAAAZIAAAAmAAAACdcAAAAAAAAAAAAAAASUAAAAkAFTeXN0ZW0uQ29sbGVjdGlvbnMuR2VuZXJpYy5MaXN0YDFbW0FwbG9yaXMuQ2hhcnQuVGlja01hcmssIEFwbG9yaXMuQ2hhcnQsIFZlcnNpb249NC4wLjAuMTQ4NiwgQ3VsdHVyZT1uZXV0cmFsLCBQdWJsaWNLZXlUb2tlbj0xNmZjMTNhMjI2YzBlOTUxXV0DAAAABl9pdGVtcwVfc2l6ZQhfdmVyc2lvbgQAABhBcGxvcmlzLkNoYXJ0LlRpY2tNYXJrW10CAAAACAgJ9gAAAAAAAAAAAAAAAZUAAAAlAAAACdkAAAAAAAAAAAAAAAGWAAAAJgAAAAnXAAAAAAAAAAAAAAABmQAAAHAAAAAKCgAAAEA/CfcAAAAJ+AAAAAEAAAD+////AAAAAAEAAAAAAAAAAAAAAAEAAAAAAAAAAAAAAZoAAAB1AAAACfkAAAAKBac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2AAAACXcAAAAJ+gAAAAEACfsAAAABqAAAAHgAAAAKCgEAAAAAAAAA/////wABBK0AAACWAVN5c3RlbS5Db2xsZWN0aW9ucy5HZW5lcmljLkxpc3RgMVtbQXBsb3Jpcy5CYXNlLk9iamVjdHMuVmFyaWFibGUsIEFwbG9yaXMuQmFzZSwgVmVyc2lvbj00LjAuMC4xNDg2LCBDdWx0dXJlPW5ldXRyYWwsIFB1YmxpY0tleVRva2VuPTE2ZmMxM2EyMjZjMGU5NTFdXQMAAAAGX2l0ZW1zBV9zaXplCF92ZXJzaW9uBAAAH0FwbG9yaXMuQmFzZS5PYmplY3RzLlZhcmlhYmxlW10DAAAACAgJ/AAAAAAAAAAAAAAAAa4AAAB1AAAACf0AAAAKB68AAAAAAQAAAAgAAAAEH0FwbG9yaXMuQmFzZS5PYmplY3RzLkRhdGFPYmplY3QDAAAACSoAAAAJKwAAAAksAAAACS0AAAAJKAAAAAkpAAAACgoHsAAAAAABAAAABAAAAAQcQXBsb3Jpcy5CYXNlLlVJLlZpc3VhbE9iamVjdAMAAAAJMAAAAAk0AAAACgoBsQAAAI0AAAAJ9AAAAAAAAAAAAAAAAbIAAAAlAAAACdkAAAAAAAAAAAAAAAGzAAAAJgAAAAnXAAAAAAAAAAAAAAABtAAAAJAAAAAJ9QAAAAAAAAAAAAAAAbUAAAAlAAAACdkAAAAAAAAAAAAAAAG2AAAAJgAAAAnXAAAAAAAAAAAAAAABuAAAAJQAAAAJ/gAAAAsAAAAhAAAAAbkAAAAlAAAACf8AAAALAAAAIQAAAAG6AAAAJgAAAAnXAAAAAAAAAAAAAAABvQAAAHAAAAAKCgAAAEA/CQABAAAJAQEAAAEAAAD+////AAAAAAEAAAAAAAAAAAAAAAEAAAAAAAAAAAAAAb4AAAB1AAAACQIBAAAKBcs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2AAAACXcAAAAJAwEAAAEACQQBAAABzAAAAHgAAAAKCgEAAAAAAAAA/////wABAdEAAACtAAAACfwAAAAAAAAAAAAAAAHSAAAAdQAAAAkFAQAACgfTAAAAAAEAAAAIAAAABB9BcGxvcmlzLkJhc2UuT2JqZWN0cy5EYXRhT2JqZWN0AwAAAAk6AAAACTsAAAAJPAAAAAk9AAAACTgAAAAJOQAAAAkGAQAACgfUAAAAAAEAAAAEAAAABBxBcGxvcmlzLkJhc2UuVUkuVmlzdWFsT2JqZWN0AwAAAAlAAAAACUQAAAAKCgfVAAAAAAEAAAAgAAAABB1BcGxvcmlzLkNoYXJ0LkNoYXJ0RGF0YVNlcmllcwIAAAAJBwEAAAkIAQAACQkBAAANHQfWAAAAAAEAAAAgAAAABB9BcGxvcmlzLkJhc2UuT2JqZWN0cy5EYXRhT2JqZWN0AwAAAAkJAQAACQgBAAAJBwEAAA0dB9cAAAAAAQAAAAAAAAAEHEFwbG9yaXMuQmFzZS5VSS5WaXN1YWxPYmplY3QDAAAAB9gAAAAAAQAAAAAAAAAEIkFwbG9yaXMuQ2hhcnQuQW5ub3RhdGlvbkRhdGFTZXJpZXMCAAAAB9kAAAAAAQAAAAAAAAAEH0FwbG9yaXMuQmFzZS5PYmplY3RzLkRhdGFPYmplY3QDAAAAB9oAAAAAAQAAAAAAAAAEHUFwbG9yaXMuQ2hhcnQuQW5ub3RhdGlvbkdyb3VwAgAAAAfbAAAAAAEAAAAQAAAABBxBcGxvcmlzLkNoYXJ0LkNoYXJ0RGF0YUdyb3VwAgAAAAkKAQAACQsBAAAJDAEAAAkNAQAADQwH3AAAAAABAAAAEAAAAAQfQXBsb3Jpcy5CYXNlLk9iamVjdHMuRGF0YU9iamVjdAMAAAAJDAEAAAkLAQAACQoBAAAJDQEAAA0MB90AAAAAAQAAAAAAAAAEFkFwbG9yaXMuQ2hhcnQuRGVsdGFCYXICAAAAB94AAAAAAQAAAAAAAAAEGUFwbG9yaXMuQ2hhcnQuRGVsdGFCcmlkZ2UCAAAAB98AAAAAAQAAAAAAAAAEGUFwbG9yaXMuQ2hhcnQuR3Jvd3RoQXJyb3cCAAAAB+AAAAAAAQAAAAAAAAAEIEFwbG9yaXMuQ2hhcnQuV2F0ZXJmYWxsQ29ubmVjdG9yAgAAAAfhAAAAAAEAAAAAAAAABB5BcGxvcmlzLkNoYXJ0LkVsZW1lbnRDb25uZWN0b3ICAAAABOIAAACjAVN5c3RlbS5Db2xsZWN0aW9ucy5HZW5lcmljLkxpc3RgMVtbQXBsb3Jpcy5DaGFydC5Db2x1bW5PcmllbnRlZExlZ2VuZEVsZW1lbnQsIEFwbG9yaXMuQ2hhcnQsIFZlcnNpb249NC4wLjAuMTQ4NiwgQ3VsdHVyZT1uZXV0cmFsLCBQdWJsaWNLZXlUb2tlbj0xNmZjMTNhMjI2YzBlOTUxXV0DAAAABl9pdGVtcwVfc2l6ZQhfdmVyc2lvbgQAACtBcGxvcmlzLkNoYXJ0LkNvbHVtbk9yaWVudGVkTGVnZW5kRWxlbWVudFtdAgAAAAgICQ4BAAADAAAAZwAAAAHjAAAAJQAAAAkPAQAAAwAAAAMAAAAB5AAAACYAAAAJEAEAAAAAAAAAAAAAAecAAABwAAAACgoAAAAAAAkRAQAACRIBAAABAAAA/v///wEAAAABAAAAAQAAAAEAAAABAAAAAQAAAAAAAQHoAAAAcQAAAAoKCRMBAAAJFAEAAAEAAAAAAAAAAAAAAAAAAAAAAQHsAAAAdQAAAAkVAQAACgftAAAAAAEAAAAEAAAABB9BcGxvcmlzLkJhc2UuT2JqZWN0cy5EYXRhT2JqZWN0AwAAAAljAAAADQMH7gAAAAABAAAABAAAAAQcQXBsb3Jpcy5CYXNlLlVJLlZpc3VhbE9iamVjdAMAAAAJZQAAAA0DAe8AAAB4AAAACgoAAAAAAAAAAA0AAAAAAQHwAAAAeAAAAAoKAQAAAAAAAAD/////AAEB8QAAAHgAAAAKCgEAAAD///8A/////wABAfIAAAB4AAAACgoBAAAAAAAAAP////8AAQ/zAAAAAQAAAAgAAAAAB/QAAAAAAQAAAAAAAAAEF0FwbG9yaXMuQ2hhcnQuVmFsdWVMaW5lAgAAAAf1AAAAAAEAAAAAAAAABBdBcGxvcmlzLkNoYXJ0LkF4aXNCcmVhawIAAAAH9gAAAAABAAAAAAAAAAQWQXBsb3Jpcy5DaGFydC5UaWNrTWFyawIAAAAF9wAAABpBcGxvcmlzLkJhc2UuT2JqZWN0cy5Db2xvcgcAAAASRGF0YU9iamVjdCttUGFyZW50FURhdGFPYmplY3QrbUNvbnRhaW5lcgVtVHlwZQRtUkdCEG1UaGVtZUNvbG9ySW5kZXgMbUF1dG9VcGRhdGVkCW1Nb2RpZmllZAQCAAAAAAAfQXBsb3Jpcy5CYXNlLk9iamVjdHMuTGluZUZvcm1hdAMAAAAICAgBAQMAAAAJmQAAAAoAAAAAAAAAAA0AAAAAAAX4AAAAGkFwbG9yaXMuQmFzZS5PYmplY3RzLkNvbG9yBwAAABJEYXRhT2JqZWN0K21QYXJlbnQVRGF0YU9iamVjdCttQ29udGFpbmVyBW1UeXBlBG1SR0IQbVRoZW1lQ29sb3JJbmRleAxtQXV0b1VwZGF0ZWQJbU1vZGlmaWVkBAIAAAAAAB9BcGxvcmlzLkJhc2UuT2JqZWN0cy5MaW5lRm9ybWF0AwAAAAgICAEBAwAAAAmZAAAACgEAAAAAAAAA/////wABD/kAAAABAAAACLEDAAAB+gAAAHgAAAAKCgAAAAAAAAAADQAAAAABAfsAAAB4AAAACgoBAAAAAAAAAP////8AAQf8AAAAAAEAAAAAAAAABB1BcGxvcmlzLkJhc2UuT2JqZWN0cy5WYXJpYWJsZQMAAAAP/QAAAAEAAAAIAAAAAAf+AAAAAAEAAAAQAAAABBZBcGxvcmlzLkNoYXJ0LlRpY2tNYXJrAgAAAAkWAQAACRcBAAAJGAEAAAkZAQAACRoBAAAJGwEAAAkcAQAACR0BAAAJHgEAAAkfAQAACSABAAANBQf/AAAAAAEAAAAQAAAABB9BcGxvcmlzLkJhc2UuT2JqZWN0cy5EYXRhT2JqZWN0AwAAAAkWAQAACRcBAAAJGAEAAAkZAQAACRoBAAAJGwEAAAkcAQAACR0BAAAJHgEAAAkfAQAACSABAAANBQUAAQAAGkFwbG9yaXMuQmFzZS5PYmplY3RzLkNvbG9yBwAAABJEYXRhT2JqZWN0K21QYXJlbnQVRGF0YU9iamVjdCttQ29udGFpbmVyBW1UeXBlBG1SR0IQbVRoZW1lQ29sb3JJbmRleAxtQXV0b1VwZGF0ZWQJbU1vZGlmaWVkBAIAAAAAAB9BcGxvcmlzLkJhc2UuT2JqZWN0cy5MaW5lRm9ybWF0AwAAAAgICAEBAwAAAAm9AAAACgAAAAAAAAAADQAAAAAABQEBAAAaQXBsb3Jpcy5CYXNlLk9iamVjdHMuQ29sb3IHAAAAEkRhdGFPYmplY3QrbVBhcmVudBVEYXRhT2JqZWN0K21Db250YWluZXIFbVR5cGUEbVJHQhBtVGhlbWVDb2xvckluZGV4DG1BdXRvVXBkYXRlZAltTW9kaWZpZWQEAgAAAAAAH0FwbG9yaXMuQmFzZS5PYmplY3RzLkxpbmVGb3JtYXQDAAAACAgIAQEDAAAACb0AAAAKAQAAAAAAAAD/////AAEPAgEAAAEAAAAIsgMAAAEDAQAAeAAAAAoKAAAAAAAAAAANAAAAAAEBBAEAAHgAAAAKCgEAAAAAAAAA/////wABDwUBAAABAAAACAAAAAAFBg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aAAAAAMAAAAJaQAAAAlqAAAACWsAAAABAAAAAAoJkwAAAAlsAAAAAQAAAAoAAAAAAAAAAAUHAQ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C4wLjE0ODY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BIQEAABMAAAAAAAAAAgAAAP////8JBwAAAAkiAQAABiMBAAAFQWdyZWUKCgAAAAAAAAAAAAAAAAoKAAkkAQAACSUBAAAJJgEAAAAAAAAAAAAAAAAAAAAAAAAAAAknAQAACQEAAAAJAQAAAAkoAQAAAQgBAAAHAQAACQEAAAABKQEAABMAAAAAAAAAAwAAAP////8JBwAAAAkqAQAABisBAAAHTmV1dHJhbAoKAAAAAAAAAAAAAAAACgoACSwBAAAJLQEAAAkuAQAAAAAAAAABAAAAAAAAAAAAAAAACS8BAAAJAQAAAAkBAAAACTABAAABCQEAAAcBAAAJAQAAAAExAQAAEwAAAAAAAAAEAAAA/////wkHAAAACTIBAAAGMwEAAAhEaXNhZ3JlZQoKAAAAAAAAAAAAAAAACgoACTQBAAAJNQEAAAk2AQAAAAAAAAACAAAAAAAAAAAAAAAACTcBAAAJAQAAAAkBAAAACTgBAAAFCg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Y5AQAAE0VxdWlwcGVkIE5hdmlnYXRvcnMABToBAAAeQXBsb3Jpcy5DaGFydC5DaGFydEdyb3VwQW5jaG9yAQAAAAd2YWx1ZV9fAAgCAAAAAAAAAAoAAAAAAQAAAAEAAAAJOwEAAAk8AQAACT0BAAAKCQcAAAAJPgEAAAkBAAAACQEAAAAJPwEAAAELAQAACgEAAAkBAAAABkABAAAJTG93IEZ1ZWxzAAFBAQAAOgEAAAAAAAAKAAAAAAEAAAABAAAACUIBAAAJQwEAAAlEAQAACgkHAAAACUUBAAAJAQAAAAkBAAAACUYBAAABDAEAAAoBAAAJAQAAAAZHAQAADUNoZWNrIEVuZ2luZXMAAUgBAAA6AQAAAAAAAAoAAAAAAQAAAAEAAAAJSQEAAAlKAQAACUsBAAAKCQcAAAAJTAEAAAkBAAAACQEAAAAJTQEAAAENAQAACgEAAAkBAAAABk4BAAAYTGltaXRlZCBUZWNobm9sb2d5IFVzZXJzAAFPAQAAOgEAAAAAAAAKAAAAAAEAAAABAAAACVABAAAJUQEAAAlSAQAACgkHAAAACVMBAAAJAQAAAAkBAAAACVQBAAAHDgEAAAABAAAABAAAAAQpQXBsb3Jpcy5DaGFydC5Db2x1bW5PcmllbnRlZExlZ2VuZEVsZW1lbnQCAAAACVUBAAAJVgEAAAlXAQAACgcPAQAAAAEAAAAEAAAABB9BcGxvcmlzLkJhc2UuT2JqZWN0cy5EYXRhT2JqZWN0AwAAAAlVAQAACVYBAAAJVwEAAAoHEAEAAAABAAAAAAAAAAQcQXBsb3Jpcy5CYXNlLlVJLlZpc3VhbE9iamVjdAMAAAABEQEAAHgAAAAKCgAAAAAAAAAADQAAAAABARIBAAB4AAAACgoBAAAAAAAAAP////8AAQETAQAAeAAAAAoKAQAAAP///wD/////AAEBFAEAAHgAAAAKCgEAAAAAAAAA/////wABDxUBAAABAAAACAAAAAAFFgE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VgBAAAKCVkBAAAJBwAAAAEAAAAAAAAAAAFaAQAAIQAAAEEvL0IvHY5DAVsBAAAhAAAAQS8fQi8djkMACVwBAAAJBwAAAAkBAAAACV0BAAABFwEAABYBAAAJXgEAAAoJXwEAAAkHAAAAAZqZmZmZmbk/AWABAAAhAAAAQS8vQo+wgEMBYQEAACEAAABBLx9Cj7CAQwAJYgEAAAkHAAAACQEAAAAJYwEAAAEYAQAAFgEAAAlkAQAACgllAQAACQcAAAABmpmZmZmZyT8BZgEAACEAAABBLy9C34dmQwFnAQAAIQAAAEEvH0Lfh2ZDAAloAQAACQcAAAAJAQAAAAlpAQAAARkBAAAWAQAACWoBAAAKCWsBAAAJBwAAAAEzMzMzMzPTPwFsAQAAIQAAAEEvL0KfrktDAW0BAAAhAAAAQS8fQp+uS0MACW4BAAAJBwAAAAkBAAAACW8BAAABGgEAABYBAAAJcAEAAAoJcQEAAAkHAAAAAZqZmZmZmdk/AXIBAAAhAAAAQS8vQl/VMEMBcwEAACEAAABBLx9CX9UwQwAJdAEAAAkHAAAACQEAAAAJdQEAAAEbAQAAFgEAAAl2AQAACgl3AQAACQcAAAABAAAAAAAA4D8BeAEAACEAAABBLy9CH/wVQwF5AQAAIQAAAEEvH0If/BVDAAl6AQAACQcAAAAJAQAAAAl7AQAAARwBAAAWAQAACXwBAAAKCX0BAAAJBwAAAAEzMzMzMzPjPwF+AQAAIQAAAEEvL0K/RfZCAX8BAAAhAAAAQS8fQr9F9kIACYABAAAJBwAAAAkBAAAACYEBAAABHQEAABYBAAAJggEAAAoJgwEAAAkHAAAAAWZmZmZmZuY/AYQBAAAhAAAAQS8vQkCTwEIBhQEAACEAAABBLx9CQJPAQgAJhgEAAAkHAAAACQEAAAAJhwEAAAEeAQAAFgEAAAmIAQAACgmJAQAACQcAAAABmpmZmZmZ6T8BigEAACEAAABBLy9CweCKQgGLAQAAIQAAAEEvH0LB4IpCAAmMAQAACQcAAAAJAQAAAAmNAQAAAR8BAAAWAQAACY4BAAAKCY8BAAAJBwAAAAHNzMzMzMzsPwGQAQAAIQAAAEEvL0KCXCpCAZEBAAAhAAAAQS8fQoJcKkIACZIBAAAJBwAAAAkBAAAACZMBAAABIAEAABYBAAAJlAEAAAoJlQEAAAkHAAAAAQAAAAAAAPA/AZYBAAAhAAAAQS8vQg7ee0EBlwEAACEAAABBLx9CDt57QQAJmAEAAAkHAAAACQEAAAAJmQEAAAUiAQAAogFBcGxvcmlzLkJhc2UuT2JqZWN0cy5EYXRhT2JqZWN0Q29sbGVjdGlvbmAxW1tBcGxvcmlzLkNoYXJ0LkNoYXJ0RGF0YU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wLjAuMTQ4NiwgQ3VsdHVyZT1uZXV0cmFsLCBQdWJsaWNLZXlUb2tlbj0xNmZjMTNhMjI2YzBlOTUxXV0DAAAAmAFTeXN0ZW0uQ29sbGVjdGlvbnMuR2VuZXJpYy5MaXN0YDFbW0FwbG9yaXMuQ2hhcnQuQ2hhcnREYXRh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aAQAACZsBAAAJBwEAAAkBAAAACZwBAAAFJAEAABxBcGxvcmlzLkNoYXJ0LkNvbm5lY3RlZExhYmVsJA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CAAAAClgCAAAFnQEAACtBcGxvcmlzLkNoYXJ0LkNvbm5lY3RlZExhYmVsK2VDb25uZWN0b3JNb2RlAQAAAAd2YWx1ZV9fAAgCAAAAAQAAAAWeAQAANkFwbG9yaXMuQ2hhcnQuQ29ubmVjdGVkTGFiZWwrZUFuZ2xlZENvbm5lY3RvckRpcmVjdGlvbgEAAAAHdmFsdWVfXwAIAgAAAAAAAAABnwEAABUAAABOhvtDxps2Q0DspkIwPcVCBaABAAAtQXBsb3Jpcy5DaGFydC5Db25uZWN0ZWRMYWJlbCtlVGFyZ2V0QXJlYVNoYXBlAQAAAAd2YWx1ZV9fAAgCAAAAAAAAAAAAEEEBAaEBAAAhAAAAr6AURBLrZ0MBogEAAKAAAAAEAAAAAAAAAAAAAAAACaMBAAAAAAAACaQBAAAAAAGlAQAAqQAAAAAAAAABpgEAAHIAAAAAAAxCAABgQQGnAQAAFQAAAAAAAAAAAAAAAAAAAAAAAABeutk/CSMBAAAKCagBAAAGqQEAAAAgAwAA/////wABCgmqAQAAAQAKAAclAQAAAAEAAAACAAAABBVTeXN0ZW0uRHJhd2luZy5Qb2ludEYEAAAAAasBAAAhAAAAr6AURBLrZ0MBrAEAACEAAABBLxtCW14tQwcmAQAAAAEAAAACAAAABBdBcGxvcmlzLkJhc2UuQW5jaG9yTW9kZQMAAAABrQEAAKAAAAAEAAAAAa4BAACgAAAAAgAAAAEnAQAAJQAAAAmvAQAAAQAAAAEAAAABKAEAACYAAAAJsAEAAAEAAAABAAAAASoBAAAiAQAACgmxAQAACbIBAAAJCAEAAAkBAAAACbMBAAABLAEAACQBAAAKWAIAAAG0AQAAnQEAAAEAAAABtQEAAJ4BAAAAAAAAAbYBAAAVAAAATob7QxRKukJA7KZCeO2mQgG3AQAAoAEAAAAAAAAAABBBAQG4AQAAIQAAAK+gFERo4AZDAbkBAACgAAAABAAAAAAAAAAAAAAAAAm6AQAAAAAAAAm7AQAAAAABvAEAAKkAAAAAAAAAAb0BAAByAAAAAAAoQgAAYEEBvgEAABUAAAAAAAAAAAAAAAAAAAAAAAAAXrrZPwkrAQAACgm/AQAACakBAAAgAwAA/////wABCgnAAQAAAQAKAActAQAAAAEAAAACAAAABBVTeXN0ZW0uRHJhd2luZy5Qb2ludEYEAAAAAcEBAAAhAAAAr6AURGjgBkMBwgEAACEAAABBLxtCxKYjQgcuAQAAAAEAAAACAAAABBdBcGxvcmlzLkJhc2UuQW5jaG9yTW9kZQMAAAABwwEAAKAAAAAEAAAAAcQBAACgAAAAAgAAAAEvAQAAJQAAAAnFAQAAAQAAAAEAAAABMAEAACYAAAAJxgEAAAEAAAABAAAAATIBAAAiAQAACgnHAQAACcgBAAAJCQEAAAkBAAAACckBAAABNAEAACQBAAAKWAIAAAHKAQAAnQEAAAEAAAABywEAAJ4BAAAAAAAAAcwBAAAVAAAATob7QwfvlUFA7KZCUs6IQgHNAQAAoAEAAAAAAAAAABBBAQHOAQAAIQAAAK+gFETWxVNCAc8BAACgAAAABAAAAAAAAAAAAAAAAAnQAQAAAAAAAAnRAQAAAAAB0gEAAKkAAAAAAAAAAdMBAAByAAAAAABQQgAAYEEB1AEAABUAAAAAAAAAAAAAAAAAAAAAAAAAXrrZPwkzAQAACgnVAQAACakBAAAgAwAA/////wABCgnWAQAAAQAKAAc1AQAAAAEAAAACAAAABBVTeXN0ZW0uRHJhd2luZy5Qb2ludEYEAAAAAdcBAAAhAAAAr6AURNbFU0IB2AEAACEAAABBLxtCrDuMQQc2AQAAAAEAAAACAAAABBdBcGxvcmlzLkJhc2UuQW5jaG9yTW9kZQMAAAAB2QEAAKAAAAAEAAAAAdoBAACgAAAAAgAAAAE3AQAAJQAAAAnbAQAAAQAAAAEAAAABOAEAACYAAAAJ3AEAAAEAAAABAAAADzsBAAABAAAACAAAAAAHPAEAAAABAAAAAQAAAAQVQXBsb3Jpcy5CYXNlLlVJLkxhYmVsAwAAAAndAQAAAT0BAAA0AAAAAd4BAAAhAAAABLvmQi+dkEMB3wEAAKAAAAADAAAAAAAAAAAAAAAACeABAAAAAAAACeEBAAAAAAHiAQAAqQAAAAAAAAAB4wEAAHIAAAAAAOhCAABgQQHkAQAAFQAAAKqqg0JVlZBDbUnHQqqqOkESg74/CTkBAAAKCeUBAAAJqQEAACADAAD/////AQEKCeYBAAABAAoAAT4BAAAlAAAACecBAAAAAAAAAAAAAAE/AQAAJgAAAAnoAQAAAgAAAAIAAAAPQgEAAAEAAAAIAAAAAAdDAQAAAAEAAAABAAAABBVBcGxvcmlzLkJhc2UuVUkuTGFiZWwDAAAACekBAAABRAEAADQAAAAB6gEAACEAAAByQIFDL52QQwHrAQAAoAAAAAMAAAAAAAAAAAAAAAAJ7AEAAAAAAAAJ7QEAAAAAAe4BAACpAAAAAAAAAAHvAQAAcgAAAAAAZEIAAGBBAfABAAAVAAAAVVVpQ1WVkEMx6ElCqqo6QRKDvj8JQAEAAAoJ8QEAAAmpAQAAIAMAAP////8BAQoJ8gEAAAEACgABRQEAACUAAAAJ8wEAAAAAAAAAAAAAAUYBAAAmAAAACfQBAAACAAAABAAAAA9JAQAAAQAAAAgAAAAAB0oBAAAAAQAAAAEAAAAEFUFwbG9yaXMuQmFzZS5VSS5MYWJlbAMAAAAJ9QEAAAFLAQAANAAAAAH2AQAAIQAAACTSyEMvnZBDAfcBAACgAAAAAwAAAAAAAAAAAAAAAAn4AQAAAAAAAAn5AQAAAAAB+gEAAKkAAAAAAAAAAfsBAAByAAAAAACoQgAAYEEB/AEAABUAAAAAgLZDVZWQQxj0kUKqqjpBEoO+PwlHAQAACgn9AQAACakBAAAgAwAA/////wEBCgn+AQAAAQAKAAFMAQAAJQAAAAn/AQAAAAAAAAAAAAABTQEAACYAAAAJAAIAAAIAAAAEAAAAD1ABAAABAAAACAAAAAAHUQEAAAABAAAAAQAAAAQVQXBsb3Jpcy5CYXNlLlVJLkxhYmVsAwAAAAkBAgAAAVIBAAA0AAAAAQICAAAhAAAA6zEIRC+dkEMBAwIAAKAAAAADAAAAAAAAAAAAAAAACQQCAAAAAAAACQUCAAAAAAEGAgAAqQAAAAAAAAABBwIAAHIAAAAAABFDAABgQQEIAgAAFQAAAP8/8UNVlZBDwp73QqqqOkESg74/CU4BAAAKCQkCAAAJqQEAACADAAD/////AQEKCQoCAAABAAoAAVMBAAAlAAAACQsCAAAAAAAAAAAAAAFUAQAAJgAAAAkMAgAAAgAAAAIAAAAFVQEAAClBcGxvcmlzLkNoYXJ0LkNvbHVtbk9yaWVudGVkTGVnZW5kRWxlbWVudA0AAAAHbUxlZ2VuZAttRGF0YVNlcmllcxRMZWdlbmRFbGVtZW50K21MYWJlbBhMZWdlbmRFbGVtZW50K21SZWN0YW5nbGUTTGVnZW5kRWxlbWVudCttTGluZRVMZWdlbmRFbGVtZW50K21DaXJjbGUVTGVnZW5kRWxlbWVudCttTWFya2VyFExlZ2VuZEVsZW1lbnQrbUluZGV4HUxlZ2VuZEVsZW1lbnQrbUxhYmVsUG9zaXRpb25zGERhdGFPYmplY3QrbUNoaWxkT2JqZWN0cxJEYXRhT2JqZWN0K21QYXJlbnQVRGF0YU9iamVjdCttQ29udGFpbmVyGURhdGFPYmplY3QrbVZpc3VhbE9iamVjdHMEBAQEBAQEAAQDBAQDIkFwbG9yaXMuQ2hhcnQuQ29sdW1uT3JpZW50ZWRMZWdlbmQCAAAAHUFwbG9yaXMuQ2hhcnQuQ2hhcnREYXRhU2VyaWVzAgAAABVBcGxvcmlzLkJhc2UuVUkuTGFiZWwDAAAAGkFwbG9yaXMuQmFzZS5VSS5WaXN1YWxSZWN0AwAAABpBcGxvcmlzLkJhc2UuVUkuVmlzdWFsTGluZQMAAAAdQXBsb3Jpcy5CYXNlLlVJLlZpc3VhbEVsbGlwc2UDAAAAGkFwbG9yaXMuQ2hhcnQuVmlzdWFsTWFya2VyAgAAAAgXU3lzdGVtLkRyYXdpbmcuUG9pbnRGW10E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FAAAAAkHAQAACQ0CAAAJDgIAAAoKCgAAAAAKCQ8CAAAJFAAAAAkBAAAACRACAAABVgEAAFUBAAAJFAAAAAkIAQAACRECAAAJEgIAAAoKCgEAAAAKCRMCAAAJFAAAAAkBAAAACRQCAAABVwEAAFUBAAAJFAAAAAkJAQAACRUCAAAJFgIAAAoKCgIAAAAKCRcCAAAJFAAAAAkBAAAACRgCAAABWAEAADAAAAABGQIAACEAAABBLy9CLx2OQwEaAgAAIQAAAEEvH0IvHY5DCRsCAADMAQAA/////wEBCgkcAgAAAQAKAAFZAQAANAAAAAEdAgAAIQAAAEEvGUIvHY5DAR4CAACgAAAAAgAAAAAAAAAAAAAAAAkfAgAAAAAAAAkgAgAAAAABIQIAAKkAAAAAAAAAASICAAByAAAAAACQQQAAYEEBIwIAABUAAABVVa1BqiqLQ2LQj0GqqjpBEoO+PwYkAgAAAjAlCgklAgAACakBAADQAgAA/////wEBCgkmAgAAAQAKAAFcAQAAJQAAAAnZAAAAAAAAAAAAAAABXQEAACYAAAAJJwIAAAIAAAACAAAAAV4BAAAwAAAAASgCAAAhAAAAQS8vQo+wgEMBKQIAACEAAABBLx9Cj7CAQwkqAgAAzAEAAP////8BAQoJKwIAAAEACgABXwEAADQAAAABLAIAACEAAABBLxlCj7CAQwEtAgAAoAAAAAIAAAAAAAAAAAAAAAAJLgIAAAAAAAAJLwIAAAAAATACAACpAAAAAAAAAAExAgAAcgAAAAAAyEEAAGBBATICAAAVAAAAVVV9Qaqqe0MMe75Bqqo6QRKDvj8GMwIAAAMxMCUKCTQCAAAJqQEAANACAAD/////AQEKCTUCAAABAAoAAWIBAAAlAAAACdkAAAAAAAAAAAAAAAFjAQAAJgAAAAk2AgAAAgAAAAIAAAABZAEAADAAAAABNwIAACEAAABBLy9C34dmQwE4AgAAIQAAAEEvH0Lfh2ZDCTkCAADMAQAA/////wEBCgk6AgAAAQAKAAFlAQAANAAAAAE7AgAAIQAAAEEvGULfh2ZDATwCAACgAAAAAgAAAAAAAAAAAAAAAAk9AgAAAAAAAAk+AgAAAAABPwIAAKkAAAAAAAAAAUACAAByAAAAAADIQQAAYEEBQQIAABUAAABVVX1B//9gQwx7vkGqqjpBEoO+PwZCAgAAAzIwJQoJQwIAAAmpAQAA0AIAAP////8BAQoJRAIAAAEACgABaAEAACUAAAAJ2QAAAAAAAAAAAAAAAWkBAAAmAAAACUUCAAACAAAAAgAAAAFqAQAAMAAAAAFGAgAAIQAAAEEvL0KfrktDAUcCAAAhAAAAQS8fQp+uS0MJSAIAAMwBAAD/////AQEKCUkCAAABAAoAAWsBAAA0AAAAAUoCAAAhAAAAQS8ZQp+uS0MBSwIAAKAAAAACAAAAAAAAAAAAAAAACUwCAAAAAAAACU0CAAAAAAFOAgAAqQAAAAAAAAABTwIAAHIAAAAAAMhBAABgQQFQAgAAFQAAAFVVfUH/f0VDDHu+QaqqOkESg74/BlECAAADMzAlCglSAgAACakBAADQAgAA/////wEBCglTAgAAAQAKAAFuAQAAJQAAAAnZAAAAAAAAAAAAAAABbwEAACYAAAAJVAIAAAIAAAACAAAAAXABAAAwAAAAAVUCAAAhAAAAQS8vQl/VMEMBVgIAACEAAABBLx9CX9UwQwlXAgAAzAEAAP////8BAQoJWAIAAAEACgABcQEAADQAAAABWQIAACEAAABBLxlCX9UwQwFaAgAAoAAAAAIAAAAAAAAAAAAAAAAJWwIAAAAAAAAJXAIAAAAAAV0CAACpAAAAAAAAAAFeAgAAcgAAAAAAyEEAAGBBAV8CAAAVAAAAVVV9QVXVKkMMe75Bqqo6QRKDvj8GYAIAAAM0MCUKCWECAAAJqQEAANACAAD/////AQEKCWICAAABAAoAAXQBAAAlAAAACdkAAAAAAAAAAAAAAAF1AQAAJgAAAAljAgAAAgAAAAIAAAABdgEAADAAAAABZAIAACEAAABBLy9CH/wVQwFlAgAAIQAAAEEvH0If/BVDCWYCAADMAQAA/////wEBCglnAgAAAQAKAAF3AQAANAAAAAFoAgAAIQAAAEEvGUIf/BVDAWkCAACgAAAAAgAAAAAAAAAAAAAAAAlqAgAAAAAAAAlrAgAAAAABbAIAAKkAAAAAAAAAAW0CAAByAAAAAADIQQAAYEEBbgIAABUAAABVVX1BqioQQwx7vkGqqjpBEoO+PwZvAgAAAzUwJQoJcAIAAAmpAQAA0AIAAP////8BAQoJcQIAAAEACgABegEAACUAAAAJ2QAAAAAAAAAAAAAAAXsBAAAmAAAACXICAAACAAAAAgAAAAF8AQAAMAAAAAFzAgAAIQAAAEEvL0K/RfZCAXQCAAAhAAAAQS8fQr9F9kIJdQIAAMwBAAD/////AQEKCXYCAAABAAoAAX0BAAA0AAAAAXcCAAAhAAAAQS8ZQr9F9kIBeAIAAKAAAAACAAAAAAAAAAAAAAAACXkCAAAAAAAACXoCAAAAAAF7AgAAqQAAAAAAAAABfAIAAHIAAAAAAMhBAABgQQF9AgAAFQAAAFVVfUH//+pCDHu+QaqqOkESg74/Bn4CAAADNjAlCgl/AgAACakBAADQAgAA/////wEBCgmAAgAAAQAKAAGAAQAAJQAAAAnZAAAAAAAAAAAAAAABgQEAACYAAAAJgQIAAAIAAAACAAAAAYIBAAAwAAAAAYICAAAhAAAAQS8vQkCTwEIBgwIAACEAAABBLx9CQJPAQgmEAgAAzAEAAP////8BAQoJhQIAAAEACgABgwEAADQAAAABhgIAACEAAABBLxlCQJPAQgGHAgAAoAAAAAIAAAAAAAAAAAAAAAAJiAIAAAAAAAAJiQIAAAAAAYoCAACpAAAAAAAAAAGLAgAAcgAAAAAAyEEAAGBBAYwCAAAVAAAAVVV9QaqqtUIMe75Bqqo6QRKDvj8GjQIAAAM3MCUKCY4CAAAJqQEAANACAAD/////AQEKCY8CAAABAAoAAYYBAAAlAAAACdkAAAAAAAAAAAAAAAGHAQAAJgAAAAmQAgAAAgAAAAIAAAABiAEAADAAAAABkQIAACEAAABBLy9CweCKQgGSAgAAIQAAAEEvH0LB4IpCCZMCAADMAQAA/////wEBCgmUAgAAAQAKAAGJAQAANAAAAAGVAgAAIQAAAEEvGULB4IpCAZYCAACgAAAAAgAAAAAAAAAAAAAAAAmXAgAAAAAAAAmYAgAAAAABmQIAAKkAAAAAAAAAAZoCAAByAAAAAADIQQAAYEEBmwIAABUAAABVVX1BVVV9Qgx7vkGqqjpBEoO+PwacAgAAAzgwJQoJnQIAAAmpAQAA0AIAAP////8BAQoJngIAAAEACgABjAEAACUAAAAJ2QAAAAAAAAAAAAAAAY0BAAAmAAAACZ8CAAACAAAAAgAAAAGOAQAAMAAAAAGgAgAAIQAAAEEvL0KCXCpCAaECAAAhAAAAQS8fQoJcKkIJogIAAMwBAAD/////AQEKCaMCAAABAAoAAY8BAAA0AAAAAaQCAAAhAAAAQS8ZQoJcKkIBpQIAAKAAAAACAAAAAAAAAAAAAAAACaYCAAAAAAAACacCAAAAAAGoAgAAqQAAAAAAAAABqQIAAHIAAAAAAMhBAABgQQGqAgAAFQAAAFVVfUGqqhJCDHu+QaqqOkESg74/BqsCAAADOTAlCgmsAgAACakBAADQAgAA/////wEBCgmtAgAAAQAKAAGSAQAAJQAAAAnZAAAAAAAAAAAAAAABkwEAACYAAAAJrgIAAAIAAAACAAAAAZQBAAAwAAAAAa8CAAAhAAAAQS8vQg7ee0EBsAIAACEAAABBLx9CDt57QQmxAgAAzAEAAP////8BAQoJsgIAAAEACgABlQEAADQAAAABswIAACEAAABBLxlCDt57QQG0AgAAoAAAAAIAAAAAAAAAAAAAAAAJtQIAAAAAAAAJtgIAAAAAAbcCAACpAAAAAAAAAAG4AgAAcgAAAAAAAEIAAGBBAbkCAAAVAAAAAAAgQQAAIEG4Je1Bqqo6QRKDvj8GugIAAAQxMDAlCgm7AgAACakBAADQAgAA/////wEBCgm8AgAAAQAKAAGYAQAAJQAAAAnZAAAAAAAAAAAAAAABmQEAACYAAAAJvQIAAAIAAAACAAAABJoBAACYAVN5c3RlbS5Db2xsZWN0aW9ucy5HZW5lcmljLkxpc3RgMVtbQXBsb3Jpcy5DaGFydC5DaGFydERhdGFFbGVtZW50LCBBcGxvcmlzLkNoYXJ0LCBWZXJzaW9uPTQuMC4wLjE0ODYsIEN1bHR1cmU9bmV1dHJhbCwgUHVibGljS2V5VG9rZW49MTZmYzEzYTIyNmMwZTk1MV1dAwAAAAZfaXRlbXMFX3NpemUIX3ZlcnNpb24EAAAgQXBsb3Jpcy5DaGFydC5DaGFydERhdGFFbGVtZW50W10CAAAACAgJvgIAAAQAAAAmAAAAAZsBAAAlAAAACb8CAAAEAAAAEgAAAAGcAQAAJgAAAAnAAgAAAAAAAAAAAAAFow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cBAAAKAAAAAABAQQl2AAAACXcAAAAJwQIAAAEACcICAAABpAEAAHgAAAAKCgAAAAD///8ADgAAAAABAagBAACtAAAACcMCAAABAAAAAQAAAAGqAQAAdQAAAAnEAgAACgevAQAAAAEAAAAEAAAABB9BcGxvcmlzLkJhc2UuT2JqZWN0cy5EYXRhT2JqZWN0AwAAAAkiAQAADQMHsAEAAAABAAAABAAAAAQcQXBsb3Jpcy5CYXNlLlVJLlZpc3VhbE9iamVjdAMAAAAJJAEAAA0DAbEBAACaAQAACcUCAAAEAAAAJgAAAAGyAQAAJQAAAAnGAgAABAAAABIAAAABswEAACYAAAAJxwIAAAAAAAAAAAAABbo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IAQAACgAAAAAAQEEJdgAAAAl3AAAACcgCAAABAAnJAgAAAbsBAAB4AAAACgoAAAAA////AA4AAAAAAQG/AQAArQAAAAnKAgAAAQAAAAEAAAABwAEAAHUAAAAJywIAAAoHxQEAAAABAAAABAAAAAQfQXBsb3Jpcy5CYXNlLk9iamVjdHMuRGF0YU9iamVjdAMAAAAJKgEAAA0DB8YBAAAAAQAAAAQAAAAEHEFwbG9yaXMuQmFzZS5VSS5WaXN1YWxPYmplY3QDAAAACSwBAAANAwHHAQAAmgEAAAnMAgAABAAAACYAAAAByAEAACUAAAAJzQIAAAQAAAASAAAAAckBAAAmAAAACccCAAAAAAAAAAAAAAXQ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CQEAAAoAAAAAAEBBCXYAAAAJdwAAAAnOAgAAAQAJzwIAAAHRAQAAeAAAAAoKAAAAAP///wAOAAAAAAEB1QEAAK0AAAAJ0AIAAAEAAAABAAAAAdYBAAB1AAAACdECAAAKB9sBAAAAAQAAAAQAAAAEH0FwbG9yaXMuQmFzZS5PYmplY3RzLkRhdGFPYmplY3QDAAAACTIBAAANAwfcAQAAAAEAAAAEAAAABBxBcGxvcmlzLkJhc2UuVUkuVmlzdWFsT2JqZWN0AwAAAAk0AQAADQMB3QEAADQAAAAB0gIAACEAAAAEu+ZCDt5LQQHTAgAAoAAAAAEAAAAAAAAAAAAAAAAJ1AIAAAAAAAAJ1QIAAAAAAdYCAACpAAAAAAAAAAHXAgAAcgAAAAAAAAAAAAAAAdgCAAAVAAAAAAAAAAAAAAAAAAAAAAAAAAAAAAAG2QIAAAQxMDAlCgnaAgAACakBAAA0AwAA/////wABCgnbAgAAAQAKAAHgAQAAIwAAAAoKAAAAAAAoQQl2AAAACXcAAAAJ3AIAAAAACd0CAAAB4QEAAHgAAAAKCgAAAAD///8ADgAAAAABAeUBAACtAAAACd4CAAABAAAAAQAAAAHmAQAAdQAAAAnfAgAACgfnAQAAAAEAAAAAAAAABB9BcGxvcmlzLkJhc2UuT2JqZWN0cy5EYXRhT2JqZWN0AwAAAAfoAQAAAAEAAAAEAAAABBxBcGxvcmlzLkJhc2UuVUkuVmlzdWFsT2JqZWN0AwAAAAk9AQAACd0BAAAKCgHpAQAANAAAAAHgAgAAIQAAAHJAgUMO3ktBAeECAACgAAAAAQAAAAAAAAAAAAAAAAniAgAAAAAAAAnjAgAAAAAB5AIAAKkAAAAAAAAAAeUCAAByAAAAAAAcQgAAQEEB5gIAABUAAAAAAAAAAAAAAAAAAAAAAAAAEoO+PwbnAgAABDEwMCUKCegCAAAJqQEAADQDAAD/////AAEKCekCAAABAAoAAewBAAAjAAAACgoAAAAAAChBCXYAAAAJdwAAAAnqAgAAAAAJ6wIAAAHtAQAAeAAAAAoKAAAAAP///wAOAAAAAAEB8QEAAK0AAAAJ7AIAAAEAAAABAAAAAfIBAAB1AAAACe0CAAAKB/MBAAAAAQAAAAAAAAAEH0FwbG9yaXMuQmFzZS5PYmplY3RzLkRhdGFPYmplY3QDAAAAB/QBAAAAAQAAAAQAAAAEHEFwbG9yaXMuQmFzZS5VSS5WaXN1YWxPYmplY3QDAAAACUQBAAAJ6QEAAAoKAfUBAAA0AAAAAe4CAAAhAAAAJNLIQw7eS0EB7wIAAKAAAAABAAAAAAAAAAAAAAAACfACAAAAAAAACfECAAAAAAHyAgAAqQAAAAAAAAAB8wIAAHIAAAAAABxCAABAQQH0AgAAFQAAAAAAAAAAAAAAAAAAAAAAAAASg74/BvUCAAAEMTAwJQoJ9gIAAAmpAQAANAMAAP////8AAQoJ9wIAAAEACgAB+AEAACMAAAAKCgAAAAAAKEEJdgAAAAl3AAAACfgCAAAAAAn5AgAAAfkBAAB4AAAACgoAAAAA////AA4AAAAAAQH9AQAArQAAAAn6AgAAAQAAAAEAAAAB/gEAAHUAAAAJ+wIAAAoH/wEAAAABAAAAAAAAAAQfQXBsb3Jpcy5CYXNlLk9iamVjdHMuRGF0YU9iamVjdAMAAAAHAAIAAAABAAAABAAAAAQcQXBsb3Jpcy5CYXNlLlVJLlZpc3VhbE9iamVjdAMAAAAJSwEAAAn1AQAACgoBAQIAADQAAAAB/AIAACEAAADrMQhEDt5LQQH9AgAAoAAAAAEAAAAAAAAAAAAAAAAJ/gIAAAAAAAAJ/wIAAAAAAQADAACpAAAAAAAAAAEBAwAAcgAAAAAAAAAAAAAAAQIDAAAVAAAAAAAAAAAAAAAAAAAAAAAAAAAAAAAGAwMAAAQxMDAlCgkEAwAACakBAAA0AwAA/////wABCgkFAwAAAQAKAAEEAgAAIwAAAAoKAAAAAAAoQQl2AAAACXcAAAAJBgMAAAAACQcDAAABBQIAAHgAAAAKCgAAAAD///8ADgAAAAABAQkCAACtAAAACQgDAAABAAAAAQAAAAEKAgAAdQAAAAkJAwAACgcLAgAAAAEAAAAAAAAABB9BcGxvcmlzLkJhc2UuT2JqZWN0cy5EYXRhT2JqZWN0AwAAAAcMAgAAAAEAAAAEAAAABBxBcGxvcmlzLkJhc2UuVUkuVmlzdWFsT2JqZWN0AwAAAAlSAQAACQECAAAKCgENAgAANAAAAAEKAwAAIQAAAORVg0L4oJxDAQsDAACgAAAABQAAAAAAAAAAAAAAAAkMAwAAAAAAAAkNAwAAAAABDgMAAKkAAAAAAAAAAQ8DAAByAAAAAAAEQgAAYEEBEAMAABUAAABVVYBCqqqcQ2LQ80GqqjpBEoO+PwkjAQAACgkRAwAACakBAACEAwAA/////wEBCgkSAwAAAQAKAAEOAgAAHAAAAAETAwAAIQAAAFeuTEL4oJxDARQDAAAhAAAAyKt6QqZgokMJFQMAAAkWAwAAAAAAAAoBFwMAAHIAAAAAAAAAAAAAAAEYAwAAcgAAAAAAAAAAAAAAAAAAAAEZAwAAFQAAAAAAAAAAAAAAAAAAAAAAAACYAwAA/////wEBCgkaAwAAAQAKAAEPAgAAJQAAAAkbAwAAAAAAAAAAAAABEAIAACYAAAAJHAMAAAIAAAACAAAAARECAAA0AAAAAR0DAAAhAAAAqrwAQ/ignEMBHgMAAKAAAAAFAAAAAAAAAAAAAAAACR8DAAAAAAAACSADAAAAAAEhAwAAqQAAAAAAAAABIgMAAHIAAAAAACBCAABgQQEjAwAAFQAAAP///kKqqpxDhj0RQqqqOkESg74/CSsBAAAKCSQDAAAJqQEAAIQDAAD/////AQEKCSUDAAABAAoAARICAAAcAAAAASYDAAAhAAAAnHrkQvignEMBJwMAACEAAABUeftCpmCiQwkoAwAACSkDAAAAAAAACgEqAwAAcgAAAAAAAAAAAAAAASsDAAByAAAAAAAAAAAAAAAAAAAAASwDAAAVAAAAAAAAAAAAAAAAAAAAAAAAAJgDAAD/////AQEKCS0DAAABAAoAARMCAAAlAAAACRsDAAAAAAAAAAAAAAEUAgAAJgAAAAkuAwAAAgAAAAIAAAABFQIAADQAAAABLwMAACEAAAC3o0VD+KCcQwEwAwAAoAAAAAUAAAAAAAAAAAAAAAAJMQMAAAAAAAAJMgMAAAAAATMDAACpAAAAAAAAAAE0AwAAcgAAAAAASEIAAGBBATUDAAAVAAAAVdVDQ6qqnEPckjJCqqo6QRKDvj8JMwEAAAoJNgMAAAmpAQAAhAMAAP////8BAQoJNwMAAAEACgABFgIAABwAAAABOAMAACEAAABbJDdD+KCcQwE5AwAAIQAAALejQkOmYKJDCToDAAAJOwMAAAAAAAAKATwDAAByAAAAAAAAAAAAAAABPQMAAHIAAAAAAAAAAAAAAAAAAAABPgMAABUAAAAAAAAAAAAAAAAAAAAAAAAAmAMAAP////8BAQoJPwMAAAEACgABFwIAACUAAAAJGwMAAAAAAAAAAAAAARgCAAAmAAAACUADAAACAAAAAgAAAAEbAgAAcAAAAAoKAAAAQD8JQQMAAAlCAwAAAQAAAP7///8AAAAAAQAAAAAAAAAAAAAAAQAAAAAAAAAAAAABHAIAAHUAAAAJQwMAAAoBHwIAACMAAAAKCgAAAAAAKEEJdgAAAAl3AAAACUQDAAAAAAlFAwAAASACAAB4AAAACgoAAAAA////AA4AAAAAAQElAgAArQAAAAlGAwAAAQAAAAEAAAABJgIAAHUAAAAJRwMAAAoHJwIAAAABAAAABAAAAAQcQXBsb3Jpcy5CYXNlLlVJLlZpc3VhbE9iamVjdAMAAAAJWAEAAAlZAQAACgoBKgIAAHAAAAAKCgAAAEA/CUgDAAAJSQMAAAEAAAD+////AAAAAAEAAAAAAAAAAAAAAAEAAAAAAAAAAAAAASsCAAB1AAAACUoDAAAKAS4CAAAjAAAACgoAAAAAAChBCXYAAAAJdwAAAAlLAwAAAAAJTAMAAAEvAgAAeAAAAAoKAAAAAP///wAOAAAAAAEBNAIAAK0AAAAJTQMAAAEAAAADAAAAATUCAAB1AAAACU4DAAAKBzYCAAAAAQAAAAQAAAAEHEFwbG9yaXMuQmFzZS5VSS5WaXN1YWxPYmplY3QDAAAACV4BAAAJXwEAAAoKATkCAABwAAAACgoAAABAPwlPAwAACVADAAABAAAA/v///wAAAAABAAAAAAAAAAAAAAABAAAAAAAAAAAAAAE6AgAAdQAAAAlRAwAACgE9AgAAIwAAAAoKAAAAAAAoQQl2AAAACXcAAAAJUgMAAAAACVMDAAABPgIAAHgAAAAKCgAAAAD///8ADgAAAAABAUMCAACtAAAACVQDAAABAAAAAwAAAAFEAgAAdQAAAAlVAwAACgdFAgAAAAEAAAAEAAAABBxBcGxvcmlzLkJhc2UuVUkuVmlzdWFsT2JqZWN0AwAAAAlkAQAACWUBAAAKCgFIAgAAcAAAAAoKAAAAQD8JVgMAAAlXAwAAAQAAAP7///8AAAAAAQAAAAAAAAAAAAAAAQAAAAAAAAAAAAABSQIAAHUAAAAJWAMAAAoBTAIAACMAAAAKCgAAAAAAKEEJdgAAAAl3AAAACVkDAAAAAAlaAwAAAU0CAAB4AAAACgoAAAAA////AA4AAAAAAQFSAgAArQAAAAlbAwAAAQAAAAMAAAABUwIAAHUAAAAJXAMAAAoHVAIAAAABAAAABAAAAAQcQXBsb3Jpcy5CYXNlLlVJLlZpc3VhbE9iamVjdAMAAAAJagEAAAlrAQAACgoBVwIAAHAAAAAKCgAAAEA/CV0DAAAJXgMAAAEAAAD+////AAAAAAEAAAAAAAAAAAAAAAEAAAAAAAAAAAAAAVgCAAB1AAAACV8DAAAKAVsCAAAjAAAACgoAAAAAAChBCXYAAAAJdwAAAAlgAwAAAAAJYQMAAAFcAgAAeAAAAAoKAAAAAP///wAOAAAAAAEBYQIAAK0AAAAJYgMAAAEAAAADAAAAAWICAAB1AAAACWMDAAAKB2MCAAAAAQAAAAQAAAAEHEFwbG9yaXMuQmFzZS5VSS5WaXN1YWxPYmplY3QDAAAACXABAAAJcQEAAAoKAWYCAABwAAAACgoAAABAPwlkAwAACWUDAAABAAAA/v///wAAAAABAAAAAAAAAAAAAAABAAAAAAAAAAAAAAFnAgAAdQAAAAlmAwAACgFqAgAAIwAAAAoKAAAAAAAoQQl2AAAACXcAAAAJZwMAAAAACWgDAAABawIAAHgAAAAKCgAAAAD///8ADgAAAAABAXACAACtAAAACWkDAAABAAAAAwAAAAFxAgAAdQAAAAlqAwAACgdyAgAAAAEAAAAEAAAABBxBcGxvcmlzLkJhc2UuVUkuVmlzdWFsT2JqZWN0AwAAAAl2AQAACXcBAAAKCgF1AgAAcAAAAAoKAAAAQD8JawMAAAlsAwAAAQAAAP7///8AAAAAAQAAAAAAAAAAAAAAAQAAAAAAAAAAAAABdgIAAHUAAAAJbQMAAAoBeQIAACMAAAAKCgAAAAAAKEEJdgAAAAl3AAAACW4DAAAAAAlvAwAAAXoCAAB4AAAACgoAAAAA////AA4AAAAAAQF/AgAArQAAAAlwAwAAAQAAAAMAAAABgAIAAHUAAAAJcQMAAAoHgQIAAAABAAAABAAAAAQcQXBsb3Jpcy5CYXNlLlVJLlZpc3VhbE9iamVjdAMAAAAJfAEAAAl9AQAACgoBhAIAAHAAAAAKCgAAAEA/CXIDAAAJcwMAAAEAAAD+////AAAAAAEAAAAAAAAAAAAAAAEAAAAAAAAAAAAAAYUCAAB1AAAACXQDAAAKAYgCAAAjAAAACgoAAAAAAChBCXYAAAAJdwAAAAl1AwAAAAAJdgMAAAGJAgAAeAAAAAoKAAAAAP///wAOAAAAAAEBjgIAAK0AAAAJdwMAAAEAAAADAAAAAY8CAAB1AAAACXgDAAAKB5ACAAAAAQAAAAQAAAAEHEFwbG9yaXMuQmFzZS5VSS5WaXN1YWxPYmplY3QDAAAACYIBAAAJgwEAAAoKAZMCAABwAAAACgoAAABAPwl5AwAACXoDAAABAAAA/v///wAAAAABAAAAAAAAAAAAAAABAAAAAAAAAAAAAAGUAgAAdQAAAAl7AwAACgGXAgAAIwAAAAoKAAAAAAAoQQl2AAAACXcAAAAJfAMAAAAACX0DAAABmAIAAHgAAAAKCgAAAAD///8ADgAAAAABAZ0CAACtAAAACX4DAAABAAAAAwAAAAGeAgAAdQAAAAl/AwAACgefAgAAAAEAAAAEAAAABBxBcGxvcmlzLkJhc2UuVUkuVmlzdWFsT2JqZWN0AwAAAAmIAQAACYkBAAAKCgGiAgAAcAAAAAoKAAAAQD8JgAMAAAmBAwAAAQAAAP7///8AAAAAAQAAAAAAAAAAAAAAAQAAAAAAAAAAAAABowIAAHUAAAAJggMAAAoBpgIAACMAAAAKCgAAAAAAKEEJdgAAAAl3AAAACYMDAAAAAAmEAwAAAacCAAB4AAAACgoAAAAA////AA4AAAAAAQGsAgAArQAAAAmFAwAAAQAAAAMAAAABrQIAAHUAAAAJhgMAAAoHrgIAAAABAAAABAAAAAQcQXBsb3Jpcy5CYXNlLlVJLlZpc3VhbE9iamVjdAMAAAAJjgEAAAmPAQAACgoBsQIAAHAAAAAKCgAAAEA/CYcDAAAJiAMAAAEAAAD+////AAAAAAEAAAAAAAAAAAAAAAEAAAAAAAAAAAAAAbICAAB1AAAACYkDAAAKAbUCAAAjAAAACgoAAAAAAChBCXYAAAAJdwAAAAmKAwAAAAAJiwMAAAG2AgAAeAAAAAoKAAAAAP///wAOAAAAAAEBuwIAAK0AAAAJjAMAAAEAAAADAAAAAbwCAAB1AAAACY0DAAAKB70CAAAAAQAAAAQAAAAEHEFwbG9yaXMuQmFzZS5VSS5WaXN1YWxPYmplY3QDAAAACZQBAAAJlQEAAAoKB74CAAAAAQAAABAAAAAEHkFwbG9yaXMuQ2hhcnQuQ2hhcnREYXRhRWxlbWVudAIAAAAJjgMAAAmPAwAACZADAAAJkQMAAA0MB78CAAAAAQAAABAAAAAEH0FwbG9yaXMuQmFzZS5PYmplY3RzLkRhdGFPYmplY3QDAAAACY8DAAAJkAMAAAmOAwAACZEDAAANDAfAAgAAAAEAAAAAAAAABBxBcGxvcmlzLkJhc2UuVUkuVmlzdWFsT2JqZWN0AwAAAAHBAgAAeAAAAAoKAAAAAAAAAAANAAAAAAEBwgIAAHgAAAAKCgEAAAAAAAAA/////wABB8MCAAAAAQAAAAQAAAAEHUFwbG9yaXMuQmFzZS5PYmplY3RzLlZhcmlhYmxlAwAAAAWSAwAAHUFwbG9yaXMuQmFzZS5PYmplY3RzLlZhcmlhYmxlAgAAAAZOdW1iZXIIUG9zaXRpb24AAAgIAwAAAAEAAAAAAAAAAZMDAACSAwAAAAAAAAAAAAABlAMAAJIDAAAAAAAAAAAAAAGVAwAAkgMAAAAAAAAAAAAAD8QCAAABAAAACAAAAAAHxQIAAAABAAAAEAAAAAQeQXBsb3Jpcy5DaGFydC5DaGFydERhdGFFbGVtZW50AgAAAAmWAwAACZcDAAAJmAMAAAmZAwAADQwHxgIAAAABAAAAEAAAAAQfQXBsb3Jpcy5CYXNlLk9iamVjdHMuRGF0YU9iamVjdAMAAAAJlwMAAAmYAwAACZYDAAAJmQMAAA0MB8cCAAAAAQAAAAAAAAAEHEFwbG9yaXMuQmFzZS5VSS5WaXN1YWxPYmplY3QDAAAAAcgCAAB4AAAACgoAAAAAAAAAAA0AAAAAAQHJAgAAeAAAAAoKAQAAAAAAAAD/////AAEHygIAAAABAAAABAAAAAQdQXBsb3Jpcy5CYXNlLk9iamVjdHMuVmFyaWFibGUDAAAAAZoDAACSAwAAAQAAAAAAAAABmwMAAJIDAAAAAAAAAAAAAAGcAwAAkgMAAAAAAAAAAAAAAZ0DAACSAwAAAAAAAAAAAAAPywIAAAEAAAAIAAAAAAfMAgAAAAEAAAAQAAAABB5BcGxvcmlzLkNoYXJ0LkNoYXJ0RGF0YUVsZW1lbnQCAAAACZ4DAAAJnwMAAAmgAwAACaEDAAANDAfNAgAAAAEAAAAQAAAABB9BcGxvcmlzLkJhc2UuT2JqZWN0cy5EYXRhT2JqZWN0AwAAAAmfAwAACaADAAAJngMAAAmhAwAADQwBzgIAAHgAAAAKCgAAAAAAAAAADQAAAAABAc8CAAB4AAAACgoBAAAAAAAAAP////8AAQfQAgAAAAEAAAAEAAAABB1BcGxvcmlzLkJhc2UuT2JqZWN0cy5WYXJpYWJsZQMAAAABogMAAJIDAAABAAAAAAAAAAGjAwAAkgMAAAAAAAAAAAAAAaQDAACSAwAAAAAAAAAAAAABpQMAAJIDAAAAAAAAAAAAAA/RAgAAAQAAAAgAAAAABdQ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oBAAAKAAAAAABAQQl2AAAACXcAAAAJpgMAAAEACacDAAAB1QIAAHgAAAAKCgEAAAAAAAAA/////wABAdoCAACtAAAACagDAAABAAAAAwAAAAHbAgAAdQAAAAmpAwAACgHcAgAAeAAAAAoKAAAAAAAAAAANAAAAAAAB3QIAAHgAAAAKCgAAAAAAAAAADQAAAAABB94CAAAAAQAAAAQAAAAEHUFwbG9yaXMuQmFzZS5PYmplY3RzLlZhcmlhYmxlAwAAAAGqAwAAkgMAAAEAAAAAAAAAAasDAACSAwAAAAAAAAAAAAABrAMAAJIDAAAAAAAAAAAAAAGtAwAAkgMAAAAAAAAAAAAAD98CAAABAAAACBwDAAAF4g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CwEAAAoAAAAAAEBBCXYAAAAJdwAAAAmuAwAAAQAJrwMAAAHjAgAAeAAAAAoKAAAAAP///wAOAAAAAAEB6AIAAK0AAAAJsAMAAAEAAAADAAAAAekCAAB1AAAACbEDAAAKAeoCAAB4AAAACgoAAAAAAAAAAA0AAAAAAAHrAgAAeAAAAAoKAAAAAAAAAAANAAAAAAEH7AIAAAABAAAABAAAAAQdQXBsb3Jpcy5CYXNlLk9iamVjdHMuVmFyaWFibGUDAAAAAbIDAACSAwAAAQAAAAAAAAABswMAAJIDAAAAAAAAAAAAAAG0AwAAkgMAAAAAAAAAAAAAAbUDAACSAwAAAAAAAAAAAAAP7QIAAAEAAAAITQEAAAXw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MAQAACgAAAAAAQEEJdgAAAAl3AAAACbYDAAABAAm3AwAAAfECAAB4AAAACgoAAAAA////AA4AAAAAAQH2AgAArQAAAAm4AwAAAQAAAAMAAAAB9wIAAHUAAAAJuQMAAAoB+AIAAHgAAAAKCgAAAAAAAAAADQAAAAAAAfkCAAB4AAAACgoAAAAAAAAAAA0AAAAAAQf6AgAAAAEAAAAEAAAABB1BcGxvcmlzLkJhc2UuT2JqZWN0cy5WYXJpYWJsZQMAAAABugMAAJIDAAABAAAAAAAAAAG7AwAAkgMAAAAAAAAAAAAAAbwDAACSAwAAAAAAAAAAAAABvQMAAJIDAAAAAAAAAAAAAA/7AgAAAQAAAAjFAAAABf4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0BAAAKAAAAAABAQQl2AAAACXcAAAAJvgMAAAEACb8DAAAB/wIAAHgAAAAKCgEAAAAAAAAA/////wABAQQDAACtAAAACcADAAABAAAAAwAAAAEFAwAAdQAAAAnBAwAACgEGAwAAeAAAAAoKAAAAAAAAAAANAAAAAAABBwMAAHgAAAAKCgAAAAAAAAAADQAAAAABBwgDAAAAAQAAAAQAAAAEHUFwbG9yaXMuQmFzZS5PYmplY3RzLlZhcmlhYmxlAwAAAAHCAwAAkgMAAAEAAAAAAAAAAcMDAACSAwAAAAAAAAAAAAABxAMAAJIDAAAAAAAAAAAAAAHFAwAAkgMAAAAAAAAAAAAADwkDAAABAAAACK0DAAABDAMAACMAAAAKCgAAAAAAKEEJdgAAAAl3AAAACcYDAAAAAAnHAwAAAQ0DAAB4AAAACgoBAAAAAAAAAP////8AAQERAwAArQAAAAnIAwAAAQAAAAEAAAABEgMAAHUAAAAJyQMAAAoBFQMAAHAAAAAKCgAAAEA/CcoDAAAJywMAAAEAAAD+////AAAAAAEAAAAAAAAAAAAAAAEAAAAAAAAAAAAAARYDAABxAAAACgoJzAMAAAnNAwAAAQAAAP7///8AAAAA/////wEAARoDAAB1AAAACc4DAAAKBxsDAAAAAQAAAAAAAAAEH0FwbG9yaXMuQmFzZS5PYmplY3RzLkRhdGFPYmplY3QDAAAABxwDAAAAAQAAAAQAAAAEHEFwbG9yaXMuQmFzZS5VSS5WaXN1YWxPYmplY3QDAAAACQ0CAAAJDgIAAAoKAR8DAAAjAAAACgoAAAAAAChBCXYAAAAJdwAAAAnPAwAAAAAJ0AMAAAEgAwAAeAAAAAoKAQAAAAAAAAD/////AAEBJAMAAK0AAAAJ0QMAAAEAAAABAAAAASUDAAB1AAAACdIDAAAKASgDAABwAAAACgoAAABAPwnTAwAACdQDAAABAAAA/v///wAAAAABAAAAAAAAAAAAAAABAAAAAAAAAAAAAAEpAwAAcQAAAAoKCdUDAAAJ1gMAAAEAAAD+////AAAAAP////8BAAEtAwAAdQAAAAnXAwAACgcuAwAAAAEAAAAEAAAABBxBcGxvcmlzLkJhc2UuVUkuVmlzdWFsT2JqZWN0AwAAAAkRAgAACRICAAAKCgExAwAAIwAAAAoKAAAAAAAoQQl2AAAACXcAAAAJ2AMAAAAACdkDAAABMgMAAHgAAAAKCgEAAAAAAAAA/////wABATYDAACtAAAACdoDAAABAAAAAQAAAAE3AwAAdQAAAAnbAwAACgE6AwAAcAAAAAoKAAAAQD8J3AMAAAndAwAAAQAAAP7///8AAAAAAQAAAAAAAAAAAAAAAQAAAAAAAAAAAAABOwMAAHEAAAAKCgneAwAACd8DAAABAAAA/v///wAAAAD/////AQABPwMAAHUAAAAJ4AMAAAoHQAMAAAABAAAABAAAAAQcQXBsb3Jpcy5CYXNlLlVJLlZpc3VhbE9iamVjdAMAAAAJFQIAAAkWAgAACgoBQQMAAHgAAAAKCgAAAAAAAAAADQAAAAAABUIDAAAaQXBsb3Jpcy5CYXNlLk9iamVjdHMuQ29sb3IHAAAAEkRhdGFPYmplY3QrbVBhcmVudBVEYXRhT2JqZWN0K21Db250YWluZXIFbVR5cGUEbVJHQhBtVGhlbWVDb2xvckluZGV4DG1BdXRvVXBkYXRlZAltTW9kaWZpZWQEAgAAAAAAH0FwbG9yaXMuQmFzZS5PYmplY3RzLkxpbmVGb3JtYXQDAAAACAgIAQEDAAAACRsCAAAKAQAAAAAAAAD/////AAEPQwMAAAEAAAAItgMAAAFEAwAAeAAAAAoKAAAAAAAAAAANAAAAAAABRQMAAHgAAAAKCgAAAAAAAAAADQAAAAABB0YDAAAAAQAAAAQAAAAEHUFwbG9yaXMuQmFzZS5PYmplY3RzLlZhcmlhYmxlAwAAAAHhAwAAkgMAAAEAAAAAAAAAAeIDAACSAwAAAAAAAAAAAAAB4wMAAJIDAAAAAAAAAAAAAAHkAwAAkgMAAAAAAAAAAAAAD0cDAAABAAAACCYAAAABSAMAAHgAAAAKCgAAAAAAAAAADQAAAAAABUkDAAAaQXBsb3Jpcy5CYXNlLk9iamVjdHMuQ29sb3IHAAAAEkRhdGFPYmplY3QrbVBhcmVudBVEYXRhT2JqZWN0K21Db250YWluZXIFbVR5cGUEbVJHQhBtVGhlbWVDb2xvckluZGV4DG1BdXRvVXBkYXRlZAltTW9kaWZpZWQEAgAAAAAAH0FwbG9yaXMuQmFzZS5PYmplY3RzLkxpbmVGb3JtYXQDAAAACAgIAQEDAAAACSoCAAAKAQAAAAAAAAD/////AAEPSgMAAAEAAAAItQMAAAFLAwAAeAAAAAoKAAAAAAAAAAANAAAAAAABTAMAAHgAAAAKCgAAAAAAAAAADQAAAAABB00DAAAAAQAAAAQAAAAEHUFwbG9yaXMuQmFzZS5PYmplY3RzLlZhcmlhYmxlAwAAAAHlAwAAkgMAAAEAAAAAAAAAAeYDAACSAwAAAAAAAAAAAAAB5wMAAJIDAAAAAAAAAAAAAAHoAwAAkgMAAAAAAAAAAAAAD04DAAABAAAACCMAAAABTwMAAHgAAAAKCgAAAAAAAAAADQAAAAAABVADAAAaQXBsb3Jpcy5CYXNlLk9iamVjdHMuQ29sb3IHAAAAEkRhdGFPYmplY3QrbVBhcmVudBVEYXRhT2JqZWN0K21Db250YWluZXIFbVR5cGUEbVJHQhBtVGhlbWVDb2xvckluZGV4DG1BdXRvVXBkYXRlZAltTW9kaWZpZWQEAgAAAAAAH0FwbG9yaXMuQmFzZS5PYmplY3RzLkxpbmVGb3JtYXQDAAAACAgIAQEDAAAACTkCAAAKAQAAAAAAAAD/////AAEPUQMAAAEAAAAIswMAAAFSAwAAeAAAAAoKAAAAAAAAAAANAAAAAAABUwMAAHgAAAAKCgAAAAAAAAAADQAAAAABB1QDAAAAAQAAAAQAAAAEHUFwbG9yaXMuQmFzZS5PYmplY3RzLlZhcmlhYmxlAwAAAAHpAwAAkgMAAAEAAAAAAAAAAeoDAACSAwAAAAAAAAAAAAAB6wMAAJIDAAAAAAAAAAAAAAHsAwAAkgMAAAAAAAAAAAAAD1UDAAABAAAACCsAAAABVgMAAHgAAAAKCgAAAAAAAAAADQAAAAAABVcDAAAaQXBsb3Jpcy5CYXNlLk9iamVjdHMuQ29sb3IHAAAAEkRhdGFPYmplY3QrbVBhcmVudBVEYXRhT2JqZWN0K21Db250YWluZXIFbVR5cGUEbVJHQhBtVGhlbWVDb2xvckluZGV4DG1BdXRvVXBkYXRlZAltTW9kaWZpZWQEAgAAAAAAH0FwbG9yaXMuQmFzZS5PYmplY3RzLkxpbmVGb3JtYXQDAAAACAgIAQEDAAAACUgCAAAKAQAAAAAAAAD/////AAEPWAMAAAEAAAAIuQMAAAFZAwAAeAAAAAoKAAAAAAAAAAANAAAAAAABWgMAAHgAAAAKCgAAAAAAAAAADQAAAAABB1sDAAAAAQAAAAQAAAAEHUFwbG9yaXMuQmFzZS5PYmplY3RzLlZhcmlhYmxlAwAAAAHtAwAAkgMAAAEAAAAAAAAAAe4DAACSAwAAAAAAAAAAAAAB7wMAAJIDAAAAAAAAAAAAAAHwAwAAkgMAAAAAAAAAAAAAD1wDAAABAAAACCoAAAABXQMAAHgAAAAKCgAAAAAAAAAADQAAAAAABV4DAAAaQXBsb3Jpcy5CYXNlLk9iamVjdHMuQ29sb3IHAAAAEkRhdGFPYmplY3QrbVBhcmVudBVEYXRhT2JqZWN0K21Db250YWluZXIFbVR5cGUEbVJHQhBtVGhlbWVDb2xvckluZGV4DG1BdXRvVXBkYXRlZAltTW9kaWZpZWQEAgAAAAAAH0FwbG9yaXMuQmFzZS5PYmplY3RzLkxpbmVGb3JtYXQDAAAACAgIAQEDAAAACVcCAAAKAQAAAAAAAAD/////AAEPXwMAAAEAAAAIuAMAAAFgAwAAeAAAAAoKAAAAAAAAAAANAAAAAAABYQMAAHgAAAAKCgAAAAAAAAAADQAAAAABB2IDAAAAAQAAAAQAAAAEHUFwbG9yaXMuQmFzZS5PYmplY3RzLlZhcmlhYmxlAwAAAAHxAwAAkgMAAAEAAAAAAAAAAfIDAACSAwAAAAAAAAAAAAAB8wMAAJIDAAAAAAAAAAAAAAH0AwAAkgMAAAAAAAAAAAAAD2MDAAABAAAACCcAAAABZAMAAHgAAAAKCgAAAAAAAAAADQAAAAAABWUDAAAaQXBsb3Jpcy5CYXNlLk9iamVjdHMuQ29sb3IHAAAAEkRhdGFPYmplY3QrbVBhcmVudBVEYXRhT2JqZWN0K21Db250YWluZXIFbVR5cGUEbVJHQhBtVGhlbWVDb2xvckluZGV4DG1BdXRvVXBkYXRlZAltTW9kaWZpZWQEAgAAAAAAH0FwbG9yaXMuQmFzZS5PYmplY3RzLkxpbmVGb3JtYXQDAAAACAgIAQEDAAAACWYCAAAKAQAAAAAAAAD/////AAEPZgMAAAEAAAAItwMAAAFnAwAAeAAAAAoKAAAAAAAAAAANAAAAAAABaAMAAHgAAAAKCgAAAAAAAAAADQAAAAABB2kDAAAAAQAAAAQAAAAEHUFwbG9yaXMuQmFzZS5PYmplY3RzLlZhcmlhYmxlAwAAAAH1AwAAkgMAAAEAAAAAAAAAAfYDAACSAwAAAAAAAAAAAAAB9wMAAJIDAAAAAAAAAAAAAAH4AwAAkgMAAAAAAAAAAAAAD2oDAAABAAAACCkAAAABawMAAHgAAAAKCgAAAAAAAAAADQAAAAAABWwDAAAaQXBsb3Jpcy5CYXNlLk9iamVjdHMuQ29sb3IHAAAAEkRhdGFPYmplY3QrbVBhcmVudBVEYXRhT2JqZWN0K21Db250YWluZXIFbVR5cGUEbVJHQhBtVGhlbWVDb2xvckluZGV4DG1BdXRvVXBkYXRlZAltTW9kaWZpZWQEAgAAAAAAH0FwbG9yaXMuQmFzZS5PYmplY3RzLkxpbmVGb3JtYXQDAAAACAgIAQEDAAAACXUCAAAKAQAAAAAAAAD/////AAEPbQMAAAEAAAAItAMAAAFuAwAAeAAAAAoKAAAAAAAAAAANAAAAAAABbwMAAHgAAAAKCgAAAAAAAAAADQAAAAABB3ADAAAAAQAAAAQAAAAEHUFwbG9yaXMuQmFzZS5PYmplY3RzLlZhcmlhYmxlAwAAAAH5AwAAkgMAAAEAAAAAAAAAAfoDAACSAwAAAAAAAAAAAAAB+wMAAJIDAAAAAAAAAAAAAAH8AwAAkgMAAAAAAAAAAAAAD3EDAAABAAAACCgAAAABcgMAAHgAAAAKCgAAAAAAAAAADQAAAAAABXMDAAAaQXBsb3Jpcy5CYXNlLk9iamVjdHMuQ29sb3IHAAAAEkRhdGFPYmplY3QrbVBhcmVudBVEYXRhT2JqZWN0K21Db250YWluZXIFbVR5cGUEbVJHQhBtVGhlbWVDb2xvckluZGV4DG1BdXRvVXBkYXRlZAltTW9kaWZpZWQEAgAAAAAAH0FwbG9yaXMuQmFzZS5PYmplY3RzLkxpbmVGb3JtYXQDAAAACAgIAQEDAAAACYQCAAAKAQAAAAAAAAD/////AAEPdAMAAAEAAAAIvQMAAAF1AwAAeAAAAAoKAAAAAAAAAAANAAAAAAABdgMAAHgAAAAKCgAAAAAAAAAADQAAAAABB3cDAAAAAQAAAAQAAAAEHUFwbG9yaXMuQmFzZS5PYmplY3RzLlZhcmlhYmxlAwAAAAH9AwAAkgMAAAEAAAAAAAAAAf4DAACSAwAAAAAAAAAAAAAB/wMAAJIDAAAAAAAAAAAAAAEABAAAkgMAAAAAAAAAAAAAD3gDAAABAAAACCwAAAABeQMAAHgAAAAKCgAAAAAAAAAADQAAAAAABXoDAAAaQXBsb3Jpcy5CYXNlLk9iamVjdHMuQ29sb3IHAAAAEkRhdGFPYmplY3QrbVBhcmVudBVEYXRhT2JqZWN0K21Db250YWluZXIFbVR5cGUEbVJHQhBtVGhlbWVDb2xvckluZGV4DG1BdXRvVXBkYXRlZAltTW9kaWZpZWQEAgAAAAAAH0FwbG9yaXMuQmFzZS5PYmplY3RzLkxpbmVGb3JtYXQDAAAACAgIAQEDAAAACZMCAAAKAQAAAAAAAAD/////AAEPewMAAAEAAAAIugMAAAF8AwAAeAAAAAoKAAAAAAAAAAANAAAAAAABfQMAAHgAAAAKCgAAAAAAAAAADQAAAAABB34DAAAAAQAAAAQAAAAEHUFwbG9yaXMuQmFzZS5PYmplY3RzLlZhcmlhYmxlAwAAAAEBBAAAkgMAAAEAAAAAAAAAAQIEAACSAwAAAAAAAAAAAAABAwQAAJIDAAAAAAAAAAAAAAEEBAAAkgMAAAAAAAAAAAAAD38DAAABAAAACC0AAAABgAMAAHgAAAAKCgAAAAAAAAAADQAAAAAABYEDAAAaQXBsb3Jpcy5CYXNlLk9iamVjdHMuQ29sb3IHAAAAEkRhdGFPYmplY3QrbVBhcmVudBVEYXRhT2JqZWN0K21Db250YWluZXIFbVR5cGUEbVJHQhBtVGhlbWVDb2xvckluZGV4DG1BdXRvVXBkYXRlZAltTW9kaWZpZWQEAgAAAAAAH0FwbG9yaXMuQmFzZS5PYmplY3RzLkxpbmVGb3JtYXQDAAAACAgIAQEDAAAACaICAAAKAQAAAAAAAAD/////AAEPggMAAAEAAAAIuwMAAAGDAwAAeAAAAAoKAAAAAAAAAAANAAAAAAABhAMAAHgAAAAKCgAAAAAAAAAADQAAAAABB4UDAAAAAQAAAAQAAAAEHUFwbG9yaXMuQmFzZS5PYmplY3RzLlZhcmlhYmxlAwAAAAEFBAAAkgMAAAEAAAAAAAAAAQYEAACSAwAAAAAAAAAAAAABBwQAAJIDAAAAAAAAAAAAAAEIBAAAkgMAAAAAAAAAAAAAD4YDAAABAAAACCUAAAABhwMAAHgAAAAKCgAAAAAAAAAADQAAAAAABYgDAAAaQXBsb3Jpcy5CYXNlLk9iamVjdHMuQ29sb3IHAAAAEkRhdGFPYmplY3QrbVBhcmVudBVEYXRhT2JqZWN0K21Db250YWluZXIFbVR5cGUEbVJHQhBtVGhlbWVDb2xvckluZGV4DG1BdXRvVXBkYXRlZAltTW9kaWZpZWQEAgAAAAAAH0FwbG9yaXMuQmFzZS5PYmplY3RzLkxpbmVGb3JtYXQDAAAACAgIAQEDAAAACbECAAAKAQAAAAAAAAD/////AAEPiQMAAAEAAAAIvAMAAAGKAwAAeAAAAAoKAAAAAAAAAAANAAAAAAABiwMAAHgAAAAKCgAAAAAAAAAADQAAAAABB4wDAAAAAQAAAAQAAAAEHUFwbG9yaXMuQmFzZS5PYmplY3RzLlZhcmlhYmxlAwAAAAEJBAAAkgMAAAEAAAAAAAAAAQoEAACSAwAAAAAAAAAAAAABCwQAAJIDAAAAAAAAAAAAAAEMBAAAkgMAAAAAAAAAAAAAD40DAAABAAAACCQAAAAFjgM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NBAAACQ4EAAAKCQ8EAAAKCQcBAAAIBqqT8ZYKbeo/CgAAAAAJEAQAAAkRBAAAAAAAAAAJEgQAAAkHAQAACQEAAAAJEwQAAAGPAwAAjgMAAAkUBAAACRUEAAAKCRYEAAAKCQcBAAAIBnRrOTqdJcc/CgEAAAAJFwQAAAkYBAAAAAAAAAAJGQQAAAkHAQAACQEAAAAJGgQAAAGQAwAAjgMAAAkbBAAACRwEAAAKCR0EAAAKCQcBAAAIBs2tv2Ivr9U/CgIAAAAJHgQAAAkfBAAAAAAAAAAJIAQAAAkHAQAACQEAAAAJIQQAAAGRAwAAjgMAAAkiBAAACSMEAAAKCSQEAAAKCQcBAAAIBtp4NExC8Ng/CgMAAAAJJQQAAAkmBAAAAAAAAAAJJwQAAAkHAQAACQEAAAAJKAQAAAGWAwAAjgMAAAkpBAAACSoEAAAKCSsEAAAKCQgBAAAIBiaOT8GIl8Q/CgAAAAAJLAQAAAktBAAAAAAAAAAJLgQAAAkIAQAACQEAAAAJLwQAAAGXAwAAjgMAAAkwBAAACTEEAAAKCTIEAAAKCQgBAAAIBllg26qprOA/CgEAAAAJMwQAAAk0BAAAAAAAAAAJNQQAAAkIAQAACQEAAAAJNgQAAAGYAwAAjgMAAAk3BAAACTgEAAAKCTkEAAAKCQgBAAAIBs/dZnsiN9w/CgIAAAAJOgQAAAk7BAAAAAAAAAAJPAQAAAkIAQAACQEAAAAJPQQAAAGZAwAAjgMAAAk+BAAACT8EAAAKCUAEAAAKCQgBAAAIBrZXkWZnU9U/CgMAAAAJQQQAAAlCBAAAAAAAAAAJQwQAAAkIAQAACQEAAAAJRAQAAAGeAwAAjgMAAAlFBAAACUYEAAAKCUcEAAAKCQkBAAAIBlYzoi7ORIs/CgAAAAAJSAQAAAlJBAAAAAAAAAAJSgQAAAkJAQAACQEAAAAJSwQAAAGfAwAAjgMAAAlMBAAACU0EAAAKCU4EAAAKCQkBAAAIBp2JLA3eE9M/CgEAAAAJTwQAAAlQBAAAAAAAAAAJUQQAAAkJAQAACQEAAAAJUgQAAAGgAwAAjgMAAAlTBAAACVQEAAAKCVUEAAAKCQkBAAAIBuzoskNcM8w/CgIAAAAJVgQAAAlXBAAAAAAAAAAJWAQAAAkJAQAACQEAAAAJWQQAAAGhAwAAjgMAAAlaBAAACVsEAAAKCVwEAAAKCQkBAAAIBmYvOk1WvNE/CgMAAAAJXQQAAAleBAAAAAAAAAAJXwQAAAkJAQAACQEAAAAJYAQAAAGmAwAAeAAAAAoKAAAAAAAAAAANAAAAAAEBpwMAAHgAAAAKCgEAAAAAAAAA/////wABB6gDAAAAAQAAAAQAAAAEHUFwbG9yaXMuQmFzZS5PYmplY3RzLlZhcmlhYmxlAwAAAAFhBAAAkgMAAAEAAAAAAAAAAWIEAACSAwAAAAAAAAAAAAABYwQAAJIDAAAAAAAAAAAAAAFkBAAAkgMAAAAAAAAAAAAAD6kDAAABAAAACAAAAAABrgMAAHgAAAAKCgAAAAAAAAAADQAAAAABAa8DAAB4AAAACgoBAAAAAAAAAP////8AAQewAwAAAAEAAAAEAAAABB1BcGxvcmlzLkJhc2UuT2JqZWN0cy5WYXJpYWJsZQMAAAABZQQAAJIDAAABAAAAAAAAAAFmBAAAkgMAAAAAAAAAAAAAAWcEAACSAwAAAAAAAAAAAAABaAQAAJIDAAAAAAAAAAAAAA+xAwAAAQAAAAgAAAAAAbYDAAB4AAAACgoAAAAAAAAAAA0AAAAAAQG3AwAAeAAAAAoKAQAAAAAAAAD/////AAEHuAMAAAABAAAABAAAAAQdQXBsb3Jpcy5CYXNlLk9iamVjdHMuVmFyaWFibGUDAAAAAWkEAACSAwAAAQAAAAAAAAABagQAAJIDAAAAAAAAAAAAAAFrBAAAkgMAAAAAAAAAAAAAAWwEAACSAwAAAAAAAAAAAAAPuQMAAAEAAAAIAAAAAAG+AwAAeAAAAAoKAAAAAAAAAAANAAAAAAEBvwMAAHgAAAAKCgEAAAAAAAAA/////wABB8ADAAAAAQAAAAQAAAAEHUFwbG9yaXMuQmFzZS5PYmplY3RzLlZhcmlhYmxlAwAAAAFtBAAAkgMAAAEAAAAAAAAAAW4EAACSAwAAAAAAAAAAAAABbwQAAJIDAAAAAAAAAAAAAAFwBAAAkgMAAAAAAAAAAAAAD8EDAAABAAAACAAAAAABxgMAAHgAAAAKCgAAAAAAAAAADQAAAAAAAccDAAB4AAAACgoBAAAAAAAAAP////8AAQfIAwAAAAEAAAAEAAAABB1BcGxvcmlzLkJhc2UuT2JqZWN0cy5WYXJpYWJsZQMAAAABcQQAAJIDAAABAAAAAAAAAAFyBAAAkgMAAAAAAAAAAAAAAXMEAACSAwAAAAAAAAAAAAABdAQAAJIDAAAAAAAAAAAAAA/JAwAAAQAAAAhFAwAAAcoDAAB4AAAACgoAAAAA////AA4AAAAAAAXLAwAAGkFwbG9yaXMuQmFzZS5PYmplY3RzLkNvbG9yBwAAABJEYXRhT2JqZWN0K21QYXJlbnQVRGF0YU9iamVjdCttQ29udGFpbmVyBW1UeXBlBG1SR0IQbVRoZW1lQ29sb3JJbmRleAxtQXV0b1VwZGF0ZWQJbU1vZGlmaWVkBAIAAAAAAB9BcGxvcmlzLkJhc2UuT2JqZWN0cy5MaW5lRm9ybWF0AwAAAAgICAEBAwAAAAkVAwAACgEAAAAAAAAA/////wABAcwDAAB4AAAACgoBAAAABSluAP////8AAAHNAwAAeAAAAAoKAQAAAP///wD/////AAAPzgMAAAEAAAAIRwMAAAHPAwAAeAAAAAoKAAAAAAAAAAANAAAAAAAB0AMAAHgAAAAKCgEAAAAAAAAA/////wABB9EDAAAAAQAAAAQAAAAEHUFwbG9yaXMuQmFzZS5PYmplY3RzLlZhcmlhYmxlAwAAAAF1BAAAkgMAAAEAAAAAAAAAAXYEAACSAwAAAAAAAAAAAAABdwQAAJIDAAAAAAAAAAAAAAF4BAAAkgMAAAAAAAAAAAAAD9IDAAABAAAACEMDAAAB0wMAAHgAAAAKCgAAAAD///8ADgAAAAAABdQDAAAaQXBsb3Jpcy5CYXNlLk9iamVjdHMuQ29sb3IHAAAAEkRhdGFPYmplY3QrbVBhcmVudBVEYXRhT2JqZWN0K21Db250YWluZXIFbVR5cGUEbVJHQhBtVGhlbWVDb2xvckluZGV4DG1BdXRvVXBkYXRlZAltTW9kaWZpZWQEAgAAAAAAH0FwbG9yaXMuQmFzZS5PYmplY3RzLkxpbmVGb3JtYXQDAAAACAgIAQEDAAAACSgDAAAKAQAAAAAAAAD/////AAEB1QMAAHgAAAAKCgEAAABFddQA/////wAAAdYDAAB4AAAACgoBAAAA////AP////8AAA/XAwAAAQAAAAhIAwAAAdgDAAB4AAAACgoAAAAAAAAAAA0AAAAAAAHZAwAAeAAAAAoKAQAAAAAAAAD/////AAEH2gMAAAABAAAABAAAAAQdQXBsb3Jpcy5CYXNlLk9iamVjdHMuVmFyaWFibGUDAAAAAXkEAACSAwAAAQAAAAAAAAABegQAAJIDAAAAAAAAAAAAAAF7BAAAkgMAAAAAAAAAAAAAAXwEAACSAwAAAAAAAAAAAAAP2wMAAAEAAAAIRAMAAAHcAwAAeAAAAAoKAAAAAP///wAOAAAAAAAF3QMAABpBcGxvcmlzLkJhc2UuT2JqZWN0cy5Db2xvcgcAAAASRGF0YU9iamVjdCttUGFyZW50FURhdGFPYmplY3QrbUNvbnRhaW5lcgVtVHlwZQRtUkdCEG1UaGVtZUNvbG9ySW5kZXgMbUF1dG9VcGRhdGVkCW1Nb2RpZmllZAQCAAAAAAAfQXBsb3Jpcy5CYXNlLk9iamVjdHMuTGluZUZvcm1hdAMAAAAICAgBAQMAAAAJOgMAAAoBAAAAAAAAAP////8AAQHeAwAAeAAAAAoKAQAAAMHQ7QD/////AAAB3wMAAHgAAAAKCgEAAAD///8A/////wAAD+ADAAABAAAACEYDAAABDQQAACQBAAAKWAIAAAF9BAAAnQEAAAIAAAABfgQAAJ4BAAABAAAAAX8EAAAVAAAA5kSTQq8Eg0I87KZCBrhXQwGABAAAoAEAAAAAAAAAAKBAAAGBBAAAIQAAAAS75kJbXi1DAYIEAACgAAAAAAAAAAAAAAAAAAAAAAmDBAAAAAAAAAmEBAAAAAABhQQAAKkAAAAAAAAAAYYEAAByAAAAAADIQQAAYEEBhwQAABUAAACqqs5CAIAnQwx7vkGqqjpBEoO+PwaIBAAAAzgzJQoJiQQAAAmpAQAANAMAAP////8BAQoJigQAAAEACgABDgQAABwAAAABiwQAACEAAADmRI1CLx2OQwGMBAAAIQAAAJEYIENeCXpCCY0EAAAJjgQAAAAAAAAKAY8EAAByAAAAAAAAAAAAAAABkAQAAHIAAAAAAAAAAAAAAAAAAAABkQQAABUAAAAAAAAAAAAAAAAAAAAAAAAApAEAAP////8BAQoJkgQAAAEACgAHDwQAAAABAAAAAgAAAAQaQXBsb3Jpcy5CYXNlLlVJLlZpc3VhbExpbmUDAAAACgoHEAQAAAABAAAAAwAAAAQVU3lzdGVtLkRyYXdpbmcuUG9pbnRGBAAAAAGTBAAAIQAAAAS75kJbXi1DAZQEAAAhAAAA5kSHQlteLUMBlQQAACEAAACRGCNDW14tQwcRBAAAAAEAAAADAAAABBdBcGxvcmlzLkJhc2UuQW5jaG9yTW9kZQMAAAABlgQAAKAAAAAAAAAAAZcEAACgAAAAAgAAAAGYBAAAoAAAAAQAAAABEgQAACUAAAAJ5wEAAAAAAAAAAAAAARMEAAAmAAAACZkEAAACAAAABgAAAAEUBAAAJAEAAApYAgAAAZoEAACdAQAAAgAAAAGbBAAAngEAAAEAAAABnAQAABUAAADVxVhDGq1uQz7spkIQNSpCAZ0EAACgAQAAAAAAAAAAoEAAAZ4EAAAhAAAAckCBQ975gUMBnwQAAKAAAAAAAAAAAAAAAAAAAAAACaAEAAAAAAAACaEEAAAAAAGiBAAAqQAAAAAAAAABowQAAHIAAAAAAMhBAABgQQGkBAAAFQAAAKqqdkOqKn5DDHu+QaqqOkESg74/BqUEAAADMTglCgmmBAAACakBAAA0AwAA/////wEBCgmnBAAAAQAKAAEVBAAAHAAAAAGoBAAAIQAAANXFVUMvHY5DAakEAAAhAAAA+p2XQxqta0MJqgQAAAmrBAAAAAAAAAoBrAQAAHIAAAAAAAAAAAAAAAGtBAAAcgAAAAAAAAAAAAAAAAAAAAGuBAAAFQAAAAAAAAAAAAAAAAAAAAAAAACkAQAA/////wEBCgmvBAAAAQAKAAcWBAAAAAEAAAACAAAABBpBcGxvcmlzLkJhc2UuVUkuVmlzdWFsTGluZQMAAAAKCgcXBAAAAAEAAAADAAAABBVTeXN0ZW0uRHJhd2luZy5Qb2ludEYEAAAAAbAEAAAhAAAAckCBQ975gUMBsQQAACEAAADVxVJD3vmBQwGyBAAAIQAAAPodmUPe+YFDBxgEAAAAAQAAAAMAAAAEF0FwbG9yaXMuQmFzZS5BbmNob3JNb2RlAwAAAAGzBAAAoAAAAAAAAAABtAQAAKAAAAACAAAAAbUEAACgAAAABAAAAAEZBAAAJQAAAAm2BAAAAAAAAAAAAAABGgQAACYAAAAJtwQAAAIAAAACAAAAARsEAAAkAQAAClgCAAABuAQAAJ0BAAACAAAAAbkEAACeAQAAAQAAAAG6BAAAFQAAAJz0s0OaQkRDQOymQojvqUIBuwQAAKABAAAAAAAAAACgQAABvAQAACEAAAAk0shDfL5uQwG9BAAAoAAAAAAAAAAAAAAAAAAAAAAJvgQAAAAAAAAJvwQAAAAAAcAEAACpAAAAAAAAAAHBBAAAcgAAAAAAyEEAAGBBAcIEAAAVAAAA///CQ/9/aEMMe75Bqqo6QRKDvj8GwwQAAAMzNCUKCcQEAAAJqQEAADQDAAD/////AQEKCcUEAAABAAoAARwEAAAcAAAAAcYEAAAhAAAAnHSyQy8djkMBxwQAACEAAACsL99DmkJBQwnIBAAACckEAAAAAAAACgHKBAAAcgAAAAAAAAAAAAAAAcsEAAByAAAAAAAAAAAAAAAAAAAAAcwEAAAVAAAAAAAAAAAAAAAAAAAAAAAAAKQBAAD/////AQEKCc0EAAABAAoABx0EAAAAAQAAAAIAAAAEGkFwbG9yaXMuQmFzZS5VSS5WaXN1YWxMaW5lAwAAAAoKBx4EAAAAAQAAAAMAAAAEFVN5c3RlbS5EcmF3aW5nLlBvaW50RgQAAAABzgQAACEAAAAk0shDfL5uQwHPBAAAIQAAAJz0sEN8vm5DAdAEAAAhAAAArK/gQ3y+bkMHHwQAAAABAAAAAwAAAAQXQXBsb3Jpcy5CYXNlLkFuY2hvck1vZGUDAAAAAdEEAACgAAAAAAAAAAHSBAAAoAAAAAIAAAAB0wQAAKAAAAAEAAAAASAEAAAlAAAACbYEAAAAAAAAAAAAAAEhBAAAJgAAAAnUBAAAAgAAAAIAAAABIgQAACQBAAAKWAIAAAHVBAAAnQEAAAIAAAAB1gQAAJ4BAAABAAAAAdcEAAAVAAAATob7Q8abNkNA7KZCMD3FQgHYBAAAoAEAAAAAAAAAAKBAAAHZBAAAIQAAAOsxCEQS62dDAdoEAACgAAAAAAAAAAAAAAAAAAAAAAnbBAAAAAAAAAncBAAAAAAB3QQAAKkAAAAAAAAAAd4EAAByAAAAAADIQQAAYEEB3wQAABUAAAAAIAVEVdVhQwx7vkGqqjpBEoO+PwbgBAAAAzM5JQoJ4QQAAAmpAQAANAMAAP////8BAQoJ4gQAAAEACgABIwQAABwAAAAB4wQAACEAAABOBvpDLx2OQwHkBAAAIQAAAK9gE0TGmzNDCeUEAAAJ5gQAAAAAAAAKAecEAAByAAAAAAAAAAAAAAAB6AQAAHIAAAAAAAAAAAAAAAAAAAAB6QQAABUAAAAAAAAAAAAAAAAAAAAAAAAApAEAAP////8BAQoJ6gQAAAEACgAHJAQAAAABAAAAAgAAAAQaQXBsb3Jpcy5CYXNlLlVJLlZpc3VhbExpbmUDAAAACgoHJQQAAAABAAAAAwAAAAQVU3lzdGVtLkRyYXdpbmcuUG9pbnRGBAAAAAHrBAAAIQAAAOsxCEQS62dDAewEAAAhAAAATob4QxLrZ0MB7QQAACEAAACvIBREEutnQwcmBAAAAAEAAAADAAAABBdBcGxvcmlzLkJhc2UuQW5jaG9yTW9kZQMAAAAB7gQAAKAAAAAAAAAAAe8EAACgAAAAAgAAAAHwBAAAoAAAAAQAAAABJwQAACUAAAAJCwIAAAAAAAAAAAAAASgEAAAmAAAACfEEAAACAAAAAgAAAAEpBAAAJAEAAApYAgAAAfIEAACdAQAAAgAAAAHzBAAAngEAAAEAAAAB9AQAABUAAADmRJNCUoiyQTzspkI1xRRCAfUEAACgAQAAAAAAAAAAoEAAAfYEAAAhAAAABLvmQsSmI0IB9wQAAKAAAAAAAAAAAAAAAAAAAAAACfgEAAAAAAAACfkEAAAAAAH6BAAAqQAAAAAAAAAB+wQAAHIAAAAAAMhBAABgQQH8BAAAFQAAAKqqzkIAAAxCDHu+QaqqOkESg74/Bv0EAAADMTYlCgn+BAAACakBAAA0AwAA/////wEBCgn/BAAAAQAKAAEqBAAAHAAAAAEABQAAIQAAAOZEjUJeCXpCAQEFAAAhAAAAkRggQ1KImkEJAgUAAAkDBQAAAAAAAAoBBAUAAHIAAAAAAAAAAAAAAAEFBQAAcgAAAAAAAAAAAAAAAAAAAAEGBQAAFQAAAAAAAAAAAAAAAAAAAAAAAACkAQAA/////wEBCgkHBQAAAQAKAAcrBAAAAAEAAAACAAAABBpBcGxvcmlzLkJhc2UuVUkuVmlzdWFsTGluZQMAAAAKCgcsBAAAAAEAAAADAAAABBVTeXN0ZW0uRHJhd2luZy5Qb2ludEYEAAAAAQgFAAAhAAAABLvmQsSmI0IBCQUAACEAAADmRIdCxKYjQgEKBQAAIQAAAJEYI0PEpiNCBy0EAAAAAQAAAAMAAAAEF0FwbG9yaXMuQmFzZS5BbmNob3JNb2RlAwAAAAELBQAAoAAAAAAAAAABDAUAAKAAAAACAAAAAQ0FAACgAAAABAAAAAEuBAAAJQAAAAnnAQAAAAAAAAAAAAABLwQAACYAAAAJDgUAAAIAAAAGAAAAATAEAAAkAQAAClgCAAABDwUAAJ0BAAACAAAAARAFAACeAQAAAQAAAAERBQAAFQAAANXFWENdjMVCPuymQuzmBUMBEgUAAKABAAAAAAAAAACgQAABEwUAACEAAAByQIFDpLklQwEUBQAAoAAAAAAAAAAAAAAAAAAAAAAJFQUAAAAAAAAJFgUAAAAAARcFAACpAAAAAAAAAAEYBQAAcgAAAAAAyEEAAGBBARkFAAAVAAAAqqp2QwAAIEMMe75Bqqo6QRKDvj8GGgUAAAM1MiUKCRsFAAAJqQEAADQDAAD/////AQEKCRwFAAABAAoAATEEAAAcAAAAAR0FAAAhAAAA1cVVQxqta0MBHgUAACEAAAD6nZdDXYy/QgkfBQAACSAFAAAAAAAACgEhBQAAcgAAAAAAAAAAAAAAASIFAAByAAAAAAAAAAAAAAAAAAAAASMFAAAVAAAAAAAAAAAAAAAAAAAAAAAAAKQBAAD/////AQEKCSQFAAABAAoABzIEAAAAAQAAAAIAAAAEGkFwbG9yaXMuQmFzZS5VSS5WaXN1YWxMaW5lAwAAAAoKBzMEAAAAAQAAAAMAAAAEFVN5c3RlbS5EcmF3aW5nLlBvaW50RgQAAAABJQUAACEAAAByQIFDpLklQwEmBQAAIQAAANXFUkOkuSVDAScFAAAhAAAA+h2ZQ6S5JUMHNAQAAAABAAAAAwAAAAQXQXBsb3Jpcy5CYXNlLkFuY2hvck1vZGUDAAAAASgFAACgAAAAAAAAAAEpBQAAoAAAAAIAAAABKgUAAKAAAAAEAAAAATUEAAAlAAAACSsFAAAAAAAAAAAAAAE2BAAAJgAAAAksBQAAAgAAAAIAAAABNwQAACQBAAAKWAIAAAEtBQAAnQEAAAIAAAABLgUAAJ4BAAABAAAAAS8FAAAVAAAAnPSzQ6/Jm0JA7KZChbvgQgEwBQAAoAEAAAAAAAAAAKBAAAExBQAAIQAAACTSyEO5EwZDATIFAACgAAAAAAAAAAAAAAAAAAAAAAkzBQAAAAAAAAk0BQAAAAABNQUAAKkAAAAAAAAAATYFAAByAAAAAADIQQAAYEEBNwUAABUAAAD//8JDVVUAQwx7vkGqqjpBEoO+PwY4BQAAAzQ0JQoJOQUAAAmpAQAANAMAAP////8BAQoJOgUAAAEACgABOAQAABwAAAABOwUAACEAAACcdLJDmkJBQwE8BQAAIQAAAKwv30OvyZVCCT0FAAAJPgUAAAAAAAAKAT8FAAByAAAAAAAAAAAAAAABQAUAAHIAAAAAAAAAAAAAAAAAAAABQQUAABUAAAAAAAAAAAAAAAAAAAAAAAAApAEAAP////8BAQoJQgUAAAEACgAHOQQAAAABAAAAAgAAAAQaQXBsb3Jpcy5CYXNlLlVJLlZpc3VhbExpbmUDAAAACgoHOgQAAAABAAAAAwAAAAQVU3lzdGVtLkRyYXdpbmcuUG9pbnRGBAAAAAFDBQAAIQAAACTSyEO5EwZDAUQFAAAhAAAAnPSwQ7kTBkMBRQUAACEAAACsr+BDuRMGQwc7BAAAAAEAAAADAAAABBdBcGxvcmlzLkJhc2UuQW5jaG9yTW9kZQMAAAABRgUAAKAAAAAAAAAAAUcFAACgAAAAAgAAAAFIBQAAoAAAAAQAAAABPAQAACUAAAAJKwUAAAAAAAAAAAAAAT0EAAAmAAAACUkFAAACAAAAAgAAAAE+BAAAJAEAAApYAgAAAUoFAACdAQAAAgAAAAFLBQAAngEAAAEAAAABTAUAABUAAABOhvtDFEq6QkDspkJ47aZCAU0FAACgAQAAAAAAAAAAoEAAAU4FAAAhAAAA6zEIRGjgBkMBTwUAAKAAAAAAAAAAAAAAAAAAAAAACVAFAAAAAAAACVEFAAAAAAFSBQAAqQAAAAAAAAABUwUAAHIAAAAAAMhBAABgQQFUBQAAFQAAAAAgBUSqKgFDDHu+QaqqOkESg74/BlUFAAADMzMlCglWBQAACakBAAA0AwAA/////wEBCglXBQAAAQAKAAE/BAAAHAAAAAFYBQAAIQAAAE4G+kPGmzNDAVkFAAAhAAAAr2ATRBRKtEIJWgUAAAlbBQAAAAAAAAoBXAUAAHIAAAAAAAAAAAAAAAFdBQAAcgAAAAAAAAAAAAAAAAAAAAFeBQAAFQAAAAAAAAAAAAAAAAAAAAAAAACkAQAA/////wEBCglfBQAAAQAKAAdABAAAAAEAAAACAAAABBpBcGxvcmlzLkJhc2UuVUkuVmlzdWFsTGluZQMAAAAKCgdBBAAAAAEAAAADAAAABBVTeXN0ZW0uRHJhd2luZy5Qb2ludEYEAAAAAWAFAAAhAAAA6zEIRGjgBkMBYQUAACEAAABOhvhDaOAGQwFiBQAAIQAAAK8gFERo4AZDB0IEAAAAAQAAAAMAAAAEF0FwbG9yaXMuQmFzZS5BbmNob3JNb2RlAwAAAAFjBQAAoAAAAAAAAAABZAUAAKAAAAACAAAAAWUFAACgAAAABAAAAAFDBAAAJQAAAAkLAgAAAAAAAAAAAAABRAQAACYAAAAJZgUAAAIAAAACAAAAAUUEAAAkAQAAClgCAAABZwUAAJ0BAAACAAAAAWgFAACeAQAAAQAAAAFpBQAAFQAAAOZEk0KsO4xBPOymQgAAAAABagUAAKABAAAAAAAAAACgQAABawUAACEAAAAEu+ZCrDuMQQFsBQAAoAAAAAAAAAAAAAAAAAAAAAAJbQUAAAAAAAAJbgUAAAEAAW8FAACpAAAAAAAAAAFwBQAAcgAAAAAAkEEAAGBBAXEFAAAVAAAAVVXVQqqqOkFi0I9Bqqo6QRKDvj8GcgUAAAIxJQoJcwUAAAmpAQAANAMAAP////8BAQoJdAUAAAEACgABRgQAABwAAAABdQUAACEAAADmRI1CUoiaQQF2BQAAIQAAAJEYIEMO3ntBCXcFAAAJeAUAAAAAAAAKAXkFAAByAAAAAAAAAAAAAAABegUAAHIAAAAAAAAAAAAAAAAAAAABewUAABUAAAAAAAAAAAAAAAAAAAAAAAAApAEAAP////8BAQoJfAUAAAEACgAHRwQAAAABAAAAAgAAAAQaQXBsb3Jpcy5CYXNlLlVJLlZpc3VhbExpbmUDAAAACgoHSAQAAAABAAAAAwAAAAQVU3lzdGVtLkRyYXdpbmcuUG9pbnRGBAAAAAF9BQAAIQAAAAS75kKsO4xBAX4FAAAhAAAA5kSHQqw7jEEBfwUAACEAAACRGCNDrDuMQQdJBAAAAAEAAAADAAAABBdBcGxvcmlzLkJhc2UuQW5jaG9yTW9kZQMAAAABgAUAAKAAAAAAAAAAAYEFAACgAAAAAgAAAAGCBQAAoAAAAAQAAAABSgQAACUAAAAJ5wEAAAAAAAAAAAAAAUsEAAAmAAAACYMFAAACAAAABgAAAAFMBAAAJAEAAApYAgAAAYQFAACdAQAAAgAAAAGFBQAAngEAAAEAAAABhgUAABUAAADVxVhDB++VQT7spkKbEJRCAYcFAACgAQAAAAAAAAAAoEAAAYgFAAAhAAAAckCBQx8IX0IBiQUAAKAAAAAAAAAAAAAAAAAAAAAACYoFAAAAAAAACYsFAAAAAAGMBQAAqQAAAAAAAAABjQUAAHIAAAAAAMhBAABgQQGOBQAAFQAAAKqqdkP//0dCDHu+QaqqOkESg74/Bo8FAAADMzAlCgmQBQAACakBAAA0AwAA/////wEBCgmRBQAAAQAKAAFNBAAAHAAAAAGSBQAAIQAAANXFVUNdjL9CAZMFAAAhAAAA+p2XQw7ee0EJlAUAAAmVBQAAAAAAAAoBlgUAAHIAAAAAAAAAAAAAAAGXBQAAcgAAAAAAAAAAAAAAAAAAAAGYBQAAFQAAAAAAAAAAAAAAAAAAAAAAAACkAQAA/////wEBCgmZBQAAAQAKAAdOBAAAAAEAAAACAAAABBpBcGxvcmlzLkJhc2UuVUkuVmlzdWFsTGluZQMAAAAKCgdPBAAAAAEAAAADAAAABBVTeXN0ZW0uRHJhd2luZy5Qb2ludEYEAAAAAZoFAAAhAAAAckCBQx8IX0IBmwUAACEAAADVxVJDHwhfQgGcBQAAIQAAAPodmUMfCF9CB1AEAAAAAQAAAAMAAAAEF0FwbG9yaXMuQmFzZS5BbmNob3JNb2RlAwAAAAGdBQAAoAAAAAAAAAABngUAAKAAAAACAAAAAZ8FAACgAAAABAAAAAFRBAAAJQAAAAkrBQAAAAAAAAAAAAABUgQAACYAAAAJoAUAAAIAAAACAAAAAVMEAAAkAQAAClgCAAABoQUAAJ0BAAACAAAAAaIFAACeAQAAAQAAAAGjBQAAFQAAAJz0s0MH75VBQOymQtqbVEIBpAUAAKABAAAAAAAAAACgQAABpQUAACEAAAAk0shDcUU1QgGmBQAAoAAAAAAAAAAAAAAAAAAAAAAJpwUAAAAAAAAJqAUAAAAAAakFAACpAAAAAAAAAAGqBQAAcgAAAAAAyEEAAGBBAasFAAAVAAAA///CQ6qqHEIMe75Bqqo6QRKDvj8GrAUAAAMyMiUKCa0FAAAJqQEAADQDAAD/////AQEKCa4FAAABAAoAAVQEAAAcAAAAAa8FAAAhAAAAnHSyQ6/JlUIBsAUAACEAAACsL99DDt57QQmxBQAACbIFAAAAAAAACgGzBQAAcgAAAAAAAAAAAAAAAbQFAAByAAAAAAAAAAAAAAAAAAAAAbUFAAAVAAAAAAAAAAAAAAAAAAAAAAAAAKQBAAD/////AQEKCbYFAAABAAoAB1UEAAAAAQAAAAIAAAAEGkFwbG9yaXMuQmFzZS5VSS5WaXN1YWxMaW5lAwAAAAoKB1YEAAAAAQAAAAMAAAAEFVN5c3RlbS5EcmF3aW5nLlBvaW50RgQAAAABtwUAACEAAAAk0shDcUU1QgG4BQAAIQAAAJz0sENxRTVCAbkFAAAhAAAArK/gQ3FFNUIHVwQAAAABAAAAAwAAAAQXQXBsb3Jpcy5CYXNlLkFuY2hvck1vZGUDAAAAAboFAACgAAAAAAAAAAG7BQAAoAAAAAIAAAABvAUAAKAAAAAEAAAAAVgEAAAlAAAACSsFAAAAAAAAAAAAAAFZBAAAJgAAAAm9BQAAAgAAAAYAAAABWgQAACQBAAAKWAIAAAG+BQAAnQEAAAIAAAABvwUAAJ4BAAABAAAAAcAFAAAVAAAATob7QwfvlUFA7KZCUs6IQgHBBQAAoAEAAAAAAAAAAKBAAAHCBQAAIQAAAOsxCETWxVNCAcMFAACgAAAAAAAAAAAAAAAAAAAAAAnEBQAAAAAAAAnFBQAAAAABxgUAAKkAAAAAAAAAAccFAAByAAAAAADIQQAAYEEByAUAABUAAAAAIAVEAAA+Qgx7vkGqqjpBEoO+PwbJBQAAAzI4JQoJygUAAAmpAQAANAMAAP////8BAQoJywUAAAEACgABWwQAABwAAAABzAUAACEAAABOBvpDFEq0QgHNBQAAIQAAAK9gE0QO3ntBCc4FAAAJzwUAAAAAAAAKAdAFAAByAAAAAAAAAAAAAAAB0QUAAHIAAAAAAAAAAAAAAAAAAAAB0gUAABUAAAAAAAAAAAAAAAAAAAAAAAAApAEAAP////8BAQoJ0wUAAAEACgAHXAQAAAABAAAAAgAAAAQaQXBsb3Jpcy5CYXNlLlVJLlZpc3VhbExpbmUDAAAACgoHXQQAAAABAAAAAwAAAAQVU3lzdGVtLkRyYXdpbmcuUG9pbnRGBAAAAAHUBQAAIQAAAOsxCETWxVNCAdUFAAAhAAAATob4Q9bFU0IB1gUAACEAAACvIBRE1sVTQgdeBAAAAAEAAAADAAAABBdBcGxvcmlzLkJhc2UuQW5jaG9yTW9kZQMAAAAB1wUAAKAAAAAAAAAAAdgFAACgAAAAAgAAAAHZBQAAoAAAAAQAAAABXwQAACUAAAAJCwIAAAAAAAAAAAAAAWAEAAAmAAAACdoFAAACAAAAAgAAAAGDBAAAIwAAAAoKAAAAAAAoQQl2AAAACXcAAAAJ2wUAAAAACdwFAAABhAQAAHgAAAAKCgEAAAAFKW4A/////wABAYkEAACtAAAACd0FAAABAAAAAwAAAAGKBAAAdQAAAAneBQAACgGNBAAAcAAAAAoKAAAAQD8J3wUAAAngBQAAAQAAAP7///8AAAAAAQAAAAAAAAAAAAAAAQAAAAAAAAAAAAABjgQAAHEAAAAKCgnhBQAACeIFAAABAAAA/v///wAAAAD/////AAABkgQAAHUAAAAJ4wUAAAoHmQQAAAABAAAABAAAAAQcQXBsb3Jpcy5CYXNlLlVJLlZpc3VhbE9iamVjdAMAAAAJDgQAAAkNBAAACgoBoAQAACMAAAAKCgAAAAAAKEEJdgAAAAl3AAAACeQFAAAAAAnlBQAAAaEEAAB4AAAACgoBAAAABSluAP////8AAQGmBAAArQAAAAnmBQAAAQAAAAMAAAABpwQAAHUAAAAJ5wUAAAoBqgQAAHAAAAAKCgAAAEA/CegFAAAJ6QUAAAEAAAD+////AAAAAAEAAAAAAAAAAAAAAAEAAAAAAAAAAAAAAasEAABxAAAACgoJ6gUAAAnrBQAAAQAAAP7///8AAAAA/////wAAAa8EAAB1AAAACewFAAAKB7YEAAAAAQAAAAAAAAAEH0FwbG9yaXMuQmFzZS5PYmplY3RzLkRhdGFPYmplY3QDAAAAB7cEAAAAAQAAAAQAAAAEHEFwbG9yaXMuQmFzZS5VSS5WaXN1YWxPYmplY3QDAAAACRUEAAAJFAQAAAoKAb4EAAAjAAAACgoAAAAAAChBCXYAAAAJdwAAAAntBQAAAAAJ7gUAAAG/BAAAeAAAAAoKAQAAAAUpbgD/////AAABxAQAAK0AAAAJ7wUAAAEAAAADAAAAAcUEAAB1AAAACfAFAAAKAcgEAABwAAAACgoAAABAPwnxBQAACfIFAAABAAAA/v///wAAAAABAAAAAAAAAAAAAAABAAAAAAAAAAAAAAHJBAAAcQAAAAoKCfMFAAAJ9AUAAAEAAAD+////AAAAAP////8AAAHNBAAAdQAAAAn1BQAACgfUBAAAAAEAAAAEAAAABBxBcGxvcmlzLkJhc2UuVUkuVmlzdWFsT2JqZWN0AwAAAAkcBAAACRsEAAAKCgHbBAAAIwAAAAoKAAAAAAAoQQl2AAAACXcAAAAJ9gUAAAAACfcFAAAB3AQAAHgAAAAKCgEAAAAFKW4A/////wABAeEEAACtAAAACfgFAAABAAAAAwAAAAHiBAAAdQAAAAn5BQAACgHlBAAAcAAAAAoKAAAAQD8J+gUAAAn7BQAAAQAAAP7///8AAAAAAQAAAAAAAAAAAAAAAQAAAAAAAAAAAAAB5gQAAHEAAAAKCgn8BQAACf0FAAABAAAA/v///wAAAAD/////AAAB6gQAAHUAAAAJ/gUAAAoH8QQAAAABAAAABAAAAAQcQXBsb3Jpcy5CYXNlLlVJLlZpc3VhbE9iamVjdAMAAAAJIwQAAAkiBAAACgoB+AQAACMAAAAKCgAAAAAAKEEJdgAAAAl3AAAACf8FAAAAAAkABgAAAfkEAAB4AAAACgoBAAAARXXUAP////8AAQH+BAAArQAAAAkBBgAAAQAAAAMAAAAB/wQAAHUAAAAJAgYAAAoBAgUAAHAAAAAKCgAAAEA/CQMGAAAJBAYAAAEAAAD+////AAAAAAEAAAAAAAAAAAAAAAEAAAAAAAAAAAAAAQMFAABxAAAACgoJBQYAAAkGBgAAAQAAAP7///8AAAAA/////wAAAQcFAAB1AAAACQcGAAAKBw4FAAAAAQAAAAQAAAAEHEFwbG9yaXMuQmFzZS5VSS5WaXN1YWxPYmplY3QDAAAACSoEAAAJKQQAAAoKARUFAAAjAAAACgoAAAAAAChBCXYAAAAJdwAAAAkIBgAAAAAJCQYAAAEWBQAAeAAAAAoKAQAAAEV11AD/////AAEBGwUAAK0AAAAJCgYAAAEAAAADAAAAARwFAAB1AAAACQsGAAAKAR8FAABwAAAACgoAAABAPwkMBgAACQ0GAAABAAAA/v///wAAAAABAAAAAAAAAAAAAAABAAAAAAAAAAAAAAEgBQAAcQAAAAoKCQ4GAAAJDwYAAAEAAAD+////AAAAAP////8AAAEkBQAAdQAAAAkQBgAACgcrBQAAAAEAAAAAAAAABB9BcGxvcmlzLkJhc2UuT2JqZWN0cy5EYXRhT2JqZWN0AwAAAAcsBQAAAAEAAAAEAAAABBxBcGxvcmlzLkJhc2UuVUkuVmlzdWFsT2JqZWN0AwAAAAkxBAAACTAEAAAKCgEzBQAAIwAAAAoKAAAAAAAoQQl2AAAACXcAAAAJEQYAAAAACRIGAAABNAUAAHgAAAAKCgEAAABFddQA/////wABATkFAACtAAAACRMGAAABAAAAAwAAAAE6BQAAdQAAAAkUBgAACgE9BQAAcAAAAAoKAAAAQD8JFQYAAAkWBgAAAQAAAP7///8AAAAAAQAAAAAAAAAAAAAAAQAAAAAAAAAAAAABPgUAAHEAAAAKCgkXBgAACRgGAAABAAAA/v///wAAAAD/////AAABQgUAAHUAAAAJGQYAAAoHSQUAAAABAAAABAAAAAQcQXBsb3Jpcy5CYXNlLlVJLlZpc3VhbE9iamVjdAMAAAAJOAQAAAk3BAAACgoBUAUAACMAAAAKCgAAAAAAKEEJdgAAAAl3AAAACRoGAAAAAAkbBgAAAVEFAAB4AAAACgoBAAAARXXUAP////8AAQFWBQAArQAAAAkcBgAAAQAAAAMAAAABVwUAAHUAAAAJHQYAAAoBWgUAAHAAAAAKCgAAAEA/CR4GAAAJHwYAAAEAAAD+////AAAAAAEAAAAAAAAAAAAAAAEAAAAAAAAAAAAAAVsFAABxAAAACgoJIAYAAAkhBgAAAQAAAP7///8AAAAA/////wAAAV8FAAB1AAAACSIGAAAKB2YFAAAAAQAAAAQAAAAEHEFwbG9yaXMuQmFzZS5VSS5WaXN1YWxPYmplY3QDAAAACT8EAAAJPgQAAAoKAW0FAAAjAAAACgoAAAAAAChBCXYAAAAJdwAAAAkjBgAAAAAJJAYAAAFuBQAAeAAAAAoKAQAAAMHQ7QD/////AAABcwUAAK0AAAAJJQYAAAEAAAADAAAAAXQFAAB1AAAACSYGAAAKAXcFAABwAAAACgoAAABAPwknBgAACSgGAAABAAAA/v///wAAAAABAAAAAAAAAAAAAAABAAAAAAAAAAAAAAF4BQAAcQAAAAoKCSkGAAAJKgYAAAEAAAD+////AAAAAP////8AAAF8BQAAdQAAAAkrBgAACgeDBQAAAAEAAAAEAAAABBxBcGxvcmlzLkJhc2UuVUkuVmlzdWFsT2JqZWN0AwAAAAlGBAAACUUEAAAKCgGKBQAAIwAAAAoKAAAAAAAoQQl2AAAACXcAAAAJLAYAAAAACS0GAAABiwUAAHgAAAAKCgEAAADB0O0A/////wABAZAFAACtAAAACS4GAAABAAAAAwAAAAGRBQAAdQAAAAkvBgAACgGUBQAAcAAAAAoKAAAAQD8JMAYAAAkxBgAAAQAAAP7///8AAAAAAQAAAAAAAAAAAAAAAQAAAAAAAAAAAAABlQUAAHEAAAAKCgkyBgAACTMGAAABAAAA/v///wAAAAD/////AAABmQUAAHUAAAAJNAYAAAoHoAUAAAABAAAABAAAAAQcQXBsb3Jpcy5CYXNlLlVJLlZpc3VhbE9iamVjdAMAAAAJTQQAAAlMBAAACgoBpwUAACMAAAAKCgAAAAAAKEEJdgAAAAl3AAAACTUGAAAAAAk2BgAAAagFAAB4AAAACgoBAAAAwdDtAP////8AAQGtBQAArQAAAAk3BgAAAQAAAAMAAAABrgUAAHUAAAAJOAYAAAoBsQUAAHAAAAAKCgAAAEA/CTkGAAAJOgYAAAEAAAD+////AAAAAAEAAAAAAAAAAAAAAAEAAAAAAAAAAAAAAbIFAABxAAAACgoJOwYAAAk8BgAAAQAAAP7///8AAAAA/////wAAAbYFAAB1AAAACT0GAAAKB70FAAAAAQAAAAQAAAAEHEFwbG9yaXMuQmFzZS5VSS5WaXN1YWxPYmplY3QDAAAACVQEAAAJUwQAAAoKAcQFAAAjAAAACgoAAAAAAChBCXYAAAAJdwAAAAk+BgAAAAAJPwYAAAHFBQAAeAAAAAoKAQAAAMHQ7QD/////AAEBygUAAK0AAAAJQAYAAAEAAAADAAAAAcsFAAB1AAAACUEGAAAKAc4FAABwAAAACgoAAABAPwlCBgAACUMGAAABAAAA/v///wAAAAABAAAAAAAAAAAAAAABAAAAAAAAAAAAAAHPBQAAcQAAAAoKCUQGAAAJRQYAAAEAAAD+////AAAAAP////8AAAHTBQAAdQAAAAlGBgAACgfaBQAAAAEAAAAEAAAABBxBcGxvcmlzLkJhc2UuVUkuVmlzdWFsT2JqZWN0AwAAAAlbBAAACVoEAAAKCgHbBQAAeAAAAAoKAAAAAP///wAOAAAAAAAB3AUAAHgAAAAKCgAAAAD///8ADgAAAAABB90FAAAAAQAAAAQAAAAEHUFwbG9yaXMuQmFzZS5PYmplY3RzLlZhcmlhYmxlAwAAAAFHBgAAkgMAAAEAAAAAAAAAAUgGAACSAwAAAAAAAAAAAAABSQYAAJIDAAAAAAAAAAAAAAFKBgAAkgMAAAAAAAAAAAAAD94FAAABAAAACGcDAAAF3wUAABpBcGxvcmlzLkJhc2UuT2JqZWN0cy5Db2xvcgcAAAASRGF0YU9iamVjdCttUGFyZW50FURhdGFPYmplY3QrbUNvbnRhaW5lcgVtVHlwZQRtUkdCEG1UaGVtZUNvbG9ySW5kZXgMbUF1dG9VcGRhdGVkCW1Nb2RpZmllZAQCAAAAAAAfQXBsb3Jpcy5CYXNlLk9iamVjdHMuTGluZUZvcm1hdAMAAAAICAgBAQMAAAAJjQQAAAoAAAAA////AA4AAAAAAAXgBQAAGkFwbG9yaXMuQmFzZS5PYmplY3RzLkNvbG9yBwAAABJEYXRhT2JqZWN0K21QYXJlbnQVRGF0YU9iamVjdCttQ29udGFpbmVyBW1UeXBlBG1SR0IQbVRoZW1lQ29sb3JJbmRleAxtQXV0b1VwZGF0ZWQJbU1vZGlmaWVkBAIAAAAAAB9BcGxvcmlzLkJhc2UuT2JqZWN0cy5MaW5lRm9ybWF0AwAAAAgICAEBAwAAAAmNBAAACgEAAAAAAAAA/////wABAeEFAAB4AAAACgoBAAAABSluAP////8AAAHiBQAAeAAAAAoKAQAAAP///wD/////AAAP4wUAAAEAAAAIVwMAAAHkBQAAeAAAAAoKAAAAAP///wAOAAAAAAAB5QUAAHgAAAAKCgAAAAD///8ADgAAAAABB+YFAAAAAQAAAAQAAAAEHUFwbG9yaXMuQmFzZS5PYmplY3RzLlZhcmlhYmxlAwAAAAFLBgAAkgMAAAEAAAAAAAAAAUwGAACSAwAAAAAAAAAAAAABTQYAAJIDAAAAAAAAAAAAAAFOBgAAkgMAAAAAAAAAAAAAD+cFAAABAAAACGoCAAAF6AUAABpBcGxvcmlzLkJhc2UuT2JqZWN0cy5Db2xvcgcAAAASRGF0YU9iamVjdCttUGFyZW50FURhdGFPYmplY3QrbUNvbnRhaW5lcgVtVHlwZQRtUkdCEG1UaGVtZUNvbG9ySW5kZXgMbUF1dG9VcGRhdGVkCW1Nb2RpZmllZAQCAAAAAAAfQXBsb3Jpcy5CYXNlLk9iamVjdHMuTGluZUZvcm1hdAMAAAAICAgBAQMAAAAJqgQAAAoAAAAA////AA4AAAAAAAXpBQAAGkFwbG9yaXMuQmFzZS5PYmplY3RzLkNvbG9yBwAAABJEYXRhT2JqZWN0K21QYXJlbnQVRGF0YU9iamVjdCttQ29udGFpbmVyBW1UeXBlBG1SR0IQbVRoZW1lQ29sb3JJbmRleAxtQXV0b1VwZGF0ZWQJbU1vZGlmaWVkBAIAAAAAAB9BcGxvcmlzLkJhc2UuT2JqZWN0cy5MaW5lRm9ybWF0AwAAAAgICAEBAwAAAAmqBAAACgEAAAAAAAAA/////wABAeoFAAB4AAAACgoBAAAABSluAP////8AAAHrBQAAeAAAAAoKAQAAAP///wD/////AAAP7AUAAAEAAAAIWgIAAAHtBQAAeAAAAAoKAAAAAP///wAOAAAAAAAB7gUAAHgAAAAKCgAAAAD///8ADgAAAAABB+8FAAAAAQAAAAQAAAAEHUFwbG9yaXMuQmFzZS5PYmplY3RzLlZhcmlhYmxlAwAAAAFPBgAAkgMAAAEAAAAAAAAAAVAGAACSAwAAAAAAAAAAAAABUQYAAJIDAAAAAAAAAAAAAAFSBgAAkgMAAAAAAAAAAAAAD/AFAAABAAAACHACAAAF8QUAABpBcGxvcmlzLkJhc2UuT2JqZWN0cy5Db2xvcgcAAAASRGF0YU9iamVjdCttUGFyZW50FURhdGFPYmplY3QrbUNvbnRhaW5lcgVtVHlwZQRtUkdCEG1UaGVtZUNvbG9ySW5kZXgMbUF1dG9VcGRhdGVkCW1Nb2RpZmllZAQCAAAAAAAfQXBsb3Jpcy5CYXNlLk9iamVjdHMuTGluZUZvcm1hdAMAAAAICAgBAQMAAAAJyAQAAAoAAAAA////AA4AAAAAAAXyBQAAGkFwbG9yaXMuQmFzZS5PYmplY3RzLkNvbG9yBwAAABJEYXRhT2JqZWN0K21QYXJlbnQVRGF0YU9iamVjdCttQ29udGFpbmVyBW1UeXBlBG1SR0IQbVRoZW1lQ29sb3JJbmRleAxtQXV0b1VwZGF0ZWQJbU1vZGlmaWVkBAIAAAAAAB9BcGxvcmlzLkJhc2UuT2JqZWN0cy5MaW5lRm9ybWF0AwAAAAgICAEBAwAAAAnIBAAACgEAAAAAAAAA/////wABAfMFAAB4AAAACgoBAAAABSluAP////8AAAH0BQAAeAAAAAoKAQAAAP///wD/////AAAP9QUAAAEAAAAIWQIAAAH2BQAAeAAAAAoKAAAAAP///wAOAAAAAAAB9wUAAHgAAAAKCgAAAAD///8ADgAAAAABB/gFAAAAAQAAAAQAAAAEHUFwbG9yaXMuQmFzZS5PYmplY3RzLlZhcmlhYmxlAwAAAAFTBgAAkgMAAAEAAAAAAAAAAVQGAACSAwAAAAAAAAAAAAABVQYAAJIDAAAAAAAAAAAAAAFWBgAAkgMAAAAAAAAAAAAAD/kFAAABAAAACK8DAAAF+gUAABpBcGxvcmlzLkJhc2UuT2JqZWN0cy5Db2xvcgcAAAASRGF0YU9iamVjdCttUGFyZW50FURhdGFPYmplY3QrbUNvbnRhaW5lcgVtVHlwZQRtUkdCEG1UaGVtZUNvbG9ySW5kZXgMbUF1dG9VcGRhdGVkCW1Nb2RpZmllZAQCAAAAAAAfQXBsb3Jpcy5CYXNlLk9iamVjdHMuTGluZUZvcm1hdAMAAAAICAgBAQMAAAAJ5QQAAAoAAAAA////AA4AAAAAAAX7BQAAGkFwbG9yaXMuQmFzZS5PYmplY3RzLkNvbG9yBwAAABJEYXRhT2JqZWN0K21QYXJlbnQVRGF0YU9iamVjdCttQ29udGFpbmVyBW1UeXBlBG1SR0IQbVRoZW1lQ29sb3JJbmRleAxtQXV0b1VwZGF0ZWQJbU1vZGlmaWVkBAIAAAAAAB9BcGxvcmlzLkJhc2UuT2JqZWN0cy5MaW5lRm9ybWF0AwAAAAgICAEBAwAAAAnlBAAACgEAAAAAAAAA/////wABAfwFAAB4AAAACgoBAAAABSluAP////8AAAH9BQAAeAAAAAoKAQAAAP///wD/////AAAP/gUAAAEAAAAIngMAAAH/BQAAeAAAAAoKAAAAAP///wAOAAAAAAABAAYAAHgAAAAKCgAAAAD///8ADgAAAAABBwEGAAAAAQAAAAQAAAAEHUFwbG9yaXMuQmFzZS5PYmplY3RzLlZhcmlhYmxlAwAAAAFXBgAAkgMAAAEAAAAAAAAAAVgGAACSAwAAAAAAAAAAAAABWQYAAJIDAAAAAAAAAAAAAAFaBgAAkgMAAAAAAAAAAAAADwIGAAABAAAACGgDAAAFAwYAABpBcGxvcmlzLkJhc2UuT2JqZWN0cy5Db2xvcgcAAAASRGF0YU9iamVjdCttUGFyZW50FURhdGFPYmplY3QrbUNvbnRhaW5lcgVtVHlwZQRtUkdCEG1UaGVtZUNvbG9ySW5kZXgMbUF1dG9VcGRhdGVkCW1Nb2RpZmllZAQCAAAAAAAfQXBsb3Jpcy5CYXNlLk9iamVjdHMuTGluZUZvcm1hdAMAAAAICAgBAQMAAAAJAgUAAAoAAAAA////AA4AAAAAAAUEBgAAGkFwbG9yaXMuQmFzZS5PYmplY3RzLkNvbG9yBwAAABJEYXRhT2JqZWN0K21QYXJlbnQVRGF0YU9iamVjdCttQ29udGFpbmVyBW1UeXBlBG1SR0IQbVRoZW1lQ29sb3JJbmRleAxtQXV0b1VwZGF0ZWQJbU1vZGlmaWVkBAIAAAAAAB9BcGxvcmlzLkJhc2UuT2JqZWN0cy5MaW5lRm9ybWF0AwAAAAgICAEBAwAAAAkCBQAACgEAAAAAAAAA/////wABAQUGAAB4AAAACgoBAAAARXXUAP////8AAAEGBgAAeAAAAAoKAQAAAP///wD/////AAAPBwYAAAEAAAAIVgMAAAEIBgAAeAAAAAoKAAAAAP///wAOAAAAAAABCQYAAHgAAAAKCgAAAAD///8ADgAAAAABBwoGAAAAAQAAAAQAAAAEHUFwbG9yaXMuQmFzZS5PYmplY3RzLlZhcmlhYmxlAwAAAAFbBgAAkgMAAAEAAAAAAAAAAVwGAACSAwAAAAAAAAAAAAABXQYAAJIDAAAAAAAAAAAAAAFeBgAAkgMAAAAAAAAAAAAADwsGAAABAAAACDICAAAFDAYAABpBcGxvcmlzLkJhc2UuT2JqZWN0cy5Db2xvcgcAAAASRGF0YU9iamVjdCttUGFyZW50FURhdGFPYmplY3QrbUNvbnRhaW5lcgVtVHlwZQRtUkdCEG1UaGVtZUNvbG9ySW5kZXgMbUF1dG9VcGRhdGVkCW1Nb2RpZmllZAQCAAAAAAAfQXBsb3Jpcy5CYXNlLk9iamVjdHMuTGluZUZvcm1hdAMAAAAICAgBAQMAAAAJHwUAAAoAAAAA////AA4AAAAAAAUNBgAAGkFwbG9yaXMuQmFzZS5PYmplY3RzLkNvbG9yBwAAABJEYXRhT2JqZWN0K21QYXJlbnQVRGF0YU9iamVjdCttQ29udGFpbmVyBW1UeXBlBG1SR0IQbVRoZW1lQ29sb3JJbmRleAxtQXV0b1VwZGF0ZWQJbU1vZGlmaWVkBAIAAAAAAB9BcGxvcmlzLkJhc2UuT2JqZWN0cy5MaW5lRm9ybWF0AwAAAAgICAEBAwAAAAkfBQAACgEAAAAAAAAA/////wABAQ4GAAB4AAAACgoBAAAARXXUAP////8AAAEPBgAAeAAAAAoKAQAAAP///wD/////AAAPEAYAAAEAAAAIBAIAAAERBgAAeAAAAAoKAAAAAP///wAOAAAAAAABEgYAAHgAAAAKCgAAAAD///8ADgAAAAABBxMGAAAAAQAAAAQAAAAEHUFwbG9yaXMuQmFzZS5PYmplY3RzLlZhcmlhYmxlAwAAAAFfBgAAkgMAAAEAAAAAAAAAAWAGAACSAwAAAAAAAAAAAAABYQYAAJIDAAAAAAAAAAAAAAFiBgAAkgMAAAAAAAAAAAAADxQGAAABAAAACDYCAAAFFQYAABpBcGxvcmlzLkJhc2UuT2JqZWN0cy5Db2xvcgcAAAASRGF0YU9iamVjdCttUGFyZW50FURhdGFPYmplY3QrbUNvbnRhaW5lcgVtVHlwZQRtUkdCEG1UaGVtZUNvbG9ySW5kZXgMbUF1dG9VcGRhdGVkCW1Nb2RpZmllZAQCAAAAAAAfQXBsb3Jpcy5CYXNlLk9iamVjdHMuTGluZUZvcm1hdAMAAAAICAgBAQMAAAAJPQUAAAoAAAAA////AA4AAAAAAAUWBgAAGkFwbG9yaXMuQmFzZS5PYmplY3RzLkNvbG9yBwAAABJEYXRhT2JqZWN0K21QYXJlbnQVRGF0YU9iamVjdCttQ29udGFpbmVyBW1UeXBlBG1SR0IQbVRoZW1lQ29sb3JJbmRleAxtQXV0b1VwZGF0ZWQJbU1vZGlmaWVkBAIAAAAAAB9BcGxvcmlzLkJhc2UuT2JqZWN0cy5MaW5lRm9ybWF0AwAAAAgICAEBAwAAAAk9BQAACgEAAAAAAAAA/////wABARcGAAB4AAAACgoBAAAARXXUAP////8AAAEYBgAAeAAAAAoKAQAAAP///wD/////AAAPGQYAAAEAAAAIBwIAAAEaBgAAeAAAAAoKAAAAAP///wAOAAAAAAABGwYAAHgAAAAKCgAAAAD///8ADgAAAAABBxwGAAAAAQAAAAQAAAAEHUFwbG9yaXMuQmFzZS5PYmplY3RzLlZhcmlhYmxlAwAAAAFjBgAAkgMAAAEAAAAAAAAAAWQGAACSAwAAAAAAAAAAAAABZQYAAJIDAAAAAAAAAAAAAAFmBgAAkgMAAAAAAAAAAAAADx0GAAABAAAACLADAAAFHgYAABpBcGxvcmlzLkJhc2UuT2JqZWN0cy5Db2xvcgcAAAASRGF0YU9iamVjdCttUGFyZW50FURhdGFPYmplY3QrbUNvbnRhaW5lcgVtVHlwZQRtUkdCEG1UaGVtZUNvbG9ySW5kZXgMbUF1dG9VcGRhdGVkCW1Nb2RpZmllZAQCAAAAAAAfQXBsb3Jpcy5CYXNlLk9iamVjdHMuTGluZUZvcm1hdAMAAAAICAgBAQMAAAAJWgUAAAoAAAAA////AA4AAAAAAAUfBgAAGkFwbG9yaXMuQmFzZS5PYmplY3RzLkNvbG9yBwAAABJEYXRhT2JqZWN0K21QYXJlbnQVRGF0YU9iamVjdCttQ29udGFpbmVyBW1UeXBlBG1SR0IQbVRoZW1lQ29sb3JJbmRleAxtQXV0b1VwZGF0ZWQJbU1vZGlmaWVkBAIAAAAAAB9BcGxvcmlzLkJhc2UuT2JqZWN0cy5MaW5lRm9ybWF0AwAAAAgICAEBAwAAAAlaBQAACgEAAAAAAAAA/////wABASAGAAB4AAAACgoBAAAARXXUAP////8AAAEhBgAAeAAAAAoKAQAAAP///wD/////AAAPIgYAAAEAAAAInQMAAAEjBgAAeAAAAAoKAAAAAAAAAAANAAAAAAABJAYAAHgAAAAKCgAAAAAAAAAADQAAAAABByUGAAAAAQAAAAQAAAAEHUFwbG9yaXMuQmFzZS5PYmplY3RzLlZhcmlhYmxlAwAAAAFnBgAAkgMAAAEAAAAAAAAAAWgGAACSAwAAAAAAAAAAAAABaQYAAJIDAAAAAAAAAAAAAAFqBgAAkgMAAAAAAAAAAAAADyYGAAABAAAACGYDAAAFJwYAABpBcGxvcmlzLkJhc2UuT2JqZWN0cy5Db2xvcgcAAAASRGF0YU9iamVjdCttUGFyZW50FURhdGFPYmplY3QrbUNvbnRhaW5lcgVtVHlwZQRtUkdCEG1UaGVtZUNvbG9ySW5kZXgMbUF1dG9VcGRhdGVkCW1Nb2RpZmllZAQCAAAAAAAfQXBsb3Jpcy5CYXNlLk9iamVjdHMuTGluZUZvcm1hdAMAAAAICAgBAQMAAAAJdwUAAAoAAAAA////AA4AAAAAAAUoBgAAGkFwbG9yaXMuQmFzZS5PYmplY3RzLkNvbG9yBwAAABJEYXRhT2JqZWN0K21QYXJlbnQVRGF0YU9iamVjdCttQ29udGFpbmVyBW1UeXBlBG1SR0IQbVRoZW1lQ29sb3JJbmRleAxtQXV0b1VwZGF0ZWQJbU1vZGlmaWVkBAIAAAAAAB9BcGxvcmlzLkJhc2UuT2JqZWN0cy5MaW5lRm9ybWF0AwAAAAgICAEBAwAAAAl3BQAACgEAAAAAAAAA/////wABASkGAAB4AAAACgoBAAAAwdDtAP////8AAAEqBgAAeAAAAAoKAQAAAP///wD/////AAAPKwYAAAEAAAAIWAMAAAEsBgAAeAAAAAoKAAAAAAAAAAANAAAAAAABLQYAAHgAAAAKCgAAAAAAAAAADQAAAAABBy4GAAAAAQAAAAQAAAAEHUFwbG9yaXMuQmFzZS5PYmplY3RzLlZhcmlhYmxlAwAAAAFrBgAAkgMAAAEAAAAAAAAAAWwGAACSAwAAAAAAAAAAAAABbQYAAJIDAAAAAAAAAAAAAAFuBgAAkgMAAAAAAAAAAAAADy8GAAABAAAACEkCAAAFMAYAABpBcGxvcmlzLkJhc2UuT2JqZWN0cy5Db2xvcgcAAAASRGF0YU9iamVjdCttUGFyZW50FURhdGFPYmplY3QrbUNvbnRhaW5lcgVtVHlwZQRtUkdCEG1UaGVtZUNvbG9ySW5kZXgMbUF1dG9VcGRhdGVkCW1Nb2RpZmllZAQCAAAAAAAfQXBsb3Jpcy5CYXNlLk9iamVjdHMuTGluZUZvcm1hdAMAAAAICAgBAQMAAAAJlAUAAAoAAAAA////AA4AAAAAAAUxBgAAGkFwbG9yaXMuQmFzZS5PYmplY3RzLkNvbG9yBwAAABJEYXRhT2JqZWN0K21QYXJlbnQVRGF0YU9iamVjdCttQ29udGFpbmVyBW1UeXBlBG1SR0IQbVRoZW1lQ29sb3JJbmRleAxtQXV0b1VwZGF0ZWQJbU1vZGlmaWVkBAIAAAAAAB9BcGxvcmlzLkJhc2UuT2JqZWN0cy5MaW5lRm9ybWF0AwAAAAgICAEBAwAAAAmUBQAACgEAAAAAAAAA/////wABATIGAAB4AAAACgoBAAAAwdDtAP////8AAAEzBgAAeAAAAAoKAQAAAP///wD/////AAAPNAYAAAEAAAAIFgIAAAE1BgAAeAAAAAoKAAAAAAAAAAANAAAAAAABNgYAAHgAAAAKCgAAAAAAAAAADQAAAAABBzcGAAAAAQAAAAQAAAAEHUFwbG9yaXMuQmFzZS5PYmplY3RzLlZhcmlhYmxlAwAAAAFvBgAAkgMAAAEAAAAAAAAAAXAGAACSAwAAAAAAAAAAAAABcQYAAJIDAAAAAAAAAAAAAAFyBgAAkgMAAAAAAAAAAAAADzgGAAABAAAACNsCAAAFOQYAABpBcGxvcmlzLkJhc2UuT2JqZWN0cy5Db2xvcgcAAAASRGF0YU9iamVjdCttUGFyZW50FURhdGFPYmplY3QrbUNvbnRhaW5lcgVtVHlwZQRtUkdCEG1UaGVtZUNvbG9ySW5kZXgMbUF1dG9VcGRhdGVkCW1Nb2RpZmllZAQCAAAAAAAfQXBsb3Jpcy5CYXNlLk9iamVjdHMuTGluZUZvcm1hdAMAAAAICAgBAQMAAAAJsQUAAAoAAAAA////AA4AAAAAAAU6BgAAGkFwbG9yaXMuQmFzZS5PYmplY3RzLkNvbG9yBwAAABJEYXRhT2JqZWN0K21QYXJlbnQVRGF0YU9iamVjdCttQ29udGFpbmVyBW1UeXBlBG1SR0IQbVRoZW1lQ29sb3JJbmRleAxtQXV0b1VwZGF0ZWQJbU1vZGlmaWVkBAIAAAAAAB9BcGxvcmlzLkJhc2UuT2JqZWN0cy5MaW5lRm9ybWF0AwAAAAgICAEBAwAAAAmxBQAACgEAAAAAAAAA/////wABATsGAAB4AAAACgoBAAAAwdDtAP////8AAAE8BgAAeAAAAAoKAQAAAP///wD/////AAAPPQYAAAEAAAAIzQIAAAE+BgAAeAAAAAoKAAAAAAAAAAANAAAAAAABPwYAAHgAAAAKCgAAAAAAAAAADQAAAAABB0AGAAAAAQAAAAQAAAAEHUFwbG9yaXMuQmFzZS5PYmplY3RzLlZhcmlhYmxlAwAAAAFzBgAAkgMAAAEAAAAAAAAAAXQGAACSAwAAAAAAAAAAAAABdQYAAJIDAAAAAAAAAAAAAAF2BgAAkgMAAAAAAAAAAAAAD0EGAAABAAAACK4DAAAFQgYAABpBcGxvcmlzLkJhc2UuT2JqZWN0cy5Db2xvcgcAAAASRGF0YU9iamVjdCttUGFyZW50FURhdGFPYmplY3QrbUNvbnRhaW5lcgVtVHlwZQRtUkdCEG1UaGVtZUNvbG9ySW5kZXgMbUF1dG9VcGRhdGVkCW1Nb2RpZmllZAQCAAAAAAAfQXBsb3Jpcy5CYXNlLk9iamVjdHMuTGluZUZvcm1hdAMAAAAICAgBAQMAAAAJzgUAAAoAAAAA////AA4AAAAAAAVDBgAAGkFwbG9yaXMuQmFzZS5PYmplY3RzLkNvbG9yBwAAABJEYXRhT2JqZWN0K21QYXJlbnQVRGF0YU9iamVjdCttQ29udGFpbmVyBW1UeXBlBG1SR0IQbVRoZW1lQ29sb3JJbmRleAxtQXV0b1VwZGF0ZWQJbU1vZGlmaWVkBAIAAAAAAB9BcGxvcmlzLkJhc2UuT2JqZWN0cy5MaW5lRm9ybWF0AwAAAAgICAEBAwAAAAnOBQAACgEAAAAAAAAA/////wABAUQGAAB4AAAACgoBAAAAwdDtAP////8AAAFFBgAAeAAAAAoKAQAAAP///wD/////AAAPRgYAAAEAAAAInwMAAAs="/>
</p:tagLst>
</file>

<file path=ppt/tags/tag834.xml><?xml version="1.0" encoding="utf-8"?>
<p:tagLst xmlns:a="http://schemas.openxmlformats.org/drawingml/2006/main" xmlns:r="http://schemas.openxmlformats.org/officeDocument/2006/relationships" xmlns:p="http://schemas.openxmlformats.org/presentationml/2006/main">
  <p:tag name="APLORISTAG" val="MxTFIxVX6OdtQ0H5y.925"/>
</p:tagLst>
</file>

<file path=ppt/tags/tag835.xml><?xml version="1.0" encoding="utf-8"?>
<p:tagLst xmlns:a="http://schemas.openxmlformats.org/drawingml/2006/main" xmlns:r="http://schemas.openxmlformats.org/officeDocument/2006/relationships" xmlns:p="http://schemas.openxmlformats.org/presentationml/2006/main">
  <p:tag name="APLORISTAG" val="MxTFIxVX6OdtQ0H5y.516"/>
</p:tagLst>
</file>

<file path=ppt/tags/tag836.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AFFQAAABlTeXN0ZW0uRHJhd2luZy5SZWN0YW5nbGVGBAAAAAF4AXkFd2lkdGgGaGVpZ2h0AAAAAAsLCwsEAAAA//9/////f////3////9//wEWAAAAFQAAAP//f////3////9/////f/8AAAAAAAUXAAAALEFwbG9yaXMuQ2hhcnQuQXhpc0JyZWFrK0F4aXNCcmVha0Rpc3BsYXlNb2RlAQAAAAd2YWx1ZV9fAAgCAAAAAQAAAAEBAQoKCRgAAAAKCgAAAAAACRkAAAAKCRoAAAAAAAAACgUbAAAAGUFwbG9yaXMuQ2hhcnQuT3JpZW50YXRpb24BAAAAB3ZhbHVlX18ACAIAAAABAAAACRwAAAABHQAAABUAAAD7kD1Cr5mEQUz7EkQ/PoZDAAQeAAAAC1N5c3RlbS5HdWlkCwAAAAJfYQJfYgJfYwJfZAJfZQJfZgJfZwJfaAJfaQJfagJfawAAAAAAAAAAAAAACAcHAgICAgICAgIAAAAAAAAAAAAAAAAAAAAAAAoKCR8AAAAACgoKAQAAAAAAAAD/////AAABIAAAABUAAACji9ZCRhe9QUf56UNbdH9DQegcQn8RI0NcjCFEo0usQwUhAAAAFVN5c3RlbS5EcmF3aW5nLlBvaW50RgIAAAABeAF5AAALCwQAAAACEsxDIo18QwYiAAAAEHZtRFo3Z0VSOUdxS3hJdU0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5A9QtqHjkMBLwAAACEAAABc1B5E2oeOQwkwAAAACTEAAAAJMgAAAAkzAAAAAAAAAAAAAAAAAAAACTQAAAAAAAAAAAAJNQAAAAkBAAAACQEAAAAJNgAAAAEHAAAABgAAAAkBAAAAATcAAAAnAAAAAAAAAM3MTD8AAAAIAQAJAQAAAAk4AAAACTkAAAABAAAAAAAAAAABAAAAAAAA8D8BmpmZmZmZuT8AAAAgQQEBCToAAAAKCTsAAAAJPAAAAAk9AAAAAT4AAAAhAAAA+5A9QtqHjkMBPwAAACEAAAD7kD1Cr5mEQQ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BXUUdCo4uaQ9JFWUMAAMhBCWUAAAAD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BQAAAAgBAAAAAgAAAAMAAAAEAAAABQAAAAUc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bgAAACEAAAD7kD1Cr5mEQQFvAAAAIQAAAFzUHkTah45DCXAAAAAJcQAAAAAAAAAKBXIAAAAUU3lzdGVtLkRyYXdpbmcuU2l6ZUYCAAAABXdpZHRoBmhlaWdodAAACwsEAAAAAAAAAAAAAAABcwAAAHIAAAAAAAAAAAAAAAAAAAABdAAAABUAAAAAAAAAAAAAAAAAAAAAAAAAFAAAAP////8BAQoJdQAAAAEACgAPHwAAAOE0AAACUEsDBBQABgAIAAAAIQBJEqz3jAEAAHg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d1OwjAUvjfxHZbemq3AhTGGwQXopZKID1DbA1vo2qan/L29ZwOMkrlJWOLNmq39/s52zobjXaGjDXjMrUlZP+mxCIy0KjfLlL3Pn+MHFmEQRgltDaRsD8jGo9ub4XzvACNCG0xZFoJ75BxlBoXAxDowtLOwvhCBbv2SOyFXYgl80Ovdc2lNABPiUHKw0XAKC7HWIXra0eODE4KzaHI4V0qlTDincykCGeXlLq/FbRpxG6POzMV2scglKCvXBVlKCD/1YkvxfxHwoLHBWY3CMXpCyMo9ZrnDu2OEV6q9zxVEM+HDiygoKN9pvrV+9WHtKmmuQ43aWR50HoTCDCAUOqnWpBC5+YN+dRh5tfQ7NlLmq4gv9DH4Jx+BPmzg1fX6UlQ0LcEx7DVgx2kPpG3KmfCg3oKnHujcwHfuFh/SFmVH4vX1/tkDJ942eaHlJKNO6fgdyBNvkz6No5m3DmlSerjcwGnilOjYERH4kEPjzPlSpDF7ueDZ0IFyjitQNdq8+m+MPgE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ABBmPgJAQAAz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zWrDMBCE74W+g9h7LdttQymRc2gp5NqmDyDktWViS0a7/fHbVyTUcSC4F9PjzqKZj5G03nx3rfjEQI13CrIkBYHO+LJxtYL33cvNAwhi7UrdeocKBiTYFNdX61dsNcdDZJueRHRxpMAy949SkrHYaUp8jy5uKh86zXEMtey12esaZZ6mKxmmHlCceYptqSBsy1sQu6GPyX97+6pqDD5789Gh4wsRkiMXRkMdamQFh/EoZkkEBXmZ4W5JBuKhjSWOEMd5Lv5+0XirA5ZvHOINTymm8hzMakkYo1vzZHXjTnWM0hxEtiTElw97soh8ghglkofN7OvI/xkm/21Gnv3B4gcAAP//AwBQSwMEFAAGAAgAAAAhAEBBgYLcAQAAFgMAAA8AAAB4bC93b3JrYm9vay54bWyMUslu2zAQvRfoPxC826QoyQkMS4HrBTXQBkGR5cxQtEWEi0BSlYKi/56RVLdOe+lpOAtn5r15q5veaPRd+qCcLXAypxhJK1yl7KnAD/f72TVGIXJbce2sLPCrDPim/Phh1Tn/8uzcC4IGNhS4jrFZEhJELQ0Pc9dIC5mj84ZHcP2JhMZLXoVaymg0YZQuiOHK4qnD0v9PD3c8KiG3TrRG2jg18VLzCOuHWjUBl6uj0vJxQoR409xyA3v3GiPNQ9xVKsqqwDm4rpPvAr5tPrVKQ5YtKM0wKX+jvPOIt9FtnAEQIdwpEVt4FJgOVQMPj0p24c+HwUX9k7KV6wqcXlEg9vXsMsrA7cbkk6piDROTZCiZYp+lOtURzsHSbBxALiaMBMKk0SI7ols32nkVtjxyONfA8AFQJBj5pYKHP1TJsOfll2+8Q3/Vpxf1bKgn51mCawEUDGZsnFFKofvgf3UV0DuQc+vu+bOWEHZWtN7DgTZQ8Isj2ccvIZYrsKj1qsA/rnKW7vJtOmP5Pp2t8x2dJYuUzRbZnuXZhrEsZz/P6jD9P/IwSngX3DHOhTNkUgYoShDZCzkK7HoSWLky/XLtRX3Yor3mJzjbBA92AZDnzchZ0uUbAAAA//8DAFBLAwQUAAYACAAAACEAKBtn0uQIAACogwAADQAAAHhsL3N0eWxlcy54bWzsXetvm0gQ/37S/Q+I6j4mPAw2RLarS1LfVepVlZKT7ivGaxuVhwW4dXq6//1mdsEY4oDxbh6qth9SHjOzs7957MKuh/H7XRQq30iaBUk8UY1LXVVI7CeLIF5N1L/vZxeOqmS5Fy+8MInJRH0gmfp++usv4yx/CMndmpBcARFxNlHXeb650rTMX5PIyy6TDYnhzjJJIy+H03SlZZuUeIsMmaJQM3V9qEVeEKtMwlXknyIk8tKv282Fn0QbLw/mQRjkD1SWqkT+1cdVnKTePARVd4bl+aVsevJIfBT4aZIly/wSxGnJchn45LGWruZqIGk6jrfRLMozxU+2cT5RB/tLCrvzcQEQDi1VYZ2+SRaghn6p/6ZqJXON0q5Tvnv3Tn+CcviYshCrFUpNx8skrnRzoePY/6uvcfI9nuEt0A0URqrpOPuhfPNCuGJgg34SJqmSg91AX3ol9iLCKG68MJinAZItvSgIH9hlEy9QUxd0UQDA40WNtcD+zpGqaMvFu6ypIF6QHQG0nEZr9946iTwkfNRYTW4p87n13x7of6wtZi9BYHU11sCKzzJ7BKklmVnS1XyizmY6/YdGqNzgjyAMlTsvzvBypykOBM1mpwoKnsD6LGH77lHQat1jHezWivYyA0+Eru9j3sQQggvTMWSfnKTxDIEpju8fNhBAMSRKhhKl66Bepd6DYdoHDBptcDqeJ+kCEnOZbTB42aXpOCTLHNBKg9Ua/8+TDfydJ3kOWWw6XgTeKom9EA61kqM4gO74JAzvMHn/s6xk25jLdsuD7AQDAYYwpjQ8hK4Uh0wiO4EWakyQdUom80kmxdtswocZCKei2RnIr86uac+r89/DYBVH5JDhS5rkxM/pqEWDsKbHgfJP69FUXjLB4FbauzD9WegNOkz/eRvNSTqjE4PKyBhI1ZlIF8AB+bj/Mld8aX0kPpBSWqJP4iPx4Un50n+k/0j/eb7xVMaXjC8ZXzK+4IGJPrzJ+bN8vmibz8vnr/bxQuIj8eEZT6X/SP+R/vN88zEZXzK+ZHzJ+Hqt5x2Zf2T+kflH5h+Zf9h+BPn+uT0fSnwkPjzjhfQf6T/Sf55vvnHWpirJxLMlTaIn0St2shZAyEFODnI8g5zMKDwZRUafjD6e6JP+I/1H+s/zPaLI+JLxJeNLxtdrLTnI/CPzj8w/Mv/I/MOWPOUWkPZ8KPGR+PCMF9J/pP9I/3m++YaMLxlfMr5kfL3WfP6t5Z83snqoHRaDYqWhDqtCOWcVhVJ2y+PVocD4ZXUoPHyiJE/JXZSJolWBaBGvpyo89ZbFJB+kIyyt5ZU1ppR1kgY/YHET6+P5UHSKsLJ2u2Wj2FVR6a+rRlYBh3H0x9LlVVYNa39WdPonVlT5nnqbe7KDGmDUuNojeHm8pQM4oW2XRqv/Cr68KsqwvfDCapGnRRe4ORqgHmvsrKzAVd49KV6wMJ368rqerhvWxGtztdGrQVekmpcHj8PQUDg2D3xMlFCC8BXsfpbqJwNtDGmBVpbgT46p/nmAqxeVCU4eq7BXremhDPk32pUDq0B14vauwChypEZJ2cG27PwiVqF1fZmDdVvF/qk6U9rgjTpZP8vAfP5NuRmd2MNU/qDca6PY637mr2CRXyj7m4Rh8p0slD+hiG0aBvFXqCBNJ/IGuN18G4R5EOO8Hmq8roPFgmC5cKz60kMQoCRGEDzOiREEVhYjCBKREEGmKLBNUWCbosA2RYFtigJ7IArsgSiwB6LAHogCeyAKbEsU2JYosC1RYFuiwLZEgY1TBSH5yBYFti0KbFsU2LYosIeiwB6KAhu/QSHE/ENRYA9FgT0SBfZIFNgjUWC7sOtNiNVceJYQIsjQRalk6OJ0gnc0gnoHc1kxkuDbIKIkCUPcEIa4IQxxQxjipjDETWGIw2c8BHmBKQxxUxjiA2GID4QhPhCG+EAY4gNhiFvCELeEIW4JQ9wShrjVD/FHbzjq7DBTaX3B8Yi9kfz789eN05+/bpL+/HVD9OfnxK+Rynu330jg/fk58Wsk6/7tc+LXSMy922+k4/78nPg1Um//9jnxa6TZ3u03kmt/fk78Gom0f/uc+Nn1Yap3+/DxscNpU39+Tvxszvxnc+I35MRvyIkfLnMePAb1xn/Iid+QE78RJ34jTvzc+puE3vi59RcIvfkNnVMBQ+fWoP6e6IwuAAuPDxqNVar+Ghi8IBq8IBq8IBq8IDZWn/qD2Fh1OkMAL4iNVaYzNOAFsbGq1F+DxmrSGQJ4QWysHp2hAS+IjdWi/ho0VonOEMALYmNV6AwN+oH4GT+oGZar9vXX5PR7i82V+i8kxT1DJUd9FKVfpG1y0I9+G5Y1cgaGaRoWeirbJHASOQ60jJx9dLj8Em2xBaEpHcdFRm4d22jQIB9i+mTkw1PI0ccZuXMK+WhPPjiBfIQvOpn0URu54zq261g6vjksyFuRLOhNfOQt6Fs7W9LjFL2gP0Uf06n0aUWnkG/hwmUhn33m+wnTlvSjPb1z1DVL2xb0tl7RH9100qTHR0qmj9PqaiB/BGA6uKrE6N0uPCm9s3dNtwsfpHf1vXwDDo/smjnoAGXAl/eFQl0Go/Q46BT0XQag9Pgaj9EbeheiI9uw6V5IxuC0BgAiivRg16IBpxNRpMc1q0J+ZweA3sT5XkHfmh0KfcwqwpxOQFE+DkBMvttpMKS3K/27IhjxMSuPczo9COmriHRb7QWuNnQd18YFV6a/AZsBWjyuZAA19gyntDDU9ykO1MMWql+TwL6zxa76vDhtP/fmIbnDD4/vd6IBxAuy9LZhfr+/OVGr47/IIthGMMYUVF+Cb0lORUzU6vgTfgUdkj9oAL8n+JTl9H9lmwYT9d8P1yP39sPMvHD0a+fCGhD7wrWvby9s6+b69nbm6qZ+8x90PArj7GpnWBN1neebK03L/DWJvOwyCvw0yZJlfunDx9WT5TLwiZZtUuItsjUheRRqpq67mqtFXhDjD2YM6yoLgSotOlsof1ddm6gHJ0x9ih+oDyiWndBoTrjDRqb/Aw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F9bkJwEEAABzDAAAGAAAAHhsL3dvcmtzaGVldHMvc2hlZXQyLnhtbIxXTY/bNhC9F+h/EHRqD7Y+LEu2YTtYWVISIIsumiY50xJlCyuJrsjd9aLof++QlB1xlDp7saX3hsN5M0N6vH53bmrrmXa8Yu3G9qaubdE2Z0XVHjb2l7+yycK2uCBtQWrW0o39Srn9bvvrL+sX1j3yI6XCAg8t39hHIU4rx+H5kTaET9mJtsCUrGuIgNfu4PBTR0mhFjW147tu6DSkam3tYdW9xQcryyqnCcufGtoK7aSjNREQPz9WJ37x1uRvcdeQ7vHpNMlZcwIX+6quxKtyaltNvvp4aFlH9jXoPnsByS++1cvIfVPlHeOsFFNw5+hAx5qXztIBT9t1UYECmXaro+XGvvNW7z3XdrZrlaCvFX3hg2dL5nvP2KMkPhYb2wUXnNY0l8otAl/PdEfremN/CKFkfyun8AgOnavH4fPFe6Yq9NBZe8LpjtXfqkIcoRWgEwpakqda/MlePtDqcBSABpADmYpV8ZpQnkMNZCiXqBMiyHbdsRcLiulBGCciW8NbRRBtLsE7iW7sSC5RQKwBaDPwxMHseest1s4zhJr3JruLyWVNgoEUA5kGZtdt3mvAV/mAAK9R+j+MUqJGlBpYDqKcoyDHFqFpkYwtItMiHVu4pkWmLQa6NDDWNTN0WbJ4/uJaBcnqGl+zjpIe9yaQt6vJ0gxm93OT5OcmqTYZphbtk2mLgWgNjEVDd/6g5SSKxKK0xr2Jr/rP9zwk1KDnc1S2xKD9CDlPezoA56VK5pF0tLD1uU+DVQraeaWO9Ocv97/FwSoJfl87pToL7gwVJtPuBtnQwDgbcyMbuAUki7Liocjj3kanJcRZMdiFb+YsMVgPnYW0Z0c50XmAgw7XwBz3gV40UK6BsXJ5A36/epTyQIrQV5BksXKkLe5ttHLPn5nidgY9mwUmnRi0F2LxPX1LfIi3zPSigXgNjMVHN8VLFotHpYt7m148aoqdwQaITQwWi0h79pbyCOU602sGwjUwFi5HFVT1wZUnWSwcbRX3Nr1wfMMb7AI1Z2Kwc3Ro0569JdwLUR0yvWigXANj5fIC+X/lksXKUcfGvY1WjuLYGaSH2MRg0dWorjbY+5ZuH529TDscyNbAWLacUQa6L+dbwbDp9cc/7pHvLncjJBkh6QjJRogc2WRyB7HpaUtPQidyoPekO1Qtt2pawg+pO43g0ur0NKVfBDvJYK09E4I16vEIczKFacmdgnHJmLi8wMVIz+ITF+rbeurgZ+OfMHBdP5p5k7swdidz+eGHkTuJIt+Lo527DF3338vs2pzfNrg2JHfoOadqUF/oQX27bs6rh09frXtWwEwM0v9o6QNoVM/fPudEjspqHIS1EKP8VME6178L2/8A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PCMwqqaBAAA6AsAABgAAAB4bC93b3Jrc2hlZXRzL3NoZWV0MS54bWyUVlFv2zYQfh+w/6AJA7pisEVSEiUZtovYcrAALRo0W/tMS7QtRBI1iY6dDvvvPZK2bMZNkLxIInn67r77juSNP+yr0nngbVeIeuLiIXIdXmciL+r1xP3n7+tB7DqdZHXOSlHzifvIO/fD9NdfxjvR3ncbzqUDCHU3cTdSNiPP67INr1g3FA2vYWUl2opJGLZrr2taznL9U1V6BCHqVayoXYMwal+DIVarIuOpyLYVr6UBaXnJJMTfbYqmO6Lt81fh5S3bAddjPGchpmalx8PBRXxVkbWiEys5zETlmdAuWSZeYvGssgugnySrYu39thkAcAPklkVZyEdN13WqbHSzrkXLliUosscBy86iZJfwr48TkKbjvIDcqoJwWr6auFd4tAhcbzrWyn0t+K47+3YkW97xkmeS51BArqMKYynEvTK8gSkEiJ02UIgsk8UDn/OynLgzArX1r/YxI6OZ9uH1Tqbj0/fR4bWuptvWWbKOz0X5rcjlBrxC1eZ8xbalPE3Gw9gnyMck7Be/iN1fvFhvJPwSQMpU5kb5Y8q7DIpJhQosM1GCO3g6VaG2BOSb7Q0z443QIaUBogq4k49KAzBa8k5eFwrZdbJtJ0V1DO4AauCAsoaD987AJUO/j/ME9wKEf4CA9xGiDwTmXhkI8NeBAIkDynnCDoH4Vuz0mArqx/D7879h9ZtnEqn1TJlk03Erdg5sSkhQ1zB1ZOBRCMWRqckrNavXIIUdzD5Mg7H3oGAOFrNLC2RbzI0F5KDHwKFtkhoTiP5kQm2ThTEBsieTqDfxgETPRNXviYmj6+rESK1OXMjvCaeH0Zx1/QNn9cvDFA2hWkkUhiSJaQhlS3zbfG4AsQ/mq+m7L2znqLy+++33WeidDxdAemUg/dinQRQlcRQQDIPEhkwtyD/OQWb0T2sYvfes9YW9voje905xglGCkzBABLjEIbadLl5wGttOk6dO7fVFcnSaDEmcUBwFMfX9GPgGiwHp3VqiQXm8IJpatUU7wRjRjAWmB9FCn1IUg1sMTsM4PJWKNp8fzC9Fmz8rWojDiEApoAAyqAY9EQ2ZWpCWKHNblPkbRAv9yA+pTzAUCYrBte108YJTW5T5q0VDwzCEWiEhjX1EEYY09k4tyWC7viCZWrVPjicbB24WbREd9xn4wiFFNIHNgaFqeq9GsoP5pWTps5JhaGagAn0U44jC4AlkakFakqW2ZOkbJCMRhgRGJMB+lPgYPTnr4NLWtA0P26ktWfoGyXxbs9PeNoqZO9uc9w1b80+sXRd155R8BccgGkau05obWH9L0ehZOCWXQsKleRxtoFPkcC+gIRTeSgh5HMDNonDvuNw2jmgLuLh18zdxG9HKlhXSdTYw/13AQpk2xcQNSBIkNCIJHDzQ6soiu1wA2JKvWfZ4aPucdlTkE7e9yfVlxvfyYyenY3g72xYw/4MOAJHIx4MrOkODUD0IjdAgigieRXOUUIT+P7ZlFTQQT/rjn/ZkFcs8vs+47o5j0zVOx9V+dPvxq/NJ5NBqQKvzuea3kAL9/e0OyOhPdeVCeOapg/X6Hn36AwAA//8DAFBLAwQUAAYACAAAACEAdKIHt04BAADgAgAAFAAAAHhsL3NoYXJlZFN0cmluZ3MueG1sjJJNS8NAEIbvgv9h2LNt0lasSpIiiiDYXmzxPCTTZmEzWzOTYP69G+vFpILHfXbmnY93ktVn5aClWqzn1MymsQHi3BeWD6nZbZ8ntwZEkQt0nik1HYlZZZcXiYhCyGVJTal6vI8iyUuqUKb+SBx+9r6uUMOzPkRyrAkLKYm0ctE8jm+iCi0byH3Dmpr5tYGG7UdDjycwuzNZIjZLNNt6RZdEmiVRD07w4VATDeGGGq3HsU9W8Fz4GznKNcw91IlhAot4SBezgJcjvOzxLB7xnRD4PWwpL9k7f+iGet+TDuG7Lei0LGiErgCdCzuqR6OO4hQcYbAkmPSvBPY8OSf8aiurVAQd1/UtDBvceNA/R3phJRbbjrLWvqAadcR/qg2LrDuwLGq16e2BPVonoB4wLy21BMgQ9oQOsGithFMFCbH428soXGj2BQAA//8DAFBLAwQUAAYACAAAACEA6UmDQJ0CAAAPBwAAGwAAAHhsL2RyYXdpbmdzL3ZtbERyYXdpbmcxLnZtbOxVTW/bMAy991cI6iEXB/5oG7SqHaDo0Ns2YO22Y6HYSqxWH4bFOE5//SjZSZMVG4rtsMsM2KZJiuR7fIDzXiuCt3GsK+i6NcyVtdDcTbUsW+vsEqal1azTip6MifZ3iXa5lKVgw2t/pH/HEdGX4rWJxnFqgIbFseblN63uw1xfW0nnJyS3zNW8EYpv7RpIx0QPBRWVBB/1YVlp3hwFSMWBFzSlsS8QH1WY591QELaNILIq6GOf4PUIWZJRUlrbVk6+iIJm6SxJovCkBGs02NfnYNeGQ11QnUSJGjOGvKNn0othRGwIrX0W5MlK42CrsLiWINowH8GBfD2yanklhYEA1z4XFHzb0hojSvDTFrRFawR1gGIP6RCOS5PsgpLh3OkRxmGESWOdBGkN4wtn1RrENSLTvF1JM1ViCWx22cD16ADbsPTsHB0bWUHN0szbtZCrGliWoP0ylaYSPUt9mU46uZBKwpbVsqqEudbOTjctb6ahOwN/cEKWUqnSKtsW9HSJl0g9ZmRJgLYVIuZrsDsWfTIuCLOz13S/Yk8hslbZDbFm4G3hynUrcLsDX3uSfyLUWCP2WwCU1sL2ZOTHT1xJTzmSNOUKmB9m4vuRvJLdLs8fw7BcGeZpm8zzGKNhrLhjY9Hw2bNb5Tf8AeVJPi+esPRD2OsnC4NWSN6zj7YT3yXUt0IpF+B57z1q8q33xpS1bcNIJInI7DIiVxG5iEgakbMMX+hM0zzu2UEmVrtBJHdI5/yOKydCfOcJ8Hr2xW7m4aA3Rt8tykSbeeLzR9uT77/2uDA3R9hBxL8U5uzvhJmlXnwHysxedZl6e6fL9ECX2X9d/htdohQvziMvTxQkGmdBnVd/KsqgvreizN4vyhj/gvMfAAAA//8DAFBLAwQUAAYACAAAACEAM1hfDjYBAAAS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FfS8MwFMXfBb9DyXubdt2GhLYDlSHiQHBD8e2S3G3B5g9JtNu3N+tmnczHyzn3xzn3VrOdapMvdF4aXZMiy0mCmhsh9aYmq+U8vSGJD6AFtEZjTfboyay5vqq4Zdw4fHbGogsSfRJJ2jNua7INwTJKPd+iAp9Fh47i2jgFIY5uQy3wD9ggHeX5lCoMICAAPQBTOxDJCSn4gLSfru0BglNsUaEOnhZZQX+9AZ3y/y70yplTybC3sdMp7jlb8KM4uHdeDsau67Ku7GPE/AV9Wzy99FVTqQ+34kiaSnDGHUIwrqno+RAP14IPi3jjtURxu28ejYawBZ08GBcBKHVFL12R2Bdg6rSZxEzs2OBHei3v7pdz0ozyYpIWozQvl/mEjadsXL4fUvwFxGAXX2y+AQAA//8DAFBLAwQUAAYACAAAACEArU7jEg8BAAAiAgAAEAAAAHhsL2NvbW1lbnRzMS54bWy8UE1LxDAUvAv+h/DubtoeZJUmiwgrggfB9QfE5nUbyEfJyy5df71v7daDJ09CCJnJvJnhtZspeHHETC5FBfWqAoGxS9bFvYL33fZmDYKKidb4FFHBCQk2+vqq7VIIGAsJNoikYChlvJeSugGDoVUaMfJPn3IwhWHeSxozGksDYgleNlV1K4NxEXRrDmVImZaH1K38oS45L46KXkJFxl7BYw1ilj1bBRX7FJxYlPm88vXBPvQpjsYruAMGXfIpCxctTsgT6/pM5m2KZRbtzJCCOZO9Cc6fZrY5E/LbseinnA6jsEhddmPhnVErOVJynJzT5aXwr7IPzf+XfcPskP7Yduk9L3pBpL8AAAD//wMAUEsDBBQABgAIAAAAIQA/byhtjgEAACo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QW/bMAyF7wP2HwTdG7lZMQyBrKJoN/SwYsGSdmdOpmOhiiSIrJfs10+OkcbpDgN2I/menz5T0te7rRc9ZnIx1PJyVkmBwcbGhU0tH9dfLj5JQQyhAR8D1nKPJK/N+3d6mWPCzA5JlIhAteyY00Ipsh1ugWZFDkVpY94ClzZvVGxbZ/Eu2pctBlbzqvqocMcYGmwu0mugHBMXPf9vaBPtwEdP630qwEbfpOSdBS5/aR6czZFiy+IBrAscqROfdxa9VlObLpwrtC/Z8d5UWk1bvbLg8bYcYVrwhFqdBvoeYVjfElwmo3te9Gg5ZkHud1ngXIqfQDiA1bKH7CBwARxsY3OofSLO5kfMz9QhMmlVDOPwUE6909pdmfnBUIpz4xAwghThHHHt2CN9a5eQ+V/EB4aRd8S5ST5mR3fAMIV8xf0Ov8Rb8YzlzelfXXimx7SO5SM8bvd8qFcdZGzKhRz100Dfl8VmP4TcdhA22Bw9fwvDq3gan765vJpVH6pyzZOZVqdHbv4AAAD//wMAUEsDBBQABgAIAAAAIQAX7MrRzQAAAJcBAAAQAAAAeGwvY2FsY0NoYWluLnhtbGyQWw7CIBBF/03cA5l/pb4fKe1HW1egCyB0tE14NECM7l5SXw36yeHcOwNpflOSXNG61mgGs2kCBLUwdasvDE7Hw2QLxHmuay6NRgZ3dJBn41EquBRFw1tNQoN2DBrvuz2lTjSouJuaDnW4ORuruA9He6Gus8hr1yB6Jek8SdZUhQLIUkEsg2oFpGWwACLDJkBfuJj3+Auq9ct7G9UmAuVPZBcZVXhWP+vTsfwPBmPDYiEyAPGU8tnxNco4UsRGMTDo50uzBwAAAP//AwBQSwECLQAUAAYACAAAACEASRKs94wBAAB4BgAAEwAAAAAAAAAAAAAAAAAAAAAAW0NvbnRlbnRfVHlwZXNdLnhtbFBLAQItABQABgAIAAAAIQBQfE7B9gAAAEwCAAALAAAAAAAAAAAAAAAAAMUDAABfcmVscy8ucmVsc1BLAQItABQABgAIAAAAIQAAQZj4CQEAAMwDAAAaAAAAAAAAAAAAAAAAAOwGAAB4bC9fcmVscy93b3JrYm9vay54bWwucmVsc1BLAQItABQABgAIAAAAIQBAQYGC3AEAABYDAAAPAAAAAAAAAAAAAAAAADUJAAB4bC93b3JrYm9vay54bWxQSwECLQAUAAYACAAAACEAKBtn0uQIAACogwAADQAAAAAAAAAAAAAAAAA+CwAAeGwvc3R5bGVzLnhtbFBLAQItABQABgAIAAAAIQDnZXW41gAAALgBAAAjAAAAAAAAAAAAAAAAAE0UAAB4bC93b3Jrc2hlZXRzL19yZWxzL3NoZWV0MS54bWwucmVsc1BLAQItABQABgAIAAAAIQAX1uQnAQQAAHMMAAAYAAAAAAAAAAAAAAAAAGQVAAB4bC93b3Jrc2hlZXRzL3NoZWV0Mi54bWxQSwECLQAUAAYACAAAACEA+2KlbZQGAACnGwAAEwAAAAAAAAAAAAAAAACbGQAAeGwvdGhlbWUvdGhlbWUxLnhtbFBLAQItABQABgAIAAAAIQDwjMKqmgQAAOgLAAAYAAAAAAAAAAAAAAAAAGAgAAB4bC93b3Jrc2hlZXRzL3NoZWV0MS54bWxQSwECLQAUAAYACAAAACEAdKIHt04BAADgAgAAFAAAAAAAAAAAAAAAAAAwJQAAeGwvc2hhcmVkU3RyaW5ncy54bWxQSwECLQAUAAYACAAAACEA6UmDQJ0CAAAPBwAAGwAAAAAAAAAAAAAAAACwJgAAeGwvZHJhd2luZ3Mvdm1sRHJhd2luZzEudm1sUEsBAi0AFAAGAAgAAAAhADNYXw42AQAAEgIAABEAAAAAAAAAAAAAAAAAhikAAGRvY1Byb3BzL2NvcmUueG1sUEsBAi0AFAAGAAgAAAAhAK1O4xIPAQAAIgIAABAAAAAAAAAAAAAAAAAA8ysAAHhsL2NvbW1lbnRzMS54bWxQSwECLQAUAAYACAAAACEAP28obY4BAAAqAwAAEAAAAAAAAAAAAAAAAAAwLQAAZG9jUHJvcHMvYXBwLnhtbFBLAQItABQABgAIAAAAIQAX7MrRzQAAAJcBAAAQAAAAAAAAAAAAAAAAAPQvAAB4bC9jYWxjQ2hhaW4ueG1sUEsFBgAAAAAPAA8A3AMAAO8wAAAAAAUj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2AAAABUFyaWFsBncAAAAGK21uLWVhCXgAAAABAAl5AAAAByQAAAAAAQAAABEAAAAEFFN5c3RlbS5EcmF3aW5nLkNvbG9yBAAAAAV6AAAAFFN5c3RlbS5EcmF3aW5nLkNvbG9yBAAAAAV2YWx1ZQVzdGF0ZQprbm93bkNvbG9yBG5hbWUAAAABCQcHBAAAAAAAAAAAAAAAAAAAAAoBewAAAHoAAAAAAAD//////wIAAAAKAXwAAAB6AAAA//////////8CAAAACgF9AAAAegAAAE5BIv//////AgAAAAoBfgAAAHoAAADe3Nv//////wIAAAAKAX8AAAB6AAAAfmk///////8CAAAACgGAAAAAegAAAIyEcv//////AgAAAAoBgQAAAHoAAAAlIe3//////wIAAAAKAYIAAAB6AAAANDtG//////8CAAAACgGDAAAAegAAAHSYw///////AgAAAAoBhAAAAHoAAAAelPf//////wIAAAAKAYUAAAB6AAAAHpT3//////8CAAAACgGGAAAAegAAACUh7f//////AgAAAAoBhwAAAHoAAAAAAAD//////wIAAAAKAYgAAAB6AAAA//////////8CAAAACgGJAAAAegAAAE5BIv//////AgAAAAoBigAAAHoAAADe3Nv//////wIAAAAKBCUAAACYAVN5c3RlbS5Db2xsZWN0aW9ucy5HZW5lcmljLkxpc3RgMVtbQXBsb3Jpcy5CYXNlLk9iamVjdHMuRGF0YU9iamVjdCwgQXBsb3Jpcy5CYXNlLCBWZXJzaW9uPTQuMC4wLjE0ODYsIEN1bHR1cmU9bmV1dHJhbCwgUHVibGljS2V5VG9rZW49MTZmYzEzYTIyNmMwZTk1MV1dAwAAAAZfaXRlbXMFX3NpemUIX3ZlcnNpb24EAAAhQXBsb3Jpcy5CYXNlLk9iamVjdHMuRGF0YU9iamVjdFtdAwAAAAgICYsAAAANAAAAEQAAAAQmAAAAlQFTeXN0ZW0uQ29sbGVjdGlvbnMuR2VuZXJpYy5MaXN0YDFbW0FwbG9yaXMuQmFzZS5VSS5WaXN1YWxPYmplY3QsIEFwbG9yaXMuQmFzZSwgVmVyc2lvbj00LjAuMC4xNDg2LCBDdWx0dXJlPW5ldXRyYWwsIFB1YmxpY0tleVRva2VuPTE2ZmMxM2EyMjZjMGU5NTFdXQMAAAAGX2l0ZW1zBV9zaXplCF92ZXJzaW9uBAAAHkFwbG9yaXMuQmFzZS5VSS5WaXN1YWxPYmplY3RbXQMAAAAICAmMAAAAAQAAAAEAAAAFKAAAAJsBQXBsb3Jpcy5CYXNlLk9iamVjdHMuRGF0YU9iamVjdENvbGxlY3Rpb25gMVtbQXBsb3Jpcy5DaGFydC5WYWx1ZUxpbmU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AuMC4xNDg2LCBDdWx0dXJlPW5ldXRyYWwsIFB1YmxpY0tleVRva2VuPTE2ZmMxM2EyMjZjMGU5NTFdXQMAAACRAVN5c3RlbS5Db2xsZWN0aW9ucy5HZW5lcmljLkxpc3RgMVtbQXBsb3Jpcy5DaGFydC5WYWx1ZUxpbm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jQAAAAmOAAAACQYAAAAJAQAAAAmPAAAABSkAAACbAUFwbG9yaXMuQmFzZS5PYmplY3RzLkRhdGFPYmplY3RDb2xsZWN0aW9uYDFbW0FwbG9yaXMuQ2hhcnQuQXhpc0JyZWFr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wLjAuMTQ4NiwgQ3VsdHVyZT1uZXV0cmFsLCBQdWJsaWNLZXlUb2tlbj0xNmZjMTNhMjI2YzBlOTUxXV0DAAAAkQFTeXN0ZW0uQ29sbGVjdGlvbnMuR2VuZXJpYy5MaXN0YDFbW0FwbG9yaXMuQ2hhcnQuQXhpc0JyZWF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AAAAAJkQAAAAkGAAAACQEAAAAJkgAAAAUq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aAAAAAMAAAAJaQAAAAlqAAAACWsAAAABAAAAAAoKCWwAAAAAAAAACgAAAAAAAAAABS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gAAAADAAAACWkAAAAJagAAAAlrAAAAAQAAAAAKBpMAAAABJQlsAAAAAQAAAAoAAAAAAAAAAAUtAAAAmgFBcGxvcmlzLkJhc2UuT2JqZWN0cy5EYXRhT2JqZWN0Q29sbGVjdGlvbmAxW1tBcGxvcmlzLkNoYXJ0LlRpY2tNYXJr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AuMC4xNDg2LCBDdWx0dXJlPW5ldXRyYWwsIFB1YmxpY0tleVRva2VuPTE2ZmMxM2EyMjZjMGU5NTFdXQMAAACQAVN5c3RlbS5Db2xsZWN0aW9ucy5HZW5lcmljLkxpc3RgMVtbQXBsb3Jpcy5DaGFydC5UaWNrTWFy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UAAAACZUAAAAJBgAAAAkBAAAACZYAAAAFMA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XAAAAIQAAAPuQPULah45DAZgAAAAhAAAAXNQeRNqHjkMJmQAAALgBAAD/////AQEKCZoAAAABAAoABzEAAAAAAQAAAAUAAAAEFVN5c3RlbS5EcmF3aW5nLlBvaW50RgQAAAABmwAAACEAAABclB9E2oeOQwGcAAAAIQAAAPuQPULxZJdDAZ0AAAAhAAAAbK2qQ/Fkl0MBngAAACEAAABc1B5E8WSXQwGfAAAAIQAAAFyUH0TaB5FDBzIAAAAAAQAAAAUAAAAEF0FwbG9yaXMuQmFzZS5BbmNob3JNb2RlAwAAAAWgAAAAF0FwbG9yaXMuQmFzZS5BbmNob3JNb2RlAQAAAAd2YWx1ZV9fAAgDAAAABAAAAAGhAAAAoAAAAAUAAAABogAAAKAAAAADAAAAAaMAAACgAAAABgAAAAGkAAAAoAAAAAUAAAAPMwAAAAUAAAABAAAAAAEFNAAAABVBcGxvcmlzLkJhc2UuVUkuTGFiZWwcAAAAD21BbmNob3JQb3NpdGlvbgttQW5jaG9yTW9kZQ9tQWRkSW5uZXJNYXJnaW4WbU9mZnNldERpcmVjdGlvbkFuY2hvchdtT2Zmc2V0T3J0aG9nb25hbEFuY2hvcgttVGV4dEZvcm1hdAltUm90YXRpb24KbUJhY2tDb2xvcg1tVXNlQmFja0NvbG9yDm1Vc2V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BAQEAAEDAwEAAAAABwIAAAMA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MAAAABpQAAACEAAABclB9E2oeOQwGmAAAAoAAAAAQAAAAAAAAAAAAAAAAJpwAAAAAAAAAJqAAAAAAABakAAAAqQXBsb3Jpcy5CYXNlLlVJLkxhYmVsK0xpbmVBbGlnbm1lbnRPcHRpb25zAQAAAAd2YWx1ZV9fAAgDAAAAAAAAAAGqAAAAcgAAAAAAAAAAAAAAAasAAAAVAAAAAAAAAAAAAAAAAAAAAAAAAAAAAAAGrAAAAA1DYXRlZ29yeSBheGlzCgmtAAAACawAAADkAgAA/////wABCgmuAAAAAQAKAAE1AAAAJQAAAAmvAAAABgAAAAYAAAABNgAAACYAAAAJsAAAAAIAAAACAAAAATgAAAAoAAAACgmxAAAACbIAAAAJBwAAAAkBAAAACbMAAAABOQAAACkAAAAKCbQAAAAJtQAAAAkHAAAACQEAAAAJtgAAAAU6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oAAAAAwAAAAlpAAAACWoAAAAJawAAAAEAAAAACgmTAAAACWwAAAAAAAAACgAAAAAAAAAABT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gAAAADAAAACWkAAAAJagAAAAlrAAAAAQAAAAAKBrcAAAABJQlsAAAAAAAAAAoAAAAAAAAAAAU8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BAAAAAQloAAAAAwAAAAlpAAAACWoAAAAJawAAAAEAAAAACgmTAAAACWwAAAABAAAACgAAAAAAAAAAAT0AAAAtAAAACgm4AAAACbkAAAAJBwAAAAkBAAAACboAAAABQAAAADAAAAABuwAAACEAAAD7kD1C2oeOQwG8AAAAIQAAAPuQPUKvmYRBCb0AAAC4AQAA/////wEBCgm+AAAAAQAKAAdBAAAAAAEAAAAFAAAABBVTeXN0ZW0uRHJhd2luZy5Qb2ludEYEAAAAAb8AAAAhAAAA+5A9QuphI0EBwAAAACEAAACkDCNB2oeOQwHBAAAAIQAAAKQMI0F10RZDAcIAAAAhAAAApAwjQa+ZhEEBwwAAACEAAACkDCNB6mEjQQdCAAAAAAEAAAAFAAAABBdBcGxvcmlzLkJhc2UuQW5jaG9yTW9kZQMAAAABxAAAAKAAAAABAAAAAcUAAACgAAAACAAAAAHGAAAAoAAAAAIAAAABxwAAAKAAAAAGAAAAAcgAAACgAAAABwAAAA9DAAAABQAAAAEAAAAAAQFEAAAANAAAAAHJAAAAIQAAAPuQPULqYSNBAcoAAACgAAAAAQAAAAAAAAAAAAAAAAnLAAAAAAAAAAnMAAAAAAABzQAAAKkAAAAAAAAAAc4AAAByAAAAAAAAAAAAAAABzwAAABUAAAAAAAAAAAAAAAAAAAAAAAAAAAAAAAbQAAAAClZhbHVlIGF4aXMKCdEAAAAJ0AAAAOQCAAD/////AAEKCdIAAAABAAoAAUUAAAAlAAAACdMAAAAHAAAABwAAAAFGAAAAJgAAAAnUAAAAAgAAAAIAAAAHRwAAAAABAAAAAAAAAAQuQXBsb3Jpcy5DaGFydC5Db2x1bW5PcmllbnRlZENoYXJ0K1VudXNlZFNlcmllcwIAAAAESA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1QAAAAMAAABOAQAAAUkAAAAlAAAACdYAAAADAAAAewAAAAFKAAAAJgAAAAnXAAAAAAAAAAAAAAAESw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dgAAAAAAAAAAAAAAAFMAAAAJQAAAAnZAAAAAAAAAAAAAAABTQAAACYAAAAJ1wAAAAAAAAAAAAAABE4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doAAAAAAAAAAAAAAAFPAAAAJQAAAAnZAAAAAAAAAAAAAAABUAAAACYAAAAJ1wAAAAAAAAAAAAAABFE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bAAAABAAAACwAAAABUgAAACUAAAAJ3AAAAAQAAAAcAAAAAVMAAAAmAAAACdcAAAAAAAAAAAAAAARU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3QAAAAAAAAAAAAAAAVUAAAAlAAAACdkAAAAAAAAAAAAAAAFWAAAAJgAAAAnXAAAAAAAAAAAAAAAEVw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d4AAAAAAAAAAAAAAAFYAAAAJQAAAAnZAAAAAAAAAAAAAAABWQAAACYAAAAJ1wAAAAAAAAAAAAAABFo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fAAAAAAAAAAAAAAABWwAAACUAAAAJ2QAAAAAAAAAAAAAAAVwAAAAmAAAACdcAAAAAAAAAAAAAAARd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gAAAAAAAAAAAAAAABXgAAACUAAAAJ2QAAAAAAAAAAAAAAAV8AAAAmAAAACdcAAAAAAAAAAAAAAARg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eEAAAAAAAAAAAAAAAFhAAAAJQAAAAnZAAAAAAAAAAAAAAABYgAAACYAAAAJ1wAAAAAAAAAAAAAABWMAAACtAUFwbG9yaXMuQmFzZS5PYmplY3RzLkRhdGFPYmplY3RDb2xsZWN0aW9uYDFbW0FwbG9yaXMuQ2hhcnQuQ29sdW1uT3JpZW50ZWRMZWdlbmR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qwFBcGxvcmlzLkJhc2UuT2JqZWN0cy5Tb3J0YWJsZUNvbGxlY3Rpb25gMVtbQXBsb3Jpcy5DaGFydC5Db2x1bW5PcmllbnRlZExlZ2VuZEVsZW1lbnQsIEFwbG9yaXMuQ2hhcnQsIFZlcnNpb249NC4wLjAuMTQ4NiwgQ3VsdHVyZT1uZXV0cmFsLCBQdWJsaWNLZXlUb2tlbj0xNmZjMTNhMjI2YzBlOTUxXV0DAAAAowFTeXN0ZW0uQ29sbGVjdGlvbnMuR2VuZXJpYy5MaXN0YDFbW0FwbG9yaXMuQ2hhcnQuQ29sdW1uT3JpZW50ZWRMZWdlbmR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eIAAAAJ4wAAAAkUAAAACQEAAAAJ5AAAAAFlAAAAHAAAAAHlAAAAIQAAAFdRR0Kji5pDAeYAAAAhAAAAFI2FQ6MLp0MJ5wAAAAnoAAAAAAAAAAoB6QAAAHIAAAAAAAAAAAAAAAHqAAAAcgAAAAAAAAAAAAAAAAAAAAHrAAAAFQAAAAAAAAAAAAAAAAAAAAAAAACkAQAA/////wEBCgnsAAAAAQAKAAFmAAAAJQAAAAntAAAAAQAAAAEAAAABZwAAACYAAAAJ7gAAAAEAAAABAAAABXA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7wAAAAnwAAAAAQAAAP7///8BAAAAAQAAAAEAAAABAAAAAQAAAAEAAAAAAAEFcQ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xAAAACfIAAAABAAAAAAAAAAAAAAAAAAAAAAEFdQAAAB9BcGxvcmlzLkJhc2UuT2JqZWN0cy5QZXJzSWREYXRhAgAAAANtSWQLbUN1c3RvbURhdGEHAggDAAAACfMAAAAKBXgAAAAaQXBsb3Jpcy5CYXNlLk9iamVjdHMuQ29sb3IHAAAAEkRhdGFPYmplY3QrbVBhcmVudBVEYXRhT2JqZWN0K21Db250YWluZXIFbVR5cGUEbVJHQhBtVGhlbWVDb2xvckluZGV4DG1BdXRvVXBkYXRlZAltTW9kaWZpZWQCAgAAAAAACAgIAQEDAAAACgoAAAAAAAAAAA0AAAAAAQF5AAAAeAAAAAoKAQAAAAAAAAD/////AAEHiwAAAAABAAAAEAAAAAQfQXBsb3Jpcy5CYXNlLk9iamVjdHMuRGF0YU9iamVjdAMAAAAJCQAAAAkKAAAACQsAAAAJDAAAAAkQAAAACREAAAAJDQAAAAkOAAAACQ8AAAAJBwAAAAkGAAAACRgAAAAJFAAAAA0DB4wAAAAAAQAAAAQAAAAEHEFwbG9yaXMuQmFzZS5VSS5WaXN1YWxPYmplY3QDAAAACRwAAAANAwSNAAAAkQFTeXN0ZW0uQ29sbGVjdGlvbnMuR2VuZXJpYy5MaXN0YDFbW0FwbG9yaXMuQ2hhcnQuVmFsdWVMaW5lLCBBcGxvcmlzLkNoYXJ0LCBWZXJzaW9uPTQuMC4wLjE0ODYsIEN1bHR1cmU9bmV1dHJhbCwgUHVibGljS2V5VG9rZW49MTZmYzEzYTIyNmMwZTk1MV1dAwAAAAZfaXRlbXMFX3NpemUIX3ZlcnNpb24EAAAZQXBsb3Jpcy5DaGFydC5WYWx1ZUxpbmVbXQIAAAAICAn0AAAAAAAAAAAAAAABjgAAACUAAAAJ2QAAAAAAAAAAAAAAAY8AAAAmAAAACdcAAAAAAAAAAAAAAASQAAAAkQFTeXN0ZW0uQ29sbGVjdGlvbnMuR2VuZXJpYy5MaXN0YDFbW0FwbG9yaXMuQ2hhcnQuQXhpc0JyZWFrLCBBcGxvcmlzLkNoYXJ0LCBWZXJzaW9uPTQuMC4wLjE0ODYsIEN1bHR1cmU9bmV1dHJhbCwgUHVibGljS2V5VG9rZW49MTZmYzEzYTIyNmMwZTk1MV1dAwAAAAZfaXRlbXMFX3NpemUIX3ZlcnNpb24EAAAZQXBsb3Jpcy5DaGFydC5BeGlzQnJlYWtbXQIAAAAICAn1AAAAAAAAAAAAAAABkQAAACUAAAAJ2QAAAAAAAAAAAAAAAZIAAAAmAAAACdcAAAAAAAAAAAAAAASUAAAAkAFTeXN0ZW0uQ29sbGVjdGlvbnMuR2VuZXJpYy5MaXN0YDFbW0FwbG9yaXMuQ2hhcnQuVGlja01hcmssIEFwbG9yaXMuQ2hhcnQsIFZlcnNpb249NC4wLjAuMTQ4NiwgQ3VsdHVyZT1uZXV0cmFsLCBQdWJsaWNLZXlUb2tlbj0xNmZjMTNhMjI2YzBlOTUxXV0DAAAABl9pdGVtcwVfc2l6ZQhfdmVyc2lvbgQAABhBcGxvcmlzLkNoYXJ0LlRpY2tNYXJrW10CAAAACAgJ9gAAAAAAAAAAAAAAAZUAAAAlAAAACdkAAAAAAAAAAAAAAAGWAAAAJgAAAAnXAAAAAAAAAAAAAAABmQAAAHAAAAAKCgAAAEA/CfcAAAAJ+AAAAAEAAAD+////AAAAAAEAAAAAAAAAAAAAAAEAAAAAAAAAAAAAAZoAAAB1AAAACfkAAAAKBac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2AAAACXcAAAAJ+gAAAAEACfsAAAABqAAAAHgAAAAKCgEAAAAAAAAA/////wABBK0AAACWAVN5c3RlbS5Db2xsZWN0aW9ucy5HZW5lcmljLkxpc3RgMVtbQXBsb3Jpcy5CYXNlLk9iamVjdHMuVmFyaWFibGUsIEFwbG9yaXMuQmFzZSwgVmVyc2lvbj00LjAuMC4xNDg2LCBDdWx0dXJlPW5ldXRyYWwsIFB1YmxpY0tleVRva2VuPTE2ZmMxM2EyMjZjMGU5NTFdXQMAAAAGX2l0ZW1zBV9zaXplCF92ZXJzaW9uBAAAH0FwbG9yaXMuQmFzZS5PYmplY3RzLlZhcmlhYmxlW10DAAAACAgJ/AAAAAAAAAAAAAAAAa4AAAB1AAAACf0AAAAKB68AAAAAAQAAAAgAAAAEH0FwbG9yaXMuQmFzZS5PYmplY3RzLkRhdGFPYmplY3QDAAAACSoAAAAJKwAAAAksAAAACS0AAAAJKAAAAAkpAAAACgoHsAAAAAABAAAABAAAAAQcQXBsb3Jpcy5CYXNlLlVJLlZpc3VhbE9iamVjdAMAAAAJMAAAAAk0AAAACgoBsQAAAI0AAAAJ9AAAAAAAAAAAAAAAAbIAAAAlAAAACdkAAAAAAAAAAAAAAAGzAAAAJgAAAAnXAAAAAAAAAAAAAAABtAAAAJAAAAAJ9QAAAAAAAAAAAAAAAbUAAAAlAAAACdkAAAAAAAAAAAAAAAG2AAAAJgAAAAnXAAAAAAAAAAAAAAABuAAAAJQAAAAJ/gAAAAsAAAAhAAAAAbkAAAAlAAAACf8AAAALAAAAIQAAAAG6AAAAJgAAAAnXAAAAAAAAAAAAAAABvQAAAHAAAAAKCgAAAEA/CQABAAAJAQEAAAEAAAD+////AAAAAAEAAAAAAAAAAAAAAAEAAAAAAAAAAAAAAb4AAAB1AAAACQIBAAAKBcs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2AAAACXcAAAAJAwEAAAEACQQBAAABzAAAAHgAAAAKCgEAAAAAAAAA/////wABAdEAAACtAAAACfwAAAAAAAAAAAAAAAHSAAAAdQAAAAkFAQAACgfTAAAAAAEAAAAIAAAABB9BcGxvcmlzLkJhc2UuT2JqZWN0cy5EYXRhT2JqZWN0AwAAAAk6AAAACTsAAAAJPAAAAAk9AAAACTgAAAAJOQAAAAkGAQAACgfUAAAAAAEAAAAEAAAABBxBcGxvcmlzLkJhc2UuVUkuVmlzdWFsT2JqZWN0AwAAAAlAAAAACUQAAAAKCgfVAAAAAAEAAAAgAAAABB1BcGxvcmlzLkNoYXJ0LkNoYXJ0RGF0YVNlcmllcwIAAAAJBwEAAAkIAQAACQkBAAANHQfWAAAAAAEAAAAgAAAABB9BcGxvcmlzLkJhc2UuT2JqZWN0cy5EYXRhT2JqZWN0AwAAAAkJAQAACQgBAAAJBwEAAA0dB9cAAAAAAQAAAAAAAAAEHEFwbG9yaXMuQmFzZS5VSS5WaXN1YWxPYmplY3QDAAAAB9gAAAAAAQAAAAAAAAAEIkFwbG9yaXMuQ2hhcnQuQW5ub3RhdGlvbkRhdGFTZXJpZXMCAAAAB9kAAAAAAQAAAAAAAAAEH0FwbG9yaXMuQmFzZS5PYmplY3RzLkRhdGFPYmplY3QDAAAAB9oAAAAAAQAAAAAAAAAEHUFwbG9yaXMuQ2hhcnQuQW5ub3RhdGlvbkdyb3VwAgAAAAfbAAAAAAEAAAAQAAAABBxBcGxvcmlzLkNoYXJ0LkNoYXJ0RGF0YUdyb3VwAgAAAAkKAQAACQsBAAAJDAEAAAkNAQAADQwH3AAAAAABAAAAEAAAAAQfQXBsb3Jpcy5CYXNlLk9iamVjdHMuRGF0YU9iamVjdAMAAAAJCgEAAAkMAQAACQsBAAAJDQEAAA0MB90AAAAAAQAAAAAAAAAEFkFwbG9yaXMuQ2hhcnQuRGVsdGFCYXICAAAAB94AAAAAAQAAAAAAAAAEGUFwbG9yaXMuQ2hhcnQuRGVsdGFCcmlkZ2UCAAAAB98AAAAAAQAAAAAAAAAEGUFwbG9yaXMuQ2hhcnQuR3Jvd3RoQXJyb3cCAAAAB+AAAAAAAQAAAAAAAAAEIEFwbG9yaXMuQ2hhcnQuV2F0ZXJmYWxsQ29ubmVjdG9yAgAAAAfhAAAAAAEAAAAAAAAABB5BcGxvcmlzLkNoYXJ0LkVsZW1lbnRDb25uZWN0b3ICAAAABOIAAACjAVN5c3RlbS5Db2xsZWN0aW9ucy5HZW5lcmljLkxpc3RgMVtbQXBsb3Jpcy5DaGFydC5Db2x1bW5PcmllbnRlZExlZ2VuZEVsZW1lbnQsIEFwbG9yaXMuQ2hhcnQsIFZlcnNpb249NC4wLjAuMTQ4NiwgQ3VsdHVyZT1uZXV0cmFsLCBQdWJsaWNLZXlUb2tlbj0xNmZjMTNhMjI2YzBlOTUxXV0DAAAABl9pdGVtcwVfc2l6ZQhfdmVyc2lvbgQAACtBcGxvcmlzLkNoYXJ0LkNvbHVtbk9yaWVudGVkTGVnZW5kRWxlbWVudFtdAgAAAAgICQ4BAAADAAAAEgAAAAHjAAAAJQAAAAkPAQAAAwAAAAMAAAAB5AAAACYAAAAJEAEAAAAAAAAAAAAAAecAAABwAAAACgoAAAAAAAkRAQAACRIBAAABAAAA/v///wEAAAABAAAAAQAAAAEAAAABAAAAAQAAAAAAAQHoAAAAcQAAAAoKCRMBAAAJFAEAAAEAAAAAAAAAAAAAAAAAAAAAAQHsAAAAdQAAAAkVAQAACgftAAAAAAEAAAAEAAAABB9BcGxvcmlzLkJhc2UuT2JqZWN0cy5EYXRhT2JqZWN0AwAAAAljAAAADQMH7gAAAAABAAAABAAAAAQcQXBsb3Jpcy5CYXNlLlVJLlZpc3VhbE9iamVjdAMAAAAJZQAAAA0DAe8AAAB4AAAACgoAAAAAAAAAAA0AAAAAAQHwAAAAeAAAAAoKAQAAAAAAAAD/////AAEB8QAAAHgAAAAKCgEAAAD///8A/////wABAfIAAAB4AAAACgoBAAAAAAAAAP////8AAQ/zAAAAAQAAAAgAAAAAB/QAAAAAAQAAAAAAAAAEF0FwbG9yaXMuQ2hhcnQuVmFsdWVMaW5lAgAAAAf1AAAAAAEAAAAAAAAABBdBcGxvcmlzLkNoYXJ0LkF4aXNCcmVhawIAAAAH9gAAAAABAAAAAAAAAAQWQXBsb3Jpcy5DaGFydC5UaWNrTWFyawIAAAAF9wAAABpBcGxvcmlzLkJhc2UuT2JqZWN0cy5Db2xvcgcAAAASRGF0YU9iamVjdCttUGFyZW50FURhdGFPYmplY3QrbUNvbnRhaW5lcgVtVHlwZQRtUkdCEG1UaGVtZUNvbG9ySW5kZXgMbUF1dG9VcGRhdGVkCW1Nb2RpZmllZAQCAAAAAAAfQXBsb3Jpcy5CYXNlLk9iamVjdHMuTGluZUZvcm1hdAMAAAAICAgBAQMAAAAJmQAAAAoAAAAAAAAAAA0AAAAAAAX4AAAAGkFwbG9yaXMuQmFzZS5PYmplY3RzLkNvbG9yBwAAABJEYXRhT2JqZWN0K21QYXJlbnQVRGF0YU9iamVjdCttQ29udGFpbmVyBW1UeXBlBG1SR0IQbVRoZW1lQ29sb3JJbmRleAxtQXV0b1VwZGF0ZWQJbU1vZGlmaWVkBAIAAAAAAB9BcGxvcmlzLkJhc2UuT2JqZWN0cy5MaW5lRm9ybWF0AwAAAAgICAEBAwAAAAmZAAAACgEAAAAAAAAA/////wABD/kAAAABAAAACEkDAAAB+gAAAHgAAAAKCgAAAAAAAAAADQAAAAABAfsAAAB4AAAACgoBAAAAAAAAAP////8AAQf8AAAAAAEAAAAAAAAABB1BcGxvcmlzLkJhc2UuT2JqZWN0cy5WYXJpYWJsZQMAAAAP/QAAAAEAAAAIAAAAAAf+AAAAAAEAAAAQAAAABBZBcGxvcmlzLkNoYXJ0LlRpY2tNYXJrAgAAAAkWAQAACRcBAAAJGAEAAAkZAQAACRoBAAAJGwEAAAkcAQAACR0BAAAJHgEAAAkfAQAACSABAAANBQf/AAAAAAEAAAAQAAAABB9BcGxvcmlzLkJhc2UuT2JqZWN0cy5EYXRhT2JqZWN0AwAAAAkWAQAACRcBAAAJGAEAAAkZAQAACRoBAAAJGwEAAAkcAQAACR0BAAAJHgEAAAkfAQAACSABAAANBQUAAQAAGkFwbG9yaXMuQmFzZS5PYmplY3RzLkNvbG9yBwAAABJEYXRhT2JqZWN0K21QYXJlbnQVRGF0YU9iamVjdCttQ29udGFpbmVyBW1UeXBlBG1SR0IQbVRoZW1lQ29sb3JJbmRleAxtQXV0b1VwZGF0ZWQJbU1vZGlmaWVkBAIAAAAAAB9BcGxvcmlzLkJhc2UuT2JqZWN0cy5MaW5lRm9ybWF0AwAAAAgICAEBAwAAAAm9AAAACgAAAAAAAAAADQAAAAAABQEBAAAaQXBsb3Jpcy5CYXNlLk9iamVjdHMuQ29sb3IHAAAAEkRhdGFPYmplY3QrbVBhcmVudBVEYXRhT2JqZWN0K21Db250YWluZXIFbVR5cGUEbVJHQhBtVGhlbWVDb2xvckluZGV4DG1BdXRvVXBkYXRlZAltTW9kaWZpZWQEAgAAAAAAH0FwbG9yaXMuQmFzZS5PYmplY3RzLkxpbmVGb3JtYXQDAAAACAgIAQEDAAAACb0AAAAKAQAAAAAAAAD/////AAEPAgEAAAEAAAAISgMAAAEDAQAAeAAAAAoKAAAAAAAAAAANAAAAAAEBBAEAAHgAAAAKCgEAAAAAAAAA/////wABDwUBAAABAAAACAAAAAAFBg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aAAAAAMAAAAJaQAAAAlqAAAACWsAAAABAAAAAAoJkwAAAAlsAAAAAQAAAAoAAAAAAAAAAAUHAQ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C4wLjE0ODY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BIQEAABMAAAAAAAAAAgAAAP////8JBwAAAAkiAQAABiMBAAAFQWdyZWUKCgAAAAAAAAAAAAAAAAoKAAkkAQAACSUBAAAJJgEAAAAAAAAAAAAAAAAAAAAAAAAAAAknAQAACQEAAAAJAQAAAAkoAQAAAQgBAAAHAQAACQEAAAABKQEAABMAAAAAAAAAAwAAAP////8JBwAAAAkqAQAABisBAAAHTmV1dHJhbAoKAAAAAAAAAAAAAAAACgoACSwBAAAJLQEAAAkuAQAAAAAAAAABAAAAAAAAAAAAAAAACS8BAAAJAQAAAAkBAAAACTABAAABCQEAAAcBAAAJAQAAAAExAQAAEwAAAAAAAAAEAAAA/////wkHAAAACTIBAAAGMwEAAAhEaXNhZ3JlZQoKAAAAAAAAAAAAAAAACgoACTQBAAAJNQEAAAk2AQAAAAAAAAACAAAAAAAAAAAAAAAACTcBAAAJAQAAAAkBAAAACTgBAAAFCg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Y5AQAABVRvdGFsAAU6AQAAHkFwbG9yaXMuQ2hhcnQuQ2hhcnRHcm91cEFuY2hvcgEAAAAHdmFsdWVfXwAIAgAAAAAAAAAKAAAAAAEAAAABAAAACTsBAAAJPAEAAAk9AQAACgkHAAAACT4BAAAJAQAAAAkBAAAACT8BAAABCwEAAAoBAAAJAQAAAAZAAQAACUludGVuc2l2ZQABQQEAADoBAAAAAAAACgAAAAABAAAAAQAAAAlCAQAACUMBAAAJRAEAAAoJBwAAAAlFAQAACQEAAAAJAQAAAAlGAQAAAQwBAAAKAQAACQEAAAAGRwEAAAhNb2RlcmF0ZQABSAEAADoBAAAAAAAACgAAAAABAAAAAQAAAAlJAQAACUoBAAAJSwEAAAoJBwAAAAlMAQAACQEAAAAJAQAAAAlNAQAAAQ0BAAAKAQAACQEAAAAGTgEAAAdMaW1pdGVkAAFPAQAAOgEAAAAAAAAKAAAAAAEAAAABAAAACVABAAAJUQEAAAlSAQAACgkHAAAACVMBAAAJAQAAAAkBAAAACVQBAAAHDgEAAAABAAAABAAAAAQpQXBsb3Jpcy5DaGFydC5Db2x1bW5PcmllbnRlZExlZ2VuZEVsZW1lbnQCAAAACVUBAAAJVgEAAAlXAQAACgcPAQAAAAEAAAAEAAAABB9BcGxvcmlzLkJhc2UuT2JqZWN0cy5EYXRhT2JqZWN0AwAAAAlVAQAACVYBAAAJVwEAAAoHEAEAAAABAAAAAAAAAAQcQXBsb3Jpcy5CYXNlLlVJLlZpc3VhbE9iamVjdAMAAAABEQEAAHgAAAAKCgAAAAAAAAAADQAAAAABARIBAAB4AAAACgoBAAAAAAAAAP////8AAQETAQAAeAAAAAoKAQAAAP///wD/////AAEBFAEAAHgAAAAKCgEAAAAAAAAA/////wABDxUBAAABAAAACAAAAAAFFgE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VgBAAAKCVkBAAAJBwAAAAEAAAAAAAAAAAFaAQAAIQAAAPuQPULah45DAVsBAAAhAAAA+5AtQtqHjkMACVwBAAAJBwAAAAkBAAAACV0BAAABFwEAABYBAAAJXgEAAAoJXwEAAAkHAAAAAZqZmZmZmbk/AWABAAAhAAAA+5A9QjobgUMBYQEAACEAAAD7kC1COhuBQwAJYgEAAAkHAAAACQEAAAAJYwEAAAEYAQAAFgEAAAlkAQAACgllAQAACQcAAAABmpmZmZmZyT8BZgEAACEAAAD7kD1CNF1nQwFnAQAAIQAAAPuQLUI0XWdDAAloAQAACQcAAAAJAQAAAAlpAQAAARkBAAAWAQAACWoBAAAKCWsBAAAJBwAAAAEzMzMzMzPTPwFsAQAAIQAAAPuQPUL1g0xDAW0BAAAhAAAA+5AtQvWDTEMACW4BAAAJBwAAAAkBAAAACW8BAAABGgEAABYBAAAJcAEAAAoJcQEAAAkHAAAAAZqZmZmZmdk/AXIBAAAhAAAA+5A9QrWqMUMBcwEAACEAAAD7kC1CtaoxQwAJdAEAAAkHAAAACQEAAAAJdQEAAAEbAQAAFgEAAAl2AQAACgl3AQAACQcAAAABAAAAAAAA4D8BeAEAACEAAAD7kD1CddEWQwF5AQAAIQAAAPuQLUJ10RZDAAl6AQAACQcAAAAJAQAAAAl7AQAAARwBAAAWAQAACXwBAAAKCX0BAAAJBwAAAAEzMzMzMzPjPwF+AQAAIQAAAPuQPUJq8PdCAX8BAAAhAAAA+5AtQmrw90IACYABAAAJBwAAAAkBAAAACYEBAAABHQEAABYBAAAJggEAAAoJgwEAAAkHAAAAAWZmZmZmZuY/AYQBAAAhAAAA+5A9Qus9wkIBhQEAACEAAAD7kC1C6z3CQgAJhgEAAAkHAAAACQEAAAAJhwEAAAEeAQAAFgEAAAmIAQAACgmJAQAACQcAAAABmpmZmZmZ6T8BigEAACEAAAD7kD1Ca4uMQgGLAQAAIQAAAPuQLUJri4xCAAmMAQAACQcAAAAJAQAAAAmNAQAAAR8BAAAWAQAACY4BAAAKCY8BAAAJBwAAAAHNzMzMzMzsPwGQAQAAIQAAAPuQPULXsS1CAZEBAAAhAAAA+5AtQtexLUIACZIBAAAJBwAAAAkBAAAACZMBAAABIAEAABYBAAAJlAEAAAoJlQEAAAkHAAAAAQAAAAAAAPA/AZYBAAAhAAAA+5A9Qq+ZhEEBlwEAACEAAAD7kC1Cr5mEQQAJmAEAAAkHAAAACQEAAAAJmQEAAAUiAQAAogFBcGxvcmlzLkJhc2UuT2JqZWN0cy5EYXRhT2JqZWN0Q29sbGVjdGlvbmAxW1tBcGxvcmlzLkNoYXJ0LkNoYXJ0RGF0YU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wLjAuMTQ4NiwgQ3VsdHVyZT1uZXV0cmFsLCBQdWJsaWNLZXlUb2tlbj0xNmZjMTNhMjI2YzBlOTUxXV0DAAAAmAFTeXN0ZW0uQ29sbGVjdGlvbnMuR2VuZXJpYy5MaXN0YDFbW0FwbG9yaXMuQ2hhcnQuQ2hhcnREYXRh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aAQAACZsBAAAJBwEAAAkBAAAACZwBAAAFJAEAABxBcGxvcmlzLkNoYXJ0LkNvbm5lY3RlZExhYmVsJA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CAAAAClgCAAAFnQEAACtBcGxvcmlzLkNoYXJ0LkNvbm5lY3RlZExhYmVsK2VDb25uZWN0b3JNb2RlAQAAAAd2YWx1ZV9fAAgCAAAAAQAAAAWeAQAANkFwbG9yaXMuQ2hhcnQuQ29ubmVjdGVkTGFiZWwrZUFuZ2xlZENvbm5lY3RvckRpcmVjdGlvbgEAAAAHdmFsdWVfXwAIAgAAAAAAAAABnwEAABUAAABQuQFEXI+DQyC6q0Lgh5dBBaABAAAtQXBsb3Jpcy5DaGFydC5Db25uZWN0ZWRMYWJlbCtlVGFyZ2V0QXJlYVNoYXBlAQAAAAd2YWx1ZV9fAAgCAAAAAAAAAAAAEEEBAaEBAAAhAAAAlDAZRJtLiEMBogEAAKAAAAAEAAAAAAAAAAAAAAAACaMBAAAAAAAACaQBAAAAAAGlAQAAqQAAAAAAAAABpgEAAHIAAAAAAAxCAABgQQGnAQAAFQAAAAAAAAAAAAAAAAAAAAAAAABeutk/CSMBAAAKCagBAAAGqQEAAAAgAwAA/////wABCgmqAQAAAQAKAAclAQAAAAEAAAACAAAABBVTeXN0ZW0uRHJhd2luZy5Qb2ludEYEAAAAAasBAAAhAAAAlDAZRJtLiEMBrAEAACEAAAD7kClC8uKAQwcmAQAAAAEAAAACAAAABBdBcGxvcmlzLkJhc2UuQW5jaG9yTW9kZQMAAAABrQEAAKAAAAAEAAAAAa4BAACgAAAAAgAAAAEnAQAAJQAAAAmvAQAAAQAAAAEAAAABKAEAACYAAAAJsAEAAAEAAAABAAAAASoBAAAiAQAACgmxAQAACbIBAAAJCAEAAAkBAAAACbMBAAABLAEAACQBAAAKWAIAAAG0AQAAnQEAAAEAAAABtQEAAJ4BAAAAAAAAAbYBAAAVAAAAULkBRMjg5UIguqtCVC4OQwG3AQAAoAEAAAAAAAAAABBBAQG4AQAAIQAAAJQwGUSOBzpDAbkBAACgAAAABAAAAAAAAAAAAAAAAAm6AQAAAAAAAAm7AQAAAAABvAEAAKkAAAAAAAAAAb0BAAByAAAAAAAoQgAAYEEBvgEAABUAAAAAAAAAAAAAAAAAAAAAAAAAXrrZPwkrAQAACgm/AQAACakBAAAgAwAA/////wABCgnAAQAAAQAKAActAQAAAAEAAAACAAAABBVTeXN0ZW0uRHJhd2luZy5Qb2ludEYEAAAAAcEBAAAhAAAAlDAZRI4HOkMBwgEAACEAAAD7kClC1nIeQwcuAQAAAAEAAAACAAAABBdBcGxvcmlzLkJhc2UuQW5jaG9yTW9kZQMAAAABwwEAAKAAAAAEAAAAAcQBAACgAAAAAgAAAAEvAQAAJQAAAAnFAQAAAQAAAAEAAAABMAEAACYAAAAJxgEAAAEAAAABAAAAATIBAAAiAQAACgnHAQAACcgBAAAJCQEAAAkBAAAACckBAAABNAEAACQBAAAKWAIAAAHKAQAAnQEAAAEAAAABywEAAJ4BAAAAAAAAAcwBAAAVAAAAULkBRK+ZnEEguqtCXLqyQgHNAQAAoAEAAAAAAAAAABBBAQHOAQAAIQAAAJQwGUSag4BCAc8BAACgAAAABAAAAAAAAAAAAAAAAAnQAQAAAAAAAAnRAQAAAAAB0gEAAKkAAAAAAAAAAdMBAAByAAAAAABQQgAAYEEB1AEAABUAAAAAAAAAAAAAAAAAAAAAAAAAXrrZPwkzAQAACgnVAQAACakBAAAgAwAA/////wABCgnWAQAAAQAKAAc1AQAAAAEAAAACAAAABBVTeXN0ZW0uRHJhd2luZy5Qb2ludEYEAAAAAdcBAAAhAAAAlDAZRJqDgEIB2AEAACEAAAD7kClCovlNQgc2AQAAAAEAAAACAAAABBdBcGxvcmlzLkJhc2UuQW5jaG9yTW9kZQMAAAAB2QEAAKAAAAAEAAAAAdoBAACgAAAAAgAAAAE3AQAAJQAAAAnbAQAAAQAAAAEAAAABOAEAACYAAAAJ3AEAAAEAAAABAAAADzsBAAABAAAACAAAAAAHPAEAAAABAAAAAQAAAAQVQXBsb3Jpcy5CYXNlLlVJLkxhYmVsAwAAAAndAQAAAT0BAAA0AAAAAd4BAAAhAAAAysPxQtoHkUMB3wEAAKAAAAADAAAAAAAAAAAAAAAACeABAAAAAAAACeEBAAAAAAHiAQAAqQAAAAAAAAAB4wEAAHIAAAAAAOhBAABgQQHkAQAAFQAAAC661EIAAJFDBSDuQeiiS0Feutk/CTkBAAAKCeUBAAAJqQEAACADAAD/////AQEKCeYBAAABAAoAAT4BAAAlAAAACdkAAAAAAAAAAAAAAAE/AQAAJgAAAAnnAQAAAgAAAAwAAAAPQgEAAAEAAAAIAAAAAAdDAQAAAAEAAAABAAAABBVBcGxvcmlzLkJhc2UuVUkuTGFiZWwDAAAACegBAAABRAEAADQAAAAB6QEAACEAAACY7oVD2geRQwHqAQAAoAAAAAMAAAAAAAAAAAAAAAAJ6wEAAAAAAAAJ7AEAAAAAAe0BAACpAAAAAAAAAAHuAQAAcgAAAAAAUEIAAGBBAe8BAAAVAAAALrpyQwAAkUPrskpC6KJLQV662T8JQAEAAAoJ8AEAAAmpAQAAIAMAAP////8BAQoJ8QEAAAEACgABRQEAACUAAAAJ8gEAAAAAAAAAAAAAAUYBAAAmAAAACfMBAAACAAAABAAAAA9JAQAAAQAAAAgAAAAAB0oBAAAAAQAAAAEAAAAEFUFwbG9yaXMuQmFzZS5VSS5MYWJlbAMAAAAJ9AEAAAFLAQAANAAAAAH1AQAAIQAAAD5sz0PaB5FDAfYBAACgAAAAAwAAAAAAAAAAAAAAAAn3AQAAAAAAAAn4AQAAAAAB+QEAAKkAAAAAAAAAAfoBAAByAAAAAABcQgAAYEEB+wEAABUAAABGF8JDAACRQ6WbVULooktBXrrZPwlHAQAACgn8AQAACakBAAAgAwAA/////wEBCgn9AQAAAQAKAAFMAQAAJQAAAAn+AQAAAAAAAAAAAAABTQEAACYAAAAJ/wEAAAIAAAAEAAAAD1ABAAABAAAACAAAAAAHUQEAAAABAAAAAQAAAAQVQXBsb3Jpcy5CYXNlLlVJLkxhYmVsAwAAAAkAAgAAAVIBAAA0AAAAAQECAAAhAAAA8nQMRNoHkUMBAgIAAKAAAAADAAAAAAAAAAAAAAAACQMCAAAAAAAACQQCAAAAAAEFAgAAqQAAAAAAAAABBgIAAHIAAAAAAChCAABgQQEHAgAAFQAAAC46B0QAAJFD1FUmQuiiS0Feutk/CU4BAAAKCQgCAAAJqQEAACADAAD/////AQEKCQkCAAABAAoAAVMBAAAlAAAACQoCAAAAAAAAAAAAAAFUAQAAJgAAAAkLAgAAAgAAAAIAAAAFVQEAAClBcGxvcmlzLkNoYXJ0LkNvbHVtbk9yaWVudGVkTGVnZW5kRWxlbWVudA0AAAAHbUxlZ2VuZAttRGF0YVNlcmllcxRMZWdlbmRFbGVtZW50K21MYWJlbBhMZWdlbmRFbGVtZW50K21SZWN0YW5nbGUTTGVnZW5kRWxlbWVudCttTGluZRVMZWdlbmRFbGVtZW50K21DaXJjbGUVTGVnZW5kRWxlbWVudCttTWFya2VyFExlZ2VuZEVsZW1lbnQrbUluZGV4HUxlZ2VuZEVsZW1lbnQrbUxhYmVsUG9zaXRpb25zGERhdGFPYmplY3QrbUNoaWxkT2JqZWN0cxJEYXRhT2JqZWN0K21QYXJlbnQVRGF0YU9iamVjdCttQ29udGFpbmVyGURhdGFPYmplY3QrbVZpc3VhbE9iamVjdHMEBAQEBAQEAAQDBAQDIkFwbG9yaXMuQ2hhcnQuQ29sdW1uT3JpZW50ZWRMZWdlbmQCAAAAHUFwbG9yaXMuQ2hhcnQuQ2hhcnREYXRhU2VyaWVzAgAAABVBcGxvcmlzLkJhc2UuVUkuTGFiZWwDAAAAGkFwbG9yaXMuQmFzZS5VSS5WaXN1YWxSZWN0AwAAABpBcGxvcmlzLkJhc2UuVUkuVmlzdWFsTGluZQMAAAAdQXBsb3Jpcy5CYXNlLlVJLlZpc3VhbEVsbGlwc2UDAAAAGkFwbG9yaXMuQ2hhcnQuVmlzdWFsTWFya2VyAgAAAAgXU3lzdGVtLkRyYXdpbmcuUG9pbnRGW10E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FAAAAAkHAQAACQwCAAAJDQIAAAoKCgAAAAAKCQ4CAAAJFAAAAAkBAAAACQ8CAAABVgEAAFUBAAAJFAAAAAkIAQAACRACAAAJEQIAAAoKCgEAAAAKCRICAAAJFAAAAAkBAAAACRMCAAABVwEAAFUBAAAJFAAAAAkJAQAACRQCAAAJFQIAAAoKCgIAAAAKCRYCAAAJFAAAAAkBAAAACRcCAAABWAEAADAAAAABGAIAACEAAAD7kD1C2oeOQwEZAgAAIQAAAPuQLULah45DCRoCAADMAQAA/////wEBCgkbAgAAAQAKAAFZAQAANAAAAAEcAgAAIQAAAPuQJ0Lah45DAR0CAACgAAAAAgAAAAAAAAAAAAAAAAkeAgAAAAAAAAkfAgAAAAABIAIAAKkAAAAAAAAAASECAAByAAAAAACYQQAAYEEBIgIAABUAAAB00bVBo4uLQ9hlpUHooktBXrrZPwYjAgAAAjAlCgkkAgAACakBAADQAgAA/////wEBCgklAgAAAQAKAAFcAQAAJQAAAAnZAAAAAAAAAAAAAAABXQEAACYAAAAJJgIAAAIAAAACAAAAAV4BAAAwAAAAAScCAAAhAAAA+5A9QjobgUMBKAIAACEAAAD7kC1COhuBQwkpAgAAzAEAAP////8BAQoJKgIAAAEACgABXwEAADQAAAABKwIAACEAAAD7kCdCOhuBQwEsAgAAoAAAAAIAAAAAAAAAAAAAAAAJLQIAAAAAAAAJLgIAAAAAAS8CAACpAAAAAAAAAAEwAgAAcgAAAAAA0EEAAGBBATECAAAVAAAAuuiCQXTRe0OSTthB6KJLQV662T8GMgIAAAMxMCUKCTMCAAAJqQEAANACAAD/////AQEKCTQCAAABAAoAAWIBAAAlAAAACdkAAAAAAAAAAAAAAAFjAQAAJgAAAAk1AgAAAgAAAAIAAAABZAEAADAAAAABNgIAACEAAAD7kD1CNF1nQwE3AgAAIQAAAPuQLUI0XWdDCTgCAADMAQAA/////wEBCgk5AgAAAQAKAAFlAQAANAAAAAE6AgAAIQAAAPuQJ0I0XWdDATsCAACgAAAAAgAAAAAAAAAAAAAAAAk8AgAAAAAAAAk9AgAAAAABPgIAAKkAAAAAAAAAAT8CAAByAAAAAADQQQAAYEEBQAIAABUAAAC66IJBXXRhQ5JO2EHooktBXrrZPwZBAgAAAzIwJQoJQgIAAAmpAQAA0AIAAP////8BAQoJQwIAAAEACgABaAEAACUAAAAJ2QAAAAAAAAAAAAAAAWkBAAAmAAAACUQCAAACAAAAAgAAAAFqAQAAMAAAAAFFAgAAIQAAAPuQPUL1g0xDAUYCAAAhAAAA+5AtQvWDTEMJRwIAAMwBAAD/////AQEKCUgCAAABAAoAAWsBAAA0AAAAAUkCAAAhAAAA+5AnQvWDTEMBSgIAAKAAAAACAAAAAAAAAAAAAAAACUsCAAAAAAAACUwCAAAAAAFNAgAAqQAAAAAAAAABTgIAAHIAAAAAANBBAABgQQFPAgAAFQAAALrogkGLLkZDkk7YQeiiS0Feutk/BlACAAADMzAlCglRAgAACakBAADQAgAA/////wEBCglSAgAAAQAKAAFuAQAAJQAAAAnZAAAAAAAAAAAAAAABbwEAACYAAAAJUwIAAAIAAAACAAAAAXABAAAwAAAAAVQCAAAhAAAA+5A9QrWqMUMBVQIAACEAAAD7kC1CtaoxQwlWAgAAzAEAAP////8BAQoJVwIAAAEACgABcQEAADQAAAABWAIAACEAAAD7kCdCtaoxQwFZAgAAoAAAAAIAAAAAAAAAAAAAAAAJWgIAAAAAAAAJWwIAAAAAAVwCAACpAAAAAAAAAAFdAgAAcgAAAAAA0EEAAGBBAV4CAAAVAAAAuuiCQbroKkOSTthB6KJLQV662T8GXwIAAAM0MCUKCWACAAAJqQEAANACAAD/////AQEKCWECAAABAAoAAXQBAAAlAAAACdkAAAAAAAAAAAAAAAF1AQAAJgAAAAliAgAAAgAAAAIAAAABdgEAADAAAAABYwIAACEAAAD7kD1CddEWQwFkAgAAIQAAAPuQLUJ10RZDCWUCAADMAQAA/////wEBCglmAgAAAQAKAAF3AQAANAAAAAFnAgAAIQAAAPuQJ0J10RZDAWgCAACgAAAAAgAAAAAAAAAAAAAAAAlpAgAAAAAAAAlqAgAAAAABawIAAKkAAAAAAAAAAWwCAAByAAAAAADQQQAAYEEBbQIAABUAAAC66IJBo4sQQ5JO2EHooktBXrrZPwZuAgAAAzUwJQoJbwIAAAmpAQAA0AIAAP////8BAQoJcAIAAAEACgABegEAACUAAAAJ2QAAAAAAAAAAAAAAAXsBAAAmAAAACXECAAACAAAAAgAAAAF8AQAAMAAAAAFyAgAAIQAAAPuQPUJq8PdCAXMCAAAhAAAA+5AtQmrw90IJdAIAAMwBAAD/////AQEKCXUCAAABAAoAAX0BAAA0AAAAAXYCAAAhAAAA+5AnQmrw90IBdwIAAKAAAAACAAAAAAAAAAAAAAAACXgCAAAAAAAACXkCAAAAAAF6AgAAqQAAAAAAAAABewIAAHIAAAAAANBBAABgQQF8AgAAFQAAALrogkGji+pCkk7YQeiiS0Feutk/Bn0CAAADNjAlCgl+AgAACakBAADQAgAA/////wEBCgl/AgAAAQAKAAGAAQAAJQAAAAnZAAAAAAAAAAAAAAABgQEAACYAAAAJgAIAAAIAAAACAAAAAYIBAAAwAAAAAYECAAAhAAAA+5A9Qus9wkIBggIAACEAAAD7kC1C6z3CQgmDAgAAzAEAAP////8BAQoJhAIAAAEACgABgwEAADQAAAABhQIAACEAAAD7kCdC6z3CQgGGAgAAoAAAAAIAAAAAAAAAAAAAAAAJhwIAAAAAAAAJiAIAAAAAAYkCAACpAAAAAAAAAAGKAgAAcgAAAAAA0EEAAGBBAYsCAAAVAAAAuuiCQXTRtUKSTthB6KJLQV662T8GjAIAAAM3MCUKCY0CAAAJqQEAANACAAD/////AQEKCY4CAAABAAoAAYYBAAAlAAAACdkAAAAAAAAAAAAAAAGHAQAAJgAAAAmPAgAAAgAAAAIAAAABiAEAADAAAAABkAIAACEAAAD7kD1Ca4uMQgGRAgAAIQAAAPuQLUJri4xCCZICAADMAQAA/////wEBCgmTAgAAAQAKAAGJAQAANAAAAAGUAgAAIQAAAPuQJ0Jri4xCAZUCAACgAAAAAgAAAAAAAAAAAAAAAAmWAgAAAAAAAAmXAgAAAAABmAIAAKkAAAAAAAAAAZkCAAByAAAAAADQQQAAYEEBmgIAABUAAAC66IJBo4t+QpJO2EHooktBXrrZPwabAgAAAzgwJQoJnAIAAAmpAQAA0AIAAP////8BAQoJnQIAAAEACgABjAEAACUAAAAJ2QAAAAAAAAAAAAAAAY0BAAAmAAAACZ4CAAACAAAAAgAAAAGOAQAAMAAAAAGfAgAAIQAAAPuQPULXsS1CAaACAAAhAAAA+5AtQtexLUIJoQIAAMwBAAD/////AQEKCaICAAABAAoAAY8BAAA0AAAAAaMCAAAhAAAA+5AnQtexLUIBpAIAAKAAAAACAAAAAAAAAAAAAAAACaUCAAAAAAAACaYCAAAAAAGnAgAAqQAAAAAAAAABqAIAAHIAAAAAANBBAABgQQGpAgAAFQAAALrogkFGFxVCkk7YQeiiS0Feutk/BqoCAAADOTAlCgmrAgAACakBAADQAgAA/////wEBCgmsAgAAAQAKAAGSAQAAJQAAAAnZAAAAAAAAAAAAAAABkwEAACYAAAAJrQIAAAIAAAACAAAAAZQBAAAwAAAAAa4CAAAhAAAA+5A9Qq+ZhEEBrwIAACEAAAD7kC1Cr5mEQQmwAgAAzAEAAP////8BAQoJsQIAAAEACgABlQEAADQAAAABsgIAACEAAAD7kCdCr5mEQQGzAgAAoAAAAAIAAAAAAAAAAAAAAAAJtAIAAAAAAAAJtQIAAAAAAbYCAACpAAAAAAAAAAG3AgAAcgAAAAAABEIAAGBBAbgCAAAVAAAAAAAgQQAAIEGlmwVC6KJLQV662T8GuQIAAAQxMDAlCgm6AgAACakBAADQAgAA/////wEBCgm7AgAAAQAKAAGYAQAAJQAAAAnZAAAAAAAAAAAAAAABmQEAACYAAAAJvAIAAAIAAAACAAAABJoBAACYAVN5c3RlbS5Db2xsZWN0aW9ucy5HZW5lcmljLkxpc3RgMVtbQXBsb3Jpcy5DaGFydC5DaGFydERhdGFFbGVtZW50LCBBcGxvcmlzLkNoYXJ0LCBWZXJzaW9uPTQuMC4wLjE0ODYsIEN1bHR1cmU9bmV1dHJhbCwgUHVibGljS2V5VG9rZW49MTZmYzEzYTIyNmMwZTk1MV1dAwAAAAZfaXRlbXMFX3NpemUIX3ZlcnNpb24EAAAgQXBsb3Jpcy5DaGFydC5DaGFydERhdGFFbGVtZW50W10CAAAACAgJvQIAAAQAAAAQAAAAAZsBAAAlAAAACb4CAAAEAAAAEAAAAAGcAQAAJgAAAAm/AgAAAAAAAAAAAAAFow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cBAAAKAAAAAABAQQl2AAAACXcAAAAJwAIAAAEACcECAAABpAEAAHgAAAAKCgAAAAD///8ADgAAAAABAagBAACtAAAACcICAAABAAAAAQAAAAGqAQAAdQAAAAnDAgAACgevAQAAAAEAAAAEAAAABB9BcGxvcmlzLkJhc2UuT2JqZWN0cy5EYXRhT2JqZWN0AwAAAAkiAQAADQMHsAEAAAABAAAABAAAAAQcQXBsb3Jpcy5CYXNlLlVJLlZpc3VhbE9iamVjdAMAAAAJJAEAAA0DAbEBAACaAQAACcQCAAAEAAAAEAAAAAGyAQAAJQAAAAnFAgAABAAAABAAAAABswEAACYAAAAJxgIAAAAAAAAAAAAABbo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IAQAACgAAAAAAQEEJdgAAAAl3AAAACccCAAABAAnIAgAAAbsBAAB4AAAACgoAAAAA////AA4AAAAAAQG/AQAArQAAAAnJAgAAAQAAAAEAAAABwAEAAHUAAAAJygIAAAoHxQEAAAABAAAABAAAAAQfQXBsb3Jpcy5CYXNlLk9iamVjdHMuRGF0YU9iamVjdAMAAAAJKgEAAA0DB8YBAAAAAQAAAAQAAAAEHEFwbG9yaXMuQmFzZS5VSS5WaXN1YWxPYmplY3QDAAAACSwBAAANAwHHAQAAmgEAAAnLAgAABAAAABAAAAAByAEAACUAAAAJzAIAAAQAAAAQAAAAAckBAAAmAAAACcYCAAAAAAAAAAAAAAXQ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CQEAAAoAAAAAAEBBCXYAAAAJdwAAAAnNAgAAAQAJzgIAAAHRAQAAeAAAAAoKAAAAAP///wAOAAAAAAEB1QEAAK0AAAAJzwIAAAEAAAABAAAAAdYBAAB1AAAACdACAAAKB9sBAAAAAQAAAAQAAAAEH0FwbG9yaXMuQmFzZS5PYmplY3RzLkRhdGFPYmplY3QDAAAACTIBAAANAwfcAQAAAAEAAAAEAAAABBxBcGxvcmlzLkJhc2UuVUkuVmlzdWFsT2JqZWN0AwAAAAk0AQAADQMB3QEAADQAAAAB0QIAACEAAADKw/FCXjNZQQHSAgAAoAAAAAEAAAAAAAAAAAAAAAAJ0wIAAAAAAAAJ1AIAAAAAAdUCAACpAAAAAAAAAAHWAgAAcgAAAAAAHEIAAEBBAdcCAAAVAAAAAAAAAAAAAAAAAAAAAAAAABKDvj8G2AIAAAQxMDAlCgnZAgAACakBAAA0AwAA/////wABCgnaAgAAAQAKAAHgAQAAIwAAAAoKAAAAAABAQQl2AAAACXcAAAAJ2wIAAAAACdwCAAAB4QEAAHgAAAAKCgAAAAD///8ADgAAAAABAeUBAACtAAAACd0CAAABAAAAAQAAAAHmAQAAdQAAAAneAgAACgfnAQAAAAEAAAAEAAAABBxBcGxvcmlzLkJhc2UuVUkuVmlzdWFsT2JqZWN0AwAAAAk9AQAACd0BAAAKCgHoAQAANAAAAAHfAgAAIQAAAJjuhUNeM1lBAeACAACgAAAAAQAAAAAAAAAAAAAAAAnhAgAAAAAAAAniAgAAAAAB4wIAAKkAAAAAAAAAAeQCAAByAAAAAAAcQgAAQEEB5QIAABUAAAAAAAAAAAAAAAAAAAAAAAAAEoO+PwbmAgAABDEwMCUKCecCAAAJqQEAADQDAAD/////AAEKCegCAAABAAoAAesBAAAjAAAACgoAAAAAAEBBCXYAAAAJdwAAAAnpAgAAAAAJ6gIAAAHsAQAAeAAAAAoKAAAAAP///wAOAAAAAAEB8AEAAK0AAAAJ6wIAAAEAAAABAAAAAfEBAAB1AAAACewCAAAKB/IBAAAAAQAAAAAAAAAEH0FwbG9yaXMuQmFzZS5PYmplY3RzLkRhdGFPYmplY3QDAAAAB/MBAAAAAQAAAAQAAAAEHEFwbG9yaXMuQmFzZS5VSS5WaXN1YWxPYmplY3QDAAAACUQBAAAJ6AEAAAoKAfQBAAA0AAAAAe0CAAAhAAAAPmzPQ14zWUEB7gIAAKAAAAABAAAAAAAAAAAAAAAACe8CAAAAAAAACfACAAAAAAHxAgAAqQAAAAAAAAAB8gIAAHIAAAAAABxCAABAQQHzAgAAFQAAAAAAAAAAAAAAAAAAAAAAAAASg74/BvQCAAAEMTAwJQoJ9QIAAAmpAQAANAMAAP////8AAQoJ9gIAAAEACgAB9wEAACMAAAAKCgAAAAAAQEEJdgAAAAl3AAAACfcCAAAAAAn4AgAAAfgBAAB4AAAACgoAAAAA////AA4AAAAAAQH8AQAArQAAAAn5AgAAAQAAAAEAAAAB/QEAAHUAAAAJ+gIAAAoH/gEAAAABAAAAAAAAAAQfQXBsb3Jpcy5CYXNlLk9iamVjdHMuRGF0YU9iamVjdAMAAAAH/wEAAAABAAAABAAAAAQcQXBsb3Jpcy5CYXNlLlVJLlZpc3VhbE9iamVjdAMAAAAJSwEAAAn0AQAACgoBAAIAADQAAAAB+wIAACEAAADydAxEXjNZQQH8AgAAoAAAAAEAAAAAAAAAAAAAAAAJ/QIAAAAAAAAJ/gIAAAAAAf8CAACpAAAAAAAAAAEAAwAAcgAAAAAAAAAAAAAAAQEDAAAVAAAAAAAAAAAAAAAAAAAAAAAAAAAAAAAGAgMAAAQxMDAlCgkDAwAACakBAAA0AwAA/////wABCgkEAwAAAQAKAAEDAgAAIwAAAAoKAAAAAABAQQl2AAAACXcAAAAJBQMAAAAACQYDAAABBAIAAHgAAAAKCgAAAAD///8ADgAAAAABAQgCAACtAAAACQcDAAABAAAAAQAAAAEJAgAAdQAAAAkIAwAACgcKAgAAAAEAAAAAAAAABB9BcGxvcmlzLkJhc2UuT2JqZWN0cy5EYXRhT2JqZWN0AwAAAAcLAgAAAAEAAAAEAAAABBxBcGxvcmlzLkJhc2UuVUkuVmlzdWFsT2JqZWN0AwAAAAlSAQAACQACAAAKCgEMAgAANAAAAAEJAwAAIQAAAFrwjUKjC51DAQoDAACgAAAABQAAAAAAAAAAAAAAAAkLAwAAAAAAAAkMAwAAAAABDQMAAKkAAAAAAAAAAQ4DAAByAAAAAAAMQgAAYEEBDwMAABUAAACLLopC0UWdQ3fhDELooktBXrrZPwkjAQAACgkQAwAACakBAACEAwAA/////wEBCgkRAwAAAQAKAAENAgAAHAAAAAESAwAAIQAAAFdRW0KjC51DARMDAAAhAAAAWvCHQo+do0MJFAMAAAkVAwAAAAAAAAoBFgMAAHIAAAAAAAAAAAAAAAEXAwAAcgAAAAAAAAAAAAAAAAAAAAEYAwAAFQAAAAAAAAAAAAAAAAAAAAAAAACYAwAA/////wEBCgkZAwAAAQAKAAEOAgAAJQAAAAkaAwAAAAAAAAAAAAABDwIAACYAAAAJGwMAAAIAAAACAAAAARACAAA0AAAAARwDAAAhAAAAQQQKQ6MLnUMBHQMAAKAAAAAFAAAAAAAAAAAAAAAACR4DAAAAAAAACR8DAAAAAAEgAwAAqQAAAAAAAAABIQMAAHIAAAAAAChCAABgQQEiAwAAFQAAABddCEPRRZ1D1FUmQuiiS0Feutk/CSsBAAAKCSMDAAAJqQEAAIQDAAD/////AQEKCSQDAAABAAoAARECAAAcAAAAASUDAAAhAAAA1MDzQqMLnUMBJgMAACEAAABBBAdDj52jQwknAwAACSgDAAAAAAAACgEpAwAAcgAAAAAAAAAAAAAAASoDAAByAAAAAAAAAAAAAAAAAAAAASsDAAAVAAAAAAAAAAAAAAAAAAAAAAAAAJgDAAD/////AQEKCSwDAAABAAoAARICAAAlAAAACRoDAAAAAAAAAAAAAAETAgAAJgAAAAktAwAAAgAAAAIAAAABFAIAADQAAAABLgMAACEAAABtbVNDowudQwEvAwAAoAAAAAUAAAAAAAAAAAAAAAAJMAMAAAAAAAAJMQMAAAAAATIDAACpAAAAAAAAAAEzAwAAcgAAAAAAUEIAAGBBATQDAAAVAAAAAABSQ9FFnUPrskpC6KJLQV662T8JMwEAAAoJNQMAAAmpAQAAhAMAAP////8BAQoJNgMAAAEACgABFQIAABwAAAABNwMAACEAAACWSUNDowudQwE4AwAAIQAAAG1tUEOPnaNDCTkDAAAJOgMAAAAAAAAKATsDAAByAAAAAAAAAAAAAAABPAMAAHIAAAAAAAAAAAAAAAAAAAABPQMAABUAAAAAAAAAAAAAAAAAAAAAAAAAmAMAAP////8BAQoJPgMAAAEACgABFgIAACUAAAAJGgMAAAAAAAAAAAAAARcCAAAmAAAACT8DAAACAAAAAgAAAAEaAgAAcAAAAAoKAAAAQD8JQAMAAAlBAwAAAQAAAP7///8AAAAAAQAAAAAAAAAAAAAAAQAAAAAAAAAAAAABGwIAAHUAAAAJQgMAAAoBHgIAACMAAAAKCgAAAAAAQEEJdgAAAAl3AAAACUMDAAAAAAlEAwAAAR8CAAB4AAAACgoAAAAA////AA4AAAAAAQEkAgAArQAAAAlFAwAAAQAAAAEAAAABJQIAAHUAAAAJRgMAAAoHJgIAAAABAAAABAAAAAQcQXBsb3Jpcy5CYXNlLlVJLlZpc3VhbE9iamVjdAMAAAAJWAEAAAlZAQAACgoBKQIAAHAAAAAKCgAAAEA/CUcDAAAJSAMAAAEAAAD+////AAAAAAEAAAAAAAAAAAAAAAEAAAAAAAAAAAAAASoCAAB1AAAACUkDAAAKAS0CAAAjAAAACgoAAAAAAEBBCXYAAAAJdwAAAAlKAwAAAAAJSwMAAAEuAgAAeAAAAAoKAAAAAP///wAOAAAAAAEBMwIAAK0AAAAJTAMAAAEAAAADAAAAATQCAAB1AAAACU0DAAAKBzUCAAAAAQAAAAQAAAAEHEFwbG9yaXMuQmFzZS5VSS5WaXN1YWxPYmplY3QDAAAACV4BAAAJXwEAAAoKATgCAABwAAAACgoAAABAPwlOAwAACU8DAAABAAAA/v///wAAAAABAAAAAAAAAAAAAAABAAAAAAAAAAAAAAE5AgAAdQAAAAlQAwAACgE8AgAAIwAAAAoKAAAAAABAQQl2AAAACXcAAAAJUQMAAAAACVIDAAABPQIAAHgAAAAKCgAAAAD///8ADgAAAAABAUICAACtAAAACVMDAAABAAAAAwAAAAFDAgAAdQAAAAlUAwAACgdEAgAAAAEAAAAEAAAABBxBcGxvcmlzLkJhc2UuVUkuVmlzdWFsT2JqZWN0AwAAAAlkAQAACWUBAAAKCgFHAgAAcAAAAAoKAAAAQD8JVQMAAAlWAwAAAQAAAP7///8AAAAAAQAAAAAAAAAAAAAAAQAAAAAAAAAAAAABSAIAAHUAAAAJVwMAAAoBSwIAACMAAAAKCgAAAAAAQEEJdgAAAAl3AAAACVgDAAAAAAlZAwAAAUwCAAB4AAAACgoAAAAA////AA4AAAAAAQFRAgAArQAAAAlaAwAAAQAAAAMAAAABUgIAAHUAAAAJWwMAAAoHUwIAAAABAAAABAAAAAQcQXBsb3Jpcy5CYXNlLlVJLlZpc3VhbE9iamVjdAMAAAAJagEAAAlrAQAACgoBVgIAAHAAAAAKCgAAAEA/CVwDAAAJXQMAAAEAAAD+////AAAAAAEAAAAAAAAAAAAAAAEAAAAAAAAAAAAAAVcCAAB1AAAACV4DAAAKAVoCAAAjAAAACgoAAAAAAEBBCXYAAAAJdwAAAAlfAwAAAAAJYAMAAAFbAgAAeAAAAAoKAAAAAP///wAOAAAAAAEBYAIAAK0AAAAJYQMAAAEAAAADAAAAAWECAAB1AAAACWIDAAAKB2ICAAAAAQAAAAQAAAAEHEFwbG9yaXMuQmFzZS5VSS5WaXN1YWxPYmplY3QDAAAACXABAAAJcQEAAAoKAWUCAABwAAAACgoAAABAPwljAwAACWQDAAABAAAA/v///wAAAAABAAAAAAAAAAAAAAABAAAAAAAAAAAAAAFmAgAAdQAAAAllAwAACgFpAgAAIwAAAAoKAAAAAABAQQl2AAAACXcAAAAJZgMAAAAACWcDAAABagIAAHgAAAAKCgAAAAD///8ADgAAAAABAW8CAACtAAAACWgDAAABAAAAAwAAAAFwAgAAdQAAAAlpAwAACgdxAgAAAAEAAAAEAAAABBxBcGxvcmlzLkJhc2UuVUkuVmlzdWFsT2JqZWN0AwAAAAl2AQAACXcBAAAKCgF0AgAAcAAAAAoKAAAAQD8JagMAAAlrAwAAAQAAAP7///8AAAAAAQAAAAAAAAAAAAAAAQAAAAAAAAAAAAABdQIAAHUAAAAJbAMAAAoBeAIAACMAAAAKCgAAAAAAQEEJdgAAAAl3AAAACW0DAAAAAAluAwAAAXkCAAB4AAAACgoAAAAA////AA4AAAAAAQF+AgAArQAAAAlvAwAAAQAAAAMAAAABfwIAAHUAAAAJcAMAAAoHgAIAAAABAAAABAAAAAQcQXBsb3Jpcy5CYXNlLlVJLlZpc3VhbE9iamVjdAMAAAAJfAEAAAl9AQAACgoBgwIAAHAAAAAKCgAAAEA/CXEDAAAJcgMAAAEAAAD+////AAAAAAEAAAAAAAAAAAAAAAEAAAAAAAAAAAAAAYQCAAB1AAAACXMDAAAKAYcCAAAjAAAACgoAAAAAAEBBCXYAAAAJdwAAAAl0AwAAAAAJdQMAAAGIAgAAeAAAAAoKAAAAAP///wAOAAAAAAEBjQIAAK0AAAAJdgMAAAEAAAADAAAAAY4CAAB1AAAACXcDAAAKB48CAAAAAQAAAAQAAAAEHEFwbG9yaXMuQmFzZS5VSS5WaXN1YWxPYmplY3QDAAAACYIBAAAJgwEAAAoKAZICAABwAAAACgoAAABAPwl4AwAACXkDAAABAAAA/v///wAAAAABAAAAAAAAAAAAAAABAAAAAAAAAAAAAAGTAgAAdQAAAAl6AwAACgGWAgAAIwAAAAoKAAAAAABAQQl2AAAACXcAAAAJewMAAAAACXwDAAABlwIAAHgAAAAKCgAAAAD///8ADgAAAAABAZwCAACtAAAACX0DAAABAAAAAwAAAAGdAgAAdQAAAAl+AwAACgeeAgAAAAEAAAAEAAAABBxBcGxvcmlzLkJhc2UuVUkuVmlzdWFsT2JqZWN0AwAAAAmIAQAACYkBAAAKCgGhAgAAcAAAAAoKAAAAQD8JfwMAAAmAAwAAAQAAAP7///8AAAAAAQAAAAAAAAAAAAAAAQAAAAAAAAAAAAABogIAAHUAAAAJgQMAAAoBpQIAACMAAAAKCgAAAAAAQEEJdgAAAAl3AAAACYIDAAAAAAmDAwAAAaYCAAB4AAAACgoAAAAA////AA4AAAAAAQGrAgAArQAAAAmEAwAAAQAAAAMAAAABrAIAAHUAAAAJhQMAAAoHrQIAAAABAAAABAAAAAQcQXBsb3Jpcy5CYXNlLlVJLlZpc3VhbE9iamVjdAMAAAAJjgEAAAmPAQAACgoBsAIAAHAAAAAKCgAAAEA/CYYDAAAJhwMAAAEAAAD+////AAAAAAEAAAAAAAAAAAAAAAEAAAAAAAAAAAAAAbECAAB1AAAACYgDAAAKAbQCAAAjAAAACgoAAAAAAEBBCXYAAAAJdwAAAAmJAwAAAAAJigMAAAG1AgAAeAAAAAoKAAAAAP///wAOAAAAAAEBugIAAK0AAAAJiwMAAAEAAAADAAAAAbsCAAB1AAAACYwDAAAKB7wCAAAAAQAAAAQAAAAEHEFwbG9yaXMuQmFzZS5VSS5WaXN1YWxPYmplY3QDAAAACZQBAAAJlQEAAAoKB70CAAAAAQAAABAAAAAEHkFwbG9yaXMuQ2hhcnQuQ2hhcnREYXRhRWxlbWVudAIAAAAJjQMAAAmOAwAACY8DAAAJkAMAAA0MB74CAAAAAQAAABAAAAAEH0FwbG9yaXMuQmFzZS5PYmplY3RzLkRhdGFPYmplY3QDAAAACY0DAAAJjgMAAAmPAwAACZADAAANDAe/AgAAAAEAAAAAAAAABBxBcGxvcmlzLkJhc2UuVUkuVmlzdWFsT2JqZWN0AwAAAAHAAgAAeAAAAAoKAAAAAAAAAAANAAAAAAEBwQIAAHgAAAAKCgEAAAAAAAAA/////wABB8ICAAAAAQAAAAQAAAAEHUFwbG9yaXMuQmFzZS5PYmplY3RzLlZhcmlhYmxlAwAAAAWRAwAAHUFwbG9yaXMuQmFzZS5PYmplY3RzLlZhcmlhYmxlAgAAAAZOdW1iZXIIUG9zaXRpb24AAAgIAwAAAAEAAAAAAAAAAZIDAACRAwAAAAAAAAAAAAABkwMAAJEDAAAAAAAAAAAAAAGUAwAAkQMAAAAAAAAAAAAAD8MCAAABAAAACAAAAAAHxAIAAAABAAAAEAAAAAQeQXBsb3Jpcy5DaGFydC5DaGFydERhdGFFbGVtZW50AgAAAAmVAwAACZYDAAAJlwMAAAmYAwAADQwHxQIAAAABAAAAEAAAAAQfQXBsb3Jpcy5CYXNlLk9iamVjdHMuRGF0YU9iamVjdAMAAAAJlQMAAAmWAwAACZcDAAAJmAMAAA0MB8YCAAAAAQAAAAAAAAAEHEFwbG9yaXMuQmFzZS5VSS5WaXN1YWxPYmplY3QDAAAAAccCAAB4AAAACgoAAAAAAAAAAA0AAAAAAQHIAgAAeAAAAAoKAQAAAAAAAAD/////AAEHyQIAAAABAAAABAAAAAQdQXBsb3Jpcy5CYXNlLk9iamVjdHMuVmFyaWFibGUDAAAAAZkDAACRAwAAAQAAAAAAAAABmgMAAJEDAAAAAAAAAAAAAAGbAwAAkQMAAAAAAAAAAAAAAZwDAACRAwAAAAAAAAAAAAAPygIAAAEAAAAIAAAAAAfLAgAAAAEAAAAQAAAABB5BcGxvcmlzLkNoYXJ0LkNoYXJ0RGF0YUVsZW1lbnQCAAAACZ0DAAAJngMAAAmfAwAACaADAAANDAfMAgAAAAEAAAAQAAAABB9BcGxvcmlzLkJhc2UuT2JqZWN0cy5EYXRhT2JqZWN0AwAAAAmdAwAACZ4DAAAJnwMAAAmgAwAADQwBzQIAAHgAAAAKCgAAAAAAAAAADQAAAAABAc4CAAB4AAAACgoBAAAAAAAAAP////8AAQfPAgAAAAEAAAAEAAAABB1BcGxvcmlzLkJhc2UuT2JqZWN0cy5WYXJpYWJsZQMAAAABoQMAAJEDAAABAAAAAAAAAAGiAwAAkQMAAAAAAAAAAAAAAaMDAACRAwAAAAAAAAAAAAABpAMAAJEDAAAAAAAAAAAAAA/QAgAAAQAAAAgAAAAABdM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oBAAAKAAAAAABAQQl2AAAACXcAAAAJpQMAAAEACaYDAAAB1AIAAHgAAAAKCgAAAAD///8ADgAAAAABAdkCAACtAAAACacDAAABAAAAAQAAAAHaAgAAdQAAAAmoAwAACgHbAgAAeAAAAAoKAAAAAAAAAAANAAAAAAAB3AIAAHgAAAAKCgAAAAAAAAAADQAAAAABB90CAAAAAQAAAAQAAAAEHUFwbG9yaXMuQmFzZS5PYmplY3RzLlZhcmlhYmxlAwAAAAGpAwAAkQMAAAEAAAAAAAAAAaoDAACRAwAAAAAAAAAAAAABqwMAAJEDAAAAAAAAAAAAAAGsAwAAkQMAAAAAAAAAAAAAD94CAAABAAAACFIBAAAF4Q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CwEAAAoAAAAAAEBBCXYAAAAJdwAAAAmtAwAAAQAJrgMAAAHiAgAAeAAAAAoKAAAAAP///wAOAAAAAAEB5wIAAK0AAAAJrwMAAAEAAAADAAAAAegCAAB1AAAACbADAAAKAekCAAB4AAAACgoAAAAAAAAAAA0AAAAAAAHqAgAAeAAAAAoKAAAAAAAAAAANAAAAAAEH6wIAAAABAAAABAAAAAQdQXBsb3Jpcy5CYXNlLk9iamVjdHMuVmFyaWFibGUDAAAAAbEDAACRAwAAAQAAAAAAAAABsgMAAJEDAAAAAAAAAAAAAAGzAwAAkQMAAAAAAAAAAAAAAbQDAACRAwAAAAAAAAAAAAAP7AIAAAEAAAAITQEAAAXv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MAQAACgAAAAAAQEEJdgAAAAl3AAAACbUDAAABAAm2AwAAAfACAAB4AAAACgoAAAAA////AA4AAAAAAQH1AgAArQAAAAm3AwAAAQAAAAMAAAAB9gIAAHUAAAAJuAMAAAoB9wIAAHgAAAAKCgAAAAAAAAAADQAAAAAAAfgCAAB4AAAACgoAAAAAAAAAAA0AAAAAAQf5AgAAAAEAAAAEAAAABB1BcGxvcmlzLkJhc2UuT2JqZWN0cy5WYXJpYWJsZQMAAAABuQMAAJEDAAABAAAAAAAAAAG6AwAAkQMAAAAAAAAAAAAAAbsDAACRAwAAAAAAAAAAAAABvAMAAJEDAAAAAAAAAAAAAA/6AgAAAQAAAAjFAAAABf0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0BAAAKAAAAAABAQQl2AAAACXcAAAAJvQMAAAEACb4DAAAB/gIAAHgAAAAKCgEAAAAAAAAA/////wABAQMDAACtAAAACb8DAAABAAAAAwAAAAEEAwAAdQAAAAnAAwAACgEFAwAAeAAAAAoKAAAAAAAAAAANAAAAAAABBgMAAHgAAAAKCgAAAAAAAAAADQAAAAABBwcDAAAAAQAAAAQAAAAEHUFwbG9yaXMuQmFzZS5PYmplY3RzLlZhcmlhYmxlAwAAAAHBAwAAkQMAAAEAAAAAAAAAAcIDAACRAwAAAAAAAAAAAAABwwMAAJEDAAAAAAAAAAAAAAHEAwAAkQMAAAAAAAAAAAAADwgDAAABAAAACBwDAAABCwMAACMAAAAKCgAAAAAAQEEJdgAAAAl3AAAACcUDAAAAAAnGAwAAAQwDAAB4AAAACgoBAAAAAAAAAP////8AAQEQAwAArQAAAAnHAwAAAQAAAAEAAAABEQMAAHUAAAAJyAMAAAoBFAMAAHAAAAAKCgAAAEA/CckDAAAJygMAAAEAAAD+////AAAAAAEAAAAAAAAAAAAAAAEAAAAAAAAAAAAAARUDAABxAAAACgoJywMAAAnMAwAAAQAAAP7///8AAAAA/////wEAARkDAAB1AAAACc0DAAAKBxoDAAAAAQAAAAAAAAAEH0FwbG9yaXMuQmFzZS5PYmplY3RzLkRhdGFPYmplY3QDAAAABxsDAAAAAQAAAAQAAAAEHEFwbG9yaXMuQmFzZS5VSS5WaXN1YWxPYmplY3QDAAAACQwCAAAJDQIAAAoKAR4DAAAjAAAACgoAAAAAAEBBCXYAAAAJdwAAAAnOAwAAAAAJzwMAAAEfAwAAeAAAAAoKAQAAAAAAAAD/////AAEBIwMAAK0AAAAJ0AMAAAEAAAABAAAAASQDAAB1AAAACdEDAAAKAScDAABwAAAACgoAAABAPwnSAwAACdMDAAABAAAA/v///wAAAAABAAAAAAAAAAAAAAABAAAAAAAAAAAAAAEoAwAAcQAAAAoKCdQDAAAJ1QMAAAEAAAD+////AAAAAP////8BAAEsAwAAdQAAAAnWAwAACgctAwAAAAEAAAAEAAAABBxBcGxvcmlzLkJhc2UuVUkuVmlzdWFsT2JqZWN0AwAAAAkQAgAACRECAAAKCgEwAwAAIwAAAAoKAAAAAABAQQl2AAAACXcAAAAJ1wMAAAAACdgDAAABMQMAAHgAAAAKCgEAAAAAAAAA/////wABATUDAACtAAAACdkDAAABAAAAAQAAAAE2AwAAdQAAAAnaAwAACgE5AwAAcAAAAAoKAAAAQD8J2wMAAAncAwAAAQAAAP7///8AAAAAAQAAAAAAAAAAAAAAAQAAAAAAAAAAAAABOgMAAHEAAAAKCgndAwAACd4DAAABAAAA/v///wAAAAD/////AQABPgMAAHUAAAAJ3wMAAAoHPwMAAAABAAAABAAAAAQcQXBsb3Jpcy5CYXNlLlVJLlZpc3VhbE9iamVjdAMAAAAJFAIAAAkVAgAACgoBQAMAAHgAAAAKCgAAAAAAAAAADQAAAAAABUEDAAAaQXBsb3Jpcy5CYXNlLk9iamVjdHMuQ29sb3IHAAAAEkRhdGFPYmplY3QrbVBhcmVudBVEYXRhT2JqZWN0K21Db250YWluZXIFbVR5cGUEbVJHQhBtVGhlbWVDb2xvckluZGV4DG1BdXRvVXBkYXRlZAltTW9kaWZpZWQEAgAAAAAAH0FwbG9yaXMuQmFzZS5PYmplY3RzLkxpbmVGb3JtYXQDAAAACAgIAQEDAAAACRoCAAAKAQAAAAAAAAD/////AAEPQgMAAAEAAAAITgMAAAFDAwAAeAAAAAoKAAAAAAAAAAANAAAAAAABRAMAAHgAAAAKCgAAAAAAAAAADQAAAAABB0UDAAAAAQAAAAQAAAAEHUFwbG9yaXMuQmFzZS5PYmplY3RzLlZhcmlhYmxlAwAAAAHgAwAAkQMAAAEAAAAAAAAAAeEDAACRAwAAAAAAAAAAAAAB4gMAAJEDAAAAAAAAAAAAAAHjAwAAkQMAAAAAAAAAAAAAD0YDAAABAAAACCYAAAABRwMAAHgAAAAKCgAAAAAAAAAADQAAAAAABUgDAAAaQXBsb3Jpcy5CYXNlLk9iamVjdHMuQ29sb3IHAAAAEkRhdGFPYmplY3QrbVBhcmVudBVEYXRhT2JqZWN0K21Db250YWluZXIFbVR5cGUEbVJHQhBtVGhlbWVDb2xvckluZGV4DG1BdXRvVXBkYXRlZAltTW9kaWZpZWQEAgAAAAAAH0FwbG9yaXMuQmFzZS5PYmplY3RzLkxpbmVGb3JtYXQDAAAACAgIAQEDAAAACSkCAAAKAQAAAAAAAAD/////AAEPSQMAAAEAAAAITQMAAAFKAwAAeAAAAAoKAAAAAAAAAAANAAAAAAABSwMAAHgAAAAKCgAAAAAAAAAADQAAAAABB0wDAAAAAQAAAAQAAAAEHUFwbG9yaXMuQmFzZS5PYmplY3RzLlZhcmlhYmxlAwAAAAHkAwAAkQMAAAEAAAAAAAAAAeUDAACRAwAAAAAAAAAAAAAB5gMAAJEDAAAAAAAAAAAAAAHnAwAAkQMAAAAAAAAAAAAAD00DAAABAAAACCMAAAABTgMAAHgAAAAKCgAAAAAAAAAADQAAAAAABU8DAAAaQXBsb3Jpcy5CYXNlLk9iamVjdHMuQ29sb3IHAAAAEkRhdGFPYmplY3QrbVBhcmVudBVEYXRhT2JqZWN0K21Db250YWluZXIFbVR5cGUEbVJHQhBtVGhlbWVDb2xvckluZGV4DG1BdXRvVXBkYXRlZAltTW9kaWZpZWQEAgAAAAAAH0FwbG9yaXMuQmFzZS5PYmplY3RzLkxpbmVGb3JtYXQDAAAACAgIAQEDAAAACTgCAAAKAQAAAAAAAAD/////AAEPUAMAAAEAAAAISwMAAAFRAwAAeAAAAAoKAAAAAAAAAAANAAAAAAABUgMAAHgAAAAKCgAAAAAAAAAADQAAAAABB1MDAAAAAQAAAAQAAAAEHUFwbG9yaXMuQmFzZS5PYmplY3RzLlZhcmlhYmxlAwAAAAHoAwAAkQMAAAEAAAAAAAAAAekDAACRAwAAAAAAAAAAAAAB6gMAAJEDAAAAAAAAAAAAAAHrAwAAkQMAAAAAAAAAAAAAD1QDAAABAAAACCsAAAABVQMAAHgAAAAKCgAAAAAAAAAADQAAAAAABVYDAAAaQXBsb3Jpcy5CYXNlLk9iamVjdHMuQ29sb3IHAAAAEkRhdGFPYmplY3QrbVBhcmVudBVEYXRhT2JqZWN0K21Db250YWluZXIFbVR5cGUEbVJHQhBtVGhlbWVDb2xvckluZGV4DG1BdXRvVXBkYXRlZAltTW9kaWZpZWQEAgAAAAAAH0FwbG9yaXMuQmFzZS5PYmplY3RzLkxpbmVGb3JtYXQDAAAACAgIAQEDAAAACUcCAAAKAQAAAAAAAAD/////AAEPVwMAAAEAAAAIUQMAAAFYAwAAeAAAAAoKAAAAAAAAAAANAAAAAAABWQMAAHgAAAAKCgAAAAAAAAAADQAAAAABB1oDAAAAAQAAAAQAAAAEHUFwbG9yaXMuQmFzZS5PYmplY3RzLlZhcmlhYmxlAwAAAAHsAwAAkQMAAAEAAAAAAAAAAe0DAACRAwAAAAAAAAAAAAAB7gMAAJEDAAAAAAAAAAAAAAHvAwAAkQMAAAAAAAAAAAAAD1sDAAABAAAACCoAAAABXAMAAHgAAAAKCgAAAAAAAAAADQAAAAAABV0DAAAaQXBsb3Jpcy5CYXNlLk9iamVjdHMuQ29sb3IHAAAAEkRhdGFPYmplY3QrbVBhcmVudBVEYXRhT2JqZWN0K21Db250YWluZXIFbVR5cGUEbVJHQhBtVGhlbWVDb2xvckluZGV4DG1BdXRvVXBkYXRlZAltTW9kaWZpZWQEAgAAAAAAH0FwbG9yaXMuQmFzZS5PYmplY3RzLkxpbmVGb3JtYXQDAAAACAgIAQEDAAAACVYCAAAKAQAAAAAAAAD/////AAEPXgMAAAEAAAAIUAMAAAFfAwAAeAAAAAoKAAAAAAAAAAANAAAAAAABYAMAAHgAAAAKCgAAAAAAAAAADQAAAAABB2EDAAAAAQAAAAQAAAAEHUFwbG9yaXMuQmFzZS5PYmplY3RzLlZhcmlhYmxlAwAAAAHwAwAAkQMAAAEAAAAAAAAAAfEDAACRAwAAAAAAAAAAAAAB8gMAAJEDAAAAAAAAAAAAAAHzAwAAkQMAAAAAAAAAAAAAD2IDAAABAAAACCcAAAABYwMAAHgAAAAKCgAAAAAAAAAADQAAAAAABWQDAAAaQXBsb3Jpcy5CYXNlLk9iamVjdHMuQ29sb3IHAAAAEkRhdGFPYmplY3QrbVBhcmVudBVEYXRhT2JqZWN0K21Db250YWluZXIFbVR5cGUEbVJHQhBtVGhlbWVDb2xvckluZGV4DG1BdXRvVXBkYXRlZAltTW9kaWZpZWQEAgAAAAAAH0FwbG9yaXMuQmFzZS5PYmplY3RzLkxpbmVGb3JtYXQDAAAACAgIAQEDAAAACWUCAAAKAQAAAAAAAAD/////AAEPZQMAAAEAAAAITwMAAAFmAwAAeAAAAAoKAAAAAAAAAAANAAAAAAABZwMAAHgAAAAKCgAAAAAAAAAADQAAAAABB2gDAAAAAQAAAAQAAAAEHUFwbG9yaXMuQmFzZS5PYmplY3RzLlZhcmlhYmxlAwAAAAH0AwAAkQMAAAEAAAAAAAAAAfUDAACRAwAAAAAAAAAAAAAB9gMAAJEDAAAAAAAAAAAAAAH3AwAAkQMAAAAAAAAAAAAAD2kDAAABAAAACCkAAAABagMAAHgAAAAKCgAAAAAAAAAADQAAAAAABWsDAAAaQXBsb3Jpcy5CYXNlLk9iamVjdHMuQ29sb3IHAAAAEkRhdGFPYmplY3QrbVBhcmVudBVEYXRhT2JqZWN0K21Db250YWluZXIFbVR5cGUEbVJHQhBtVGhlbWVDb2xvckluZGV4DG1BdXRvVXBkYXRlZAltTW9kaWZpZWQEAgAAAAAAH0FwbG9yaXMuQmFzZS5PYmplY3RzLkxpbmVGb3JtYXQDAAAACAgIAQEDAAAACXQCAAAKAQAAAAAAAAD/////AAEPbAMAAAEAAAAITAMAAAFtAwAAeAAAAAoKAAAAAAAAAAANAAAAAAABbgMAAHgAAAAKCgAAAAAAAAAADQAAAAABB28DAAAAAQAAAAQAAAAEHUFwbG9yaXMuQmFzZS5PYmplY3RzLlZhcmlhYmxlAwAAAAH4AwAAkQMAAAEAAAAAAAAAAfkDAACRAwAAAAAAAAAAAAAB+gMAAJEDAAAAAAAAAAAAAAH7AwAAkQMAAAAAAAAAAAAAD3ADAAABAAAACCgAAAABcQMAAHgAAAAKCgAAAAAAAAAADQAAAAAABXIDAAAaQXBsb3Jpcy5CYXNlLk9iamVjdHMuQ29sb3IHAAAAEkRhdGFPYmplY3QrbVBhcmVudBVEYXRhT2JqZWN0K21Db250YWluZXIFbVR5cGUEbVJHQhBtVGhlbWVDb2xvckluZGV4DG1BdXRvVXBkYXRlZAltTW9kaWZpZWQEAgAAAAAAH0FwbG9yaXMuQmFzZS5PYmplY3RzLkxpbmVGb3JtYXQDAAAACAgIAQEDAAAACYMCAAAKAQAAAAAAAAD/////AAEPcwMAAAEAAAAIVQMAAAF0AwAAeAAAAAoKAAAAAAAAAAANAAAAAAABdQMAAHgAAAAKCgAAAAAAAAAADQAAAAABB3YDAAAAAQAAAAQAAAAEHUFwbG9yaXMuQmFzZS5PYmplY3RzLlZhcmlhYmxlAwAAAAH8AwAAkQMAAAEAAAAAAAAAAf0DAACRAwAAAAAAAAAAAAAB/gMAAJEDAAAAAAAAAAAAAAH/AwAAkQMAAAAAAAAAAAAAD3cDAAABAAAACCwAAAABeAMAAHgAAAAKCgAAAAAAAAAADQAAAAAABXkDAAAaQXBsb3Jpcy5CYXNlLk9iamVjdHMuQ29sb3IHAAAAEkRhdGFPYmplY3QrbVBhcmVudBVEYXRhT2JqZWN0K21Db250YWluZXIFbVR5cGUEbVJHQhBtVGhlbWVDb2xvckluZGV4DG1BdXRvVXBkYXRlZAltTW9kaWZpZWQEAgAAAAAAH0FwbG9yaXMuQmFzZS5PYmplY3RzLkxpbmVGb3JtYXQDAAAACAgIAQEDAAAACZICAAAKAQAAAAAAAAD/////AAEPegMAAAEAAAAIUgMAAAF7AwAAeAAAAAoKAAAAAAAAAAANAAAAAAABfAMAAHgAAAAKCgAAAAAAAAAADQAAAAABB30DAAAAAQAAAAQAAAAEHUFwbG9yaXMuQmFzZS5PYmplY3RzLlZhcmlhYmxlAwAAAAEABAAAkQMAAAEAAAAAAAAAAQEEAACRAwAAAAAAAAAAAAABAgQAAJEDAAAAAAAAAAAAAAEDBAAAkQMAAAAAAAAAAAAAD34DAAABAAAACC0AAAABfwMAAHgAAAAKCgAAAAAAAAAADQAAAAAABYADAAAaQXBsb3Jpcy5CYXNlLk9iamVjdHMuQ29sb3IHAAAAEkRhdGFPYmplY3QrbVBhcmVudBVEYXRhT2JqZWN0K21Db250YWluZXIFbVR5cGUEbVJHQhBtVGhlbWVDb2xvckluZGV4DG1BdXRvVXBkYXRlZAltTW9kaWZpZWQEAgAAAAAAH0FwbG9yaXMuQmFzZS5PYmplY3RzLkxpbmVGb3JtYXQDAAAACAgIAQEDAAAACaECAAAKAQAAAAAAAAD/////AAEPgQMAAAEAAAAIUwMAAAGCAwAAeAAAAAoKAAAAAAAAAAANAAAAAAABgwMAAHgAAAAKCgAAAAAAAAAADQAAAAABB4QDAAAAAQAAAAQAAAAEHUFwbG9yaXMuQmFzZS5PYmplY3RzLlZhcmlhYmxlAwAAAAEEBAAAkQMAAAEAAAAAAAAAAQUEAACRAwAAAAAAAAAAAAABBgQAAJEDAAAAAAAAAAAAAAEHBAAAkQMAAAAAAAAAAAAAD4UDAAABAAAACCUAAAABhgMAAHgAAAAKCgAAAAAAAAAADQAAAAAABYcDAAAaQXBsb3Jpcy5CYXNlLk9iamVjdHMuQ29sb3IHAAAAEkRhdGFPYmplY3QrbVBhcmVudBVEYXRhT2JqZWN0K21Db250YWluZXIFbVR5cGUEbVJHQhBtVGhlbWVDb2xvckluZGV4DG1BdXRvVXBkYXRlZAltTW9kaWZpZWQEAgAAAAAAH0FwbG9yaXMuQmFzZS5PYmplY3RzLkxpbmVGb3JtYXQDAAAACAgIAQEDAAAACbACAAAKAQAAAAAAAAD/////AAEPiAMAAAEAAAAIVAMAAAGJAwAAeAAAAAoKAAAAAAAAAAANAAAAAAABigMAAHgAAAAKCgAAAAAAAAAADQAAAAABB4sDAAAAAQAAAAQAAAAEHUFwbG9yaXMuQmFzZS5PYmplY3RzLlZhcmlhYmxlAwAAAAEIBAAAkQMAAAEAAAAAAAAAAQkEAACRAwAAAAAAAAAAAAABCgQAAJEDAAAAAAAAAAAAAAELBAAAkQMAAAAAAAAAAAAAD4wDAAABAAAACCQAAAAFjQM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MBAAACQ0EAAAKCQ4EAAAKCQcBAAAIBjGEbLzuBMo/CgAAAAAJDwQAAAkQBAAAAAAAAAAJEQQAAAkHAQAACQEAAAAJEgQAAAGOAwAAjQMAAAkTBAAACRQEAAAKCRUEAAAKCQcBAAAIBnbpMX+vjdg/CgEAAAAJFgQAAAkXBAAAAAAAAAAJGAQAAAkHAQAACQEAAAAJGQQAAAGPAwAAjQMAAAkaBAAACRsEAAAKCRwEAAAKCQcBAAAIBjhbh36zdcg/CgIAAAAJHQQAAAkeBAAAAAAAAAAJHwQAAAkHAQAACQEAAAAJIAQAAAGQAwAAjQMAAAkhBAAACSIEAAAKCSMEAAAKCQcBAAAIBik19jALyLc/CgMAAAAJJAQAAAklBAAAAAAAAAAJJgQAAAkHAQAACQEAAAAJJwQAAAGVAwAAjQMAAAkoBAAACSkEAAAKCSoEAAAKCQgBAAAIBrfLxVnmK+E/CgAAAAAJKwQAAAksBAAAAAAAAAAJLQQAAAkIAQAACQEAAAAJLgQAAAGWAwAAjQMAAAkvBAAACTAEAAAKCTEEAAAKCQgBAAAIBiV3ihbOgOA/CgEAAAAJMgQAAAkzBAAAAAAAAAAJNAQAAAkIAQAACQEAAAAJNQQAAAGXAwAAjQMAAAk2BAAACTcEAAAKCTgEAAAKCQgBAAAIBl4gk+IFMuE/CgIAAAAJOQQAAAk6BAAAAAAAAAAJOwQAAAkIAQAACQEAAAAJPAQAAAGYAwAAjQMAAAk9BAAACT4EAAAKCT8EAAAKCQgBAAAIBpgF5ItEqeE/CgMAAAAJQAQAAAlBBAAAAAAAAAAJQgQAAAkIAQAACQEAAAAJQwQAAAGdAwAAjQMAAAlEBAAACUUEAAAKCUYEAAAKCQkBAAAIBnkmPu67pdA/CgAAAAAJRwQAAAlIBAAAAAAAAAAJSQQAAAkJAQAACQEAAAAJSgQAAAGeAwAAjQMAAAlLBAAACUwEAAAKCU0EAAAKCQkBAAAIBgKh5E7Rwrk/CgEAAAAJTgQAAAlPBAAAAAAAAAAJUAQAAAkJAQAACQEAAAAJUQQAAAGfAwAAjQMAAAlSBAAACVMEAAAKCVQEAAAKCQkBAAAIBqgRlnsaYdE/CgIAAAAJVQQAAAlWBAAAAAAAAAAJVwQAAAkJAQAACQEAAAAJWAQAAAGgAwAAjQMAAAlZBAAACVoEAAAKCVsEAAAKCQkBAAAIBoVn+ht0u9Y/CgMAAAAJXAQAAAldBAAAAAAAAAAJXgQAAAkJAQAACQEAAAAJXwQAAAGlAwAAeAAAAAoKAAAAAAAAAAANAAAAAAEBpgMAAHgAAAAKCgEAAAAAAAAA/////wABB6cDAAAAAQAAAAQAAAAEHUFwbG9yaXMuQmFzZS5PYmplY3RzLlZhcmlhYmxlAwAAAAFgBAAAkQMAAAEAAAAAAAAAAWEEAACRAwAAAAAAAAAAAAABYgQAAJEDAAAAAAAAAAAAAAFjBAAAkQMAAAAAAAAAAAAAD6gDAAABAAAACAAAAAABrQMAAHgAAAAKCgAAAAAAAAAADQAAAAABAa4DAAB4AAAACgoBAAAAAAAAAP////8AAQevAwAAAAEAAAAEAAAABB1BcGxvcmlzLkJhc2UuT2JqZWN0cy5WYXJpYWJsZQMAAAABZAQAAJEDAAABAAAAAAAAAAFlBAAAkQMAAAAAAAAAAAAAAWYEAACRAwAAAAAAAAAAAAABZwQAAJEDAAAAAAAAAAAAAA+wAwAAAQAAAAgAAAAAAbUDAAB4AAAACgoAAAAAAAAAAA0AAAAAAQG2AwAAeAAAAAoKAQAAAAAAAAD/////AAEHtwMAAAABAAAABAAAAAQdQXBsb3Jpcy5CYXNlLk9iamVjdHMuVmFyaWFibGUDAAAAAWgEAACRAwAAAQAAAAAAAAABaQQAAJEDAAAAAAAAAAAAAAFqBAAAkQMAAAAAAAAAAAAAAWsEAACRAwAAAAAAAAAAAAAPuAMAAAEAAAAIAAAAAAG9AwAAeAAAAAoKAAAAAAAAAAANAAAAAAEBvgMAAHgAAAAKCgEAAAAAAAAA/////wABB78DAAAAAQAAAAQAAAAEHUFwbG9yaXMuQmFzZS5PYmplY3RzLlZhcmlhYmxlAwAAAAFsBAAAkQMAAAEAAAAAAAAAAW0EAACRAwAAAAAAAAAAAAABbgQAAJEDAAAAAAAAAAAAAAFvBAAAkQMAAAAAAAAAAAAAD8ADAAABAAAACAAAAAABxQMAAHgAAAAKCgAAAAAAAAAADQAAAAAAAcYDAAB4AAAACgoBAAAAAAAAAP////8AAQfHAwAAAAEAAAAEAAAABB1BcGxvcmlzLkJhc2UuT2JqZWN0cy5WYXJpYWJsZQMAAAABcAQAAJEDAAABAAAAAAAAAAFxBAAAkQMAAAAAAAAAAAAAAXIEAACRAwAAAAAAAAAAAAABcwQAAJEDAAAAAAAAAAAAAA/IAwAAAQAAAAhFAwAAAckDAAB4AAAACgoAAAAA////AA4AAAAAAAXKAwAAGkFwbG9yaXMuQmFzZS5PYmplY3RzLkNvbG9yBwAAABJEYXRhT2JqZWN0K21QYXJlbnQVRGF0YU9iamVjdCttQ29udGFpbmVyBW1UeXBlBG1SR0IQbVRoZW1lQ29sb3JJbmRleAxtQXV0b1VwZGF0ZWQJbU1vZGlmaWVkBAIAAAAAAB9BcGxvcmlzLkJhc2UuT2JqZWN0cy5MaW5lRm9ybWF0AwAAAAgICAEBAwAAAAkUAwAACgEAAAAAAAAA/////wABAcsDAAB4AAAACgoBAAAABSluAP////8AAAHMAwAAeAAAAAoKAQAAAP///wD/////AAAPzQMAAAEAAAAIRwMAAAHOAwAAeAAAAAoKAAAAAAAAAAANAAAAAAABzwMAAHgAAAAKCgEAAAAAAAAA/////wABB9ADAAAAAQAAAAQAAAAEHUFwbG9yaXMuQmFzZS5PYmplY3RzLlZhcmlhYmxlAwAAAAF0BAAAkQMAAAEAAAAAAAAAAXUEAACRAwAAAAAAAAAAAAABdgQAAJEDAAAAAAAAAAAAAAF3BAAAkQMAAAAAAAAAAAAAD9EDAAABAAAACEMDAAAB0gMAAHgAAAAKCgAAAAD///8ADgAAAAAABdMDAAAaQXBsb3Jpcy5CYXNlLk9iamVjdHMuQ29sb3IHAAAAEkRhdGFPYmplY3QrbVBhcmVudBVEYXRhT2JqZWN0K21Db250YWluZXIFbVR5cGUEbVJHQhBtVGhlbWVDb2xvckluZGV4DG1BdXRvVXBkYXRlZAltTW9kaWZpZWQEAgAAAAAAH0FwbG9yaXMuQmFzZS5PYmplY3RzLkxpbmVGb3JtYXQDAAAACAgIAQEDAAAACScDAAAKAQAAAAAAAAD/////AAEB1AMAAHgAAAAKCgEAAABFddQA/////wAAAdUDAAB4AAAACgoBAAAA////AP////8AAA/WAwAAAQAAAAhIAwAAAdcDAAB4AAAACgoAAAAAAAAAAA0AAAAAAAHYAwAAeAAAAAoKAQAAAAAAAAD/////AAEH2QMAAAABAAAABAAAAAQdQXBsb3Jpcy5CYXNlLk9iamVjdHMuVmFyaWFibGUDAAAAAXgEAACRAwAAAQAAAAAAAAABeQQAAJEDAAAAAAAAAAAAAAF6BAAAkQMAAAAAAAAAAAAAAXsEAACRAwAAAAAAAAAAAAAP2gMAAAEAAAAIRAMAAAHbAwAAeAAAAAoKAAAAAP///wAOAAAAAAAF3AMAABpBcGxvcmlzLkJhc2UuT2JqZWN0cy5Db2xvcgcAAAASRGF0YU9iamVjdCttUGFyZW50FURhdGFPYmplY3QrbUNvbnRhaW5lcgVtVHlwZQRtUkdCEG1UaGVtZUNvbG9ySW5kZXgMbUF1dG9VcGRhdGVkCW1Nb2RpZmllZAQCAAAAAAAfQXBsb3Jpcy5CYXNlLk9iamVjdHMuTGluZUZvcm1hdAMAAAAICAgBAQMAAAAJOQMAAAoBAAAAAAAAAP////8AAQHdAwAAeAAAAAoKAQAAAMHQ7QD/////AAAB3gMAAHgAAAAKCgEAAAD///8A/////wAAD98DAAABAAAACEYDAAABDAQAACQBAAAKWAIAAAF8BAAAnQEAAAIAAAABfQQAAJ4BAAABAAAAAX4EAAAVAAAAuuabQhJ8aUMguqtCiE5CQgF/BAAAoAEAAAAAAAAAAKBAAAGABAAAIQAAAMrD8ULy4oBDAYEEAACgAAAAAAAAAAAAAAAAAAAAAAmCBAAAAAAAAAmDBAAAAAABhAQAAKkAAAAAAAAAAYUEAAByAAAAAADQQQAAYEEBhgQAABUAAACji9ZCdNF7Q5JO2EHooktBXrrZPwaHBAAAAzIwJQoJiAQAAAmpAQAANAMAAP////8BAQoJiQQAAAEACgABDQQAABwAAAABigQAACEAAAC65pVC2oeOQwGLBAAAIQAAAG3QJkMSfGZDCYwEAAAJjQQAAAAAAAAKAY4EAAByAAAAAAAAAAAAAAABjwQAAHIAAAAAAAAAAAAAAAAAAAABkAQAABUAAAAAAAAAAAAAAAAAAAAAAAAApAEAAP////8BAQoJkQQAAAEACgAHDgQAAAABAAAAAgAAAAQaQXBsb3Jpcy5CYXNlLlVJLlZpc3VhbExpbmUDAAAACgoHDwQAAAABAAAAAwAAAAQVU3lzdGVtLkRyYXdpbmcuUG9pbnRGBAAAAAGSBAAAIQAAAMrD8ULy4oBDAZMEAAAhAAAAuuaPQvLigEMBlAQAACEAAABt0ClD8uKAQwcQBAAAAAEAAAADAAAABBdBcGxvcmlzLkJhc2UuQW5jaG9yTW9kZQMAAAABlQQAAKAAAAAAAAAAAZYEAACgAAAAAgAAAAGXBAAAoAAAAAQAAAABEQQAACUAAAAJmAQAAAAAAAAAAAAAARIEAAAmAAAACZkEAAACAAAACgAAAAETBAAAJAEAAApYAgAAAZoEAACdAQAAAgAAAAGbBAAAngEAAAEAAAABnAQAABUAAACo7mBDog45QyC6q0IkAsJCAZ0EAACgAQAAAAAAAAAAoEAAAZ4EAAAhAAAAmO6FQyuPaUMBnwQAAKAAAAAAAAAAAAAAAAAAAAAACaAEAAAAAAAACaEEAAAAAAGiBAAAqQAAAAAAAAABowQAAHIAAAAAANBBAABgQQGkBAAAFQAAAKOLfkPRRWNDkk7YQeiiS0Feutk/BqUEAAADMzglCgmmBAAACakBAAA0AwAA/////wEBCgmnBAAAAQAKAAEUBAAAHAAAAAGoBAAAIQAAAKjuXUPah45DAakEAAAhAAAA3OWcQ6IONkMJqgQAAAmrBAAAAAAAAAoBrAQAAHIAAAAAAAAAAAAAAAGtBAAAcgAAAAAAAAAAAAAAAAAAAAGuBAAAFQAAAAAAAAAAAAAAAAAAAAAAAACkAQAA/////wEBCgmvBAAAAQAKAAcVBAAAAAEAAAACAAAABBpBcGxvcmlzLkJhc2UuVUkuVmlzdWFsTGluZQMAAAAKCgcWBAAAAAEAAAADAAAABBVTeXN0ZW0uRHJhd2luZy5Qb2ludEYEAAAAAbAEAAAhAAAAmO6FQyuPaUMBsQQAACEAAACo7lpDK49pQwGyBAAAIQAAANxlnkMrj2lDBxcEAAAAAQAAAAMAAAAEF0FwbG9yaXMuQmFzZS5BbmNob3JNb2RlAwAAAAGzBAAAoAAAAAAAAAABtAQAAKAAAAACAAAAAbUEAACgAAAABAAAAAEYBAAAJQAAAAmYBAAAAAAAAAAAAAABGQQAACYAAAAJtgQAAAIAAAACAAAAARoEAAAkAQAAClgCAAABtwQAAJ0BAAACAAAAAbgEAACeAQAAAQAAAAG5BAAAFQAAAPr0uUN6wWxDILqrQug4NUIBugQAAKABAAAAAAAAAACgQAABuwQAACEAAAA+bM9DTLSBQwG8BAAAoAAAAAAAAAAAAAAAAAAAAAAJvQQAAAAAAAAJvgQAAAAAAb8EAACpAAAAAAAAAAHABAAAcgAAAAAA0EEAAGBBAcEEAAAVAAAAXXTIQy66fEOSTthB6KJLQV662T8GwgQAAAMxOSUKCcMEAAAJqQEAADQDAAD/////AQEKCcQEAAABAAoAARsEAAAcAAAAAcUEAAAhAAAA+nS4Q9qHjkMBxgQAACEAAACCY+ZDesFpQwnHBAAACcgEAAAAAAAACgHJBAAAcgAAAAAAAAAAAAAAAcoEAAByAAAAAAAAAAAAAAAAAAAAAcsEAAAVAAAAAAAAAAAAAAAAAAAAAAAAAKQBAAD/////AQEKCcwEAAABAAoABxwEAAAAAQAAAAIAAAAEGkFwbG9yaXMuQmFzZS5VSS5WaXN1YWxMaW5lAwAAAAoKBx0EAAAAAQAAAAMAAAAEFVN5c3RlbS5EcmF3aW5nLlBvaW50RgQAAAABzQQAACEAAAA+bM9DTLSBQwHOBAAAIQAAAPr0tkNMtIFDAc8EAAAhAAAAguPnQ0y0gUMHHgQAAAABAAAAAwAAAAQXQXBsb3Jpcy5CYXNlLkFuY2hvck1vZGUDAAAAAdAEAACgAAAAAAAAAAHRBAAAoAAAAAIAAAAB0gQAAKAAAAAEAAAAAR8EAAAlAAAACZgEAAAAAAAAAAAAAAEgBAAAJgAAAAnTBAAAAgAAAAIAAAABIQQAACQBAAAKWAIAAAHUBAAAnQEAAAIAAAAB1QQAAJ4BAAABAAAAAdYEAAAVAAAAULkBRFyPg0MguqtC4IeXQQHXBAAAoAEAAAAAAAAAAKBAAAHYBAAAIQAAAPJ0DESbS4hDAdkEAACgAAAAAAAAAAAAAAAAAAAAAAnaBAAAAAAAAAnbBAAAAAAB3AQAAKkAAAAAAAAAAd0EAAByAAAAAACYQQAAYEEB3gQAABUAAABd9AlEiy6FQ9hlpUHooktBXrrZPwbfBAAAAjklCgngBAAACakBAAA0AwAA/////wEBCgnhBAAAAQAKAAEiBAAAHAAAAAHiBAAAIQAAAFD5AETah45DAeMEAAAhAAAAlPAXRFwPgkMJ5AQAAAnlBAAAAAAAAAoB5gQAAHIAAAAAAAAAAAAAAAHnBAAAcgAAAAAAAAAAAAAAAAAAAAHoBAAAFQAAAAAAAAAAAAAAAAAAAAAAAACkAQAA/////wEBCgnpBAAAAQAKAAcjBAAAAAEAAAACAAAABBpBcGxvcmlzLkJhc2UuVUkuVmlzdWFsTGluZQMAAAAKCgckBAAAAAEAAAADAAAABBVTeXN0ZW0uRHJhd2luZy5Qb2ludEYEAAAAAeoEAAAhAAAA8nQMRJtLiEMB6wQAACEAAABQOQBEm0uIQwHsBAAAIQAAAJSwGESbS4hDByUEAAAAAQAAAAMAAAAEF0FwbG9yaXMuQmFzZS5BbmNob3JNb2RlAwAAAAHtBAAAoAAAAAAAAAAB7gQAAKAAAAACAAAAAe8EAACgAAAABAAAAAEmBAAAJQAAAAkKAgAAAAAAAAAAAAABJwQAACYAAAAJ8AQAAAIAAAACAAAAASgEAAAkAQAAClgCAAAB8QQAAJ0BAAACAAAAAfIEAACeAQAAAQAAAAHzBAAAFQAAALrmm0I207JCILqrQncSCkMB9AQAAKABAAAAAAAAAACgQAAB9QQAACEAAADKw/FC1nIeQwH2BAAAoAAAAAAAAAAAAAAAAAAAAAAJ9wQAAAAAAAAJ+AQAAAAAAfkEAACpAAAAAAAAAAH6BAAAcgAAAAAA0EEAAGBBAfsEAAAVAAAAo4vWQnTRF0OSTthB6KJLQV662T8G/AQAAAM1NCUKCf0EAAAJqQEAADQDAAD/////AQEKCf4EAAABAAoAASkEAAAcAAAAAf8EAAAhAAAAuuaVQhJ8ZkMBAAUAACEAAABt0CZDNtOsQgkBBQAACQIFAAAAAAAACgEDBQAAcgAAAAAAAAAAAAAAAQQFAAByAAAAAAAAAAAAAAAAAAAAAQUFAAAVAAAAAAAAAAAAAAAAAAAAAAAAAKQBAAD/////AQEKCQYFAAABAAoAByoEAAAAAQAAAAIAAAAEGkFwbG9yaXMuQmFzZS5VSS5WaXN1YWxMaW5lAwAAAAoKBysEAAAAAQAAAAMAAAAEFVN5c3RlbS5EcmF3aW5nLlBvaW50RgQAAAABBwUAACEAAADKw/FC1nIeQwEIBQAAIQAAALrmj0LWch5DAQkFAAAhAAAAbdApQ9ZyHkMHLAQAAAABAAAAAwAAAAQXQXBsb3Jpcy5CYXNlLkFuY2hvck1vZGUDAAAAAQoFAACgAAAAAAAAAAELBQAAoAAAAAIAAAABDAUAAKAAAAAEAAAAAS0EAAAlAAAACQ0FAAAAAAAAAAAAAAEuBAAAJgAAAAkOBQAAAgAAAAoAAAABLwQAACQBAAAKWAIAAAEPBQAAnQEAAAIAAAABEAUAAJ4BAAABAAAAAREFAAAVAAAAqO5gQ8BeOkIguqtC8nYEQwESBQAAoAEAAAAAAAAAAKBAAAETBQAAIQAAAJjuhUNSpuFCARQFAACgAAAAAAAAAAAAAAAAAAAAAAkVBQAAAAAAAAkWBQAAAAABFwUAAKkAAAAAAAAAARgFAAByAAAAAADQQQAAYEEBGQUAABUAAACji35DLrrUQpJO2EHooktBXrrZPwYaBQAAAzUyJQoJGwUAAAmpAQAANAMAAP////8BAQoJHAUAAAEACgABMAQAABwAAAABHQUAACEAAACo7l1Dog42QwEeBQAAIQAAANzlnEPAXi5CCR8FAAAJIAUAAAAAAAAKASEFAAByAAAAAAAAAAAAAAABIgUAAHIAAAAAAAAAAAAAAAAAAAABIwUAABUAAAAAAAAAAAAAAAAAAAAAAAAApAEAAP////8BAQoJJAUAAAEACgAHMQQAAAABAAAAAgAAAAQaQXBsb3Jpcy5CYXNlLlVJLlZpc3VhbExpbmUDAAAACgoHMgQAAAABAAAAAwAAAAQVU3lzdGVtLkRyYXdpbmcuUG9pbnRGBAAAAAElBQAAIQAAAJjuhUNSpuFCASYFAAAhAAAAqO5aQ1Km4UIBJwUAACEAAADcZZ5DUqbhQgczBAAAAAEAAAADAAAABBdBcGxvcmlzLkJhc2UuQW5jaG9yTW9kZQMAAAABKAUAAKAAAAAAAAAAASkFAACgAAAAAgAAAAEqBQAAoAAAAAQAAAABNAQAACUAAAAJDQUAAAAAAAAAAAAAATUEAAAmAAAACSsFAAACAAAAAgAAAAE2BAAAJAEAAApYAgAAASwFAACdAQAAAgAAAAEtBQAAngEAAAEAAAABLgUAABUAAAD69LlDRve4QiC6q0LXRQpDAS8FAACgAQAAAAAAAAAAoEAAATAFAAAhAAAAPmzPQ46eIUMBMQUAAKAAAAAAAAAAAAAAAAAAAAAACTIFAAAAAAAACTMFAAAAAAE0BQAAqQAAAAAAAAABNQUAAHIAAAAAANBBAABgQQE2BQAAFQAAAF10yENddBtDkk7YQeiiS0Feutk/BjcFAAADNTQlCgk4BQAACakBAAA0AwAA/////wEBCgk5BQAAAQAKAAE3BAAAHAAAAAE6BQAAIQAAAPp0uEN6wWlDATsFAAAhAAAAgmPmQ0b3skIJPAUAAAk9BQAAAAAAAAoBPgUAAHIAAAAAAAAAAAAAAAE/BQAAcgAAAAAAAAAAAAAAAAAAAAFABQAAFQAAAAAAAAAAAAAAAAAAAAAAAACkAQAA/////wEBCglBBQAAAQAKAAc4BAAAAAEAAAACAAAABBpBcGxvcmlzLkJhc2UuVUkuVmlzdWFsTGluZQMAAAAKCgc5BAAAAAEAAAADAAAABBVTeXN0ZW0uRHJhd2luZy5Qb2ludEYEAAAAAUIFAAAhAAAAPmzPQ46eIUMBQwUAACEAAAD69LZDjp4hQwFEBQAAIQAAAILj50OOniFDBzoEAAAAAQAAAAMAAAAEF0FwbG9yaXMuQmFzZS5BbmNob3JNb2RlAwAAAAFFBQAAoAAAAAAAAAABRgUAAKAAAAACAAAAAUcFAACgAAAABAAAAAE7BAAAJQAAAAkNBQAAAAAAAAAAAAABPAQAACYAAAAJSAUAAAIAAAACAAAAAT0EAAAkAQAAClgCAAABSQUAAJ0BAAACAAAAAUoFAACeAQAAAQAAAAFLBQAAFQAAAFC5AUTI4OVCILqrQlQuDkMBTAUAAKABAAAAAAAAAACgQAABTQUAACEAAADydAxEjgc6QwFOBQAAoAAAAAAAAAAAAAAAAAAAAAAJTwUAAAAAAAAJUAUAAAAAAVEFAACpAAAAAAAAAAFSBQAAcgAAAAAA0EEAAGBBAVMFAAAVAAAAowsJRAAANEOSTthB6KJLQV662T8GVAUAAAM1NSUKCVUFAAAJqQEAADQDAAD/////AQEKCVYFAAABAAoAAT4EAAAcAAAAAVcFAAAhAAAAUPkARFwPgkMBWAUAACEAAACU8BdEyODfQglZBQAACVoFAAAAAAAACgFbBQAAcgAAAAAAAAAAAAAAAVwFAAByAAAAAAAAAAAAAAAAAAAAAV0FAAAVAAAAAAAAAAAAAAAAAAAAAAAAAKQBAAD/////AQEKCV4FAAABAAoABz8EAAAAAQAAAAIAAAAEGkFwbG9yaXMuQmFzZS5VSS5WaXN1YWxMaW5lAwAAAAoKB0AEAAAAAQAAAAMAAAAEFVN5c3RlbS5EcmF3aW5nLlBvaW50RgQAAAABXwUAACEAAADydAxEjgc6QwFgBQAAIQAAAFA5AESOBzpDAWEFAAAhAAAAlLAYRI4HOkMHQQQAAAABAAAAAwAAAAQXQXBsb3Jpcy5CYXNlLkFuY2hvck1vZGUDAAAAAWIFAACgAAAAAAAAAAFjBQAAoAAAAAIAAAABZAUAAKAAAAAEAAAAAUIEAAAlAAAACQoCAAAAAAAAAAAAAAFDBAAAJgAAAAllBQAAAgAAAAIAAAABRAQAACQBAAAKWAIAAAFmBQAAnQEAAAIAAAABZwUAAJ4BAAABAAAAAWgFAAAVAAAAuuabQq+ZnEEguqtClFl/QgFpBQAAoAEAAAAAAAAAAKBAAAFqBQAAIQAAAMrD8UKi+U1CAWsFAACgAAAAAAAAAAAAAAAAAAAAAAlsBQAAAAAAAAltBQAAAAABbgUAAKkAAAAAAAAAAW8FAAByAAAAAADQQQAAYEEBcAUAABUAAACji9ZCdNE1QpJO2EHooktBXrrZPwZxBQAAAzI2JQoJcgUAAAmpAQAANAMAAP////8BAQoJcwUAAAEACgABRQQAABwAAAABdAUAACEAAAC65pVCNtOsQgF1BQAAIQAAAG3QJkOvmYRBCXYFAAAJdwUAAAAAAAAKAXgFAAByAAAAAAAAAAAAAAABeQUAAHIAAAAAAAAAAAAAAAAAAAABegUAABUAAAAAAAAAAAAAAAAAAAAAAAAApAEAAP////8BAQoJewUAAAEACgAHRgQAAAABAAAAAgAAAAQaQXBsb3Jpcy5CYXNlLlVJLlZpc3VhbExpbmUDAAAACgoHRwQAAAABAAAAAwAAAAQVU3lzdGVtLkRyYXdpbmcuUG9pbnRGBAAAAAF8BQAAIQAAAMrD8UKi+U1CAX0FAAAhAAAAuuaPQqL5TUIBfgUAACEAAABt0ClDovlNQgdIBAAAAAEAAAADAAAABBdBcGxvcmlzLkJhc2UuQW5jaG9yTW9kZQMAAAABfwUAAKAAAAAAAAAAAYAFAACgAAAAAgAAAAGBBQAAoAAAAAQAAAABSQQAACUAAAAJDQUAAAAAAAAAAAAAAUoEAAAmAAAACYIFAAACAAAACgAAAAFLBAAAJAEAAApYAgAAAYMFAACdAQAAAgAAAAGEBQAAngEAAAEAAAABhQUAABUAAACo7mBDr5mcQSC6q0LRI6hBAYYFAACgAQAAAAAAAAAAoEAAAYcFAAAhAAAAmO6FQ5ir8EEBiAUAAKAAAAAAAAAAAAAAAAAAAAAACYkFAAAAAAAACYoFAAAAAAGLBQAAqQAAAAAAAAABjAUAAHIAAAAAANBBAABgQQGNBQAAFQAAAKOLfkNGF71Bkk7YQeiiS0Feutk/Bo4FAAADMTAlCgmPBQAACakBAAA0AwAA/////wEBCgmQBQAAAQAKAAFMBAAAHAAAAAGRBQAAIQAAAKjuXUPAXi5CAZIFAAAhAAAA3OWcQ6+ZhEEJkwUAAAmUBQAAAAAAAAoBlQUAAHIAAAAAAAAAAAAAAAGWBQAAcgAAAAAAAAAAAAAAAAAAAAGXBQAAFQAAAAAAAAAAAAAAAAAAAAAAAACkAQAA/////wEBCgmYBQAAAQAKAAdNBAAAAAEAAAACAAAABBpBcGxvcmlzLkJhc2UuVUkuVmlzdWFsTGluZQMAAAAKCgdOBAAAAAEAAAADAAAABBVTeXN0ZW0uRHJhd2luZy5Qb2ludEYEAAAAAZkFAAAhAAAAmO6FQ5ir8EEBmgUAACEAAACo7lpDmKvwQQGbBQAAIQAAANxlnkOYq/BBB08EAAAAAQAAAAMAAAAEF0FwbG9yaXMuQmFzZS5BbmNob3JNb2RlAwAAAAGcBQAAoAAAAAAAAAABnQUAAKAAAAACAAAAAZ4FAACgAAAABAAAAAFQBAAAJQAAAAkNBQAAAAAAAAAAAAABUQQAACYAAAAJnwUAAAIAAAACAAAAAVIEAAAkAQAAClgCAAABoAUAAJ0BAAACAAAAAaEFAACeAQAAAQAAAAGiBQAAFQAAAPr0uUOvmZxBILqrQtrQhUIBowUAAKABAAAAAAAAAACgQAABpAUAACEAAAA+bM9Dsh1UQgGlBQAAoAAAAAAAAAAAAAAAAAAAAAAJpgUAAAAAAAAJpwUAAAAAAagFAACpAAAAAAAAAAGpBQAAcgAAAAAA0EEAAGBBAaoFAAAVAAAAXXTIQ110OUKSTthB6KJLQV662T8GqwUAAAMyNyUKCawFAAAJqQEAADQDAAD/////AQEKCa0FAAABAAoAAVMEAAAcAAAAAa4FAAAhAAAA+nS4Q0b3skIBrwUAACEAAACCY+ZDr5mEQQmwBQAACbEFAAAAAAAACgGyBQAAcgAAAAAAAAAAAAAAAbMFAAByAAAAAAAAAAAAAAAAAAAAAbQFAAAVAAAAAAAAAAAAAAAAAAAAAAAAAKQBAAD/////AQEKCbUFAAABAAoAB1QEAAAAAQAAAAIAAAAEGkFwbG9yaXMuQmFzZS5VSS5WaXN1YWxMaW5lAwAAAAoKB1UEAAAAAQAAAAMAAAAEFVN5c3RlbS5EcmF3aW5nLlBvaW50RgQAAAABtgUAACEAAAA+bM9Dsh1UQgG3BQAAIQAAAPr0tkOyHVRCAbgFAAAhAAAAguPnQ7IdVEIHVgQAAAABAAAAAwAAAAQXQXBsb3Jpcy5CYXNlLkFuY2hvck1vZGUDAAAAAbkFAACgAAAAAAAAAAG6BQAAoAAAAAIAAAABuwUAAKAAAAAEAAAAAVcEAAAlAAAACQ0FAAAAAAAAAAAAAAFYBAAAJgAAAAm8BQAAAgAAAAYAAAABWQQAACQBAAAKWAIAAAG9BQAAnQEAAAIAAAABvgUAAJ4BAAABAAAAAb8FAAAVAAAAULkBRK+ZnEEguqtCXLqyQgHABQAAoAEAAAAAAAAAAKBAAAHBBQAAIQAAAPJ0DESag4BCAcIFAACgAAAAAAAAAAAAAAAAAAAAAAnDBQAAAAAAAAnEBQAAAAABxQUAAKkAAAAAAAAAAcYFAAByAAAAAADQQQAAYEEBxwUAABUAAACjCwlELrpoQpJO2EHooktBXrrZPwbIBQAAAzM2JQoJyQUAAAmpAQAANAMAAP////8BAQoJygUAAAEACgABWgQAABwAAAABywUAACEAAABQ+QBEyODfQgHMBQAAIQAAAJTwF0SvmYRBCc0FAAAJzgUAAAAAAAAKAc8FAAByAAAAAAAAAAAAAAAB0AUAAHIAAAAAAAAAAAAAAAAAAAAB0QUAABUAAAAAAAAAAAAAAAAAAAAAAAAApAEAAP////8BAQoJ0gUAAAEACgAHWwQAAAABAAAAAgAAAAQaQXBsb3Jpcy5CYXNlLlVJLlZpc3VhbExpbmUDAAAACgoHXAQAAAABAAAAAwAAAAQVU3lzdGVtLkRyYXdpbmcuUG9pbnRGBAAAAAHTBQAAIQAAAPJ0DESag4BCAdQFAAAhAAAAUDkARJqDgEIB1QUAACEAAACUsBhEmoOAQgddBAAAAAEAAAADAAAABBdBcGxvcmlzLkJhc2UuQW5jaG9yTW9kZQMAAAAB1gUAAKAAAAAAAAAAAdcFAACgAAAAAgAAAAHYBQAAoAAAAAQAAAABXgQAACUAAAAJCgIAAAAAAAAAAAAAAV8EAAAmAAAACdkFAAACAAAAAgAAAAGCBAAAIwAAAAoKAAAAAABAQQl2AAAACXcAAAAJ2gUAAAAACdsFAAABgwQAAHgAAAAKCgEAAAAFKW4A/////wABAYgEAACtAAAACdwFAAABAAAAAwAAAAGJBAAAdQAAAAndBQAACgGMBAAAcAAAAAoKAAAAQD8J3gUAAAnfBQAAAQAAAP7///8AAAAAAQAAAAAAAAAAAAAAAQAAAAAAAAAAAAABjQQAAHEAAAAKCgngBQAACeEFAAABAAAA/v///wAAAAD/////AAABkQQAAHUAAAAJ4gUAAAoHmAQAAAABAAAAAAAAAAQfQXBsb3Jpcy5CYXNlLk9iamVjdHMuRGF0YU9iamVjdAMAAAAHmQQAAAABAAAABAAAAAQcQXBsb3Jpcy5CYXNlLlVJLlZpc3VhbE9iamVjdAMAAAAJDQQAAAkMBAAACgoBoAQAACMAAAAKCgAAAAAAQEEJdgAAAAl3AAAACeMFAAAAAAnkBQAAAaEEAAB4AAAACgoBAAAABSluAP////8AAQGmBAAArQAAAAnlBQAAAQAAAAMAAAABpwQAAHUAAAAJ5gUAAAoBqgQAAHAAAAAKCgAAAEA/CecFAAAJ6AUAAAEAAAD+////AAAAAAEAAAAAAAAAAAAAAAEAAAAAAAAAAAAAAasEAABxAAAACgoJ6QUAAAnqBQAAAQAAAP7///8AAAAA/////wAAAa8EAAB1AAAACesFAAAKB7YEAAAAAQAAAAQAAAAEHEFwbG9yaXMuQmFzZS5VSS5WaXN1YWxPYmplY3QDAAAACRQEAAAJEwQAAAoKAb0EAAAjAAAACgoAAAAAAEBBCXYAAAAJdwAAAAnsBQAAAAAJ7QUAAAG+BAAAeAAAAAoKAQAAAAUpbgD/////AAEBwwQAAK0AAAAJ7gUAAAEAAAADAAAAAcQEAAB1AAAACe8FAAAKAccEAABwAAAACgoAAABAPwnwBQAACfEFAAABAAAA/v///wAAAAABAAAAAAAAAAAAAAABAAAAAAAAAAAAAAHIBAAAcQAAAAoKCfIFAAAJ8wUAAAEAAAD+////AAAAAP////8AAAHMBAAAdQAAAAn0BQAACgfTBAAAAAEAAAAEAAAABBxBcGxvcmlzLkJhc2UuVUkuVmlzdWFsT2JqZWN0AwAAAAkbBAAACRoEAAAKCgHaBAAAIwAAAAoKAAAAAABAQQl2AAAACXcAAAAJ9QUAAAAACfYFAAAB2wQAAHgAAAAKCgEAAAAFKW4A/////wABAeAEAACtAAAACfcFAAABAAAAAwAAAAHhBAAAdQAAAAn4BQAACgHkBAAAcAAAAAoKAAAAQD8J+QUAAAn6BQAAAQAAAP7///8AAAAAAQAAAAAAAAAAAAAAAQAAAAAAAAAAAAAB5QQAAHEAAAAKCgn7BQAACfwFAAABAAAA/v///wAAAAD/////AAAB6QQAAHUAAAAJ/QUAAAoH8AQAAAABAAAABAAAAAQcQXBsb3Jpcy5CYXNlLlVJLlZpc3VhbE9iamVjdAMAAAAJIgQAAAkhBAAACgoB9wQAACMAAAAKCgAAAAAAQEEJdgAAAAl3AAAACf4FAAAAAAn/BQAAAfgEAAB4AAAACgoBAAAARXXUAP////8AAQH9BAAArQAAAAkABgAAAQAAAAMAAAAB/gQAAHUAAAAJAQYAAAoBAQUAAHAAAAAKCgAAAEA/CQIGAAAJAwYAAAEAAAD+////AAAAAAEAAAAAAAAAAAAAAAEAAAAAAAAAAAAAAQIFAABxAAAACgoJBAYAAAkFBgAAAQAAAP7///8AAAAA/////wAAAQYFAAB1AAAACQYGAAAKBw0FAAAAAQAAAAAAAAAEH0FwbG9yaXMuQmFzZS5PYmplY3RzLkRhdGFPYmplY3QDAAAABw4FAAAAAQAAAAQAAAAEHEFwbG9yaXMuQmFzZS5VSS5WaXN1YWxPYmplY3QDAAAACSkEAAAJKAQAAAoKARUFAAAjAAAACgoAAAAAAEBBCXYAAAAJdwAAAAkHBgAAAAAJCAYAAAEWBQAAeAAAAAoKAQAAAEV11AD/////AAEBGwUAAK0AAAAJCQYAAAEAAAADAAAAARwFAAB1AAAACQoGAAAKAR8FAABwAAAACgoAAABAPwkLBgAACQwGAAABAAAA/v///wAAAAABAAAAAAAAAAAAAAABAAAAAAAAAAAAAAEgBQAAcQAAAAoKCQ0GAAAJDgYAAAEAAAD+////AAAAAP////8AAAEkBQAAdQAAAAkPBgAACgcrBQAAAAEAAAAEAAAABBxBcGxvcmlzLkJhc2UuVUkuVmlzdWFsT2JqZWN0AwAAAAkwBAAACS8EAAAKCgEyBQAAIwAAAAoKAAAAAABAQQl2AAAACXcAAAAJEAYAAAAACREGAAABMwUAAHgAAAAKCgEAAABFddQA/////wABATgFAACtAAAACRIGAAABAAAAAwAAAAE5BQAAdQAAAAkTBgAACgE8BQAAcAAAAAoKAAAAQD8JFAYAAAkVBgAAAQAAAP7///8AAAAAAQAAAAAAAAAAAAAAAQAAAAAAAAAAAAABPQUAAHEAAAAKCgkWBgAACRcGAAABAAAA/v///wAAAAD/////AAABQQUAAHUAAAAJGAYAAAoHSAUAAAABAAAABAAAAAQcQXBsb3Jpcy5CYXNlLlVJLlZpc3VhbE9iamVjdAMAAAAJNwQAAAk2BAAACgoBTwUAACMAAAAKCgAAAAAAQEEJdgAAAAl3AAAACRkGAAAAAAkaBgAAAVAFAAB4AAAACgoBAAAARXXUAP////8AAQFVBQAArQAAAAkbBgAAAQAAAAMAAAABVgUAAHUAAAAJHAYAAAoBWQUAAHAAAAAKCgAAAEA/CR0GAAAJHgYAAAEAAAD+////AAAAAAEAAAAAAAAAAAAAAAEAAAAAAAAAAAAAAVoFAABxAAAACgoJHwYAAAkgBgAAAQAAAP7///8AAAAA/////wAAAV4FAAB1AAAACSEGAAAKB2UFAAAAAQAAAAQAAAAEHEFwbG9yaXMuQmFzZS5VSS5WaXN1YWxPYmplY3QDAAAACT4EAAAJPQQAAAoKAWwFAAAjAAAACgoAAAAAAEBBCXYAAAAJdwAAAAkiBgAAAAAJIwYAAAFtBQAAeAAAAAoKAQAAAMHQ7QD/////AAEBcgUAAK0AAAAJJAYAAAEAAAADAAAAAXMFAAB1AAAACSUGAAAKAXYFAABwAAAACgoAAABAPwkmBgAACScGAAABAAAA/v///wAAAAABAAAAAAAAAAAAAAABAAAAAAAAAAAAAAF3BQAAcQAAAAoKCSgGAAAJKQYAAAEAAAD+////AAAAAP////8AAAF7BQAAdQAAAAkqBgAACgeCBQAAAAEAAAAEAAAABBxBcGxvcmlzLkJhc2UuVUkuVmlzdWFsT2JqZWN0AwAAAAlFBAAACUQEAAAKCgGJBQAAIwAAAAoKAAAAAABAQQl2AAAACXcAAAAJKwYAAAAACSwGAAABigUAAHgAAAAKCgEAAADB0O0A/////wABAY8FAACtAAAACS0GAAABAAAAAwAAAAGQBQAAdQAAAAkuBgAACgGTBQAAcAAAAAoKAAAAQD8JLwYAAAkwBgAAAQAAAP7///8AAAAAAQAAAAAAAAAAAAAAAQAAAAAAAAAAAAABlAUAAHEAAAAKCgkxBgAACTIGAAABAAAA/v///wAAAAD/////AAABmAUAAHUAAAAJMwYAAAoHnwUAAAABAAAABAAAAAQcQXBsb3Jpcy5CYXNlLlVJLlZpc3VhbE9iamVjdAMAAAAJTAQAAAlLBAAACgoBpgUAACMAAAAKCgAAAAAAQEEJdgAAAAl3AAAACTQGAAAAAAk1BgAAAacFAAB4AAAACgoBAAAAwdDtAP////8AAQGsBQAArQAAAAk2BgAAAQAAAAMAAAABrQUAAHUAAAAJNwYAAAoBsAUAAHAAAAAKCgAAAEA/CTgGAAAJOQYAAAEAAAD+////AAAAAAEAAAAAAAAAAAAAAAEAAAAAAAAAAAAAAbEFAABxAAAACgoJOgYAAAk7BgAAAQAAAP7///8AAAAA/////wAAAbUFAAB1AAAACTwGAAAKB7wFAAAAAQAAAAQAAAAEHEFwbG9yaXMuQmFzZS5VSS5WaXN1YWxPYmplY3QDAAAACVMEAAAJUgQAAAoKAcMFAAAjAAAACgoAAAAAAEBBCXYAAAAJdwAAAAk9BgAAAAAJPgYAAAHEBQAAeAAAAAoKAQAAAMHQ7QD/////AAEByQUAAK0AAAAJPwYAAAEAAAADAAAAAcoFAAB1AAAACUAGAAAKAc0FAABwAAAACgoAAABAPwlBBgAACUIGAAABAAAA/v///wAAAAABAAAAAAAAAAAAAAABAAAAAAAAAAAAAAHOBQAAcQAAAAoKCUMGAAAJRAYAAAEAAAD+////AAAAAP////8AAAHSBQAAdQAAAAlFBgAACgfZBQAAAAEAAAAEAAAABBxBcGxvcmlzLkJhc2UuVUkuVmlzdWFsT2JqZWN0AwAAAAlaBAAACVkEAAAKCgHaBQAAeAAAAAoKAAAAAP///wAOAAAAAAAB2wUAAHgAAAAKCgAAAAD///8ADgAAAAABB9wFAAAAAQAAAAQAAAAEHUFwbG9yaXMuQmFzZS5PYmplY3RzLlZhcmlhYmxlAwAAAAFGBgAAkQMAAAEAAAAAAAAAAUcGAACRAwAAAAAAAAAAAAABSAYAAJEDAAAAAAAAAAAAAAFJBgAAkQMAAAAAAAAAAAAAD90FAAABAAAACDUDAAAF3gUAABpBcGxvcmlzLkJhc2UuT2JqZWN0cy5Db2xvcgcAAAASRGF0YU9iamVjdCttUGFyZW50FURhdGFPYmplY3QrbUNvbnRhaW5lcgVtVHlwZQRtUkdCEG1UaGVtZUNvbG9ySW5kZXgMbUF1dG9VcGRhdGVkCW1Nb2RpZmllZAQCAAAAAAAfQXBsb3Jpcy5CYXNlLk9iamVjdHMuTGluZUZvcm1hdAMAAAAICAgBAQMAAAAJjAQAAAoAAAAA////AA4AAAAAAAXfBQAAGkFwbG9yaXMuQmFzZS5PYmplY3RzLkNvbG9yBwAAABJEYXRhT2JqZWN0K21QYXJlbnQVRGF0YU9iamVjdCttQ29udGFpbmVyBW1UeXBlBG1SR0IQbVRoZW1lQ29sb3JJbmRleAxtQXV0b1VwZGF0ZWQJbU1vZGlmaWVkBAIAAAAAAB9BcGxvcmlzLkJhc2UuT2JqZWN0cy5MaW5lRm9ybWF0AwAAAAgICAEBAwAAAAmMBAAACgEAAAAAAAAA/////wABAeAFAAB4AAAACgoBAAAABSluAP////8AAAHhBQAAeAAAAAoKAQAAAP///wD/////AAAP4gUAAAEAAAAIJAMAAAHjBQAAeAAAAAoKAAAAAP///wAOAAAAAAAB5AUAAHgAAAAKCgAAAAD///8ADgAAAAABB+UFAAAAAQAAAAQAAAAEHUFwbG9yaXMuQmFzZS5PYmplY3RzLlZhcmlhYmxlAwAAAAFKBgAAkQMAAAEAAAAAAAAAAUsGAACRAwAAAAAAAAAAAAABTAYAAJEDAAAAAAAAAAAAAAFNBgAAkQMAAAAAAAAAAAAAD+YFAAABAAAACGoCAAAF5wUAABpBcGxvcmlzLkJhc2UuT2JqZWN0cy5Db2xvcgcAAAASRGF0YU9iamVjdCttUGFyZW50FURhdGFPYmplY3QrbUNvbnRhaW5lcgVtVHlwZQRtUkdCEG1UaGVtZUNvbG9ySW5kZXgMbUF1dG9VcGRhdGVkCW1Nb2RpZmllZAQCAAAAAAAfQXBsb3Jpcy5CYXNlLk9iamVjdHMuTGluZUZvcm1hdAMAAAAICAgBAQMAAAAJqgQAAAoAAAAA////AA4AAAAAAAXoBQAAGkFwbG9yaXMuQmFzZS5PYmplY3RzLkNvbG9yBwAAABJEYXRhT2JqZWN0K21QYXJlbnQVRGF0YU9iamVjdCttQ29udGFpbmVyBW1UeXBlBG1SR0IQbVRoZW1lQ29sb3JJbmRleAxtQXV0b1VwZGF0ZWQJbU1vZGlmaWVkBAIAAAAAAB9BcGxvcmlzLkJhc2UuT2JqZWN0cy5MaW5lRm9ybWF0AwAAAAgICAEBAwAAAAmqBAAACgEAAAAAAAAA/////wABAekFAAB4AAAACgoBAAAABSluAP////8AAAHqBQAAeAAAAAoKAQAAAP///wD/////AAAP6wUAAAEAAAAIWgIAAAHsBQAAeAAAAAoKAAAAAP///wAOAAAAAAAB7QUAAHgAAAAKCgAAAAD///8ADgAAAAABB+4FAAAAAQAAAAQAAAAEHUFwbG9yaXMuQmFzZS5PYmplY3RzLlZhcmlhYmxlAwAAAAFOBgAAkQMAAAEAAAAAAAAAAU8GAACRAwAAAAAAAAAAAAABUAYAAJEDAAAAAAAAAAAAAAFRBgAAkQMAAAAAAAAAAAAAD+8FAAABAAAACHACAAAF8AUAABpBcGxvcmlzLkJhc2UuT2JqZWN0cy5Db2xvcgcAAAASRGF0YU9iamVjdCttUGFyZW50FURhdGFPYmplY3QrbUNvbnRhaW5lcgVtVHlwZQRtUkdCEG1UaGVtZUNvbG9ySW5kZXgMbUF1dG9VcGRhdGVkCW1Nb2RpZmllZAQCAAAAAAAfQXBsb3Jpcy5CYXNlLk9iamVjdHMuTGluZUZvcm1hdAMAAAAICAgBAQMAAAAJxwQAAAoAAAAA////AA4AAAAAAAXxBQAAGkFwbG9yaXMuQmFzZS5PYmplY3RzLkNvbG9yBwAAABJEYXRhT2JqZWN0K21QYXJlbnQVRGF0YU9iamVjdCttQ29udGFpbmVyBW1UeXBlBG1SR0IQbVRoZW1lQ29sb3JJbmRleAxtQXV0b1VwZGF0ZWQJbU1vZGlmaWVkBAIAAAAAAB9BcGxvcmlzLkJhc2UuT2JqZWN0cy5MaW5lRm9ybWF0AwAAAAgICAEBAwAAAAnHBAAACgEAAAAAAAAA/////wABAfIFAAB4AAAACgoBAAAABSluAP////8AAAHzBQAAeAAAAAoKAQAAAP///wD/////AAAP9AUAAAEAAAAIWQIAAAH1BQAAeAAAAAoKAAAAAP///wAOAAAAAAAB9gUAAHgAAAAKCgAAAAD///8ADgAAAAABB/cFAAAAAQAAAAQAAAAEHUFwbG9yaXMuQmFzZS5PYmplY3RzLlZhcmlhYmxlAwAAAAFSBgAAkQMAAAEAAAAAAAAAAVMGAACRAwAAAAAAAAAAAAABVAYAAJEDAAAAAAAAAAAAAAFVBgAAkQMAAAAAAAAAAAAAD/gFAAABAAAACCADAAAF+QUAABpBcGxvcmlzLkJhc2UuT2JqZWN0cy5Db2xvcgcAAAASRGF0YU9iamVjdCttUGFyZW50FURhdGFPYmplY3QrbUNvbnRhaW5lcgVtVHlwZQRtUkdCEG1UaGVtZUNvbG9ySW5kZXgMbUF1dG9VcGRhdGVkCW1Nb2RpZmllZAQCAAAAAAAfQXBsb3Jpcy5CYXNlLk9iamVjdHMuTGluZUZvcm1hdAMAAAAICAgBAQMAAAAJ5AQAAAoAAAAA////AA4AAAAAAAX6BQAAGkFwbG9yaXMuQmFzZS5PYmplY3RzLkNvbG9yBwAAABJEYXRhT2JqZWN0K21QYXJlbnQVRGF0YU9iamVjdCttQ29udGFpbmVyBW1UeXBlBG1SR0IQbVRoZW1lQ29sb3JJbmRleAxtQXV0b1VwZGF0ZWQJbU1vZGlmaWVkBAIAAAAAAB9BcGxvcmlzLkJhc2UuT2JqZWN0cy5MaW5lRm9ybWF0AwAAAAgICAEBAwAAAAnkBAAACgEAAAAAAAAA/////wABAfsFAAB4AAAACgoBAAAABSluAP////8AAAH8BQAAeAAAAAoKAQAAAP///wD/////AAAP/QUAAAEAAAAIDAMAAAH+BQAAeAAAAAoKAAAAAP///wAOAAAAAAAB/wUAAHgAAAAKCgAAAAD///8ADgAAAAABBwAGAAAAAQAAAAQAAAAEHUFwbG9yaXMuQmFzZS5PYmplY3RzLlZhcmlhYmxlAwAAAAFWBgAAkQMAAAEAAAAAAAAAAVcGAACRAwAAAAAAAAAAAAABWAYAAJEDAAAAAAAAAAAAAAFZBgAAkQMAAAAAAAAAAAAADwEGAAABAAAACDMDAAAFAgYAABpBcGxvcmlzLkJhc2UuT2JqZWN0cy5Db2xvcgcAAAASRGF0YU9iamVjdCttUGFyZW50FURhdGFPYmplY3QrbUNvbnRhaW5lcgVtVHlwZQRtUkdCEG1UaGVtZUNvbG9ySW5kZXgMbUF1dG9VcGRhdGVkCW1Nb2RpZmllZAQCAAAAAAAfQXBsb3Jpcy5CYXNlLk9iamVjdHMuTGluZUZvcm1hdAMAAAAICAgBAQMAAAAJAQUAAAoAAAAA////AA4AAAAAAAUDBgAAGkFwbG9yaXMuQmFzZS5PYmplY3RzLkNvbG9yBwAAABJEYXRhT2JqZWN0K21QYXJlbnQVRGF0YU9iamVjdCttQ29udGFpbmVyBW1UeXBlBG1SR0IQbVRoZW1lQ29sb3JJbmRleAxtQXV0b1VwZGF0ZWQJbU1vZGlmaWVkBAIAAAAAAB9BcGxvcmlzLkJhc2UuT2JqZWN0cy5MaW5lRm9ybWF0AwAAAAgICAEBAwAAAAkBBQAACgEAAAAAAAAA/////wABAQQGAAB4AAAACgoBAAAARXXUAP////8AAAEFBgAAeAAAAAoKAQAAAP///wD/////AAAPBgYAAAEAAAAIIwMAAAEHBgAAeAAAAAoKAAAAAP///wAOAAAAAAABCAYAAHgAAAAKCgAAAAD///8ADgAAAAABBwkGAAAAAQAAAAQAAAAEHUFwbG9yaXMuQmFzZS5PYmplY3RzLlZhcmlhYmxlAwAAAAFaBgAAkQMAAAEAAAAAAAAAAVsGAACRAwAAAAAAAAAAAAABXAYAAJEDAAAAAAAAAAAAAAFdBgAAkQMAAAAAAAAAAAAADwoGAAABAAAACDICAAAFCwYAABpBcGxvcmlzLkJhc2UuT2JqZWN0cy5Db2xvcgcAAAASRGF0YU9iamVjdCttUGFyZW50FURhdGFPYmplY3QrbUNvbnRhaW5lcgVtVHlwZQRtUkdCEG1UaGVtZUNvbG9ySW5kZXgMbUF1dG9VcGRhdGVkCW1Nb2RpZmllZAQCAAAAAAAfQXBsb3Jpcy5CYXNlLk9iamVjdHMuTGluZUZvcm1hdAMAAAAICAgBAQMAAAAJHwUAAAoAAAAA////AA4AAAAAAAUMBgAAGkFwbG9yaXMuQmFzZS5PYmplY3RzLkNvbG9yBwAAABJEYXRhT2JqZWN0K21QYXJlbnQVRGF0YU9iamVjdCttQ29udGFpbmVyBW1UeXBlBG1SR0IQbVRoZW1lQ29sb3JJbmRleAxtQXV0b1VwZGF0ZWQJbU1vZGlmaWVkBAIAAAAAAB9BcGxvcmlzLkJhc2UuT2JqZWN0cy5MaW5lRm9ybWF0AwAAAAgICAEBAwAAAAkfBQAACgEAAAAAAAAA/////wABAQ0GAAB4AAAACgoBAAAARXXUAP////8AAAEOBgAAeAAAAAoKAQAAAP///wD/////AAAPDwYAAAEAAAAIBAIAAAEQBgAAeAAAAAoKAAAAAP///wAOAAAAAAABEQYAAHgAAAAKCgAAAAD///8ADgAAAAABBxIGAAAAAQAAAAQAAAAEHUFwbG9yaXMuQmFzZS5PYmplY3RzLlZhcmlhYmxlAwAAAAFeBgAAkQMAAAEAAAAAAAAAAV8GAACRAwAAAAAAAAAAAAABYAYAAJEDAAAAAAAAAAAAAAFhBgAAkQMAAAAAAAAAAAAADxMGAAABAAAACDYCAAAFFAYAABpBcGxvcmlzLkJhc2UuT2JqZWN0cy5Db2xvcgcAAAASRGF0YU9iamVjdCttUGFyZW50FURhdGFPYmplY3QrbUNvbnRhaW5lcgVtVHlwZQRtUkdCEG1UaGVtZUNvbG9ySW5kZXgMbUF1dG9VcGRhdGVkCW1Nb2RpZmllZAQCAAAAAAAfQXBsb3Jpcy5CYXNlLk9iamVjdHMuTGluZUZvcm1hdAMAAAAICAgBAQMAAAAJPAUAAAoAAAAA////AA4AAAAAAAUVBgAAGkFwbG9yaXMuQmFzZS5PYmplY3RzLkNvbG9yBwAAABJEYXRhT2JqZWN0K21QYXJlbnQVRGF0YU9iamVjdCttQ29udGFpbmVyBW1UeXBlBG1SR0IQbVRoZW1lQ29sb3JJbmRleAxtQXV0b1VwZGF0ZWQJbU1vZGlmaWVkBAIAAAAAAB9BcGxvcmlzLkJhc2UuT2JqZWN0cy5MaW5lRm9ybWF0AwAAAAgICAEBAwAAAAk8BQAACgEAAAAAAAAA/////wABARYGAAB4AAAACgoBAAAARXXUAP////8AAAEXBgAAeAAAAAoKAQAAAP///wD/////AAAPGAYAAAEAAAAIBwIAAAEZBgAAeAAAAAoKAAAAAP///wAOAAAAAAABGgYAAHgAAAAKCgAAAAD///8ADgAAAAABBxsGAAAAAQAAAAQAAAAEHUFwbG9yaXMuQmFzZS5PYmplY3RzLlZhcmlhYmxlAwAAAAFiBgAAkQMAAAEAAAAAAAAAAWMGAACRAwAAAAAAAAAAAAABZAYAAJEDAAAAAAAAAAAAAAFlBgAAkQMAAAAAAAAAAAAADxwGAAABAAAACCIDAAAFHQYAABpBcGxvcmlzLkJhc2UuT2JqZWN0cy5Db2xvcgcAAAASRGF0YU9iamVjdCttUGFyZW50FURhdGFPYmplY3QrbUNvbnRhaW5lcgVtVHlwZQRtUkdCEG1UaGVtZUNvbG9ySW5kZXgMbUF1dG9VcGRhdGVkCW1Nb2RpZmllZAQCAAAAAAAfQXBsb3Jpcy5CYXNlLk9iamVjdHMuTGluZUZvcm1hdAMAAAAICAgBAQMAAAAJWQUAAAoAAAAA////AA4AAAAAAAUeBgAAGkFwbG9yaXMuQmFzZS5PYmplY3RzLkNvbG9yBwAAABJEYXRhT2JqZWN0K21QYXJlbnQVRGF0YU9iamVjdCttQ29udGFpbmVyBW1UeXBlBG1SR0IQbVRoZW1lQ29sb3JJbmRleAxtQXV0b1VwZGF0ZWQJbU1vZGlmaWVkBAIAAAAAAB9BcGxvcmlzLkJhc2UuT2JqZWN0cy5MaW5lRm9ybWF0AwAAAAgICAEBAwAAAAlZBQAACgEAAAAAAAAA/////wABAR8GAAB4AAAACgoBAAAARXXUAP////8AAAEgBgAAeAAAAAoKAQAAAP///wD/////AAAPIQYAAAEAAAAICQMAAAEiBgAAeAAAAAoKAAAAAAAAAAANAAAAAAABIwYAAHgAAAAKCgAAAAAAAAAADQAAAAABByQGAAAAAQAAAAQAAAAEHUFwbG9yaXMuQmFzZS5PYmplY3RzLlZhcmlhYmxlAwAAAAFmBgAAkQMAAAEAAAAAAAAAAWcGAACRAwAAAAAAAAAAAAABaAYAAJEDAAAAAAAAAAAAAAFpBgAAkQMAAAAAAAAAAAAADyUGAAABAAAACDQDAAAFJgYAABpBcGxvcmlzLkJhc2UuT2JqZWN0cy5Db2xvcgcAAAASRGF0YU9iamVjdCttUGFyZW50FURhdGFPYmplY3QrbUNvbnRhaW5lcgVtVHlwZQRtUkdCEG1UaGVtZUNvbG9ySW5kZXgMbUF1dG9VcGRhdGVkCW1Nb2RpZmllZAQCAAAAAAAfQXBsb3Jpcy5CYXNlLk9iamVjdHMuTGluZUZvcm1hdAMAAAAICAgBAQMAAAAJdgUAAAoAAAAA////AA4AAAAAAAUnBgAAGkFwbG9yaXMuQmFzZS5PYmplY3RzLkNvbG9yBwAAABJEYXRhT2JqZWN0K21QYXJlbnQVRGF0YU9iamVjdCttQ29udGFpbmVyBW1UeXBlBG1SR0IQbVRoZW1lQ29sb3JJbmRleAxtQXV0b1VwZGF0ZWQJbU1vZGlmaWVkBAIAAAAAAB9BcGxvcmlzLkJhc2UuT2JqZWN0cy5MaW5lRm9ybWF0AwAAAAgICAEBAwAAAAl2BQAACgEAAAAAAAAA/////wABASgGAAB4AAAACgoBAAAAwdDtAP////8AAAEpBgAAeAAAAAoKAQAAAP///wD/////AAAPKgYAAAEAAAAIJQMAAAErBgAAeAAAAAoKAAAAAAAAAAANAAAAAAABLAYAAHgAAAAKCgAAAAAAAAAADQAAAAABBy0GAAAAAQAAAAQAAAAEHUFwbG9yaXMuQmFzZS5PYmplY3RzLlZhcmlhYmxlAwAAAAFqBgAAkQMAAAEAAAAAAAAAAWsGAACRAwAAAAAAAAAAAAABbAYAAJEDAAAAAAAAAAAAAAFtBgAAkQMAAAAAAAAAAAAADy4GAAABAAAACEkCAAAFLwYAABpBcGxvcmlzLkJhc2UuT2JqZWN0cy5Db2xvcgcAAAASRGF0YU9iamVjdCttUGFyZW50FURhdGFPYmplY3QrbUNvbnRhaW5lcgVtVHlwZQRtUkdCEG1UaGVtZUNvbG9ySW5kZXgMbUF1dG9VcGRhdGVkCW1Nb2RpZmllZAQCAAAAAAAfQXBsb3Jpcy5CYXNlLk9iamVjdHMuTGluZUZvcm1hdAMAAAAICAgBAQMAAAAJkwUAAAoAAAAA////AA4AAAAAAAUwBgAAGkFwbG9yaXMuQmFzZS5PYmplY3RzLkNvbG9yBwAAABJEYXRhT2JqZWN0K21QYXJlbnQVRGF0YU9iamVjdCttQ29udGFpbmVyBW1UeXBlBG1SR0IQbVRoZW1lQ29sb3JJbmRleAxtQXV0b1VwZGF0ZWQJbU1vZGlmaWVkBAIAAAAAAB9BcGxvcmlzLkJhc2UuT2JqZWN0cy5MaW5lRm9ybWF0AwAAAAgICAEBAwAAAAmTBQAACgEAAAAAAAAA/////wABATEGAAB4AAAACgoBAAAAwdDtAP////8AAAEyBgAAeAAAAAoKAQAAAP///wD/////AAAPMwYAAAEAAAAIFgIAAAE0BgAAeAAAAAoKAAAAAAAAAAANAAAAAAABNQYAAHgAAAAKCgAAAAAAAAAADQAAAAABBzYGAAAAAQAAAAQAAAAEHUFwbG9yaXMuQmFzZS5PYmplY3RzLlZhcmlhYmxlAwAAAAFuBgAAkQMAAAEAAAAAAAAAAW8GAACRAwAAAAAAAAAAAAABcAYAAJEDAAAAAAAAAAAAAAFxBgAAkQMAAAAAAAAAAAAADzcGAAABAAAACNsCAAAFOAYAABpBcGxvcmlzLkJhc2UuT2JqZWN0cy5Db2xvcgcAAAASRGF0YU9iamVjdCttUGFyZW50FURhdGFPYmplY3QrbUNvbnRhaW5lcgVtVHlwZQRtUkdCEG1UaGVtZUNvbG9ySW5kZXgMbUF1dG9VcGRhdGVkCW1Nb2RpZmllZAQCAAAAAAAfQXBsb3Jpcy5CYXNlLk9iamVjdHMuTGluZUZvcm1hdAMAAAAICAgBAQMAAAAJsAUAAAoAAAAA////AA4AAAAAAAU5BgAAGkFwbG9yaXMuQmFzZS5PYmplY3RzLkNvbG9yBwAAABJEYXRhT2JqZWN0K21QYXJlbnQVRGF0YU9iamVjdCttQ29udGFpbmVyBW1UeXBlBG1SR0IQbVRoZW1lQ29sb3JJbmRleAxtQXV0b1VwZGF0ZWQJbU1vZGlmaWVkBAIAAAAAAB9BcGxvcmlzLkJhc2UuT2JqZWN0cy5MaW5lRm9ybWF0AwAAAAgICAEBAwAAAAmwBQAACgEAAAAAAAAA/////wABAToGAAB4AAAACgoBAAAAwdDtAP////8AAAE7BgAAeAAAAAoKAQAAAP///wD/////AAAPPAYAAAEAAAAIzQIAAAE9BgAAeAAAAAoKAAAAAAAAAAANAAAAAAABPgYAAHgAAAAKCgAAAAAAAAAADQAAAAABBz8GAAAAAQAAAAQAAAAEHUFwbG9yaXMuQmFzZS5PYmplY3RzLlZhcmlhYmxlAwAAAAFyBgAAkQMAAAEAAAAAAAAAAXMGAACRAwAAAAAAAAAAAAABdAYAAJEDAAAAAAAAAAAAAAF1BgAAkQMAAAAAAAAAAAAAD0AGAAABAAAACB8DAAAFQQYAABpBcGxvcmlzLkJhc2UuT2JqZWN0cy5Db2xvcgcAAAASRGF0YU9iamVjdCttUGFyZW50FURhdGFPYmplY3QrbUNvbnRhaW5lcgVtVHlwZQRtUkdCEG1UaGVtZUNvbG9ySW5kZXgMbUF1dG9VcGRhdGVkCW1Nb2RpZmllZAQCAAAAAAAfQXBsb3Jpcy5CYXNlLk9iamVjdHMuTGluZUZvcm1hdAMAAAAICAgBAQMAAAAJzQUAAAoAAAAA////AA4AAAAAAAVCBgAAGkFwbG9yaXMuQmFzZS5PYmplY3RzLkNvbG9yBwAAABJEYXRhT2JqZWN0K21QYXJlbnQVRGF0YU9iamVjdCttQ29udGFpbmVyBW1UeXBlBG1SR0IQbVRoZW1lQ29sb3JJbmRleAxtQXV0b1VwZGF0ZWQJbU1vZGlmaWVkBAIAAAAAAB9BcGxvcmlzLkJhc2UuT2JqZWN0cy5MaW5lRm9ybWF0AwAAAAgICAEBAwAAAAnNBQAACgEAAAAAAAAA/////wABAUMGAAB4AAAACgoBAAAAwdDtAP////8AAAFEBgAAeAAAAAoKAQAAAP///wD/////AAAPRQYAAAEAAAAIDgMAAAs="/>
  <p:tag name="APLORISTAG" val="MxTFIxVX6OdtQ0H5y.519"/>
</p:tagLst>
</file>

<file path=ppt/tags/tag837.xml><?xml version="1.0" encoding="utf-8"?>
<p:tagLst xmlns:a="http://schemas.openxmlformats.org/drawingml/2006/main" xmlns:r="http://schemas.openxmlformats.org/officeDocument/2006/relationships" xmlns:p="http://schemas.openxmlformats.org/presentationml/2006/main">
  <p:tag name="APLORISTAG" val="MxTFIxVX6OdtQ0H5y.602"/>
</p:tagLst>
</file>

<file path=ppt/tags/tag838.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AUUAAAAGVN5c3RlbS5EcmF3aW5nLlJlY3RhbmdsZUYEAAAAAXgBeQV3aWR0aAZoZWlnaHQAAAAACwsLCwQAAAD//3////9/////f////3//ARUAAAAUAAAA//9/////f////3////9//wAAAAAABRYAAAAsQXBsb3Jpcy5DaGFydC5BeGlzQnJlYWsrQXhpc0JyZWFrRGlzcGxheU1vZGUBAAAAB3ZhbHVlX18ACAIAAAABAAAAAQEBCgoJFwAAAAoKAAAAAAAJGAAAAAoJGQAAAAAAAAAKBRoAAAAZQXBsb3Jpcy5DaGFydC5PcmllbnRhdGlvbgEAAAAHdmFsdWVfXwAIAgAAAAEAAAAJGwAAAAEcAAAAFAAAAEGoLkJeM3lBTPsSRD8+hkMABB0AAAALU3lzdGVtLkd1aWQLAAAAAl9hAl9iAl9jAl9kAl9lAl9mAl9nAl9oAl9pAl9qAl9rAAAAAAAAAAAAAAAIBwcCAgICAgICAgAAAAAAAAAAAAAAAAAAAAAACgoJHgAAAAAKCgoBAAAAAAAAAP////8AAQEfAAAAFAAAAAAAIEEAACBBPacNRAAAkUP70CtCgBEkQ9CdIEQAAJtDBSAAAAAVU3lzdGVtLkRyYXdpbmcuUG9pbnRGAgAAAAF4AXkAAAsLBAAAAAISzEN9acZDBiEAAAAQcEFuWkd2RmVmVXhNQU9NTA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wLjAuMTQ4NiwgQ3VsdHVyZT1uZXV0cmFsLCBQdWJsaWNLZXlUb2tlbj0xNmZjMTNhMjI2YzBlOTUxXV0DAAAAmwFBcGxvcmlzLkJhc2UuT2JqZWN0cy5EYXRhT2JqZWN0Q29sbGVjdGlvbmAxW1tBcGxvcmlzLkNoYXJ0LkF4aXNCcmVhaywgQXBsb3Jpcy5DaGFydCwgVmVyc2lvbj00LjAuMC4xNDg2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AuMC4xNDg2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SYAAAAWQXBsb3Jpcy5DaGFydC5BeGlzVHlwZQEAAAAHdmFsdWVfXwAIAgAAAAEAAACamRk/AAAACgkBAAAACScAAAAJKAAAAAEAAAAAAAAAAAEAAAAAAADwPwGamZmZmZm5PwAAACBBAAEJKQAAAAoJKgAAAAkrAAAACSwAAAABLQAAACAAAABBqC5C2geOQwEuAAAAIAAAANDlHUTaB45DCS8AAAAJMAAAAAkxAAAACTIAAAAAAAAAAAAAAAAAAAAJMwAAAAAAAAAAAAk0AAAACQEAAAAJAQAAAAk1AAAAAQcAAAAGAAAACQEAAAABNgAAACYAAAAAAAAAzcxMPwAAAAgBAAkBAAAACTcAAAAJOAAAAAEAAAAAAAAAAAEAAAAAAADwPwGamZmZmZm5PwAAACBBAQEJOQAAAAoJOgAAAAk7AAAACTwAAAABPQAAACAAAABBqC5C2geOQwE+AAAAIAAAAEGoLkJeM3lBCT8AAAAJQAAAAAlBAAAACUIAAAAAAAAAAAAAAAAAAAAJQwAAAAAAAAAAAAlEAAAACQEAAAAJAQAAAAlFAAAABAgAAACoAVN5c3RlbS5Db2xsZWN0aW9ucy5HZW5lcmljLkxpc3RgMVtbQXBsb3Jpcy5DaGFydC5Db2x1bW5PcmllbnRlZENoYXJ0K1VudXNlZFNlcmllcywgQXBsb3Jpcy5DaGFydCwgVmVyc2lvbj00LjAuMC4xNDg2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AuMC4xNDg2LCBDdWx0dXJlPW5ldXRyYWwsIFB1YmxpY0tleVRva2VuPTE2ZmMxM2EyMjZjMGU5NTFdXQMAAACXAVN5c3RlbS5Db2xsZWN0aW9ucy5HZW5lcmljLkxpc3RgMVtbQXBsb3Jpcy5DaGFydC5DaGFydERhdGFTZXJpZXM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RwAAAAlIAAAACQEAAAAJAQAAAAlJAAAABQoAAACmAUFwbG9yaXMuQmFzZS5PYmplY3RzLkRhdGFPYmplY3RDb2xsZWN0aW9uYDFbW0FwbG9yaXMuQ2hhcnQuQW5ub3RhdGlvbkRhdGFTZXJpZXMsIEFwbG9yaXMuQ2hhcnQsIFZlcnNpb249NC4wLjAuMTQ4Ni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C4wLjE0ODYsIEN1bHR1cmU9bmV1dHJhbCwgUHVibGljS2V5VG9rZW49MTZmYzEzYTIyNmMwZTk1MV1dAwAAAJwBU3lzdGVtLkNvbGxlY3Rpb25zLkdlbmVyaWMuTGlzdGAxW1tBcGxvcmlzLkNoYXJ0LkFubm90YXRpb25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oAAAAJSwAAAAkBAAAACQEAAAAJTAAAAAULAAAAoQFBcGxvcmlzLkJhc2UuT2JqZWN0cy5EYXRhT2JqZWN0Q29sbGVjdGlvbmAxW1tBcGxvcmlzLkNoYXJ0LkFubm90YXRpb25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C4wLjE0ODYsIEN1bHR1cmU9bmV1dHJhbCwgUHVibGljS2V5VG9rZW49MTZmYzEzYTIyNmMwZTk1MV1dAwAAAJcBU3lzdGVtLkNvbGxlY3Rpb25zLkdlbmVyaWMuTGlzdGAxW1tBcGxvcmlzLkNoYXJ0LkFubm90YXRpb25Hcm91c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NAAAACU4AAAAJAQAAAAkBAAAACU8AAAAFDAAAAKABQXBsb3Jpcy5CYXNlLk9iamVjdHMuRGF0YU9iamVjdENvbGxlY3Rpb25gMVtbQXBsb3Jpcy5DaGFydC5DaGFydERhdGFHcm91cCwgQXBsb3Jpcy5DaGFydCwgVmVyc2lvbj00LjAuMC4xNDg2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wLjAuMTQ4NiwgQ3VsdHVyZT1uZXV0cmFsLCBQdWJsaWNLZXlUb2tlbj0xNmZjMTNhMjI2YzBlOTUxXV0DAAAAlgFTeXN0ZW0uQ29sbGVjdGlvbnMuR2VuZXJpYy5MaXN0YDFbW0FwbG9yaXMuQ2hhcnQuQ2hhcnREYXRh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UAAAAAlRAAAACQEAAAAJAQAAAAlSAAAABQ0AAACaAUFwbG9yaXMuQmFzZS5PYmplY3RzLkRhdGFPYmplY3RDb2xsZWN0aW9uYDFbW0FwbG9yaXMuQ2hhcnQuRGVsdGFCYXI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C4wLjE0ODYsIEN1bHR1cmU9bmV1dHJhbCwgUHVibGljS2V5VG9rZW49MTZmYzEzYTIyNmMwZTk1MV1dAwAAAJABU3lzdGVtLkNvbGxlY3Rpb25zLkdlbmVyaWMuTGlzdGAxW1tBcGxvcmlzLkNoYXJ0LkRlbHRhQmF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MAAAAJVAAAAAkBAAAACQEAAAAJVQAAAAUOAAAAnQFBcGxvcmlzLkJhc2UuT2JqZWN0cy5EYXRhT2JqZWN0Q29sbGVjdGlvbmAxW1tBcGxvcmlzLkNoYXJ0LkRlbHRhQnJpZGdlLCBBcGxvcmlzLkNoYXJ0LCBWZXJzaW9uPTQuMC4wLjE0ODY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AuMC4xNDg2LCBDdWx0dXJlPW5ldXRyYWwsIFB1YmxpY0tleVRva2VuPTE2ZmMxM2EyMjZjMGU5NTFdXQMAAACTAVN5c3RlbS5Db2xsZWN0aW9ucy5HZW5lcmljLkxpc3RgMVtbQXBsb3Jpcy5DaGFydC5EZWx0YUJyaWRn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WAAAACVcAAAAJAQAAAAkBAAAACVgAAAAFDwAAAJ0BQXBsb3Jpcy5CYXNlLk9iamVjdHMuRGF0YU9iamVjdENvbGxlY3Rpb25gMVtbQXBsb3Jpcy5DaGFydC5Hcm93dGhBcnJvdy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wLjAuMTQ4NiwgQ3VsdHVyZT1uZXV0cmFsLCBQdWJsaWNLZXlUb2tlbj0xNmZjMTNhMjI2YzBlOTUxXV0DAAAAkwFTeXN0ZW0uQ29sbGVjdGlvbnMuR2VuZXJpYy5MaXN0YDFbW0FwbG9yaXMuQ2hhcnQuR3Jvd3RoQXJyb3c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WQAAAAlaAAAACQEAAAAJAQAAAAlbAAAABRAAAACkAUFwbG9yaXMuQmFzZS5PYmplY3RzLkRhdGFPYmplY3RDb2xsZWN0aW9uYDFbW0FwbG9yaXMuQ2hhcnQuV2F0ZXJmYWxs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wLjAuMTQ4NiwgQ3VsdHVyZT1uZXV0cmFsLCBQdWJsaWNLZXlUb2tlbj0xNmZjMTNhMjI2YzBlOTUxXV0DAAAAmgFTeXN0ZW0uQ29sbGVjdGlvbnMuR2VuZXJpYy5MaXN0YDFbW0FwbG9yaXMuQ2hhcnQuV2F0ZXJmYWxsQ29ubmVjdG9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wAAAAJXQAAAAkBAAAACQEAAAAJXgAAAAURAAAAogFBcGxvcmlzLkJhc2UuT2JqZWN0cy5EYXRhT2JqZWN0Q29sbGVjdGlvbmAxW1tBcGxvcmlzLkNoYXJ0LkVsZW1lbnRDb25uZWN0b3I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wLjAuMTQ4NiwgQ3VsdHVyZT1uZXV0cmFsLCBQdWJsaWNLZXlUb2tlbj0xNmZjMTNhMjI2YzBlOTUxXV0DAAAAmAFTeXN0ZW0uQ29sbGVjdGlvbnMuR2VuZXJpYy5MaXN0YDFbW0FwbG9yaXMuQ2hhcnQuRWxlbWVud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BQAAAAgBAAAAAgAAAAMAAAAEAAAABQAAAAUb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aAAAACAAAABBqC5CXjN5QQFpAAAAIAAAANDlHUTaB45DCWoAAAAJawAAAAAAAAAKBWwAAAAUU3lzdGVtLkRyYXdpbmcuU2l6ZUYCAAAABXdpZHRoBmhlaWdodAAACwsEAAAAAAAAAAAAAAABbQAAAGwAAAAAAAAAAAAAAAAAAAABbgAAABQAAAAAAAAAAAAAAAAAAAAAAAAAFAAAAP////8BAQoJbwAAAAEACgAPHgAAAOE0AAACUEsDBBQABgAIAAAAIQBJEqz3jAEAAHg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d1OwjAUvjfxHZbemq3AhTGGwQXopZKID1DbA1vo2qan/L29ZwOMkrlJWOLNmq39/s52zobjXaGjDXjMrUlZP+mxCIy0KjfLlL3Pn+MHFmEQRgltDaRsD8jGo9ub4XzvACNCG0xZFoJ75BxlBoXAxDowtLOwvhCBbv2SOyFXYgl80Ovdc2lNABPiUHKw0XAKC7HWIXra0eODE4KzaHI4V0qlTDincykCGeXlLq/FbRpxG6POzMV2scglKCvXBVlKCD/1YkvxfxHwoLHBWY3CMXpCyMo9ZrnDu2OEV6q9zxVEM+HDiygoKN9pvrV+9WHtKmmuQ43aWR50HoTCDCAUOqnWpBC5+YN+dRh5tfQ7NlLmq4gv9DH4Jx+BPmzg1fX6UlQ0LcEx7DVgx2kPpG3KmfCg3oKnHujcwHfuFh/SFmVH4vX1/tkDJ942eaHlJKNO6fgdyBNvkz6No5m3DmlSerjcwGnilOjYERH4kEPjzPlSpDF7ueDZ0IFyjitQNdq8+m+MPgE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ABBmPgJAQAAz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zWrDMBCE74W+g9h7LdttQymRc2gp5NqmDyDktWViS0a7/fHbVyTUcSC4F9PjzqKZj5G03nx3rfjEQI13CrIkBYHO+LJxtYL33cvNAwhi7UrdeocKBiTYFNdX61dsNcdDZJueRHRxpMAy949SkrHYaUp8jy5uKh86zXEMtey12esaZZ6mKxmmHlCceYptqSBsy1sQu6GPyX97+6pqDD5789Gh4wsRkiMXRkMdamQFh/EoZkkEBXmZ4W5JBuKhjSWOEMd5Lv5+0XirA5ZvHOINTymm8hzMakkYo1vzZHXjTnWM0hxEtiTElw97soh8ghglkofN7OvI/xkm/21Gnv3B4gcAAP//AwBQSwMEFAAGAAgAAAAhAEBBgYLcAQAAFgMAAA8AAAB4bC93b3JrYm9vay54bWyMUslu2zAQvRfoPxC826QoyQkMS4HrBTXQBkGR5cxQtEWEi0BSlYKi/56RVLdOe+lpOAtn5r15q5veaPRd+qCcLXAypxhJK1yl7KnAD/f72TVGIXJbce2sLPCrDPim/Phh1Tn/8uzcC4IGNhS4jrFZEhJELQ0Pc9dIC5mj84ZHcP2JhMZLXoVaymg0YZQuiOHK4qnD0v9PD3c8KiG3TrRG2jg18VLzCOuHWjUBl6uj0vJxQoR409xyA3v3GiPNQ9xVKsqqwDm4rpPvAr5tPrVKQ5YtKM0wKX+jvPOIt9FtnAEQIdwpEVt4FJgOVQMPj0p24c+HwUX9k7KV6wqcXlEg9vXsMsrA7cbkk6piDROTZCiZYp+lOtURzsHSbBxALiaMBMKk0SI7ols32nkVtjxyONfA8AFQJBj5pYKHP1TJsOfll2+8Q3/Vpxf1bKgn51mCawEUDGZsnFFKofvgf3UV0DuQc+vu+bOWEHZWtN7DgTZQ8Isj2ccvIZYrsKj1qsA/rnKW7vJtOmP5Pp2t8x2dJYuUzRbZnuXZhrEsZz/P6jD9P/IwSngX3DHOhTNkUgYoShDZCzkK7HoSWLky/XLtRX3Yor3mJzjbBA92AZDnzchZ0uUbAAAA//8DAFBLAwQUAAYACAAAACEAKBtn0uQIAACogwAADQAAAHhsL3N0eWxlcy54bWzsXetvm0gQ/37S/Q+I6j4mPAw2RLarS1LfVepVlZKT7ivGaxuVhwW4dXq6//1mdsEY4oDxbh6qth9SHjOzs7957MKuh/H7XRQq30iaBUk8UY1LXVVI7CeLIF5N1L/vZxeOqmS5Fy+8MInJRH0gmfp++usv4yx/CMndmpBcARFxNlHXeb650rTMX5PIyy6TDYnhzjJJIy+H03SlZZuUeIsMmaJQM3V9qEVeEKtMwlXknyIk8tKv282Fn0QbLw/mQRjkD1SWqkT+1cdVnKTePARVd4bl+aVsevJIfBT4aZIly/wSxGnJchn45LGWruZqIGk6jrfRLMozxU+2cT5RB/tLCrvzcQEQDi1VYZ2+SRaghn6p/6ZqJXON0q5Tvnv3Tn+CcviYshCrFUpNx8skrnRzoePY/6uvcfI9nuEt0A0URqrpOPuhfPNCuGJgg34SJqmSg91AX3ol9iLCKG68MJinAZItvSgIH9hlEy9QUxd0UQDA40WNtcD+zpGqaMvFu6ypIF6QHQG0nEZr9946iTwkfNRYTW4p87n13x7of6wtZi9BYHU11sCKzzJ7BKklmVnS1XyizmY6/YdGqNzgjyAMlTsvzvBypykOBM1mpwoKnsD6LGH77lHQat1jHezWivYyA0+Eru9j3sQQggvTMWSfnKTxDIEpju8fNhBAMSRKhhKl66Bepd6DYdoHDBptcDqeJ+kCEnOZbTB42aXpOCTLHNBKg9Ua/8+TDfydJ3kOWWw6XgTeKom9EA61kqM4gO74JAzvMHn/s6xk25jLdsuD7AQDAYYwpjQ8hK4Uh0wiO4EWakyQdUom80kmxdtswocZCKei2RnIr86uac+r89/DYBVH5JDhS5rkxM/pqEWDsKbHgfJP69FUXjLB4FbauzD9WegNOkz/eRvNSTqjE4PKyBhI1ZlIF8AB+bj/Mld8aX0kPpBSWqJP4iPx4Un50n+k/0j/eb7xVMaXjC8ZXzK+4IGJPrzJ+bN8vmibz8vnr/bxQuIj8eEZT6X/SP+R/vN88zEZXzK+ZHzJ+Hqt5x2Zf2T+kflH5h+Zf9h+BPn+uT0fSnwkPjzjhfQf6T/Sf55vvnHWpirJxLMlTaIn0St2shZAyEFODnI8g5zMKDwZRUafjD6e6JP+I/1H+s/zPaLI+JLxJeNLxtdrLTnI/CPzj8w/Mv/I/MOWPOUWkPZ8KPGR+PCMF9J/pP9I/3m++YaMLxlfMr5kfL3WfP6t5Z83snqoHRaDYqWhDqtCOWcVhVJ2y+PVocD4ZXUoPHyiJE/JXZSJolWBaBGvpyo89ZbFJB+kIyyt5ZU1ppR1kgY/YHET6+P5UHSKsLJ2u2Wj2FVR6a+rRlYBh3H0x9LlVVYNa39WdPonVlT5nnqbe7KDGmDUuNojeHm8pQM4oW2XRqv/Cr68KsqwvfDCapGnRRe4ORqgHmvsrKzAVd49KV6wMJ368rqerhvWxGtztdGrQVekmpcHj8PQUDg2D3xMlFCC8BXsfpbqJwNtDGmBVpbgT46p/nmAqxeVCU4eq7BXremhDPk32pUDq0B14vauwChypEZJ2cG27PwiVqF1fZmDdVvF/qk6U9rgjTpZP8vAfP5NuRmd2MNU/qDca6PY637mr2CRXyj7m4Rh8p0slD+hiG0aBvFXqCBNJ/IGuN18G4R5EOO8Hmq8roPFgmC5cKz60kMQoCRGEDzOiREEVhYjCBKREEGmKLBNUWCbosA2RYFtigJ7IArsgSiwB6LAHogCeyAKbEsU2JYosC1RYFuiwLZEgY1TBSH5yBYFti0KbFsU2LYosIeiwB6KAhu/QSHE/ENRYA9FgT0SBfZIFNgjUWC7sOtNiNVceJYQIsjQRalk6OJ0gnc0gnoHc1kxkuDbIKIkCUPcEIa4IQxxQxjipjDETWGIw2c8BHmBKQxxUxjiA2GID4QhPhCG+EAY4gNhiFvCELeEIW4JQ9wShrjVD/FHbzjq7DBTaX3B8Yi9kfz789eN05+/bpL+/HVD9OfnxK+Rynu330jg/fk58Wsk6/7tc+LXSMy922+k4/78nPg1Um//9jnxa6TZ3u03kmt/fk78Gom0f/uc+Nn1Yap3+/DxscNpU39+Tvxszvxnc+I35MRvyIkfLnMePAb1xn/Iid+QE78RJ34jTvzc+puE3vi59RcIvfkNnVMBQ+fWoP6e6IwuAAuPDxqNVar+Ghi8IBq8IBq8IBq8IDZWn/qD2Fh1OkMAL4iNVaYzNOAFsbGq1F+DxmrSGQJ4QWysHp2hAS+IjdWi/ho0VonOEMALYmNV6AwN+oH4GT+oGZar9vXX5PR7i82V+i8kxT1DJUd9FKVfpG1y0I9+G5Y1cgaGaRoWeirbJHASOQ60jJx9dLj8Em2xBaEpHcdFRm4d22jQIB9i+mTkw1PI0ccZuXMK+WhPPjiBfIQvOpn0URu54zq261g6vjksyFuRLOhNfOQt6Fs7W9LjFL2gP0Uf06n0aUWnkG/hwmUhn33m+wnTlvSjPb1z1DVL2xb0tl7RH9100qTHR0qmj9PqaiB/BGA6uKrE6N0uPCm9s3dNtwsfpHf1vXwDDo/smjnoAGXAl/eFQl0Go/Q46BT0XQag9Pgaj9EbeheiI9uw6V5IxuC0BgAiivRg16IBpxNRpMc1q0J+ZweA3sT5XkHfmh0KfcwqwpxOQFE+DkBMvttpMKS3K/27IhjxMSuPczo9COmriHRb7QWuNnQd18YFV6a/AZsBWjyuZAA19gyntDDU9ykO1MMWql+TwL6zxa76vDhtP/fmIbnDD4/vd6IBxAuy9LZhfr+/OVGr47/IIthGMMYUVF+Cb0lORUzU6vgTfgUdkj9oAL8n+JTl9H9lmwYT9d8P1yP39sPMvHD0a+fCGhD7wrWvby9s6+b69nbm6qZ+8x90PArj7GpnWBN1neebK03L/DWJvOwyCvw0yZJlfunDx9WT5TLwiZZtUuItsjUheRRqpq67mqtFXhDjD2YM6yoLgSotOlsof1ddm6gHJ0x9ih+oDyiWndBoTrjDRqb/Aw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F9bkJwEEAABzDAAAGAAAAHhsL3dvcmtzaGVldHMvc2hlZXQyLnhtbIxXTY/bNhC9F+h/EHRqD7Y+LEu2YTtYWVISIIsumiY50xJlCyuJrsjd9aLof++QlB1xlDp7saX3hsN5M0N6vH53bmrrmXa8Yu3G9qaubdE2Z0XVHjb2l7+yycK2uCBtQWrW0o39Srn9bvvrL+sX1j3yI6XCAg8t39hHIU4rx+H5kTaET9mJtsCUrGuIgNfu4PBTR0mhFjW147tu6DSkam3tYdW9xQcryyqnCcufGtoK7aSjNREQPz9WJ37x1uRvcdeQ7vHpNMlZcwIX+6quxKtyaltNvvp4aFlH9jXoPnsByS++1cvIfVPlHeOsFFNw5+hAx5qXztIBT9t1UYECmXaro+XGvvNW7z3XdrZrlaCvFX3hg2dL5nvP2KMkPhYb2wUXnNY0l8otAl/PdEfremN/CKFkfyun8AgOnavH4fPFe6Yq9NBZe8LpjtXfqkIcoRWgEwpakqda/MlePtDqcBSABpADmYpV8ZpQnkMNZCiXqBMiyHbdsRcLiulBGCciW8NbRRBtLsE7iW7sSC5RQKwBaDPwxMHseest1s4zhJr3JruLyWVNgoEUA5kGZtdt3mvAV/mAAK9R+j+MUqJGlBpYDqKcoyDHFqFpkYwtItMiHVu4pkWmLQa6NDDWNTN0WbJ4/uJaBcnqGl+zjpIe9yaQt6vJ0gxm93OT5OcmqTYZphbtk2mLgWgNjEVDd/6g5SSKxKK0xr2Jr/rP9zwk1KDnc1S2xKD9CDlPezoA56VK5pF0tLD1uU+DVQraeaWO9Ocv97/FwSoJfl87pToL7gwVJtPuBtnQwDgbcyMbuAUki7Liocjj3kanJcRZMdiFb+YsMVgPnYW0Z0c50XmAgw7XwBz3gV40UK6BsXJ5A36/epTyQIrQV5BksXKkLe5ttHLPn5nidgY9mwUmnRi0F2LxPX1LfIi3zPSigXgNjMVHN8VLFotHpYt7m148aoqdwQaITQwWi0h79pbyCOU602sGwjUwFi5HFVT1wZUnWSwcbRX3Nr1wfMMb7AI1Z2Kwc3Ro0569JdwLUR0yvWigXANj5fIC+X/lksXKUcfGvY1WjuLYGaSH2MRg0dWorjbY+5ZuH529TDscyNbAWLacUQa6L+dbwbDp9cc/7pHvLncjJBkh6QjJRogc2WRyB7HpaUtPQidyoPekO1Qtt2pawg+pO43g0ur0NKVfBDvJYK09E4I16vEIczKFacmdgnHJmLi8wMVIz+ITF+rbeurgZ+OfMHBdP5p5k7swdidz+eGHkTuJIt+Lo527DF3338vs2pzfNrg2JHfoOadqUF/oQX27bs6rh09frXtWwEwM0v9o6QNoVM/fPudEjspqHIS1EKP8VME6178L2/8A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PCMwqqaBAAA6AsAABgAAAB4bC93b3Jrc2hlZXRzL3NoZWV0MS54bWyUVlFv2zYQfh+w/6AJA7pisEVSEiUZtovYcrAALRo0W/tMS7QtRBI1iY6dDvvvPZK2bMZNkLxIInn67r77juSNP+yr0nngbVeIeuLiIXIdXmciL+r1xP3n7+tB7DqdZHXOSlHzifvIO/fD9NdfxjvR3ncbzqUDCHU3cTdSNiPP67INr1g3FA2vYWUl2opJGLZrr2taznL9U1V6BCHqVayoXYMwal+DIVarIuOpyLYVr6UBaXnJJMTfbYqmO6Lt81fh5S3bAddjPGchpmalx8PBRXxVkbWiEys5zETlmdAuWSZeYvGssgugnySrYu39thkAcAPklkVZyEdN13WqbHSzrkXLliUosscBy86iZJfwr48TkKbjvIDcqoJwWr6auFd4tAhcbzrWyn0t+K47+3YkW97xkmeS51BArqMKYynEvTK8gSkEiJ02UIgsk8UDn/OynLgzArX1r/YxI6OZ9uH1Tqbj0/fR4bWuptvWWbKOz0X5rcjlBrxC1eZ8xbalPE3Gw9gnyMck7Be/iN1fvFhvJPwSQMpU5kb5Y8q7DIpJhQosM1GCO3g6VaG2BOSb7Q0z443QIaUBogq4k49KAzBa8k5eFwrZdbJtJ0V1DO4AauCAsoaD987AJUO/j/ME9wKEf4CA9xGiDwTmXhkI8NeBAIkDynnCDoH4Vuz0mArqx/D7879h9ZtnEqn1TJlk03Erdg5sSkhQ1zB1ZOBRCMWRqckrNavXIIUdzD5Mg7H3oGAOFrNLC2RbzI0F5KDHwKFtkhoTiP5kQm2ThTEBsieTqDfxgETPRNXviYmj6+rESK1OXMjvCaeH0Zx1/QNn9cvDFA2hWkkUhiSJaQhlS3zbfG4AsQ/mq+m7L2znqLy+++33WeidDxdAemUg/dinQRQlcRQQDIPEhkwtyD/OQWb0T2sYvfes9YW9voje905xglGCkzBABLjEIbadLl5wGttOk6dO7fVFcnSaDEmcUBwFMfX9GPgGiwHp3VqiQXm8IJpatUU7wRjRjAWmB9FCn1IUg1sMTsM4PJWKNp8fzC9Fmz8rWojDiEApoAAyqAY9EQ2ZWpCWKHNblPkbRAv9yA+pTzAUCYrBte108YJTW5T5q0VDwzCEWiEhjX1EEYY09k4tyWC7viCZWrVPjicbB24WbREd9xn4wiFFNIHNgaFqeq9GsoP5pWTps5JhaGagAn0U44jC4AlkakFakqW2ZOkbJCMRhgRGJMB+lPgYPTnr4NLWtA0P26ktWfoGyXxbs9PeNoqZO9uc9w1b80+sXRd155R8BccgGkau05obWH9L0ehZOCWXQsKleRxtoFPkcC+gIRTeSgh5HMDNonDvuNw2jmgLuLh18zdxG9HKlhXSdTYw/13AQpk2xcQNSBIkNCIJHDzQ6soiu1wA2JKvWfZ4aPucdlTkE7e9yfVlxvfyYyenY3g72xYw/4MOAJHIx4MrOkODUD0IjdAgigieRXOUUIT+P7ZlFTQQT/rjn/ZkFcs8vs+47o5j0zVOx9V+dPvxq/NJ5NBqQKvzuea3kAL9/e0OyOhPdeVCeOapg/X6Hn36AwAA//8DAFBLAwQUAAYACAAAACEAdKIHt04BAADgAgAAFAAAAHhsL3NoYXJlZFN0cmluZ3MueG1sjJJNS8NAEIbvgv9h2LNt0lasSpIiiiDYXmzxPCTTZmEzWzOTYP69G+vFpILHfXbmnY93ktVn5aClWqzn1MymsQHi3BeWD6nZbZ8ntwZEkQt0nik1HYlZZZcXiYhCyGVJTal6vI8iyUuqUKb+SBx+9r6uUMOzPkRyrAkLKYm0ctE8jm+iCi0byH3Dmpr5tYGG7UdDjycwuzNZIjZLNNt6RZdEmiVRD07w4VATDeGGGq3HsU9W8Fz4GznKNcw91IlhAot4SBezgJcjvOzxLB7xnRD4PWwpL9k7f+iGet+TDuG7Lei0LGiErgCdCzuqR6OO4hQcYbAkmPSvBPY8OSf8aiurVAQd1/UtDBvceNA/R3phJRbbjrLWvqAadcR/qg2LrDuwLGq16e2BPVonoB4wLy21BMgQ9oQOsGithFMFCbH428soXGj2BQAA//8DAFBLAwQUAAYACAAAACEA6UmDQJ0CAAAPBwAAGwAAAHhsL2RyYXdpbmdzL3ZtbERyYXdpbmcxLnZtbOxVTW/bMAy991cI6iEXB/5oG7SqHaDo0Ns2YO22Y6HYSqxWH4bFOE5//SjZSZMVG4rtsMsM2KZJiuR7fIDzXiuCt3GsK+i6NcyVtdDcTbUsW+vsEqal1azTip6MifZ3iXa5lKVgw2t/pH/HEdGX4rWJxnFqgIbFseblN63uw1xfW0nnJyS3zNW8EYpv7RpIx0QPBRWVBB/1YVlp3hwFSMWBFzSlsS8QH1WY591QELaNILIq6GOf4PUIWZJRUlrbVk6+iIJm6SxJovCkBGs02NfnYNeGQ11QnUSJGjOGvKNn0othRGwIrX0W5MlK42CrsLiWINowH8GBfD2yanklhYEA1z4XFHzb0hojSvDTFrRFawR1gGIP6RCOS5PsgpLh3OkRxmGESWOdBGkN4wtn1RrENSLTvF1JM1ViCWx22cD16ADbsPTsHB0bWUHN0szbtZCrGliWoP0ylaYSPUt9mU46uZBKwpbVsqqEudbOTjctb6ahOwN/cEKWUqnSKtsW9HSJl0g9ZmRJgLYVIuZrsDsWfTIuCLOz13S/Yk8hslbZDbFm4G3hynUrcLsDX3uSfyLUWCP2WwCU1sL2ZOTHT1xJTzmSNOUKmB9m4vuRvJLdLs8fw7BcGeZpm8zzGKNhrLhjY9Hw2bNb5Tf8AeVJPi+esPRD2OsnC4NWSN6zj7YT3yXUt0IpF+B57z1q8q33xpS1bcNIJInI7DIiVxG5iEgakbMMX+hM0zzu2UEmVrtBJHdI5/yOKydCfOcJ8Hr2xW7m4aA3Rt8tykSbeeLzR9uT77/2uDA3R9hBxL8U5uzvhJmlXnwHysxedZl6e6fL9ECX2X9d/htdohQvziMvTxQkGmdBnVd/KsqgvreizN4vyhj/gvMfAAAA//8DAFBLAwQUAAYACAAAACEAM1hfDjYBAAAS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FfS8MwFMXfBb9DyXubdt2GhLYDlSHiQHBD8e2S3G3B5g9JtNu3N+tmnczHyzn3xzn3VrOdapMvdF4aXZMiy0mCmhsh9aYmq+U8vSGJD6AFtEZjTfboyay5vqq4Zdw4fHbGogsSfRJJ2jNua7INwTJKPd+iAp9Fh47i2jgFIY5uQy3wD9ggHeX5lCoMICAAPQBTOxDJCSn4gLSfru0BglNsUaEOnhZZQX+9AZ3y/y70yplTybC3sdMp7jlb8KM4uHdeDsau67Ku7GPE/AV9Wzy99FVTqQ+34kiaSnDGHUIwrqno+RAP14IPi3jjtURxu28ejYawBZ08GBcBKHVFL12R2Bdg6rSZxEzs2OBHei3v7pdz0ozyYpIWozQvl/mEjadsXL4fUvwFxGAXX2y+AQAA//8DAFBLAwQUAAYACAAAACEArU7jEg8BAAAiAgAAEAAAAHhsL2NvbW1lbnRzMS54bWy8UE1LxDAUvAv+h/DubtoeZJUmiwgrggfB9QfE5nUbyEfJyy5df71v7daDJ09CCJnJvJnhtZspeHHETC5FBfWqAoGxS9bFvYL33fZmDYKKidb4FFHBCQk2+vqq7VIIGAsJNoikYChlvJeSugGDoVUaMfJPn3IwhWHeSxozGksDYgleNlV1K4NxEXRrDmVImZaH1K38oS45L46KXkJFxl7BYw1ilj1bBRX7FJxYlPm88vXBPvQpjsYruAMGXfIpCxctTsgT6/pM5m2KZRbtzJCCOZO9Cc6fZrY5E/LbseinnA6jsEhddmPhnVErOVJynJzT5aXwr7IPzf+XfcPskP7Yduk9L3pBpL8AAAD//wMAUEsDBBQABgAIAAAAIQA/byhtjgEAACo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QW/bMAyF7wP2HwTdG7lZMQyBrKJoN/SwYsGSdmdOpmOhiiSIrJfs10+OkcbpDgN2I/menz5T0te7rRc9ZnIx1PJyVkmBwcbGhU0tH9dfLj5JQQyhAR8D1nKPJK/N+3d6mWPCzA5JlIhAteyY00Ipsh1ugWZFDkVpY94ClzZvVGxbZ/Eu2pctBlbzqvqocMcYGmwu0mugHBMXPf9vaBPtwEdP630qwEbfpOSdBS5/aR6czZFiy+IBrAscqROfdxa9VlObLpwrtC/Z8d5UWk1bvbLg8bYcYVrwhFqdBvoeYVjfElwmo3te9Gg5ZkHud1ngXIqfQDiA1bKH7CBwARxsY3OofSLO5kfMz9QhMmlVDOPwUE6909pdmfnBUIpz4xAwghThHHHt2CN9a5eQ+V/EB4aRd8S5ST5mR3fAMIV8xf0Ov8Rb8YzlzelfXXimx7SO5SM8bvd8qFcdZGzKhRz100Dfl8VmP4TcdhA22Bw9fwvDq3gan765vJpVH6pyzZOZVqdHbv4AAAD//wMAUEsDBBQABgAIAAAAIQAX7MrRzQAAAJcBAAAQAAAAeGwvY2FsY0NoYWluLnhtbGyQWw7CIBBF/03cA5l/pb4fKe1HW1egCyB0tE14NECM7l5SXw36yeHcOwNpflOSXNG61mgGs2kCBLUwdasvDE7Hw2QLxHmuay6NRgZ3dJBn41EquBRFw1tNQoN2DBrvuz2lTjSouJuaDnW4ORuruA9He6Gus8hr1yB6Jek8SdZUhQLIUkEsg2oFpGWwACLDJkBfuJj3+Auq9ct7G9UmAuVPZBcZVXhWP+vTsfwPBmPDYiEyAPGU8tnxNco4UsRGMTDo50uzBwAAAP//AwBQSwECLQAUAAYACAAAACEASRKs94wBAAB4BgAAEwAAAAAAAAAAAAAAAAAAAAAAW0NvbnRlbnRfVHlwZXNdLnhtbFBLAQItABQABgAIAAAAIQBQfE7B9gAAAEwCAAALAAAAAAAAAAAAAAAAAMUDAABfcmVscy8ucmVsc1BLAQItABQABgAIAAAAIQAAQZj4CQEAAMwDAAAaAAAAAAAAAAAAAAAAAOwGAAB4bC9fcmVscy93b3JrYm9vay54bWwucmVsc1BLAQItABQABgAIAAAAIQBAQYGC3AEAABYDAAAPAAAAAAAAAAAAAAAAADUJAAB4bC93b3JrYm9vay54bWxQSwECLQAUAAYACAAAACEAKBtn0uQIAACogwAADQAAAAAAAAAAAAAAAAA+CwAAeGwvc3R5bGVzLnhtbFBLAQItABQABgAIAAAAIQDnZXW41gAAALgBAAAjAAAAAAAAAAAAAAAAAE0UAAB4bC93b3Jrc2hlZXRzL19yZWxzL3NoZWV0MS54bWwucmVsc1BLAQItABQABgAIAAAAIQAX1uQnAQQAAHMMAAAYAAAAAAAAAAAAAAAAAGQVAAB4bC93b3Jrc2hlZXRzL3NoZWV0Mi54bWxQSwECLQAUAAYACAAAACEA+2KlbZQGAACnGwAAEwAAAAAAAAAAAAAAAACbGQAAeGwvdGhlbWUvdGhlbWUxLnhtbFBLAQItABQABgAIAAAAIQDwjMKqmgQAAOgLAAAYAAAAAAAAAAAAAAAAAGAgAAB4bC93b3Jrc2hlZXRzL3NoZWV0MS54bWxQSwECLQAUAAYACAAAACEAdKIHt04BAADgAgAAFAAAAAAAAAAAAAAAAAAwJQAAeGwvc2hhcmVkU3RyaW5ncy54bWxQSwECLQAUAAYACAAAACEA6UmDQJ0CAAAPBwAAGwAAAAAAAAAAAAAAAACwJgAAeGwvZHJhd2luZ3Mvdm1sRHJhd2luZzEudm1sUEsBAi0AFAAGAAgAAAAhADNYXw42AQAAEgIAABEAAAAAAAAAAAAAAAAAhikAAGRvY1Byb3BzL2NvcmUueG1sUEsBAi0AFAAGAAgAAAAhAK1O4xIPAQAAIgIAABAAAAAAAAAAAAAAAAAA8ysAAHhsL2NvbW1lbnRzMS54bWxQSwECLQAUAAYACAAAACEAP28obY4BAAAqAwAAEAAAAAAAAAAAAAAAAAAwLQAAZG9jUHJvcHMvYXBwLnhtbFBLAQItABQABgAIAAAAIQAX7MrRzQAAAJcBAAAQAAAAAAAAAAAAAAAAAPQvAAB4bC9jYWxjQ2hhaW4ueG1sUEsFBgAAAAAPAA8A3AMAAO8wAAAAAAUi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wAAAABUFyaWFsBnEAAAAGK21uLWVhCXIAAAABAAlzAAAAByMAAAAAAQAAABEAAAAEFFN5c3RlbS5EcmF3aW5nLkNvbG9yBAAAAAV0AAAAFFN5c3RlbS5EcmF3aW5nLkNvbG9yBAAAAAV2YWx1ZQVzdGF0ZQprbm93bkNvbG9yBG5hbWUAAAABCQcHBAAAAAAAAAAAAAAAAAAAAAoBdQAAAHQAAAAAAAD//////wIAAAAKAXYAAAB0AAAA//////////8CAAAACgF3AAAAdAAAAE5BIv//////AgAAAAoBeAAAAHQAAADe3Nv//////wIAAAAKAXkAAAB0AAAAfmk///////8CAAAACgF6AAAAdAAAAIyEcv//////AgAAAAoBewAAAHQAAAAlIe3//////wIAAAAKAXwAAAB0AAAANDtG//////8CAAAACgF9AAAAdAAAAHSYw///////AgAAAAoBfgAAAHQAAAAelPf//////wIAAAAKAX8AAAB0AAAAHpT3//////8CAAAACgGAAAAAdAAAACUh7f//////AgAAAAoBgQAAAHQAAAAAAAD//////wIAAAAKAYIAAAB0AAAA//////////8CAAAACgGDAAAAdAAAAE5BIv//////AgAAAAoBhAAAAHQAAADe3Nv//////wIAAAAKBCQAAACYAVN5c3RlbS5Db2xsZWN0aW9ucy5HZW5lcmljLkxpc3RgMVtbQXBsb3Jpcy5CYXNlLk9iamVjdHMuRGF0YU9iamVjdCwgQXBsb3Jpcy5CYXNlLCBWZXJzaW9uPTQuMC4wLjE0ODYsIEN1bHR1cmU9bmV1dHJhbCwgUHVibGljS2V5VG9rZW49MTZmYzEzYTIyNmMwZTk1MV1dAwAAAAZfaXRlbXMFX3NpemUIX3ZlcnNpb24EAAAhQXBsb3Jpcy5CYXNlLk9iamVjdHMuRGF0YU9iamVjdFtdAwAAAAgICYUAAAAMAAAAEAAAAAQlAAAAlQFTeXN0ZW0uQ29sbGVjdGlvbnMuR2VuZXJpYy5MaXN0YDFbW0FwbG9yaXMuQmFzZS5VSS5WaXN1YWxPYmplY3QsIEFwbG9yaXMuQmFzZSwgVmVyc2lvbj00LjAuMC4xNDg2LCBDdWx0dXJlPW5ldXRyYWwsIFB1YmxpY0tleVRva2VuPTE2ZmMxM2EyMjZjMGU5NTFdXQMAAAAGX2l0ZW1zBV9zaXplCF92ZXJzaW9uBAAAHkFwbG9yaXMuQmFzZS5VSS5WaXN1YWxPYmplY3RbXQMAAAAICAmGAAAAAQAAAAEAAAAFJwAAAJsBQXBsb3Jpcy5CYXNlLk9iamVjdHMuRGF0YU9iamVjdENvbGxlY3Rpb25gMVtbQXBsb3Jpcy5DaGFydC5WYWx1ZUxpbmU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AuMC4xNDg2LCBDdWx0dXJlPW5ldXRyYWwsIFB1YmxpY0tleVRva2VuPTE2ZmMxM2EyMjZjMGU5NTFdXQMAAACRAVN5c3RlbS5Db2xsZWN0aW9ucy5HZW5lcmljLkxpc3RgMVtbQXBsb3Jpcy5DaGFydC5WYWx1ZUxpbm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hwAAAAmIAAAACQYAAAAJAQAAAAmJAAAABSgAAACbAUFwbG9yaXMuQmFzZS5PYmplY3RzLkRhdGFPYmplY3RDb2xsZWN0aW9uYDFbW0FwbG9yaXMuQ2hhcnQuQXhpc0JyZWFr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wLjAuMTQ4NiwgQ3VsdHVyZT1uZXV0cmFsLCBQdWJsaWNLZXlUb2tlbj0xNmZjMTNhMjI2YzBlOTUxXV0DAAAAkQFTeXN0ZW0uQ29sbGVjdGlvbnMuR2VuZXJpYy5MaXN0YDFbW0FwbG9yaXMuQ2hhcnQuQXhpc0JyZWF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YoAAAAJiwAAAAkGAAAACQEAAAAJjAAAAAUp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iAAAAAwAAAAljAAAACWQAAAAJZQAAAAEAAAAACgoJZgAAAAAAAAAKAAAAAAAAAAAFK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IAAAADAAAACWMAAAAJZAAAAAllAAAAAQAAAAAKBo0AAAABJQlmAAAAAQAAAAoAAAAAAAAAAAUsAAAAmgFBcGxvcmlzLkJhc2UuT2JqZWN0cy5EYXRhT2JqZWN0Q29sbGVjdGlvbmAxW1tBcGxvcmlzLkNoYXJ0LlRpY2tNYXJr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AuMC4xNDg2LCBDdWx0dXJlPW5ldXRyYWwsIFB1YmxpY0tleVRva2VuPTE2ZmMxM2EyMjZjMGU5NTFdXQMAAACQAVN5c3RlbS5Db2xsZWN0aW9ucy5HZW5lcmljLkxpc3RgMVtbQXBsb3Jpcy5DaGFydC5UaWNrTWFy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OAAAACY8AAAAJBgAAAAkBAAAACZAAAAAFLw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RAAAAIAAAAEGoLkLaB45DAZIAAAAgAAAA0OUdRNoHjkMJkwAAALgBAAD/////AQEKCZQAAAABAAoABzAAAAAAAQAAAAUAAAAEFVN5c3RlbS5EcmF3aW5nLlBvaW50RgQAAAABlQAAACAAAADQpR5E2geOQwGWAAAAIAAAAEGoLkI3/JVDAZcAAAAgAAAAVNCoQzf8lUMBmAAAACAAAADQ5R1EN/yVQwGZAAAAIAAAANClHkTah5BDBzEAAAAAAQAAAAUAAAAEF0FwbG9yaXMuQmFzZS5BbmNob3JNb2RlAwAAAAWaAAAAF0FwbG9yaXMuQmFzZS5BbmNob3JNb2RlAQAAAAd2YWx1ZV9fAAgDAAAABAAAAAGbAAAAmgAAAAUAAAABnAAAAJoAAAADAAAAAZ0AAACaAAAABgAAAAGeAAAAmgAAAAUAAAAPMgAAAAUAAAABAAAAAAEFMwAAABVBcGxvcmlzLkJhc2UuVUkuTGFiZWwcAAAAD21BbmNob3JQb3NpdGlvbgttQW5jaG9yTW9kZQ9tQWRkSW5uZXJNYXJnaW4WbU9mZnNldERpcmVjdGlvbkFuY2hvchdtT2Zmc2V0T3J0aG9nb25hbEFuY2hvcgttVGV4dEZvcm1hdAltUm90YXRpb24KbUJhY2tDb2xvcg1tVXNlQmFja0NvbG9yDm1Vc2V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BAQEAAEDAwEAAAAABwIAAAMA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MAAAABnwAAACAAAADQpR5E2geOQwGgAAAAmgAAAAQAAAAAAAAAAAAAAAAJoQAAAAAAAAAJogAAAAAABaMAAAAqQXBsb3Jpcy5CYXNlLlVJLkxhYmVsK0xpbmVBbGlnbm1lbnRPcHRpb25zAQAAAAd2YWx1ZV9fAAgDAAAAAAAAAAGkAAAAbAAAAAAAAAAAAAAAAaUAAAAUAAAAAAAAAAAAAAAAAAAAAAAAAAAAAAAGpgAAAA1DYXRlZ29yeSBheGlzCgmnAAAACaYAAADkAgAA/////wABCgmoAAAAAQAKAQE0AAAAJAAAAAmpAAAABgAAAAYAAAABNQAAACUAAAAJqgAAAAIAAAACAAAAATcAAAAnAAAACgmrAAAACawAAAAJBwAAAAkBAAAACa0AAAABOAAAACgAAAAKCa4AAAAJrwAAAAkHAAAACQEAAAAJsAAAAAU5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iAAAAAwAAAAljAAAACWQAAAAJZQAAAAEAAAAACgmNAAAACWYAAAAAAAAACgAAAAAA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EAAAABCWIAAAADAAAACWMAAAAJZAAAAAllAAAAAQAAAAAKBrEAAAABJQlmAAAAAAAAAAoAAAAAAA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BAAAAAQliAAAAAwAAAAljAAAACWQAAAAJZQAAAAEAAAAACgmNAAAACWYAAAABAAAACgAAAAAAAAAAATwAAAAsAAAACgmyAAAACbMAAAAJBwAAAAkBAAAACbQAAAABPwAAAC8AAAABtQAAACAAAABBqC5C2geOQwG2AAAAIAAAAEGoLkJeM3lBCbcAAAC4AQAA/////wEBCgm4AAAAAQAKAAdAAAAAAAEAAAAFAAAABBVTeXN0ZW0uRHJhd2luZy5Qb2ludEYEAAAAAbkAAAAgAAAAQaguQoztIUEBugAAACAAAAAu/yRB2geOQwG7AAAAIAAAAC7/JEF10RVDAbwAAAAgAAAALv8kQV4zeUEBvQAAACAAAAAu/yRBjO0hQQdBAAAAAAEAAAAFAAAABBdBcGxvcmlzLkJhc2UuQW5jaG9yTW9kZQMAAAABvgAAAJoAAAABAAAAAb8AAACaAAAACAAAAAHAAAAAmgAAAAIAAAABwQAAAJoAAAAGAAAAAcIAAACaAAAABwAAAA9CAAAABQAAAAEAAAAAAQFDAAAAMwAAAAHDAAAAIAAAAEGoLkKM7SFBAcQAAACaAAAAAQAAAAAAAAAAAAAAAAnFAAAAAAAAAAnGAAAAAAABxwAAAKMAAAAAAAAAAcgAAABsAAAAAAAAAAAAAAAByQAAABQAAAAAAAAAAAAAAAAAAAAAAAAAAAAAAAbKAAAAClZhbHVlIGF4aXMKCcsAAAAJygAAAOQCAAD/////AAEKCcwAAAABAAoBAUQAAAAkAAAACc0AAAAHAAAABwAAAAFFAAAAJQAAAAnOAAAAAgAAAAIAAAAHRgAAAAABAAAAAAAAAAQuQXBsb3Jpcy5DaGFydC5Db2x1bW5PcmllbnRlZENoYXJ0K1VudXNlZFNlcmllcwIAAAAERw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zwAAAAMAAABOAQAAAUgAAAAkAAAACdAAAAADAAAAewAAAAFJAAAAJQAAAAnRAAAAAAAAAAAAAAAESg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dIAAAAAAAAAAAAAAAFLAAAAJAAAAAnTAAAAAAAAAAAAAAABTAAAACUAAAAJ0QAAAAAAAAAAAAAABE0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dQAAAAAAAAAAAAAAAFOAAAAJAAAAAnTAAAAAAAAAAAAAAABTwAAACUAAAAJ0QAAAAAAAAAAAAAABFA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VAAAABAAAACwAAAABUQAAACQAAAAJ1gAAAAQAAAAcAAAAAVIAAAAlAAAACdEAAAAAAAAAAAAAAART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1wAAAAAAAAAAAAAAAVQAAAAkAAAACdMAAAAAAAAAAAAAAAFVAAAAJQAAAAnRAAAAAAAAAAAAAAAEVg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dgAAAAAAAAAAAAAAAFXAAAAJAAAAAnTAAAAAAAAAAAAAAABWAAAACUAAAAJ0QAAAAAAAAAAAAAABFk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ZAAAAAAAAAAAAAAABWgAAACQAAAAJ0wAAAAAAAAAAAAAAAVsAAAAlAAAACdEAAAAAAAAAAAAAAARc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aAAAAAAAAAAAAAAABXQAAACQAAAAJ0wAAAAAAAAAAAAAAAV4AAAAlAAAACdEAAAAAAAAAAAAAAARf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dsAAAAAAAAAAAAAAAFgAAAAJAAAAAnTAAAAAAAAAAAAAAABYQAAACUAAAAJ0QAAAAAAAAAAAAAABWo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3AAAAAndAAAAAQAAAP7///8BAAAAAQAAAAEAAAABAAAAAQAAAAEAAAAAAAEFaw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eAAAACd8AAAABAAAAAAAAAAAAAAAAAAAAAAEFbwAAAB9BcGxvcmlzLkJhc2UuT2JqZWN0cy5QZXJzSWREYXRhAgAAAANtSWQLbUN1c3RvbURhdGEHAggDAAAACeAAAAAKBXIAAAAaQXBsb3Jpcy5CYXNlLk9iamVjdHMuQ29sb3IHAAAAEkRhdGFPYmplY3QrbVBhcmVudBVEYXRhT2JqZWN0K21Db250YWluZXIFbVR5cGUEbVJHQhBtVGhlbWVDb2xvckluZGV4DG1BdXRvVXBkYXRlZAltTW9kaWZpZWQCAgAAAAAACAgIAQEDAAAACgoAAAAAAAAAAA0AAAAAAQFzAAAAcgAAAAoKAQAAAAAAAAD/////AAEHhQAAAAABAAAAEAAAAAQfQXBsb3Jpcy5CYXNlLk9iamVjdHMuRGF0YU9iamVjdAMAAAAJCQAAAAkKAAAACQsAAAAJDAAAAAkQAAAACREAAAAJDQAAAAkOAAAACQ8AAAAJBwAAAAkGAAAACRcAAAANBAeGAAAAAAEAAAAEAAAABBxBcGxvcmlzLkJhc2UuVUkuVmlzdWFsT2JqZWN0AwAAAAkbAAAADQMEhwAAAJEBU3lzdGVtLkNvbGxlY3Rpb25zLkdlbmVyaWMuTGlzdGAxW1tBcGxvcmlzLkNoYXJ0LlZhbHVlTGluZSwgQXBsb3Jpcy5DaGFydCwgVmVyc2lvbj00LjAuMC4xNDg2LCBDdWx0dXJlPW5ldXRyYWwsIFB1YmxpY0tleVRva2VuPTE2ZmMxM2EyMjZjMGU5NTFdXQMAAAAGX2l0ZW1zBV9zaXplCF92ZXJzaW9uBAAAGUFwbG9yaXMuQ2hhcnQuVmFsdWVMaW5lW10CAAAACAgJ4QAAAAAAAAAAAAAAAYgAAAAkAAAACdMAAAAAAAAAAAAAAAGJAAAAJQAAAAnRAAAAAAAAAAAAAAAEigAAAJEBU3lzdGVtLkNvbGxlY3Rpb25zLkdlbmVyaWMuTGlzdGAxW1tBcGxvcmlzLkNoYXJ0LkF4aXNCcmVhaywgQXBsb3Jpcy5DaGFydCwgVmVyc2lvbj00LjAuMC4xNDg2LCBDdWx0dXJlPW5ldXRyYWwsIFB1YmxpY0tleVRva2VuPTE2ZmMxM2EyMjZjMGU5NTFdXQMAAAAGX2l0ZW1zBV9zaXplCF92ZXJzaW9uBAAAGUFwbG9yaXMuQ2hhcnQuQXhpc0JyZWFrW10CAAAACAgJ4gAAAAAAAAAAAAAAAYsAAAAkAAAACdMAAAAAAAAAAAAAAAGMAAAAJQAAAAnRAAAAAAAAAAAAAAAEjgAAAJABU3lzdGVtLkNvbGxlY3Rpb25zLkdlbmVyaWMuTGlzdGAxW1tBcGxvcmlzLkNoYXJ0LlRpY2tNYXJrLCBBcGxvcmlzLkNoYXJ0LCBWZXJzaW9uPTQuMC4wLjE0ODYsIEN1bHR1cmU9bmV1dHJhbCwgUHVibGljS2V5VG9rZW49MTZmYzEzYTIyNmMwZTk1MV1dAwAAAAZfaXRlbXMFX3NpemUIX3ZlcnNpb24EAAAYQXBsb3Jpcy5DaGFydC5UaWNrTWFya1tdAgAAAAgICeMAAAAAAAAAAAAAAAGPAAAAJAAAAAnTAAAAAAAAAAAAAAABkAAAACUAAAAJ0QAAAAAAAAAAAAAAAZMAAABqAAAACgoAAABAPwnkAAAACeUAAAABAAAA/v///wAAAAABAAAAAAAAAAAAAAABAAAAAAAAAAAAAAGUAAAAbwAAAAnmAAAACgWh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QEEJcAAAAAlxAAAACecAAAABAAnoAAAAAaIAAAByAAAACgoBAAAAAAAAAP////8AAQSnAAAAlgFTeXN0ZW0uQ29sbGVjdGlvbnMuR2VuZXJpYy5MaXN0YDFbW0FwbG9yaXMuQmFzZS5PYmplY3RzLlZhcmlhYmxlLCBBcGxvcmlzLkJhc2UsIFZlcnNpb249NC4wLjAuMTQ4NiwgQ3VsdHVyZT1uZXV0cmFsLCBQdWJsaWNLZXlUb2tlbj0xNmZjMTNhMjI2YzBlOTUxXV0DAAAABl9pdGVtcwVfc2l6ZQhfdmVyc2lvbgQAAB9BcGxvcmlzLkJhc2UuT2JqZWN0cy5WYXJpYWJsZVtdAwAAAAgICekAAAAAAAAAAAAAAAGoAAAAbwAAAAnqAAAACgepAAAAAAEAAAAIAAAABB9BcGxvcmlzLkJhc2UuT2JqZWN0cy5EYXRhT2JqZWN0AwAAAAkpAAAACSoAAAAJKwAAAAksAAAACScAAAAJKAAAAAoKB6oAAAAAAQAAAAQAAAAEHEFwbG9yaXMuQmFzZS5VSS5WaXN1YWxPYmplY3QDAAAACS8AAAAJMwAAAAoKAasAAACHAAAACeEAAAAAAAAAAAAAAAGsAAAAJAAAAAnTAAAAAAAAAAAAAAABrQAAACUAAAAJ0QAAAAAAAAAAAAAAAa4AAACKAAAACeIAAAAAAAAAAAAAAAGvAAAAJAAAAAnTAAAAAAAAAAAAAAABsAAAACUAAAAJ0QAAAAAAAAAAAAAAAbIAAACOAAAACesAAAALAAAAIQAAAAGzAAAAJAAAAAnsAAAACwAAACEAAAABtAAAACUAAAAJ0QAAAAAAAAAAAAAAAbcAAABqAAAACgoAAABAPwntAAAACe4AAAABAAAA/v///wAAAAABAAAAAAAAAAAAAAABAAAAAAAAAAAAAAG4AAAAbwAAAAnvAAAACgXF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QEEJcAAAAAlxAAAACfAAAAABAAnxAAAAAcYAAAByAAAACgoBAAAAAAAAAP////8AAQHLAAAApwAAAAnpAAAAAAAAAAAAAAABzAAAAG8AAAAJ8gAAAAoHzQAAAAABAAAACAAAAAQfQXBsb3Jpcy5CYXNlLk9iamVjdHMuRGF0YU9iamVjdAMAAAAJOQAAAAk6AAAACTsAAAAJPAAAAAk3AAAACTgAAAAJ8wAAAAoHzgAAAAABAAAABAAAAAQcQXBsb3Jpcy5CYXNlLlVJLlZpc3VhbE9iamVjdAMAAAAJPwAAAAlDAAAACgoHzwAAAAABAAAAIAAAAAQdQXBsb3Jpcy5DaGFydC5DaGFydERhdGFTZXJpZXMCAAAACfQAAAAJ9QAAAAn2AAAADR0H0AAAAAABAAAAIAAAAAQfQXBsb3Jpcy5CYXNlLk9iamVjdHMuRGF0YU9iamVjdAMAAAAJ9gAAAAn1AAAACfQAAAANHQfRAAAAAAEAAAAAAAAABBxBcGxvcmlzLkJhc2UuVUkuVmlzdWFsT2JqZWN0AwAAAAfSAAAAAAEAAAAAAAAABCJBcGxvcmlzLkNoYXJ0LkFubm90YXRpb25EYXRhU2VyaWVzAgAAAAfTAAAAAAEAAAAAAAAABB9BcGxvcmlzLkJhc2UuT2JqZWN0cy5EYXRhT2JqZWN0AwAAAAfUAAAAAAEAAAAAAAAABB1BcGxvcmlzLkNoYXJ0LkFubm90YXRpb25Hcm91cAIAAAAH1QAAAAABAAAAEAAAAAQcQXBsb3Jpcy5DaGFydC5DaGFydERhdGFHcm91cAIAAAAJ9wAAAAn4AAAACfkAAAAJ+gAAAA0MB9YAAAAAAQAAABAAAAAEH0FwbG9yaXMuQmFzZS5PYmplY3RzLkRhdGFPYmplY3QDAAAACfcAAAAJ+QAAAAn4AAAACfoAAAANDAfXAAAAAAEAAAAAAAAABBZBcGxvcmlzLkNoYXJ0LkRlbHRhQmFyAgAAAAfYAAAAAAEAAAAAAAAABBlBcGxvcmlzLkNoYXJ0LkRlbHRhQnJpZGdlAgAAAAfZAAAAAAEAAAAAAAAABBlBcGxvcmlzLkNoYXJ0Lkdyb3d0aEFycm93AgAAAAfaAAAAAAEAAAAAAAAABCBBcGxvcmlzLkNoYXJ0LldhdGVyZmFsbENvbm5lY3RvcgIAAAAH2wAAAAABAAAAAAAAAAQeQXBsb3Jpcy5DaGFydC5FbGVtZW50Q29ubmVjdG9yAgAAAAHcAAAAcgAAAAoKAAAAAAAAAAANAAAAAAEB3QAAAHIAAAAKCgEAAAAAAAAA/////wABAd4AAAByAAAACgoBAAAA////AP////8AAQHfAAAAcgAAAAoKAQAAAAAAAAD/////AAEP4AAAAAEAAAAIAAAAAAfhAAAAAAEAAAAAAAAABBdBcGxvcmlzLkNoYXJ0LlZhbHVlTGluZQIAAAAH4gAAAAABAAAAAAAAAAQXQXBsb3Jpcy5DaGFydC5BeGlzQnJlYWsCAAAAB+MAAAAAAQAAAAAAAAAEFkFwbG9yaXMuQ2hhcnQuVGlja01hcmsCAAAABeQAAAAaQXBsb3Jpcy5CYXNlLk9iamVjdHMuQ29sb3IHAAAAEkRhdGFPYmplY3QrbVBhcmVudBVEYXRhT2JqZWN0K21Db250YWluZXIFbVR5cGUEbVJHQhBtVGhlbWVDb2xvckluZGV4DG1BdXRvVXBkYXRlZAltTW9kaWZpZWQEAgAAAAAAH0FwbG9yaXMuQmFzZS5PYmplY3RzLkxpbmVGb3JtYXQDAAAACAgIAQEDAAAACZMAAAAKAAAAAAAAAAANAAAAAAAF5QAAABpBcGxvcmlzLkJhc2UuT2JqZWN0cy5Db2xvcgcAAAASRGF0YU9iamVjdCttUGFyZW50FURhdGFPYmplY3QrbUNvbnRhaW5lcgVtVHlwZQRtUkdCEG1UaGVtZUNvbG9ySW5kZXgMbUF1dG9VcGRhdGVkCW1Nb2RpZmllZAQCAAAAAAAfQXBsb3Jpcy5CYXNlLk9iamVjdHMuTGluZUZvcm1hdAMAAAAICAgBAQMAAAAJkwAAAAoBAAAAAAAAAP////8AAQ/mAAAAAQAAAAgmAwAAAecAAAByAAAACgoAAAAAAAAAAA0AAAAAAQHoAAAAcgAAAAoKAQAAAAAAAAD/////AAEH6QAAAAABAAAAAAAAAAQdQXBsb3Jpcy5CYXNlLk9iamVjdHMuVmFyaWFibGUDAAAAD+oAAAABAAAACAAAAAAH6wAAAAABAAAAEAAAAAQWQXBsb3Jpcy5DaGFydC5UaWNrTWFyawIAAAAJ+wAAAAn8AAAACf0AAAAJ/gAAAAn/AAAACQABAAAJAQEAAAkCAQAACQMBAAAJBAEAAAkFAQAADQUH7AAAAAABAAAAEAAAAAQfQXBsb3Jpcy5CYXNlLk9iamVjdHMuRGF0YU9iamVjdAMAAAAJ+wAAAAn8AAAACf0AAAAJ/gAAAAn/AAAACQABAAAJAQEAAAkCAQAACQMBAAAJBAEAAAkFAQAADQUF7QAAABpBcGxvcmlzLkJhc2UuT2JqZWN0cy5Db2xvcgcAAAASRGF0YU9iamVjdCttUGFyZW50FURhdGFPYmplY3QrbUNvbnRhaW5lcgVtVHlwZQRtUkdCEG1UaGVtZUNvbG9ySW5kZXgMbUF1dG9VcGRhdGVkCW1Nb2RpZmllZAQCAAAAAAAfQXBsb3Jpcy5CYXNlLk9iamVjdHMuTGluZUZvcm1hdAMAAAAICAgBAQMAAAAJtwAAAAoAAAAAAAAAAA0AAAAAAAXuAAAAGkFwbG9yaXMuQmFzZS5PYmplY3RzLkNvbG9yBwAAABJEYXRhT2JqZWN0K21QYXJlbnQVRGF0YU9iamVjdCttQ29udGFpbmVyBW1UeXBlBG1SR0IQbVRoZW1lQ29sb3JJbmRleAxtQXV0b1VwZGF0ZWQJbU1vZGlmaWVkBAIAAAAAAB9BcGxvcmlzLkJhc2UuT2JqZWN0cy5MaW5lRm9ybWF0AwAAAAgICAEBAwAAAAm3AAAACgEAAAAAAAAA/////wABD+8AAAABAAAACCcDAAAB8AAAAHIAAAAKCgAAAAAAAAAADQAAAAABAfEAAAByAAAACgoBAAAAAAAAAP////8AAQ/yAAAAAQAAAAgAAAAABfM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IAAAADAAAACWMAAAAJZAAAAAllAAAAAQAAAAAKCY0AAAAJZgAAAAEAAAAKAAAAAAAAAAAF9AA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AuMC4xNDg2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AQYBAAATAAAAAAAAAAIAAAD/////CQcAAAAJBwEAAAYIAQAABUFncmVlCgoAAAAAAAAAAAAAAAAKCgAJCQEAAAkKAQAACQsBAAAAAAAAAAAAAAAAAAAAAAAAAAAJDAEAAAkBAAAACQEAAAAJDQEAAAH1AAAA9AAAAAkBAAAAAQ4BAAATAAAAAAAAAAMAAAD/////CQcAAAAJDwEAAAYQAQAAB05ldXRyYWwKCgAAAAAAAAAAAAAAAAoKAAkRAQAACRIBAAAJEwEAAAAAAAAAAQAAAAAAAAAAAAAAAAkUAQAACQEAAAAJAQAAAAkVAQAAAfYAAAD0AAAACQEAAAABFgEAABMAAAAAAAAABAAAAP////8JBwAAAAkXAQAABhgBAAAIRGlzYWdyZWUKCgAAAAAAAAAAAAAAAAoKAAkZAQAACRoBAAAJGwEAAAAAAAAAAgAAAAAAAAAAAAAAAAkcAQAACQEAAAAJAQAAAAkdAQAABfcA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GHgEAAAVUb3RhbAAFHwEAAB5BcGxvcmlzLkNoYXJ0LkNoYXJ0R3JvdXBBbmNob3IBAAAAB3ZhbHVlX18ACAIAAAAAAAAACgAAAAABAAAAAQAAAAkgAQAACSEBAAAJIgEAAAoJBwAAAAkjAQAACQEAAAAJAQAAAAkkAQAAAfgAAAD3AAAACQEAAAAGJQEAAAlJbnRlbnNpdmUAASYBAAAfAQAAAAAAAAoAAAAAAQAAAAEAAAAJJwEAAAkoAQAACSkBAAAKCQcAAAAJKgEAAAkBAAAACQEAAAAJKwEAAAH5AAAA9wAAAAkBAAAABiwBAAAITW9kZXJhdGUAAS0BAAAfAQAAAAAAAAoAAAAAAQAAAAEAAAAJLgEAAAkvAQAACTABAAAKCQcAAAAJMQEAAAkBAAAACQEAAAAJMgEAAAH6AAAA9wAAAAkBAAAABjMBAAAHTGltaXRlZAABNAEAAB8BAAAAAAAACgAAAAABAAAAAQAAAAk1AQAACTYBAAAJNwEAAAoJBwAAAAk4AQAACQEAAAAJAQAAAAk5AQAABfsAAAAWQXBsb3Jpcy5DaGFydC5UaWNrTWFyaw0AAAALbVZpc3VhbExpbmUJbUdyaWRMaW5lBm1MYWJlbAVtQXhpcwhtVmlzaWJsZQltUG9zaXRpb24LbVN0YXJ0UG9pbnQJbUVuZFBvaW50DG1IYXNHcmlkTGluZRhEYXRhT2JqZWN0K21DaGlsZE9iamVjdHMSRGF0YU9iamVjdCttUGFyZW50FURhdGFPYmplY3QrbUNvbnRhaW5lchlEYXRhT2JqZWN0K21WaXN1YWxPYmplY3RzBAQEBAAABAQAAwQEAxpBcGxvcmlzLkJhc2UuVUkuVmlzdWFsTGluZQMAAAAaQXBsb3Jpcy5CYXNlLlVJLlZpc3VhbExpbmUDAAAAFUFwbG9yaXMuQmFzZS5VSS5MYWJlbAMAAAASQXBsb3Jpcy5DaGFydC5BeGlzAgAAAAEGFVN5c3RlbS5EcmF3aW5nLlBvaW50RgQAAAAVU3lzdGVtLkRyYXdpbmcuUG9pbnRG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6AQAACgk7AQAACQcAAAABAAAAAAAAAAABPAEAACAAAABBqC5C2geOQwE9AQAAIAAAAEGoHkLaB45DAAk+AQAACQcAAAAJAQAAAAk/AQAAAfwAAAD7AAAACUABAAAKCUEBAAAJBwAAAAGamZmZmZm5PwFCAQAAIAAAAEGoLkI6m4BDAUMBAAAgAAAAQageQjqbgEMACUQBAAAJBwAAAAkBAAAACUUBAAAB/QAAAPsAAAAJRgEAAAoJRwEAAAkHAAAAAZqZmZmZmck/AUgBAAAgAAAAQaguQjRdZkMBSQEAACAAAABBqB5CNF1mQwAJSgEAAAkHAAAACQEAAAAJSwEAAAH+AAAA+wAAAAlMAQAACglNAQAACQcAAAABMzMzMzMz0z8BTgEAACAAAABBqC5C9YNLQwFPAQAAIAAAAEGoHkL1g0tDAAlQAQAACQcAAAAJAQAAAAlRAQAAAf8AAAD7AAAACVIBAAAKCVMBAAAJBwAAAAGamZmZmZnZPwFUAQAAIAAAAEGoLkK1qjBDAVUBAAAgAAAAQageQrWqMEMACVYBAAAJBwAAAAkBAAAACVcBAAABAAEAAPsAAAAJWAEAAAoJWQEAAAkHAAAAAQAAAAAAAOA/AVoBAAAgAAAAQaguQnXRFUMBWwEAACAAAABBqB5CddEVQwAJXAEAAAkHAAAACQEAAAAJXQEAAAEBAQAA+wAAAAleAQAACglfAQAACQcAAAABMzMzMzMz4z8BYAEAACAAAABBqC5CavD1QgFhAQAAIAAAAEGoHkJq8PVCAAliAQAACQcAAAAJAQAAAAljAQAAAQIBAAD7AAAACWQBAAAKCWUBAAAJBwAAAAFmZmZmZmbmPwFmAQAAIAAAAEGoLkLrPcBCAWcBAAAgAAAAQageQus9wEIACWgBAAAJBwAAAAkBAAAACWkBAAABAwEAAPsAAAAJagEAAAoJawEAAAkHAAAAAZqZmZmZmek/AWwBAAAgAAAAQaguQmuLikIBbQEAACAAAABBqB5Ca4uKQgAJbgEAAAkHAAAACQEAAAAJbwEAAAEEAQAA+wAAAAlwAQAACglxAQAACQcAAAABzczMzMzM7D8BcgEAACAAAABBqC5C17EpQgFzAQAAIAAAAEGoHkLXsSlCAAl0AQAACQcAAAAJAQAAAAl1AQAAAQUBAAD7AAAACXYBAAAKCXcBAAAJBwAAAAEAAAAAAADwPwF4AQAAIAAAAEGoLkJeM3lBAXkBAAAgAAAAQageQl4zeUEACXoBAAAJBwAAAAkBAAAACXsBAAAFBwEAAKIBQXBsb3Jpcy5CYXNlLk9iamVjdHMuRGF0YU9iamVjdENvbGxlY3Rpb25gMVtbQXBsb3Jpcy5DaGFydC5DaGFydERhdGF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C4wLjE0ODYsIEN1bHR1cmU9bmV1dHJhbCwgUHVibGljS2V5VG9rZW49MTZmYzEzYTIyNmMwZTk1MV1dAwAAAJgBU3lzdGVtLkNvbGxlY3Rpb25zLkdlbmVyaWMuTGlzdGAxW1tBcGxvcmlzLkNoYXJ0LkNoYXJ0RGF0YU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fAEAAAl9AQAACfQAAAAJAQAAAAl+AQAABQkBAAAcQXBsb3Jpcy5DaGFydC5Db25uZWN0ZWRMYWJlbCQAAAAObUNvbm5lY3RvckxpbmUQbVpPcmRlckNvbm5lY3Rvcg5tQ29ubmVjdG9yTW9kZRltQW5nbGVkQ29ubmVjdG9yRGlyZWN0aW9uEG1Db25uZWN0b3JUYXJnZXQZbUNvbm5lY3RvclRhcmdldEFyZWFTaGFwZRptQ29ubmVjdG9yRGlzcGxheVRocmVzaG9sZBNtQ29ubmVjdEFuY2hvclBvaW5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QEAAAABAAE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gAAAApYAgAABX8BAAArQXBsb3Jpcy5DaGFydC5Db25uZWN0ZWRMYWJlbCtlQ29ubmVjdG9yTW9kZQEAAAAHdmFsdWVfXwAIAgAAAAEAAAAFgAEAADZBcGxvcmlzLkNoYXJ0LkNvbm5lY3RlZExhYmVsK2VBbmdsZWRDb25uZWN0b3JEaXJlY3Rpb24BAAAAB3ZhbHVlX18ACAIAAAAAAAAAAYEBAAAUAAAAxcoARFwPg0MguqtC4IeXQQWCAQAALUFwbG9yaXMuQ2hhcnQuQ29ubmVjdGVkTGFiZWwrZVRhcmdldEFyZWFTaGFwZQEAAAAHdmFsdWVfXwAIAgAAAAAAAAAAABBBAQGDAQAAIAAAAAlCGESby4dDAYQBAACaAAAABAAAAAAAAAAAAAAAAAmFAQAAAAAAAAmGAQAAAAABhwEAAKMAAAAAAAAAAYgBAABsAAAAAAAMQgAAYEEBiQEAABQAAAAAAAAAAAAAAAAAAAAAAAAAXrrZPwkIAQAACgmKAQAABosBAAAAIAMAAP////8AAQoJjAEAAAEACgEHCgEAAAABAAAAAgAAAAQVU3lzdGVtLkRyYXdpbmcuUG9pbnRGBAAAAAGNAQAAIAAAAAlCGESby4dDAY4BAAAgAAAAQagaQvJigEMHCwEAAAABAAAAAgAAAAQXQXBsb3Jpcy5CYXNlLkFuY2hvck1vZGUDAAAAAY8BAACaAAAABAAAAAGQAQAAmgAAAAIAAAABDAEAACQAAAAJkQEAAAEAAAABAAAAAQ0BAAAlAAAACZIBAAABAAAAAQAAAAEPAQAABwEAAAoJkwEAAAmUAQAACfUAAAAJAQAAAAmVAQAAAREBAAAJAQAAClgCAAABlgEAAH8BAAABAAAAAZcBAACAAQAAAAAAAAGYAQAAFAAAAMXKAETI4ONCILqrQlQuDkMBmQEAAIIBAAAAAAAAAAAQQQEBmgEAACAAAAAJQhhEjgc5QwGbAQAAmgAAAAQAAAAAAAAAAAAAAAAJnAEAAAAAAAAJnQEAAAAAAZ4BAACjAAAAAAAAAAGfAQAAbAAAAAAAKEIAAGBBAaABAAAUAAAAAAAAAAAAAAAAAAAAAAAAAF662T8JEAEAAAoJoQEAAAmLAQAAIAMAAP////8AAQoJogEAAAEACgEHEgEAAAABAAAAAgAAAAQVU3lzdGVtLkRyYXdpbmcuUG9pbnRGBAAAAAGjAQAAIAAAAAlCGESOBzlDAaQBAAAgAAAAQagaQtZyHUMHEwEAAAABAAAAAgAAAAQXQXBsb3Jpcy5CYXNlLkFuY2hvck1vZGUDAAAAAaUBAACaAAAABAAAAAGmAQAAmgAAAAIAAAABFAEAACQAAAAJpwEAAAEAAAABAAAAARUBAAAlAAAACagBAAABAAAAAQAAAAEXAQAABwEAAAoJqQEAAAmqAQAACfYAAAAJAQAAAAmrAQAAARkBAAAJAQAAClgCAAABrAEAAH8BAAABAAAAAa0BAACAAQAAAAAAAAGuAQAAFAAAAMXKAESvmZRBILqrQly6skIBrwEAAIIBAAAAAAAAAAAQQQEBsAEAACAAAAAJQhhENAd9QgGxAQAAmgAAAAQAAAAAAAAAAAAAAAAJsgEAAAAAAAAJswEAAAAAAbQBAACjAAAAAAAAAAG1AQAAbAAAAAAAUEIAAGBBAbYBAAAUAAAAAAAAAAAAAAAAAAAAAAAAAF662T8JGAEAAAoJtwEAAAmLAQAAIAMAAP////8AAQoJuAEAAAEACgEHGgEAAAABAAAAAgAAAAQVU3lzdGVtLkRyYXdpbmcuUG9pbnRGBAAAAAG5AQAAIAAAAAlCGEQ0B31CAboBAAAgAAAAQagaQqL5SUIHGwEAAAABAAAAAgAAAAQXQXBsb3Jpcy5CYXNlLkFuY2hvck1vZGUDAAAAAbsBAACaAAAABAAAAAG8AQAAmgAAAAIAAAABHAEAACQAAAAJvQEAAAEAAAABAAAAAR0BAAAlAAAACb4BAAABAAAAAQAAAA8gAQAAAQAAAAgAAAAAByEBAAAAAQAAAAEAAAAEFUFwbG9yaXMuQmFzZS5VSS5MYWJlbAMAAAAJvwEAAAEiAQAAMwAAAAHAAQAAIAAAAGxP6kLah5BDAcEBAACaAAAAAwAAAAAAAAAAAAAAAAnCAQAAAAAAAAnDAQAAAAABxAEAAKMAAAAAAAAAAcUBAABsAAAAAADIQQAAQEEBxgEAABQAAABGF9FCo4uQQ9ehzUGjiy5BEoO+PwkeAQAACgnHAQAACYsBAAAgAwAA/////wEBCgnIAQAAAQAKAAEjAQAAJAAAAAnTAAAAAAAAAAAAAAABJAEAACUAAAAJyQEAAAIAAAAMAAAADycBAAABAAAACAAAAAAHKAEAAAABAAAAAQAAAAQVQXBsb3Jpcy5CYXNlLlVJLkxhYmVsAwAAAAnKAQAAASkBAAAzAAAAAcsBAAAgAAAAgRGEQ9qHkEMBzAEAAJoAAAADAAAAAAAAAAAAAAAACc0BAAAAAAAACc4BAAAAAAHPAQAAowAAAAAAAAAB0AEAAGwAAAAAADhCAABAQQHRAQAAFAAAAHTRcUOji5BDAi4zQqOLLkESg74/CSUBAAAKCdIBAAAJiwEAACADAAD/////AQEKCdMBAAABAAoAASoBAAAkAAAACdQBAAAAAAAAAAAAAAErAQAAJQAAAAnVAQAAAgAAAAQAAAAPLgEAAAEAAAAIAAAAAAcvAQAAAAEAAAABAAAABBVBcGxvcmlzLkJhc2UuVUkuTGFiZWwDAAAACdYBAAABMAEAADMAAAAB1wEAACAAAAAnj81D2oeQQwHYAQAAmgAAAAMAAAAAAAAAAAAAAAAJ2QEAAAAAAAAJ2gEAAAAAAdsBAACjAAAAAAAAAAHcAQAAbAAAAAAAQEIAAEBBAd0BAAAUAAAARhfCQ6OLkEPUczpCo4suQRKDvj8JLAEAAAoJ3gEAAAmLAQAAIAMAAP////8BAQoJ3wEAAAEACgABMQEAACQAAAAJ4AEAAAAAAAAAAAAAATIBAAAlAAAACeEBAAACAAAABAAAAA81AQAAAQAAAAgAAAAABzYBAAAAAQAAAAEAAAAEFUFwbG9yaXMuQmFzZS5VSS5MYWJlbAMAAAAJ4gEAAAE3AQAAMwAAAAHjAQAAIAAAAGeGC0Tah5BDAeQBAACaAAAAAwAAAAAAAAAAAAAAAAnlAQAAAAAAAAnmAQAAAAAB5wEAAKMAAAAAAAAAAegBAABsAAAAAAAUQgAAQEEB6QEAABQAAAAAAAdEo4uQQ9RzEkKjiy5BEoO+PwkzAQAACgnqAQAACYsBAAAgAwAA/////wEBCgnrAQAAAQAKAAE4AQAAJAAAAAnsAQAAAAAAAAAAAAABOQEAACUAAAAJ7QEAAAIAAAACAAAAAToBAAAvAAAAAe4BAAAgAAAAQaguQtoHjkMB7wEAACAAAABBqB5C2geOQwnwAQAAzAEAAP////8BAQoJ8QEAAAEACgABOwEAADMAAAAB8gEAACAAAABBqBhC2geOQwHzAQAAmgAAAAIAAAAAAAAAAAAAAAAJ9AEAAAAAAAAJ9QEAAAAAAfYBAACjAAAAAAAAAAH3AQAAbAAAAAAAgEEAAEBBAfgBAAAUAAAAo4uuQUYXi0N6LYxBo4suQRKDvj8G+QEAAAIwJQoJ+gEAAAmLAQAA0AIAAP////8BAQoJ+wEAAAEACgABPgEAACQAAAAJ0wAAAAAAAAAAAAAAAT8BAAAlAAAACfwBAAACAAAAAgAAAAFAAQAALwAAAAH9AQAAIAAAAEGoLkI6m4BDAf4BAAAgAAAAQageQjqbgEMJ/wEAAMwBAAD/////AQEKCQACAAABAAoAAUEBAAAzAAAAAQECAAAgAAAAQagYQjqbgEMBAgIAAJoAAAACAAAAAAAAAAAAAAAACQMCAAAAAAAACQQCAAAAAAEFAgAAowAAAAAAAAABBgIAAGwAAAAAALhBAABAQQEHAgAAFAAAANFFd0F00XtDNBa/QaOLLkESg74/BggCAAADMTAlCgkJAgAACYsBAADQAgAA/////wEBCgkKAgAAAQAKAAFEAQAAJAAAAAnTAAAAAAAAAAAAAAABRQEAACUAAAAJCwIAAAIAAAACAAAAAUYBAAAvAAAAAQwCAAAgAAAAQaguQjRdZkMBDQIAACAAAABBqB5CNF1mQwkOAgAAzAEAAP////8BAQoJDwIAAAEACgABRwEAADMAAAABEAIAACAAAABBqBhCNF1mQwERAgAAmgAAAAIAAAAAAAAAAAAAAAAJEgIAAAAAAAAJEwIAAAAAARQCAACjAAAAAAAAAAEVAgAAbAAAAAAAuEEAAEBBARYCAAAUAAAA0UV3QaOLYEM0Fr9Bo4suQRKDvj8GFwIAAAMyMCUKCRgCAAAJiwEAANACAAD/////AQEKCRkCAAABAAoAAUoBAAAkAAAACdMAAAAAAAAAAAAAAAFLAQAAJQAAAAkaAgAAAgAAAAIAAAABTAEAAC8AAAABGwIAACAAAABBqC5C9YNLQwEcAgAAIAAAAEGoHkL1g0tDCR0CAADMAQAA/////wEBCgkeAgAAAQAKAAFNAQAAMwAAAAEfAgAAIAAAAEGoGEL1g0tDASACAACaAAAAAgAAAAAAAAAAAAAAAAkhAgAAAAAAAAkiAgAAAAABIwIAAKMAAAAAAAAAASQCAABsAAAAAAC4QQAAQEEBJQIAABQAAADRRXdBiy5GQzQWv0Gjiy5BEoO+PwYmAgAAAzMwJQoJJwIAAAmLAQAA0AIAAP////8BAQoJKAIAAAEACgABUAEAACQAAAAJ0wAAAAAAAAAAAAAAAVEBAAAlAAAACSkCAAACAAAAAgAAAAFSAQAALwAAAAEqAgAAIAAAAEGoLkK1qjBDASsCAAAgAAAAQageQrWqMEMJLAIAAMwBAAD/////AQEKCS0CAAABAAoAAVMBAAAzAAAAAS4CAAAgAAAAQagYQrWqMEMBLwIAAJoAAAACAAAAAAAAAAAAAAAACTACAAAAAAAACTECAAAAAAEyAgAAowAAAAAAAAABMwIAAGwAAAAAALhBAABAQQE0AgAAFAAAANFFd0G66CpDNBa/QaOLLkESg74/BjUCAAADNDAlCgk2AgAACYsBAADQAgAA/////wEBCgk3AgAAAQAKAAFWAQAAJAAAAAnTAAAAAAAAAAAAAAABVwEAACUAAAAJOAIAAAIAAAACAAAAAVgBAAAvAAAAATkCAAAgAAAAQaguQnXRFUMBOgIAACAAAABBqB5CddEVQwk7AgAAzAEAAP////8BAQoJPAIAAAEACgABWQEAADMAAAABPQIAACAAAABBqBhCddEVQwE+AgAAmgAAAAIAAAAAAAAAAAAAAAAJPwIAAAAAAAAJQAIAAAAAAUECAACjAAAAAAAAAAFCAgAAbAAAAAAAuEEAAEBBAUMCAAAUAAAA0UV3QaOLEEM0Fr9Bo4suQRKDvj8GRAIAAAM1MCUKCUUCAAAJiwEAANACAAD/////AQEKCUYCAAABAAoAAVwBAAAkAAAACdMAAAAAAAAAAAAAAAFdAQAAJQAAAAlHAgAAAgAAAAIAAAABXgEAAC8AAAABSAIAACAAAABBqC5CavD1QgFJAgAAIAAAAEGoHkJq8PVCCUoCAADMAQAA/////wEBCglLAgAAAQAKAAFfAQAAMwAAAAFMAgAAIAAAAEGoGEJq8PVCAU0CAACaAAAAAgAAAAAAAAAAAAAAAAlOAgAAAAAAAAlPAgAAAAABUAIAAKMAAAAAAAAAAVECAABsAAAAAAC4QQAAQEEBUgIAABQAAADRRXdBo4vqQjQWv0Gjiy5BEoO+PwZTAgAAAzYwJQoJVAIAAAmLAQAA0AIAAP////8BAQoJVQIAAAEACgABYgEAACQAAAAJ0wAAAAAAAAAAAAAAAWMBAAAlAAAACVYCAAACAAAAAgAAAAFkAQAALwAAAAFXAgAAIAAAAEGoLkLrPcBCAVgCAAAgAAAAQageQus9wEIJWQIAAMwBAAD/////AQEKCVoCAAABAAoAAWUBAAAzAAAAAVsCAAAgAAAAQagYQus9wEIBXAIAAJoAAAACAAAAAAAAAAAAAAAACV0CAAAAAAAACV4CAAAAAAFfAgAAowAAAAAAAAABYAIAAGwAAAAAALhBAABAQQFhAgAAFAAAANFFd0F00bVCNBa/QaOLLkESg74/BmICAAADNzAlCgljAgAACYsBAADQAgAA/////wEBCglkAgAAAQAKAAFoAQAAJAAAAAnTAAAAAAAAAAAAAAABaQEAACUAAAAJZQIAAAIAAAACAAAAAWoBAAAvAAAAAWYCAAAgAAAAQaguQmuLikIBZwIAACAAAABBqB5Ca4uKQgloAgAAzAEAAP////8BAQoJaQIAAAEACgABawEAADMAAAABagIAACAAAABBqBhCa4uKQgFrAgAAmgAAAAIAAAAAAAAAAAAAAAAJbAIAAAAAAAAJbQIAAAAAAW4CAACjAAAAAAAAAAFvAgAAbAAAAAAAuEEAAEBBAXACAAAUAAAA0UV3QaOLfkI0Fr9Bo4suQRKDvj8GcQIAAAM4MCUKCXICAAAJiwEAANACAAD/////AQEKCXMCAAABAAoAAW4BAAAkAAAACdMAAAAAAAAAAAAAAAFvAQAAJQAAAAl0AgAAAgAAAAIAAAABcAEAAC8AAAABdQIAACAAAABBqC5C17EpQgF2AgAAIAAAAEGoHkLXsSlCCXcCAADMAQAA/////wEBCgl4AgAAAQAKAAFxAQAAMwAAAAF5AgAAIAAAAEGoGELXsSlCAXoCAACaAAAAAgAAAAAAAAAAAAAAAAl7AgAAAAAAAAl8AgAAAAABfQIAAKMAAAAAAAAAAX4CAABsAAAAAAC4QQAAQEEBfwIAABQAAADRRXdBRhcVQjQWv0Gjiy5BEoO+PwaAAgAAAzkwJQoJgQIAAAmLAQAA0AIAAP////8BAQoJggIAAAEACgABdAEAACQAAAAJ0wAAAAAAAAAAAAAAAXUBAAAlAAAACYMCAAACAAAAAgAAAAF2AQAALwAAAAGEAgAAIAAAAEGoLkJeM3lBAYUCAAAgAAAAQageQl4zeUEJhgIAAMwBAAD/////AQEKCYcCAAABAAoAAXcBAAAzAAAAAYgCAAAgAAAAQagYQl4zeUEBiQIAAJoAAAACAAAAAAAAAAAAAAAACYoCAAAAAAAACYsCAAAAAAGMAgAAowAAAAAAAAABjQIAAGwAAAAAAOhBAABAQQGOAgAAFAAAAAAAIEEAACBBHLnqQaOLLkESg74/Bo8CAAAEMTAwJQoJkAIAAAmLAQAA0AIAAP////8BAQoJkQIAAAEACgABegEAACQAAAAJ0wAAAAAAAAAAAAAAAXsBAAAlAAAACZICAAACAAAAAgAAAAR8AQAAmAFTeXN0ZW0uQ29sbGVjdGlvbnMuR2VuZXJpYy5MaXN0YDFbW0FwbG9yaXMuQ2hhcnQuQ2hhcnREYXRhRWxlbWVudCwgQXBsb3Jpcy5DaGFydCwgVmVyc2lvbj00LjAuMC4xNDg2LCBDdWx0dXJlPW5ldXRyYWwsIFB1YmxpY0tleVRva2VuPTE2ZmMxM2EyMjZjMGU5NTFdXQMAAAAGX2l0ZW1zBV9zaXplCF92ZXJzaW9uBAAAIEFwbG9yaXMuQ2hhcnQuQ2hhcnREYXRhRWxlbWVudFtdAgAAAAgICZMCAAAEAAAAEAAAAAF9AQAAJAAAAAmUAgAABAAAABAAAAABfgEAACUAAAAJlQIAAAAAAAAAAAAABYU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n0AAAACgAAAAAAQEEJcAAAAAlxAAAACZYCAAABAAmXAgAAAYYBAAByAAAACgoAAAAA////AA4AAAAAAQGKAQAApwAAAAmYAgAAAQAAAAEAAAABjAEAAG8AAAAJmQIAAAoHkQEAAAABAAAABAAAAAQfQXBsb3Jpcy5CYXNlLk9iamVjdHMuRGF0YU9iamVjdAMAAAAJBwEAAA0DB5IBAAAAAQAAAAQAAAAEHEFwbG9yaXMuQmFzZS5VSS5WaXN1YWxPYmplY3QDAAAACQkBAAANAwGTAQAAfAEAAAmaAgAABAAAABAAAAABlAEAACQAAAAJmwIAAAQAAAAQAAAAAZUBAAAlAAAACZwCAAAAAAAAAAAAAAWc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9QAAAAoAAAAAAEBBCXAAAAAJcQAAAAmdAgAAAQAJngIAAAGdAQAAcgAAAAoKAAAAAP///wAOAAAAAAEBoQEAAKcAAAAJnwIAAAEAAAABAAAAAaIBAABvAAAACaACAAAKB6cBAAAAAQAAAAQAAAAEH0FwbG9yaXMuQmFzZS5PYmplY3RzLkRhdGFPYmplY3QDAAAACQ8BAAANAweoAQAAAAEAAAAEAAAABBxBcGxvcmlzLkJhc2UuVUkuVmlzdWFsT2JqZWN0AwAAAAkRAQAADQMBqQEAAHwBAAAJoQIAAAQAAAAQAAAAAaoBAAAkAAAACaICAAAEAAAAEAAAAAGrAQAAJQAAAAmcAgAAAAAAAAAAAAAFs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fYAAAAKAAAAAABAQQlwAAAACXEAAAAJowIAAAEACaQCAAABswEAAHIAAAAKCgAAAAD///8ADgAAAAABAbcBAACnAAAACaUCAAABAAAAAQAAAAG4AQAAbwAAAAmmAgAACge9AQAAAAEAAAAEAAAABB9BcGxvcmlzLkJhc2UuT2JqZWN0cy5EYXRhT2JqZWN0AwAAAAkXAQAADQMHvgEAAAABAAAABAAAAAQcQXBsb3Jpcy5CYXNlLlVJLlZpc3VhbE9iamVjdAMAAAAJGQEAAA0DAb8BAAAzAAAAAacCAAAgAAAAbE/qQl4zSUEBqAIAAJoAAAABAAAAAAAAAAAAAAAACakCAAAAAAAACaoCAAAAAAGrAgAAowAAAAAAAAABrAIAAGwAAAAAABxCAABAQQGtAgAAFAAAAAAAAAAAAAAAAAAAAAAAAAASg74/Bq4CAAAGMTAwLjAlCgmvAgAACYsBAAA0AwAA/////wABCgmwAgAAAQAKAAHCAQAAIgAAAAoKAAAAAAAoQQlwAAAACXEAAAAJsQIAAAAACbICAAABwwEAAHIAAAAKCgAAAAD///8ADgAAAAABAccBAACnAAAACbMCAAABAAAAAQAAAAHIAQAAbwAAAAm0AgAACgfJAQAAAAEAAAAEAAAABBxBcGxvcmlzLkJhc2UuVUkuVmlzdWFsT2JqZWN0AwAAAAkiAQAACb8BAAAKCgHKAQAAMwAAAAG1AgAAIAAAAIERhENeM0lBAbYCAACaAAAAAQAAAAAAAAAAAAAAAAm3AgAAAAAAAAm4AgAAAAABuQIAAKMAAAAAAAAAAboCAABsAAAAAAAcQgAAQEEBuwIAABQAAAAAAAAAAAAAAAAAAAAAAAAAEoO+Pwa8AgAABjEwMC4wJQoJvQIAAAmLAQAANAMAAP////8AAQoJvgIAAAEACgABzQEAACIAAAAKCgAAAAAAKEEJcAAAAAlxAAAACb8CAAAAAAnAAgAAAc4BAAByAAAACgoAAAAA////AA4AAAAAAQHSAQAApwAAAAnBAgAAAQAAAAEAAAAB0wEAAG8AAAAJwgIAAAoH1AEAAAABAAAAAAAAAAQfQXBsb3Jpcy5CYXNlLk9iamVjdHMuRGF0YU9iamVjdAMAAAAH1QEAAAABAAAABAAAAAQcQXBsb3Jpcy5CYXNlLlVJLlZpc3VhbE9iamVjdAMAAAAJKQEAAAnKAQAACgoB1gEAADMAAAABwwIAACAAAAAnj81DXjNJQQHEAgAAmgAAAAEAAAAAAAAAAAAAAAAJxQIAAAAAAAAJxgIAAAAAAccCAACjAAAAAAAAAAHIAgAAbAAAAAAAHEIAAEBBAckCAAAUAAAAAAAAAAAAAAAAAAAAAAAAABKDvj8GygIAAAYxMDAuMCUKCcsCAAAJiwEAADQDAAD/////AAEKCcwCAAABAAoAAdkBAAAiAAAACgoAAAAAAChBCXAAAAAJcQAAAAnNAgAAAAAJzgIAAAHaAQAAcgAAAAoKAAAAAP///wAOAAAAAAEB3gEAAKcAAAAJzwIAAAEAAAABAAAAAd8BAABvAAAACdACAAAKB+ABAAAAAQAAAAAAAAAEH0FwbG9yaXMuQmFzZS5PYmplY3RzLkRhdGFPYmplY3QDAAAAB+EBAAAAAQAAAAQAAAAEHEFwbG9yaXMuQmFzZS5VSS5WaXN1YWxPYmplY3QDAAAACTABAAAJ1gEAAAoKAeIBAAAzAAAAAdECAAAgAAAAZ4YLRF4zSUEB0gIAAJoAAAABAAAAAAAAAAAAAAAACdMCAAAAAAAACdQCAAAAAAHVAgAAowAAAAAAAAAB1gIAAGwAAAAAAAAAAAAAAAHXAgAAFAAAAAAAAAAAAAAAAAAAAAAAAAAAAAAABtgCAAAGMTAwLjAlCgnZAgAACYsBAAA0AwAA/////wABCgnaAgAAAQAKAAHlAQAAIgAAAAoKAAAAAAAoQQlwAAAACXEAAAAJ2wIAAAAACdwCAAAB5gEAAHIAAAAKCgAAAAD///8ADgAAAAABAeoBAACnAAAACd0CAAABAAAAAQAAAAHrAQAAbwAAAAneAgAACgfsAQAAAAEAAAAAAAAABB9BcGxvcmlzLkJhc2UuT2JqZWN0cy5EYXRhT2JqZWN0AwAAAAftAQAAAAEAAAAEAAAABBxBcGxvcmlzLkJhc2UuVUkuVmlzdWFsT2JqZWN0AwAAAAk3AQAACeIBAAAKCgHwAQAAagAAAAoKAAAAQD8J3wIAAAngAgAAAQAAAP7///8AAAAAAQAAAAAAAAAAAAAAAQAAAAAAAAAAAAAB8QEAAG8AAAAJ4QIAAAoB9AEAACIAAAAKCgAAAAAAKEEJcAAAAAlxAAAACeICAAAAAAnjAgAAAfUBAAByAAAACgoAAAAA////AA4AAAAAAQH6AQAApwAAAAnkAgAAAQAAAAEAAAAB+wEAAG8AAAAJ5QIAAAoH/AEAAAABAAAABAAAAAQcQXBsb3Jpcy5CYXNlLlVJLlZpc3VhbE9iamVjdAMAAAAJOgEAAAk7AQAACgoB/wEAAGoAAAAKCgAAAEA/CeYCAAAJ5wIAAAEAAAD+////AAAAAAEAAAAAAAAAAAAAAAEAAAAAAAAAAAAAAQACAABvAAAACegCAAAKAQMCAAAiAAAACgoAAAAAAChBCXAAAAAJcQAAAAnpAgAAAAAJ6gIAAAEEAgAAcgAAAAoKAAAAAP///wAOAAAAAAEBCQIAAKcAAAAJ6wIAAAEAAAADAAAAAQoCAABvAAAACewCAAAKBwsCAAAAAQAAAAQAAAAEHEFwbG9yaXMuQmFzZS5VSS5WaXN1YWxPYmplY3QDAAAACUABAAAJQQEAAAoKAQ4CAABqAAAACgoAAABAPwntAgAACe4CAAABAAAA/v///wAAAAABAAAAAAAAAAAAAAABAAAAAAAAAAAAAAEPAgAAbwAAAAnvAgAACgESAgAAIgAAAAoKAAAAAAAoQQlwAAAACXEAAAAJ8AIAAAAACfECAAABEwIAAHIAAAAKCgAAAAD///8ADgAAAAABARgCAACnAAAACfICAAABAAAAAwAAAAEZAgAAbwAAAAnzAgAACgcaAgAAAAEAAAAEAAAABBxBcGxvcmlzLkJhc2UuVUkuVmlzdWFsT2JqZWN0AwAAAAlGAQAACUcBAAAKCgEdAgAAagAAAAoKAAAAQD8J9AIAAAn1AgAAAQAAAP7///8AAAAAAQAAAAAAAAAAAAAAAQAAAAAAAAAAAAABHgIAAG8AAAAJ9gIAAAoBIQIAACIAAAAKCgAAAAAAKEEJcAAAAAlxAAAACfcCAAAAAAn4AgAAASICAAByAAAACgoAAAAA////AA4AAAAAAQEnAgAApwAAAAn5AgAAAQAAAAMAAAABKAIAAG8AAAAJ+gIAAAoHKQIAAAABAAAABAAAAAQcQXBsb3Jpcy5CYXNlLlVJLlZpc3VhbE9iamVjdAMAAAAJTAEAAAlNAQAACgoBLAIAAGoAAAAKCgAAAEA/CfsCAAAJ/AIAAAEAAAD+////AAAAAAEAAAAAAAAAAAAAAAEAAAAAAAAAAAAAAS0CAABvAAAACf0CAAAKATACAAAiAAAACgoAAAAAAChBCXAAAAAJcQAAAAn+AgAAAAAJ/wIAAAExAgAAcgAAAAoKAAAAAP///wAOAAAAAAEBNgIAAKcAAAAJAAMAAAEAAAADAAAAATcCAABvAAAACQEDAAAKBzgCAAAAAQAAAAQAAAAEHEFwbG9yaXMuQmFzZS5VSS5WaXN1YWxPYmplY3QDAAAACVIBAAAJUwEAAAoKATsCAABqAAAACgoAAABAPwkCAwAACQMDAAABAAAA/v///wAAAAABAAAAAAAAAAAAAAABAAAAAAAAAAAAAAE8AgAAbwAAAAkEAwAACgE/AgAAIgAAAAoKAAAAAAAoQQlwAAAACXEAAAAJBQMAAAAACQYDAAABQAIAAHIAAAAKCgAAAAD///8ADgAAAAABAUUCAACnAAAACQcDAAABAAAAAwAAAAFGAgAAbwAAAAkIAwAACgdHAgAAAAEAAAAEAAAABBxBcGxvcmlzLkJhc2UuVUkuVmlzdWFsT2JqZWN0AwAAAAlYAQAACVkBAAAKCgFKAgAAagAAAAoKAAAAQD8JCQMAAAkKAwAAAQAAAP7///8AAAAAAQAAAAAAAAAAAAAAAQAAAAAAAAAAAAABSwIAAG8AAAAJCwMAAAoBTgIAACIAAAAKCgAAAAAAKEEJcAAAAAlxAAAACQwDAAAAAAkNAwAAAU8CAAByAAAACgoAAAAA////AA4AAAAAAQFUAgAApwAAAAkOAwAAAQAAAAMAAAABVQIAAG8AAAAJDwMAAAoHVgIAAAABAAAABAAAAAQcQXBsb3Jpcy5CYXNlLlVJLlZpc3VhbE9iamVjdAMAAAAJXgEAAAlfAQAACgoBWQIAAGoAAAAKCgAAAEA/CRADAAAJEQMAAAEAAAD+////AAAAAAEAAAAAAAAAAAAAAAEAAAAAAAAAAAAAAVoCAABvAAAACRIDAAAKAV0CAAAiAAAACgoAAAAAAChBCXAAAAAJcQAAAAkTAwAAAAAJFAMAAAFeAgAAcgAAAAoKAAAAAP///wAOAAAAAAEBYwIAAKcAAAAJFQMAAAEAAAADAAAAAWQCAABvAAAACRYDAAAKB2UCAAAAAQAAAAQAAAAEHEFwbG9yaXMuQmFzZS5VSS5WaXN1YWxPYmplY3QDAAAACWQBAAAJZQEAAAoKAWgCAABqAAAACgoAAABAPwkXAwAACRgDAAABAAAA/v///wAAAAABAAAAAAAAAAAAAAABAAAAAAAAAAAAAAFpAgAAbwAAAAkZAwAACgFsAgAAIgAAAAoKAAAAAAAoQQlwAAAACXEAAAAJGgMAAAAACRsDAAABbQIAAHIAAAAKCgAAAAD///8ADgAAAAABAXICAACnAAAACRwDAAABAAAAAwAAAAFzAgAAbwAAAAkdAwAACgd0AgAAAAEAAAAEAAAABBxBcGxvcmlzLkJhc2UuVUkuVmlzdWFsT2JqZWN0AwAAAAlqAQAACWsBAAAKCgF3AgAAagAAAAoKAAAAQD8JHgMAAAkfAwAAAQAAAP7///8AAAAAAQAAAAAAAAAAAAAAAQAAAAAAAAAAAAABeAIAAG8AAAAJIAMAAAoBewIAACIAAAAKCgAAAAAAKEEJcAAAAAlxAAAACSEDAAAAAAkiAwAAAXwCAAByAAAACgoAAAAA////AA4AAAAAAQGBAgAApwAAAAkjAwAAAQAAAAMAAAABggIAAG8AAAAJJAMAAAoHgwIAAAABAAAABAAAAAQcQXBsb3Jpcy5CYXNlLlVJLlZpc3VhbE9iamVjdAMAAAAJcAEAAAlxAQAACgoBhgIAAGoAAAAKCgAAAEA/CSUDAAAJJgMAAAEAAAD+////AAAAAAEAAAAAAAAAAAAAAAEAAAAAAAAAAAAAAYcCAABvAAAACScDAAAKAYoCAAAiAAAACgoAAAAAAChBCXAAAAAJcQAAAAkoAwAAAAAJKQMAAAGLAgAAcgAAAAoKAAAAAP///wAOAAAAAAEBkAIAAKcAAAAJKgMAAAEAAAADAAAAAZECAABvAAAACSsDAAAKB5ICAAAAAQAAAAQAAAAEHEFwbG9yaXMuQmFzZS5VSS5WaXN1YWxPYmplY3QDAAAACXYBAAAJdwEAAAoKB5MCAAAAAQAAABAAAAAEHkFwbG9yaXMuQ2hhcnQuQ2hhcnREYXRhRWxlbWVudAIAAAAJLAMAAAktAwAACS4DAAAJLwMAAA0MB5QCAAAAAQAAABAAAAAEH0FwbG9yaXMuQmFzZS5PYmplY3RzLkRhdGFPYmplY3QDAAAACSwDAAAJLQMAAAkuAwAACS8DAAANDAeVAgAAAAEAAAAAAAAABBxBcGxvcmlzLkJhc2UuVUkuVmlzdWFsT2JqZWN0AwAAAAGWAgAAcgAAAAoKAAAAAAAAAAANAAAAAAEBlwIAAHIAAAAKCgEAAAAAAAAA/////wABB5gCAAAAAQAAAAQAAAAEHUFwbG9yaXMuQmFzZS5PYmplY3RzLlZhcmlhYmxlAwAAAAUwAwAAHUFwbG9yaXMuQmFzZS5PYmplY3RzLlZhcmlhYmxlAgAAAAZOdW1iZXIIUG9zaXRpb24AAAgIAwAAAAEAAAAAAAAAATEDAAAwAwAAAAAAAAAAAAABMgMAADADAAAAAAAAAAAAAAEzAwAAMAMAAAAAAAAAAAAAD5kCAAABAAAACAAAAAAHmgIAAAABAAAAEAAAAAQeQXBsb3Jpcy5DaGFydC5DaGFydERhdGFFbGVtZW50AgAAAAk0AwAACTUDAAAJNgMAAAk3AwAADQwHmwIAAAABAAAAEAAAAAQfQXBsb3Jpcy5CYXNlLk9iamVjdHMuRGF0YU9iamVjdAMAAAAJNAMAAAk1AwAACTYDAAAJNwMAAA0MB5wCAAAAAQAAAAAAAAAEHEFwbG9yaXMuQmFzZS5VSS5WaXN1YWxPYmplY3QDAAAAAZ0CAAByAAAACgoAAAAAAAAAAA0AAAAAAQGeAgAAcgAAAAoKAQAAAAAAAAD/////AAEHnwIAAAABAAAABAAAAAQdQXBsb3Jpcy5CYXNlLk9iamVjdHMuVmFyaWFibGUDAAAAATgDAAAwAwAAAQAAAAAAAAABOQMAADADAAAAAAAAAAAAAAE6AwAAMAMAAAAAAAAAAAAAATsDAAAwAwAAAAAAAAAAAAAPoAIAAAEAAAAIAAAAAAehAgAAAAEAAAAQAAAABB5BcGxvcmlzLkNoYXJ0LkNoYXJ0RGF0YUVsZW1lbnQCAAAACTwDAAAJPQMAAAk+AwAACT8DAAANDAeiAgAAAAEAAAAQAAAABB9BcGxvcmlzLkJhc2UuT2JqZWN0cy5EYXRhT2JqZWN0AwAAAAk8AwAACT0DAAAJPgMAAAk/AwAADQwBowIAAHIAAAAKCgAAAAAAAAAADQAAAAABAaQCAAByAAAACgoBAAAAAAAAAP////8AAQelAgAAAAEAAAAEAAAABB1BcGxvcmlzLkJhc2UuT2JqZWN0cy5WYXJpYWJsZQMAAAABQAMAADADAAABAAAAAAAAAAFBAwAAMAMAAAAAAAAAAAAAAUIDAAAwAwAAAAAAAAAAAAABQwMAADADAAAAAAAAAAAAAA+mAgAAAQAAAAgAAAAABak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cAAAAKAAAAAABAQQlwAAAACXEAAAAJRAMAAAEACUUDAAABqgIAAHIAAAAKCgAAAAD///8ADgAAAAABAa8CAACnAAAACUYDAAABAAAAAQAAAAGwAgAAbwAAAAlHAwAACgGxAgAAcgAAAAoKAAAAAAAAAAANAAAAAAABsgIAAHIAAAAKCgAAAAAAAAAADQAAAAABB7MCAAAAAQAAAAQAAAAEHUFwbG9yaXMuQmFzZS5PYmplY3RzLlZhcmlhYmxlAwAAAAFIAwAAMAMAAAEAAAAAAAAAAUkDAAAwAwAAAAAAAAAAAAABSgMAADADAAAAAAAAAAAAAAFLAwAAMAMAAAAAAAAAAAAAD7QCAAABAAAACFIBAAAFtw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AAAAAoAAAAAAEBBCXAAAAAJcQAAAAlMAwAAAQAJTQMAAAG4AgAAcgAAAAoKAAAAAP///wAOAAAAAAEBvQIAAKcAAAAJTgMAAAEAAAADAAAAAb4CAABvAAAACU8DAAAKAb8CAAByAAAACgoAAAAAAAAAAA0AAAAAAAHAAgAAcgAAAAoKAAAAAAAAAAANAAAAAAEHwQIAAAABAAAABAAAAAQdQXBsb3Jpcy5CYXNlLk9iamVjdHMuVmFyaWFibGUDAAAAAVADAAAwAwAAAQAAAAAAAAABUQMAADADAAAAAAAAAAAAAAFSAwAAMAMAAAAAAAAAAAAAAVMDAAAwAwAAAAAAAAAAAAAPwgIAAAEAAAAITQEAAAXF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n5AAAACgAAAAAAQEEJcAAAAAlxAAAACVQDAAABAAlVAwAAAcYCAAByAAAACgoAAAAA////AA4AAAAAAQHLAgAApwAAAAlWAwAAAQAAAAMAAAABzAIAAG8AAAAJVwMAAAoBzQIAAHIAAAAKCgAAAAAAAAAADQAAAAAAAc4CAAByAAAACgoAAAAAAAAAAA0AAAAAAQfPAgAAAAEAAAAEAAAABB1BcGxvcmlzLkJhc2UuT2JqZWN0cy5WYXJpYWJsZQMAAAABWAMAADADAAABAAAAAAAAAAFZAwAAMAMAAAAAAAAAAAAAAVoDAAAwAwAAAAAAAAAAAAABWwMAADADAAAAAAAAAAAAAA/QAgAAAQAAAAjFAAAABdM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foAAAAKAAAAAABAQQlwAAAACXEAAAAJXAMAAAEACV0DAAAB1AIAAHIAAAAKCgEAAAAAAAAA/////wABAdkCAACnAAAACV4DAAABAAAAAwAAAAHaAgAAbwAAAAlfAwAACgHbAgAAcgAAAAoKAAAAAAAAAAANAAAAAAAB3AIAAHIAAAAKCgAAAAAAAAAADQAAAAABB90CAAAAAQAAAAQAAAAEHUFwbG9yaXMuQmFzZS5PYmplY3RzLlZhcmlhYmxlAwAAAAFgAwAAMAMAAAEAAAAAAAAAAWEDAAAwAwAAAAAAAAAAAAABYgMAADADAAAAAAAAAAAAAAFjAwAAMAMAAAAAAAAAAAAAD94CAAABAAAACBwDAAAB3wIAAHIAAAAKCgAAAAAAAAAADQAAAAAABeACAAAaQXBsb3Jpcy5CYXNlLk9iamVjdHMuQ29sb3IHAAAAEkRhdGFPYmplY3QrbVBhcmVudBVEYXRhT2JqZWN0K21Db250YWluZXIFbVR5cGUEbVJHQhBtVGhlbWVDb2xvckluZGV4DG1BdXRvVXBkYXRlZAltTW9kaWZpZWQEAgAAAAAAH0FwbG9yaXMuQmFzZS5PYmplY3RzLkxpbmVGb3JtYXQDAAAACAgIAQEDAAAACfABAAAKAQAAAAAAAAD/////AAEP4QIAAAEAAAAILwMAAAHiAgAAcgAAAAoKAAAAAAAAAAANAAAAAAAB4wIAAHIAAAAKCgAAAAAAAAAADQAAAAABB+QCAAAAAQAAAAQAAAAEHUFwbG9yaXMuQmFzZS5PYmplY3RzLlZhcmlhYmxlAwAAAAFkAwAAMAMAAAEAAAAAAAAAAWUDAAAwAwAAAAAAAAAAAAABZgMAADADAAAAAAAAAAAAAAFnAwAAMAMAAAAAAAAAAAAAD+UCAAABAAAACCYAAAAB5gIAAHIAAAAKCgAAAAAAAAAADQAAAAAABecCAAAaQXBsb3Jpcy5CYXNlLk9iamVjdHMuQ29sb3IHAAAAEkRhdGFPYmplY3QrbVBhcmVudBVEYXRhT2JqZWN0K21Db250YWluZXIFbVR5cGUEbVJHQhBtVGhlbWVDb2xvckluZGV4DG1BdXRvVXBkYXRlZAltTW9kaWZpZWQEAgAAAAAAH0FwbG9yaXMuQmFzZS5PYmplY3RzLkxpbmVGb3JtYXQDAAAACAgIAQEDAAAACf8BAAAKAQAAAAAAAAD/////AAEP6AIAAAEAAAAILgMAAAHpAgAAcgAAAAoKAAAAAAAAAAANAAAAAAAB6gIAAHIAAAAKCgAAAAAAAAAADQAAAAABB+sCAAAAAQAAAAQAAAAEHUFwbG9yaXMuQmFzZS5PYmplY3RzLlZhcmlhYmxlAwAAAAFoAwAAMAMAAAEAAAAAAAAAAWkDAAAwAwAAAAAAAAAAAAABagMAADADAAAAAAAAAAAAAAFrAwAAMAMAAAAAAAAAAAAAD+wCAAABAAAACCMAAAAB7QIAAHIAAAAKCgAAAAAAAAAADQAAAAAABe4CAAAaQXBsb3Jpcy5CYXNlLk9iamVjdHMuQ29sb3IHAAAAEkRhdGFPYmplY3QrbVBhcmVudBVEYXRhT2JqZWN0K21Db250YWluZXIFbVR5cGUEbVJHQhBtVGhlbWVDb2xvckluZGV4DG1BdXRvVXBkYXRlZAltTW9kaWZpZWQEAgAAAAAAH0FwbG9yaXMuQmFzZS5PYmplY3RzLkxpbmVGb3JtYXQDAAAACAgIAQEDAAAACQ4CAAAKAQAAAAAAAAD/////AAEP7wIAAAEAAAAILAMAAAHwAgAAcgAAAAoKAAAAAAAAAAANAAAAAAAB8QIAAHIAAAAKCgAAAAAAAAAADQAAAAABB/ICAAAAAQAAAAQAAAAEHUFwbG9yaXMuQmFzZS5PYmplY3RzLlZhcmlhYmxlAwAAAAFsAwAAMAMAAAEAAAAAAAAAAW0DAAAwAwAAAAAAAAAAAAABbgMAADADAAAAAAAAAAAAAAFvAwAAMAMAAAAAAAAAAAAAD/MCAAABAAAACCsAAAAB9AIAAHIAAAAKCgAAAAAAAAAADQAAAAAABfUCAAAaQXBsb3Jpcy5CYXNlLk9iamVjdHMuQ29sb3IHAAAAEkRhdGFPYmplY3QrbVBhcmVudBVEYXRhT2JqZWN0K21Db250YWluZXIFbVR5cGUEbVJHQhBtVGhlbWVDb2xvckluZGV4DG1BdXRvVXBkYXRlZAltTW9kaWZpZWQEAgAAAAAAH0FwbG9yaXMuQmFzZS5PYmplY3RzLkxpbmVGb3JtYXQDAAAACAgIAQEDAAAACR0CAAAKAQAAAAAAAAD/////AAEP9gIAAAEAAAAIKgMAAAH3AgAAcgAAAAoKAAAAAAAAAAANAAAAAAAB+AIAAHIAAAAKCgAAAAAAAAAADQAAAAABB/kCAAAAAQAAAAQAAAAEHUFwbG9yaXMuQmFzZS5PYmplY3RzLlZhcmlhYmxlAwAAAAFwAwAAMAMAAAEAAAAAAAAAAXEDAAAwAwAAAAAAAAAAAAABcgMAADADAAAAAAAAAAAAAAFzAwAAMAMAAAAAAAAAAAAAD/oCAAABAAAACCoAAAAB+wIAAHIAAAAKCgAAAAAAAAAADQAAAAAABfwCAAAaQXBsb3Jpcy5CYXNlLk9iamVjdHMuQ29sb3IHAAAAEkRhdGFPYmplY3QrbVBhcmVudBVEYXRhT2JqZWN0K21Db250YWluZXIFbVR5cGUEbVJHQhBtVGhlbWVDb2xvckluZGV4DG1BdXRvVXBkYXRlZAltTW9kaWZpZWQEAgAAAAAAH0FwbG9yaXMuQmFzZS5PYmplY3RzLkxpbmVGb3JtYXQDAAAACAgIAQEDAAAACSwCAAAKAQAAAAAAAAD/////AAEP/QIAAAEAAAAIKQMAAAH+AgAAcgAAAAoKAAAAAAAAAAANAAAAAAAB/wIAAHIAAAAKCgAAAAAAAAAADQAAAAABBwADAAAAAQAAAAQAAAAEHUFwbG9yaXMuQmFzZS5PYmplY3RzLlZhcmlhYmxlAwAAAAF0AwAAMAMAAAEAAAAAAAAAAXUDAAAwAwAAAAAAAAAAAAABdgMAADADAAAAAAAAAAAAAAF3AwAAMAMAAAAAAAAAAAAADwEDAAABAAAACCcAAAABAgMAAHIAAAAKCgAAAAAAAAAADQAAAAAABQMDAAAaQXBsb3Jpcy5CYXNlLk9iamVjdHMuQ29sb3IHAAAAEkRhdGFPYmplY3QrbVBhcmVudBVEYXRhT2JqZWN0K21Db250YWluZXIFbVR5cGUEbVJHQhBtVGhlbWVDb2xvckluZGV4DG1BdXRvVXBkYXRlZAltTW9kaWZpZWQEAgAAAAAAH0FwbG9yaXMuQmFzZS5PYmplY3RzLkxpbmVGb3JtYXQDAAAACAgIAQEDAAAACTsCAAAKAQAAAAAAAAD/////AAEPBAMAAAEAAAAIKAMAAAEFAwAAcgAAAAoKAAAAAAAAAAANAAAAAAABBgMAAHIAAAAKCgAAAAAAAAAADQAAAAABBwcDAAAAAQAAAAQAAAAEHUFwbG9yaXMuQmFzZS5PYmplY3RzLlZhcmlhYmxlAwAAAAF4AwAAMAMAAAEAAAAAAAAAAXkDAAAwAwAAAAAAAAAAAAABegMAADADAAAAAAAAAAAAAAF7AwAAMAMAAAAAAAAAAAAADwgDAAABAAAACCkAAAABCQMAAHIAAAAKCgAAAAAAAAAADQAAAAAABQoDAAAaQXBsb3Jpcy5CYXNlLk9iamVjdHMuQ29sb3IHAAAAEkRhdGFPYmplY3QrbVBhcmVudBVEYXRhT2JqZWN0K21Db250YWluZXIFbVR5cGUEbVJHQhBtVGhlbWVDb2xvckluZGV4DG1BdXRvVXBkYXRlZAltTW9kaWZpZWQEAgAAAAAAH0FwbG9yaXMuQmFzZS5PYmplY3RzLkxpbmVGb3JtYXQDAAAACAgIAQEDAAAACUoCAAAKAQAAAAAAAAD/////AAEPCwMAAAEAAAAIKwMAAAEMAwAAcgAAAAoKAAAAAAAAAAANAAAAAAABDQMAAHIAAAAKCgAAAAAAAAAADQAAAAABBw4DAAAAAQAAAAQAAAAEHUFwbG9yaXMuQmFzZS5PYmplY3RzLlZhcmlhYmxlAwAAAAF8AwAAMAMAAAEAAAAAAAAAAX0DAAAwAwAAAAAAAAAAAAABfgMAADADAAAAAAAAAAAAAAF/AwAAMAMAAAAAAAAAAAAADw8DAAABAAAACCgAAAABEAMAAHIAAAAKCgAAAAAAAAAADQAAAAAABREDAAAaQXBsb3Jpcy5CYXNlLk9iamVjdHMuQ29sb3IHAAAAEkRhdGFPYmplY3QrbVBhcmVudBVEYXRhT2JqZWN0K21Db250YWluZXIFbVR5cGUEbVJHQhBtVGhlbWVDb2xvckluZGV4DG1BdXRvVXBkYXRlZAltTW9kaWZpZWQEAgAAAAAAH0FwbG9yaXMuQmFzZS5PYmplY3RzLkxpbmVGb3JtYXQDAAAACAgIAQEDAAAACVkCAAAKAQAAAAAAAAD/////AAEPEgMAAAEAAAAIMgMAAAETAwAAcgAAAAoKAAAAAAAAAAANAAAAAAABFAMAAHIAAAAKCgAAAAAAAAAADQAAAAABBxUDAAAAAQAAAAQAAAAEHUFwbG9yaXMuQmFzZS5PYmplY3RzLlZhcmlhYmxlAwAAAAGAAwAAMAMAAAEAAAAAAAAAAYEDAAAwAwAAAAAAAAAAAAABggMAADADAAAAAAAAAAAAAAGDAwAAMAMAAAAAAAAAAAAADxYDAAABAAAACCwAAAABFwMAAHIAAAAKCgAAAAAAAAAADQAAAAAABRgDAAAaQXBsb3Jpcy5CYXNlLk9iamVjdHMuQ29sb3IHAAAAEkRhdGFPYmplY3QrbVBhcmVudBVEYXRhT2JqZWN0K21Db250YWluZXIFbVR5cGUEbVJHQhBtVGhlbWVDb2xvckluZGV4DG1BdXRvVXBkYXRlZAltTW9kaWZpZWQEAgAAAAAAH0FwbG9yaXMuQmFzZS5PYmplY3RzLkxpbmVGb3JtYXQDAAAACAgIAQEDAAAACWgCAAAKAQAAAAAAAAD/////AAEPGQMAAAEAAAAIMQMAAAEaAwAAcgAAAAoKAAAAAAAAAAANAAAAAAABGwMAAHIAAAAKCgAAAAAAAAAADQAAAAABBxwDAAAAAQAAAAQAAAAEHUFwbG9yaXMuQmFzZS5PYmplY3RzLlZhcmlhYmxlAwAAAAGEAwAAMAMAAAEAAAAAAAAAAYUDAAAwAwAAAAAAAAAAAAABhgMAADADAAAAAAAAAAAAAAGHAwAAMAMAAAAAAAAAAAAADx0DAAABAAAACC0AAAABHgMAAHIAAAAKCgAAAAAAAAAADQAAAAAABR8DAAAaQXBsb3Jpcy5CYXNlLk9iamVjdHMuQ29sb3IHAAAAEkRhdGFPYmplY3QrbVBhcmVudBVEYXRhT2JqZWN0K21Db250YWluZXIFbVR5cGUEbVJHQhBtVGhlbWVDb2xvckluZGV4DG1BdXRvVXBkYXRlZAltTW9kaWZpZWQEAgAAAAAAH0FwbG9yaXMuQmFzZS5PYmplY3RzLkxpbmVGb3JtYXQDAAAACAgIAQEDAAAACXcCAAAKAQAAAAAAAAD/////AAEPIAMAAAEAAAAILQMAAAEhAwAAcgAAAAoKAAAAAAAAAAANAAAAAAABIgMAAHIAAAAKCgAAAAAAAAAADQAAAAABByMDAAAAAQAAAAQAAAAEHUFwbG9yaXMuQmFzZS5PYmplY3RzLlZhcmlhYmxlAwAAAAGIAwAAMAMAAAEAAAAAAAAAAYkDAAAwAwAAAAAAAAAAAAABigMAADADAAAAAAAAAAAAAAGLAwAAMAMAAAAAAAAAAAAADyQDAAABAAAACCUAAAABJQMAAHIAAAAKCgAAAAAAAAAADQAAAAAABSYDAAAaQXBsb3Jpcy5CYXNlLk9iamVjdHMuQ29sb3IHAAAAEkRhdGFPYmplY3QrbVBhcmVudBVEYXRhT2JqZWN0K21Db250YWluZXIFbVR5cGUEbVJHQhBtVGhlbWVDb2xvckluZGV4DG1BdXRvVXBkYXRlZAltTW9kaWZpZWQEAgAAAAAAH0FwbG9yaXMuQmFzZS5PYmplY3RzLkxpbmVGb3JtYXQDAAAACAgIAQEDAAAACYYCAAAKAQAAAAAAAAD/////AAEPJwMAAAEAAAAIMAMAAAEoAwAAcgAAAAoKAAAAAAAAAAANAAAAAAABKQMAAHIAAAAKCgAAAAAAAAAADQAAAAABByoDAAAAAQAAAAQAAAAEHUFwbG9yaXMuQmFzZS5PYmplY3RzLlZhcmlhYmxlAwAAAAGMAwAAMAMAAAEAAAAAAAAAAY0DAAAwAwAAAAAAAAAAAAABjgMAADADAAAAAAAAAAAAAAGPAwAAMAMAAAAAAAAAAAAADysDAAABAAAACCQAAAAFLAM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mQAwAACZEDAAAKCZIDAAAKCfQAAAAIBjGEbLzuBMo/CgAAAAAJkwMAAAmUAwAAAAAAAAAJlQMAAAn0AAAACQEAAAAJlgMAAAEtAwAALAMAAAmXAwAACZgDAAAKCZkDAAAKCfQAAAAIBnbpMX+vjdg/CgEAAAAJmgMAAAmbAwAAAAAAAAAJnAMAAAn0AAAACQEAAAAJnQMAAAEuAwAALAMAAAmeAwAACZ8DAAAKCaADAAAKCfQAAAAIBjhbh36zdcg/CgIAAAAJoQMAAAmiAwAAAAAAAAAJowMAAAn0AAAACQEAAAAJpAMAAAEvAwAALAMAAAmlAwAACaYDAAAKCacDAAAKCfQAAAAIBik19jALyLc/CgMAAAAJqAMAAAmpAwAAAAAAAAAJqgMAAAn0AAAACQEAAAAJqwMAAAE0AwAALAMAAAmsAwAACa0DAAAKCa4DAAAKCfUAAAAIBrfLxVnmK+E/CgAAAAAJrwMAAAmwAwAAAAAAAAAJsQMAAAn1AAAACQEAAAAJsgMAAAE1AwAALAMAAAmzAwAACbQDAAAKCbUDAAAKCfUAAAAIBiV3ihbOgOA/CgEAAAAJtgMAAAm3AwAAAAAAAAAJuAMAAAn1AAAACQEAAAAJuQMAAAE2AwAALAMAAAm6AwAACbsDAAAKCbwDAAAKCfUAAAAIBl4gk+IFMuE/CgIAAAAJvQMAAAm+AwAAAAAAAAAJvwMAAAn1AAAACQEAAAAJwAMAAAE3AwAALAMAAAnBAwAACcIDAAAKCcMDAAAKCfUAAAAIBpgF5ItEqeE/CgMAAAAJxAMAAAnFAwAAAAAAAAAJxgMAAAn1AAAACQEAAAAJxwMAAAE8AwAALAMAAAnIAwAACckDAAAKCcoDAAAKCfYAAAAIBnkmPu67pdA/CgAAAAAJywMAAAnMAwAAAAAAAAAJzQMAAAn2AAAACQEAAAAJzgMAAAE9AwAALAMAAAnPAwAACdADAAAKCdEDAAAKCfYAAAAIBgKh5E7Rwrk/CgEAAAAJ0gMAAAnTAwAAAAAAAAAJ1AMAAAn2AAAACQEAAAAJ1QMAAAE+AwAALAMAAAnWAwAACdcDAAAKCdgDAAAKCfYAAAAIBqgRlnsaYdE/CgIAAAAJ2QMAAAnaAwAAAAAAAAAJ2wMAAAn2AAAACQEAAAAJ3AMAAAE/AwAALAMAAAndAwAACd4DAAAKCd8DAAAKCfYAAAAIBoVn+ht0u9Y/CgMAAAAJ4AMAAAnhAwAAAAAAAAAJ4gMAAAn2AAAACQEAAAAJ4wMAAAFEAwAAcgAAAAoKAAAAAAAAAAANAAAAAAEBRQMAAHIAAAAKCgEAAAAAAAAA/////wABB0YDAAAAAQAAAAQAAAAEHUFwbG9yaXMuQmFzZS5PYmplY3RzLlZhcmlhYmxlAwAAAAHkAwAAMAMAAAEAAAAAAAAAAeUDAAAwAwAAAAAAAAAAAAAB5gMAADADAAAAAAAAAAAAAAHnAwAAMAMAAAAAAAAAAAAAD0cDAAABAAAACAAAAAABTAMAAHIAAAAKCgAAAAAAAAAADQAAAAABAU0DAAByAAAACgoBAAAAAAAAAP////8AAQdOAwAAAAEAAAAEAAAABB1BcGxvcmlzLkJhc2UuT2JqZWN0cy5WYXJpYWJsZQMAAAAB6AMAADADAAABAAAAAAAAAAHpAwAAMAMAAAAAAAAAAAAAAeoDAAAwAwAAAAAAAAAAAAAB6wMAADADAAAAAAAAAAAAAA9PAwAAAQAAAAgAAAAAAVQDAAByAAAACgoAAAAAAAAAAA0AAAAAAQFVAwAAcgAAAAoKAQAAAAAAAAD/////AAEHVgMAAAABAAAABAAAAAQdQXBsb3Jpcy5CYXNlLk9iamVjdHMuVmFyaWFibGUDAAAAAewDAAAwAwAAAQAAAAAAAAAB7QMAADADAAAAAAAAAAAAAAHuAwAAMAMAAAAAAAAAAAAAAe8DAAAwAwAAAAAAAAAAAAAPVwMAAAEAAAAIAAAAAAFcAwAAcgAAAAoKAAAAAAAAAAANAAAAAAEBXQMAAHIAAAAKCgEAAAAAAAAA/////wABB14DAAAAAQAAAAQAAAAEHUFwbG9yaXMuQmFzZS5PYmplY3RzLlZhcmlhYmxlAwAAAAHwAwAAMAMAAAEAAAAAAAAAAfEDAAAwAwAAAAAAAAAAAAAB8gMAADADAAAAAAAAAAAAAAHzAwAAMAMAAAAAAAAAAAAAD18DAAABAAAACAAAAAABkAMAAAkBAAAKWAIAAAH0AwAAfwEAAAIAAAAB9QMAAIABAAABAAAAAfYDAAAUAAAAXHKUQhJ8aEMguqtCiE5CQgH3AwAAggEAAAAAAAAAAKBAAAH4AwAAIAAAAGxP6kLyYoBDAfkDAACaAAAAAAAAAAAAAAAAAAAAAAn6AwAAAAAAAAn7AwAAAAAB/AMAAKMAAAAAAAAAAf0DAABsAAAAAAAAQgAAQEEB/gMAABQAAAB00clCuuh6Q0hFAEKjiy5BEoO+Pwb/AwAABTIwLjMlCgkABAAACYsBAAA0AwAA/////wEBCgkBBAAAAQAKAAGRAwAAGwAAAAECBAAAIAAAAFxyjkLaB45DAQMEAAAgAAAAPhYjQxJ8ZUMJBAQAAAkFBAAAAAAAAAoBBgQAAGwAAAAAAAAAAAAAAAEHBAAAbAAAAAAAAAAAAAAAAAAAAAEIBAAAFAAAAAAAAAAAAAAAAAAAAAAAAACkAQAA/////wEBCgkJBAAAAQAKAAeSAwAAAAEAAAACAAAABBpBcGxvcmlzLkJhc2UuVUkuVmlzdWFsTGluZQMAAAAKCgeTAwAAAAEAAAADAAAABBVTeXN0ZW0uRHJhd2luZy5Qb2ludEYEAAAAAQoEAAAgAAAAbE/qQvJigEMBCwQAACAAAABccohC8mKAQwEMBAAAIAAAAD4WJkPyYoBDB5QDAAAAAQAAAAMAAAAEF0FwbG9yaXMuQmFzZS5BbmNob3JNb2RlAwAAAAENBAAAmgAAAAAAAAABDgQAAJoAAAACAAAAAQ8EAACaAAAABAAAAAGVAwAAJAAAAAkQBAAAAAAAAAAAAAABlgMAACUAAAAJEQQAAAIAAAAKAAAAAZcDAAAJAQAAClgCAAABEgQAAH8BAAACAAAAARMEAACAAQAAAQAAAAEUBAAAFAAAAHo0XUOiDjhDILqrQiQCwkIBFQQAAIIBAAAAAAAAAACgQAABFgQAACAAAACBEYRDK49oQwEXBAAAmgAAAAAAAAAAAAAAAAAAAAAJGAQAAAAAAAAJGQQAAAAAARoEAACjAAAAAAAAAAEbBAAAbAAAAAAAAEIAAEBBARwEAAAUAAAAiy54Q9FFY0NIRQBCo4suQRKDvj8GHQQAAAUzOC40JQoJHgQAAAmLAQAANAMAAP////8BAQoJHwQAAAEACgABmAMAABsAAAABIAQAACAAAAB6NFpD2geOQwEhBAAAIAAAAMUIm0OiDjVDCSIEAAAJIwQAAAAAAAAKASQEAABsAAAAAAAAAAAAAAABJQQAAGwAAAAAAAAAAAAAAAAAAAABJgQAABQAAAAAAAAAAAAAAAAAAAAAAAAApAEAAP////8BAQoJJwQAAAEACgAHmQMAAAABAAAAAgAAAAQaQXBsb3Jpcy5CYXNlLlVJLlZpc3VhbExpbmUDAAAACgoHmgMAAAABAAAAAwAAAAQVU3lzdGVtLkRyYXdpbmcuUG9pbnRGBAAAAAEoBAAAIAAAAIERhEMrj2hDASkEAAAgAAAAejRXQyuPaEMBKgQAACAAAADFiJxDK49oQwebAwAAAAEAAAADAAAABBdBcGxvcmlzLkJhc2UuQW5jaG9yTW9kZQMAAAABKwQAAJoAAAAAAAAAASwEAACaAAAAAgAAAAEtBAAAmgAAAAQAAAABnAMAACQAAAAJEAQAAAAAAAAAAAAAAZ0DAAAlAAAACS4EAAACAAAAAgAAAAGeAwAACQEAAApYAgAAAS8EAAB/AQAAAgAAAAEwBAAAgAEAAAEAAAABMQQAABQAAADjF7hDesFrQyC6q0LoODVCATIEAACCAQAAAAAAAAAAoEAAATMEAAAgAAAAJ4/NQ0w0gUMBNAQAAJoAAAAAAAAAAAAAAAAAAAAACTUEAAAAAAAACTYEAAAAAAE3BAAAowAAAAAAAAABOAQAAGwAAAAAAABCAABAQQE5BAAAFAAAAC66xUMuunxDSEUAQqOLLkESg74/BjoEAAAFMTkuMSUKCTsEAAAJiwEAADQDAAD/////AQEKCTwEAAABAAoAAZ8DAAAbAAAAAT0EAAAgAAAA45e2Q9oHjkMBPgQAACAAAABrhuRDesFoQwk/BAAACUAEAAAAAAAACgFBBAAAbAAAAAAAAAAAAAAAAUIEAABsAAAAAAAAAAAAAAAAAAAAAUMEAAAUAAAAAAAAAAAAAAAAAAAAAAAAAKQBAAD/////AQEKCUQEAAABAAoAB6ADAAAAAQAAAAIAAAAEGkFwbG9yaXMuQmFzZS5VSS5WaXN1YWxMaW5lAwAAAAoKB6EDAAAAAQAAAAMAAAAEFVN5c3RlbS5EcmF3aW5nLlBvaW50RgQAAAABRQQAACAAAAAnj81DTDSBQwFGBAAAIAAAAOMXtUNMNIFDAUcEAAAgAAAAawbmQ0w0gUMHogMAAAABAAAAAwAAAAQXQXBsb3Jpcy5CYXNlLkFuY2hvck1vZGUDAAAAAUgEAACaAAAAAAAAAAFJBAAAmgAAAAIAAAABSgQAAJoAAAAEAAAAAaMDAAAkAAAACRAEAAAAAAAAAAAAAAGkAwAAJQAAAAlLBAAAAgAAAAIAAAABpQMAAAkBAAAKWAIAAAFMBAAAfwEAAAIAAAABTQQAAIABAAABAAAAAU4EAAAUAAAAxcoARFwPg0MguqtC4IeXQQFPBAAAggEAAAAAAAAAAKBAAAFQBAAAIAAAAGeGC0Sby4dDAVEEAACaAAAAAAAAAAAAAAAAAAAAAAlSBAAAAAAAAAlTBAAAAAABVAQAAKMAAAAAAAAAAVUEAABsAAAAAADQQQAAQEEBVgQAABQAAADpIghEiy6FQ6jn1EGjiy5BEoO+PwZXBAAABDkuMyUKCVgEAAAJiwEAADQDAAD/////AQEKCVkEAAABAAoAAaYDAAAbAAAAAVoEAAAgAAAAxQoARNoHjkMBWwQAACAAAAAJAhdEXI+BQwlcBAAACV0EAAAAAAAACgFeBAAAbAAAAAAAAAAAAAAAAV8EAABsAAAAAAAAAAAAAAAAAAAAAWAEAAAUAAAAAAAAAAAAAAAAAAAAAAAAAKQBAAD/////AQEKCWEEAAABAAoAB6cDAAAAAQAAAAIAAAAEGkFwbG9yaXMuQmFzZS5VSS5WaXN1YWxMaW5lAwAAAAoKB6gDAAAAAQAAAAMAAAAEFVN5c3RlbS5EcmF3aW5nLlBvaW50RgQAAAABYgQAACAAAABnhgtEm8uHQwFjBAAAIAAAAIqV/kOby4dDAWQEAAAgAAAACcIXRJvLh0MHqQMAAAABAAAAAwAAAAQXQXBsb3Jpcy5CYXNlLkFuY2hvck1vZGUDAAAAAWUEAACaAAAAAAAAAAFmBAAAmgAAAAIAAAABZwQAAJoAAAAEAAAAAaoDAAAkAAAACewBAAAAAAAAAAAAAAGrAwAAJQAAAAloBAAAAgAAAAIAAAABrAMAAAkBAAAKWAIAAAFpBAAAfwEAAAIAAAABagQAAIABAAABAAAAAWsEAAAUAAAAXHKUQjbTsEIguqtCdxIKQwFsBAAAggEAAAAAAAAAAKBAAAFtBAAAIAAAAGxP6kLWch1DAW4EAACaAAAAAAAAAAAAAAAAAAAAAAlvBAAAAAAAAAlwBAAAAAABcQQAAKMAAAAAAAAAAXIEAABsAAAAAAAAQgAAQEEBcwQAABQAAAB00clCdNEXQ0hFAEKjiy5BEoO+PwZ0BAAABTUzLjclCgl1BAAACYsBAAA0AwAA/////wEBCgl2BAAAAQAKAAGtAwAAGwAAAAF3BAAAIAAAAFxyjkISfGVDAXgEAAAgAAAAPhYjQzbTqkIJeQQAAAl6BAAAAAAAAAoBewQAAGwAAAAAAAAAAAAAAAF8BAAAbAAAAAAAAAAAAAAAAAAAAAF9BAAAFAAAAAAAAAAAAAAAAAAAAAAAAACkAQAA/////wEBCgl+BAAAAQAKAAeuAwAAAAEAAAACAAAABBpBcGxvcmlzLkJhc2UuVUkuVmlzdWFsTGluZQMAAAAKCgevAwAAAAEAAAADAAAABBVTeXN0ZW0uRHJhd2luZy5Qb2ludEYEAAAAAX8EAAAgAAAAbE/qQtZyHUMBgAQAACAAAABccohC1nIdQwGBBAAAIAAAAD4WJkPWch1DB7ADAAAAAQAAAAMAAAAEF0FwbG9yaXMuQmFzZS5BbmNob3JNb2RlAwAAAAGCBAAAmgAAAAAAAAABgwQAAJoAAAACAAAAAYQEAACaAAAABAAAAAGxAwAAJAAAAAmFBAAAAAAAAAAAAAABsgMAACUAAAAJhgQAAAIAAAAKAAAAAbMDAAAJAQAAClgCAAABhwQAAH8BAAACAAAAAYgEAACAAQAAAQAAAAGJBAAAFAAAAHo0XUPAXjZCILqrQvJ2BEMBigQAAIIBAAAAAAAAAACgQAABiwQAACAAAACBEYRDUqbfQgGMBAAAmgAAAAAAAAAAAAAAAAAAAAAJjQQAAAAAAAAJjgQAAAAAAY8EAACjAAAAAAAAAAGQBAAAbAAAAAAAAEIAAEBBAZEEAAAUAAAAiy54Qy661EJIRQBCo4suQRKDvj8GkgQAAAU1MS42JQoJkwQAAAmLAQAANAMAAP////8BAQoJlAQAAAEACgABtAMAABsAAAABlQQAACAAAAB6NFpDog41QwGWBAAAIAAAAMUIm0PAXipCCZcEAAAJmAQAAAAAAAAKAZkEAABsAAAAAAAAAAAAAAABmgQAAGwAAAAAAAAAAAAAAAAAAAABmwQAABQAAAAAAAAAAAAAAAAAAAAAAAAApAEAAP////8BAQoJnAQAAAEACgAHtQMAAAABAAAAAgAAAAQaQXBsb3Jpcy5CYXNlLlVJLlZpc3VhbExpbmUDAAAACgoHtgMAAAABAAAAAwAAAAQVU3lzdGVtLkRyYXdpbmcuUG9pbnRGBAAAAAGdBAAAIAAAAIERhENSpt9CAZ4EAAAgAAAAejRXQ1Km30IBnwQAACAAAADFiJxDUqbfQge3AwAAAAEAAAADAAAABBdBcGxvcmlzLkJhc2UuQW5jaG9yTW9kZQMAAAABoAQAAJoAAAAAAAAAAaEEAACaAAAAAgAAAAGiBAAAmgAAAAQAAAABuAMAACQAAAAJhQQAAAAAAAAAAAAAAbkDAAAlAAAACaMEAAACAAAAAgAAAAG6AwAACQEAAApYAgAAAaQEAAB/AQAAAgAAAAGlBAAAgAEAAAEAAAABpgQAABQAAADjF7hDRve2QiC6q0LXRQpDAacEAACCAQAAAAAAAAAAoEAAAagEAAAgAAAAJ4/NQ46eIEMBqQQAAJoAAAAAAAAAAAAAAAAAAAAACaoEAAAAAAAACasEAAAAAAGsBAAAowAAAAAAAAABrQQAAGwAAAAAAABCAABAQQGuBAAAFAAAAC66xUNddBtDSEUAQqOLLkESg74/Bq8EAAAFNTMuNyUKCbAEAAAJiwEAADQDAAD/////AQEKCbEEAAABAAoAAbsDAAAbAAAAAbIEAAAgAAAA45e2Q3rBaEMBswQAACAAAABrhuRDRvewQgm0BAAACbUEAAAAAAAACgG2BAAAbAAAAAAAAAAAAAAAAbcEAABsAAAAAAAAAAAAAAAAAAAAAbgEAAAUAAAAAAAAAAAAAAAAAAAAAAAAAKQBAAD/////AQEKCbkEAAABAAoAB7wDAAAAAQAAAAIAAAAEGkFwbG9yaXMuQmFzZS5VSS5WaXN1YWxMaW5lAwAAAAoKB70DAAAAAQAAAAMAAAAEFVN5c3RlbS5EcmF3aW5nLlBvaW50RgQAAAABugQAACAAAAAnj81Djp4gQwG7BAAAIAAAAOMXtUOOniBDAbwEAAAgAAAAawbmQ46eIEMHvgMAAAABAAAAAwAAAAQXQXBsb3Jpcy5CYXNlLkFuY2hvck1vZGUDAAAAAb0EAACaAAAAAAAAAAG+BAAAmgAAAAIAAAABvwQAAJoAAAAEAAAAAb8DAAAkAAAACYUEAAAAAAAAAAAAAAHAAwAAJQAAAAnABAAAAgAAAAIAAAABwQMAAAkBAAAKWAIAAAHBBAAAfwEAAAIAAAABwgQAAIABAAABAAAAAcMEAAAUAAAAxcoARMjg40IguqtCVC4OQwHEBAAAggEAAAAAAAAAAKBAAAHFBAAAIAAAAGeGC0SOBzlDAcYEAACaAAAAAAAAAAAAAAAAAAAAAAnHBAAAAAAAAAnIBAAAAAAByQQAAKMAAAAAAAAAAcoEAABsAAAAAAAAQgAAQEEBywQAABQAAABddAdEAAA0Q0hFAEKjiy5BEoO+PwbMBAAABTU1LjIlCgnNBAAACYsBAAA0AwAA/////wEBCgnOBAAAAQAKAAHCAwAAGwAAAAHPBAAAIAAAAMUKAERcj4FDAdAEAAAgAAAACQIXRMjg3UIJ0QQAAAnSBAAAAAAAAAoB0wQAAGwAAAAAAAAAAAAAAAHUBAAAbAAAAAAAAAAAAAAAAAAAAAHVBAAAFAAAAAAAAAAAAAAAAAAAAAAAAACkAQAA/////wEBCgnWBAAAAQAKAAfDAwAAAAEAAAACAAAABBpBcGxvcmlzLkJhc2UuVUkuVmlzdWFsTGluZQMAAAAKCgfEAwAAAAEAAAADAAAABBVTeXN0ZW0uRHJhd2luZy5Qb2ludEYEAAAAAdcEAAAgAAAAZ4YLRI4HOUMB2AQAACAAAACKlf5Djgc5QwHZBAAAIAAAAAnCF0SOBzlDB8UDAAAAAQAAAAMAAAAEF0FwbG9yaXMuQmFzZS5BbmNob3JNb2RlAwAAAAHaBAAAmgAAAAAAAAAB2wQAAJoAAAACAAAAAdwEAACaAAAABAAAAAHGAwAAJAAAAAnsAQAAAAAAAAAAAAABxwMAACUAAAAJ3QQAAAIAAAACAAAAAcgDAAAJAQAAClgCAAAB3gQAAH8BAAACAAAAAd8EAACAAQAAAQAAAAHgBAAAFAAAAFxylEKvmZRBILqrQpRZf0IB4QQAAIIBAAAAAAAAAACgQAAB4gQAACAAAABsT+pCovlJQgHjBAAAmgAAAAAAAAAAAAAAAAAAAAAJ5AQAAAAAAAAJ5QQAAAAAAeYEAACjAAAAAAAAAAHnBAAAbAAAAAAAAEIAAEBBAegEAAAUAAAAdNHJQnTRNUJIRQBCo4suQRKDvj8G6QQAAAUyNi4wJQoJ6gQAAAmLAQAANAMAAP////8BAQoJ6wQAAAEACgAByQMAABsAAAAB7AQAACAAAABcco5CNtOqQgHtBAAAIAAAAD4WI0NeM3lBCe4EAAAJ7wQAAAAAAAAKAfAEAABsAAAAAAAAAAAAAAAB8QQAAGwAAAAAAAAAAAAAAAAAAAAB8gQAABQAAAAAAAAAAAAAAAAAAAAAAAAApAEAAP////8BAQoJ8wQAAAEACgAHygMAAAABAAAAAgAAAAQaQXBsb3Jpcy5CYXNlLlVJLlZpc3VhbExpbmUDAAAACgoHywMAAAABAAAAAwAAAAQVU3lzdGVtLkRyYXdpbmcuUG9pbnRGBAAAAAH0BAAAIAAAAGxP6kKi+UlCAfUEAAAgAAAAXHKIQqL5SUIB9gQAACAAAAA+FiZDovlJQgfMAwAAAAEAAAADAAAABBdBcGxvcmlzLkJhc2UuQW5jaG9yTW9kZQMAAAAB9wQAAJoAAAAAAAAAAfgEAACaAAAAAgAAAAH5BAAAmgAAAAQAAAABzQMAACQAAAAJhQQAAAAAAAAAAAAAAc4DAAAlAAAACfoEAAACAAAACgAAAAHPAwAACQEAAApYAgAAAfsEAAB/AQAAAgAAAAH8BAAAgAEAAAEAAAAB/QQAABQAAAB6NF1Dr5mUQSC6q0LRI6hBAf4EAACCAQAAAAAAAAAAoEAAAf8EAAAgAAAAgRGEQ5ir6EEBAAUAAJoAAAAAAAAAAAAAAAAAAAAACQEFAAAAAAAACQIFAAAAAAEDBQAAowAAAAAAAAABBAUAAGwAAAAAAABCAABAQQEFBQAAFAAAAIsueENGF71BSEUAQqOLLkESg74/BgYFAAAFMTAuMSUKCQcFAAAJiwEAADQDAAD/////AQEKCQgFAAABAAoAAdADAAAbAAAAAQkFAAAgAAAAejRaQ8BeKkIBCgUAACAAAADFCJtDXjN5QQkLBQAACQwFAAAAAAAACgENBQAAbAAAAAAAAAAAAAAAAQ4FAABsAAAAAAAAAAAAAAAAAAAAAQ8FAAAUAAAAAAAAAAAAAAAAAAAAAAAAAKQBAAD/////AQEKCRAFAAABAAoAB9EDAAAAAQAAAAIAAAAEGkFwbG9yaXMuQmFzZS5VSS5WaXN1YWxMaW5lAwAAAAoKB9IDAAAAAQAAAAMAAAAEFVN5c3RlbS5EcmF3aW5nLlBvaW50RgQAAAABEQUAACAAAACBEYRDmKvoQQESBQAAIAAAAHo0V0OYq+hBARMFAAAgAAAAxYicQ5ir6EEH0wMAAAABAAAAAwAAAAQXQXBsb3Jpcy5CYXNlLkFuY2hvck1vZGUDAAAAARQFAACaAAAAAAAAAAEVBQAAmgAAAAIAAAABFgUAAJoAAAAEAAAAAdQDAAAkAAAACYUEAAAAAAAAAAAAAAHVAwAAJQAAAAkXBQAAAgAAAAIAAAAB1gMAAAkBAAAKWAIAAAEYBQAAfwEAAAIAAAABGQUAAIABAAABAAAAARoFAAAUAAAA4xe4Q6+ZlEEguqtC2tCFQgEbBQAAggEAAAAAAAAAAKBAAAEcBQAAIAAAACePzUOyHVBCAR0FAACaAAAAAAAAAAAAAAAAAAAAAAkeBQAAAAAAAAkfBQAAAAABIAUAAKMAAAAAAAAAASEFAABsAAAAAAAAQgAAQEEBIgUAABQAAAAuusVDXXQ5QkhFAEKjiy5BEoO+PwYjBQAABTI3LjIlCgkkBQAACYsBAAA0AwAA/////wEBCgklBQAAAQAKAAHXAwAAGwAAAAEmBQAAIAAAAOOXtkNG97BCAScFAAAgAAAAa4bkQ14zeUEJKAUAAAkpBQAAAAAAAAoBKgUAAGwAAAAAAAAAAAAAAAErBQAAbAAAAAAAAAAAAAAAAAAAAAEsBQAAFAAAAAAAAAAAAAAAAAAAAAAAAACkAQAA/////wEBCgktBQAAAQAKAAfYAwAAAAEAAAACAAAABBpBcGxvcmlzLkJhc2UuVUkuVmlzdWFsTGluZQMAAAAKCgfZAwAAAAEAAAADAAAABBVTeXN0ZW0uRHJhd2luZy5Qb2ludEYEAAAAAS4FAAAgAAAAJ4/NQ7IdUEIBLwUAACAAAADjF7VDsh1QQgEwBQAAIAAAAGsG5kOyHVBCB9oDAAAAAQAAAAMAAAAEF0FwbG9yaXMuQmFzZS5BbmNob3JNb2RlAwAAAAExBQAAmgAAAAAAAAABMgUAAJoAAAACAAAAATMFAACaAAAABAAAAAHbAwAAJAAAAAmFBAAAAAAAAAAAAAAB3AMAACUAAAAJNAUAAAIAAAAGAAAAAd0DAAAJAQAAClgCAAABNQUAAH8BAAACAAAAATYFAACAAQAAAQAAAAE3BQAAFAAAAMXKAESvmZRBILqrQly6skIBOAUAAIIBAAAAAAAAAACgQAABOQUAACAAAABnhgtENAd9QgE6BQAAmgAAAAAAAAAAAAAAAAAAAAAJOwUAAAAAAAAJPAUAAAAAAT0FAACjAAAAAAAAAAE+BQAAbAAAAAAAAEIAAEBBAT8FAAAUAAAAXXQHRC66aEJIRQBCo4suQRKDvj8GQAUAAAUzNS41JQoJQQUAAAmLAQAANAMAAP////8BAQoJQgUAAAEACgAB3gMAABsAAAABQwUAACAAAADFCgBEyODdQgFEBQAAIAAAAAkCF0ReM3lBCUUFAAAJRgUAAAAAAAAKAUcFAABsAAAAAAAAAAAAAAABSAUAAGwAAAAAAAAAAAAAAAAAAAABSQUAABQAAAAAAAAAAAAAAAAAAAAAAAAApAEAAP////8BAQoJSgUAAAEACgAH3wMAAAABAAAAAgAAAAQaQXBsb3Jpcy5CYXNlLlVJLlZpc3VhbExpbmUDAAAACgoH4AMAAAABAAAAAwAAAAQVU3lzdGVtLkRyYXdpbmcuUG9pbnRGBAAAAAFLBQAAIAAAAGeGC0Q0B31CAUwFAAAgAAAAipX+QzQHfUIBTQUAACAAAAAJwhdENAd9QgfhAwAAAAEAAAADAAAABBdBcGxvcmlzLkJhc2UuQW5jaG9yTW9kZQMAAAABTgUAAJoAAAAAAAAAAU8FAACaAAAAAgAAAAFQBQAAmgAAAAQAAAAB4gMAACQAAAAJ7AEAAAAAAAAAAAAAAeMDAAAlAAAACVEFAAACAAAAAgAAAAH6AwAAIgAAAAoKAAAAAAAoQQlwAAAACXEAAAAJUgUAAAAACVMFAAAB+wMAAHIAAAAKCgEAAAAFKW4A/////wABAQAEAACnAAAACVQFAAABAAAAAwAAAAEBBAAAbwAAAAlVBQAACgEEBAAAagAAAAoKAQAAQD8JVgUAAAlXBQAAAQAAAP7///8AAAAAAQAAAAAAAAAAAAAAAQAAAAAAAAAAAAABBQQAAGsAAAAKCglYBQAACVkFAAABAAAA/v///wAAAAD/////AAABCQQAAG8AAAAJWgUAAAoHEAQAAAABAAAAAAAAAAQfQXBsb3Jpcy5CYXNlLk9iamVjdHMuRGF0YU9iamVjdAMAAAAHEQQAAAABAAAABAAAAAQcQXBsb3Jpcy5CYXNlLlVJLlZpc3VhbE9iamVjdAMAAAAJkQMAAAmQAwAACgoBGAQAACIAAAAKCgAAAAAAKEEJcAAAAAlxAAAACVsFAAAAAAlcBQAAARkEAAByAAAACgoBAAAABSluAP////8AAQEeBAAApwAAAAldBQAAAQAAAAMAAAABHwQAAG8AAAAJXgUAAAoBIgQAAGoAAAAKCgAAAEA/CV8FAAAJYAUAAAEAAAD+////AAAAAAEAAAAAAAAAAAAAAAEAAAAAAAAAAAAAASMEAABrAAAACgoJYQUAAAliBQAAAQAAAP7///8AAAAA/////wAAAScEAABvAAAACWMFAAAKBy4EAAAAAQAAAAQAAAAEHEFwbG9yaXMuQmFzZS5VSS5WaXN1YWxPYmplY3QDAAAACZgDAAAJlwMAAAoKATUEAAAiAAAACgoAAAAAAChBCXAAAAAJcQAAAAlkBQAAAAAJZQUAAAE2BAAAcgAAAAoKAQAAAAUpbgD/////AAEBOwQAAKcAAAAJZgUAAAEAAAADAAAAATwEAABvAAAACWcFAAAKAT8EAABqAAAACgoAAABAPwloBQAACWkFAAABAAAA/v///wAAAAABAAAAAAAAAAAAAAABAAAAAAAAAAAAAAFABAAAawAAAAoKCWoFAAAJawUAAAEAAAD+////AAAAAP////8AAAFEBAAAbwAAAAlsBQAACgdLBAAAAAEAAAAEAAAABBxBcGxvcmlzLkJhc2UuVUkuVmlzdWFsT2JqZWN0AwAAAAmfAwAACZ4DAAAKCgFSBAAAIgAAAAoKAAAAAAAoQQlwAAAACXEAAAAJbQUAAAAACW4FAAABUwQAAHIAAAAKCgEAAAAFKW4A/////wABAVgEAACnAAAACW8FAAABAAAAAwAAAAFZBAAAbwAAAAlwBQAACgFcBAAAagAAAAoKAAAAQD8JcQUAAAlyBQAAAQAAAP7///8AAAAAAQAAAAAAAAAAAAAAAQAAAAAAAAAAAAABXQQAAGsAAAAKCglzBQAACXQFAAABAAAA/v///wAAAAD/////AAABYQQAAG8AAAAJdQUAAAoHaAQAAAABAAAABAAAAAQcQXBsb3Jpcy5CYXNlLlVJLlZpc3VhbE9iamVjdAMAAAAJpgMAAAmlAwAACgoBbwQAACIAAAAKCgAAAAAAKEEJcAAAAAlxAAAACXYFAAAAAAl3BQAAAXAEAAByAAAACgoBAAAARXXUAP////8AAQF1BAAApwAAAAl4BQAAAQAAAAMAAAABdgQAAG8AAAAJeQUAAAoBeQQAAGoAAAAKCgEAAEA/CXoFAAAJewUAAAEAAAD+////AAAAAAEAAAAAAAAAAAAAAAEAAAAAAAAAAAAAAXoEAABrAAAACgoJfAUAAAl9BQAAAQAAAP7///8AAAAA/////wAAAX4EAABvAAAACX4FAAAKB4UEAAAAAQAAAAAAAAAEH0FwbG9yaXMuQmFzZS5PYmplY3RzLkRhdGFPYmplY3QDAAAAB4YEAAAAAQAAAAQAAAAEHEFwbG9yaXMuQmFzZS5VSS5WaXN1YWxPYmplY3QDAAAACa0DAAAJrAMAAAoKAY0EAAAiAAAACgoAAAAAAChBCXAAAAAJcQAAAAl/BQAAAAAJgAUAAAGOBAAAcgAAAAoKAQAAAEV11AD/////AAEBkwQAAKcAAAAJgQUAAAEAAAADAAAAAZQEAABvAAAACYIFAAAKAZcEAABqAAAACgoAAABAPwmDBQAACYQFAAABAAAA/v///wAAAAABAAAAAAAAAAAAAAABAAAAAAAAAAAAAAGYBAAAawAAAAoKCYUFAAAJhgUAAAEAAAD+////AAAAAP////8AAAGcBAAAbwAAAAmHBQAACgejBAAAAAEAAAAEAAAABBxBcGxvcmlzLkJhc2UuVUkuVmlzdWFsT2JqZWN0AwAAAAm0AwAACbMDAAAKCgGqBAAAIgAAAAoKAAAAAAAoQQlwAAAACXEAAAAJiAUAAAAACYkFAAABqwQAAHIAAAAKCgEAAABFddQA/////wABAbAEAACnAAAACYoFAAABAAAAAwAAAAGxBAAAbwAAAAmLBQAACgG0BAAAagAAAAoKAAAAQD8JjAUAAAmNBQAAAQAAAP7///8AAAAAAQAAAAAAAAAAAAAAAQAAAAAAAAAAAAABtQQAAGsAAAAKCgmOBQAACY8FAAABAAAA/v///wAAAAD/////AAABuQQAAG8AAAAJkAUAAAoHwAQAAAABAAAABAAAAAQcQXBsb3Jpcy5CYXNlLlVJLlZpc3VhbE9iamVjdAMAAAAJuwMAAAm6AwAACgoBxwQAACIAAAAKCgAAAAAAKEEJcAAAAAlxAAAACZEFAAAAAAmSBQAAAcgEAAByAAAACgoBAAAARXXUAP////8AAQHNBAAApwAAAAmTBQAAAQAAAAMAAAABzgQAAG8AAAAJlAUAAAoB0QQAAGoAAAAKCgAAAEA/CZUFAAAJlgUAAAEAAAD+////AAAAAAEAAAAAAAAAAAAAAAEAAAAAAAAAAAAAAdIEAABrAAAACgoJlwUAAAmYBQAAAQAAAP7///8AAAAA/////wAAAdYEAABvAAAACZkFAAAKB90EAAAAAQAAAAQAAAAEHEFwbG9yaXMuQmFzZS5VSS5WaXN1YWxPYmplY3QDAAAACcIDAAAJwQMAAAoKAeQEAAAiAAAACgoAAAAAAChBCXAAAAAJcQAAAAmaBQAAAAAJmwUAAAHlBAAAcgAAAAoKAQAAAMHQ7QD/////AAEB6gQAAKcAAAAJnAUAAAEAAAADAAAAAesEAABvAAAACZ0FAAAKAe4EAABqAAAACgoBAABAPwmeBQAACZ8FAAABAAAA/v///wAAAAABAAAAAAAAAAAAAAABAAAAAAAAAAAAAAHvBAAAawAAAAoKCaAFAAAJoQUAAAEAAAD+////AAAAAP////8AAAHzBAAAbwAAAAmiBQAACgf6BAAAAAEAAAAEAAAABBxBcGxvcmlzLkJhc2UuVUkuVmlzdWFsT2JqZWN0AwAAAAnJAwAACcgDAAAKCgEBBQAAIgAAAAoKAAAAAAAoQQlwAAAACXEAAAAJowUAAAAACaQFAAABAgUAAHIAAAAKCgEAAADB0O0A/////wABAQcFAACnAAAACaUFAAABAAAAAwAAAAEIBQAAbwAAAAmmBQAACgELBQAAagAAAAoKAAAAQD8JpwUAAAmoBQAAAQAAAP7///8AAAAAAQAAAAAAAAAAAAAAAQAAAAAAAAAAAAABDAUAAGsAAAAKCgmpBQAACaoFAAABAAAA/v///wAAAAD/////AAABEAUAAG8AAAAJqwUAAAoHFwUAAAABAAAABAAAAAQcQXBsb3Jpcy5CYXNlLlVJLlZpc3VhbE9iamVjdAMAAAAJ0AMAAAnPAwAACgoBHgUAACIAAAAKCgAAAAAAKEEJcAAAAAlxAAAACawFAAAAAAmtBQAAAR8FAAByAAAACgoBAAAAwdDtAP////8AAQEkBQAApwAAAAmuBQAAAQAAAAMAAAABJQUAAG8AAAAJrwUAAAoBKAUAAGoAAAAKCgAAAEA/CbAFAAAJsQUAAAEAAAD+////AAAAAAEAAAAAAAAAAAAAAAEAAAAAAAAAAAAAASkFAABrAAAACgoJsgUAAAmzBQAAAQAAAP7///8AAAAA/////wAAAS0FAABvAAAACbQFAAAKBzQFAAAAAQAAAAQAAAAEHEFwbG9yaXMuQmFzZS5VSS5WaXN1YWxPYmplY3QDAAAACdcDAAAJ1gMAAAoKATsFAAAiAAAACgoAAAAAAChBCXAAAAAJcQAAAAm1BQAAAAAJtgUAAAE8BQAAcgAAAAoKAQAAAMHQ7QD/////AAEBQQUAAKcAAAAJtwUAAAEAAAADAAAAAUIFAABvAAAACbgFAAAKAUUFAABqAAAACgoAAABAPwm5BQAACboFAAABAAAA/v///wAAAAABAAAAAAAAAAAAAAABAAAAAAAAAAAAAAFGBQAAawAAAAoKCbsFAAAJvAUAAAEAAAD+////AAAAAP////8AAAFKBQAAbwAAAAm9BQAACgdRBQAAAAEAAAAEAAAABBxBcGxvcmlzLkJhc2UuVUkuVmlzdWFsT2JqZWN0AwAAAAneAwAACd0DAAAKCgFSBQAAcgAAAAoKAAAAAP///wAOAAAAAAABUwUAAHIAAAAKCgAAAAD///8ADgAAAAABB1QFAAAAAQAAAAQAAAAEHUFwbG9yaXMuQmFzZS5PYmplY3RzLlZhcmlhYmxlAwAAAAG+BQAAMAMAAAEAAAAAAAAAAb8FAAAwAwAAAAAAAAAAAAABwAUAADADAAAAAAAAAAAAAAHBBQAAMAMAAAAAAAAAAAAAD1UFAAABAAAACDUDAAAFVgUAABpBcGxvcmlzLkJhc2UuT2JqZWN0cy5Db2xvcgcAAAASRGF0YU9iamVjdCttUGFyZW50FURhdGFPYmplY3QrbUNvbnRhaW5lcgVtVHlwZQRtUkdCEG1UaGVtZUNvbG9ySW5kZXgMbUF1dG9VcGRhdGVkCW1Nb2RpZmllZAQCAAAAAAAfQXBsb3Jpcy5CYXNlLk9iamVjdHMuTGluZUZvcm1hdAMAAAAICAgBAQMAAAAJBAQAAAoAAAAA////AA4AAAAAAAVXBQAAGkFwbG9yaXMuQmFzZS5PYmplY3RzLkNvbG9yBwAAABJEYXRhT2JqZWN0K21QYXJlbnQVRGF0YU9iamVjdCttQ29udGFpbmVyBW1UeXBlBG1SR0IQbVRoZW1lQ29sb3JJbmRleAxtQXV0b1VwZGF0ZWQJbU1vZGlmaWVkBAIAAAAAAB9BcGxvcmlzLkJhc2UuT2JqZWN0cy5MaW5lRm9ybWF0AwAAAAgICAEBAwAAAAkEBAAACgEAAAAAAAAA/////wABAVgFAAByAAAACgoBAAAABSluAP////8AAAFZBQAAcgAAAAoKAQAAAP///wD/////AAEPWgUAAAEAAAAIJAMAAAFbBQAAcgAAAAoKAAAAAP///wAOAAAAAAABXAUAAHIAAAAKCgAAAAD///8ADgAAAAABB10FAAAAAQAAAAQAAAAEHUFwbG9yaXMuQmFzZS5PYmplY3RzLlZhcmlhYmxlAwAAAAHCBQAAMAMAAAEAAAAAAAAAAcMFAAAwAwAAAAAAAAAAAAABxAUAADADAAAAAAAAAAAAAAHFBQAAMAMAAAAAAAAAAAAAD14FAAABAAAACGoCAAAFXwUAABpBcGxvcmlzLkJhc2UuT2JqZWN0cy5Db2xvcgcAAAASRGF0YU9iamVjdCttUGFyZW50FURhdGFPYmplY3QrbUNvbnRhaW5lcgVtVHlwZQRtUkdCEG1UaGVtZUNvbG9ySW5kZXgMbUF1dG9VcGRhdGVkCW1Nb2RpZmllZAQCAAAAAAAfQXBsb3Jpcy5CYXNlLk9iamVjdHMuTGluZUZvcm1hdAMAAAAICAgBAQMAAAAJIgQAAAoAAAAA////AA4AAAAAAAVgBQAAGkFwbG9yaXMuQmFzZS5PYmplY3RzLkNvbG9yBwAAABJEYXRhT2JqZWN0K21QYXJlbnQVRGF0YU9iamVjdCttQ29udGFpbmVyBW1UeXBlBG1SR0IQbVRoZW1lQ29sb3JJbmRleAxtQXV0b1VwZGF0ZWQJbU1vZGlmaWVkBAIAAAAAAB9BcGxvcmlzLkJhc2UuT2JqZWN0cy5MaW5lRm9ybWF0AwAAAAgICAEBAwAAAAkiBAAACgEAAAAAAAAA/////wABAWEFAAByAAAACgoBAAAABSluAP////8AAAFiBQAAcgAAAAoKAQAAAP///wD/////AAAPYwUAAAEAAAAIWgIAAAFkBQAAcgAAAAoKAAAAAP///wAOAAAAAAABZQUAAHIAAAAKCgAAAAD///8ADgAAAAABB2YFAAAAAQAAAAQAAAAEHUFwbG9yaXMuQmFzZS5PYmplY3RzLlZhcmlhYmxlAwAAAAHGBQAAMAMAAAEAAAAAAAAAAccFAAAwAwAAAAAAAAAAAAAByAUAADADAAAAAAAAAAAAAAHJBQAAMAMAAAAAAAAAAAAAD2cFAAABAAAACHACAAAFaAUAABpBcGxvcmlzLkJhc2UuT2JqZWN0cy5Db2xvcgcAAAASRGF0YU9iamVjdCttUGFyZW50FURhdGFPYmplY3QrbUNvbnRhaW5lcgVtVHlwZQRtUkdCEG1UaGVtZUNvbG9ySW5kZXgMbUF1dG9VcGRhdGVkCW1Nb2RpZmllZAQCAAAAAAAfQXBsb3Jpcy5CYXNlLk9iamVjdHMuTGluZUZvcm1hdAMAAAAICAgBAQMAAAAJPwQAAAoAAAAA////AA4AAAAAAAVpBQAAGkFwbG9yaXMuQmFzZS5PYmplY3RzLkNvbG9yBwAAABJEYXRhT2JqZWN0K21QYXJlbnQVRGF0YU9iamVjdCttQ29udGFpbmVyBW1UeXBlBG1SR0IQbVRoZW1lQ29sb3JJbmRleAxtQXV0b1VwZGF0ZWQJbU1vZGlmaWVkBAIAAAAAAB9BcGxvcmlzLkJhc2UuT2JqZWN0cy5MaW5lRm9ybWF0AwAAAAgICAEBAwAAAAk/BAAACgEAAAAAAAAA/////wABAWoFAAByAAAACgoBAAAABSluAP////8AAAFrBQAAcgAAAAoKAQAAAP///wD/////AAAPbAUAAAEAAAAIWQIAAAFtBQAAcgAAAAoKAAAAAP///wAOAAAAAAABbgUAAHIAAAAKCgAAAAD///8ADgAAAAABB28FAAAAAQAAAAQAAAAEHUFwbG9yaXMuQmFzZS5PYmplY3RzLlZhcmlhYmxlAwAAAAHKBQAAMAMAAAEAAAAAAAAAAcsFAAAwAwAAAAAAAAAAAAABzAUAADADAAAAAAAAAAAAAAHNBQAAMAMAAAAAAAAAAAAAD3AFAAABAAAACCADAAAFcQUAABpBcGxvcmlzLkJhc2UuT2JqZWN0cy5Db2xvcgcAAAASRGF0YU9iamVjdCttUGFyZW50FURhdGFPYmplY3QrbUNvbnRhaW5lcgVtVHlwZQRtUkdCEG1UaGVtZUNvbG9ySW5kZXgMbUF1dG9VcGRhdGVkCW1Nb2RpZmllZAQCAAAAAAAfQXBsb3Jpcy5CYXNlLk9iamVjdHMuTGluZUZvcm1hdAMAAAAICAgBAQMAAAAJXAQAAAoAAAAA////AA4AAAAAAAVyBQAAGkFwbG9yaXMuQmFzZS5PYmplY3RzLkNvbG9yBwAAABJEYXRhT2JqZWN0K21QYXJlbnQVRGF0YU9iamVjdCttQ29udGFpbmVyBW1UeXBlBG1SR0IQbVRoZW1lQ29sb3JJbmRleAxtQXV0b1VwZGF0ZWQJbU1vZGlmaWVkBAIAAAAAAB9BcGxvcmlzLkJhc2UuT2JqZWN0cy5MaW5lRm9ybWF0AwAAAAgICAEBAwAAAAlcBAAACgEAAAAAAAAA/////wABAXMFAAByAAAACgoBAAAABSluAP////8AAAF0BQAAcgAAAAoKAQAAAP///wD/////AAAPdQUAAAEAAAAIDAMAAAF2BQAAcgAAAAoKAAAAAP///wAOAAAAAAABdwUAAHIAAAAKCgAAAAD///8ADgAAAAABB3gFAAAAAQAAAAQAAAAEHUFwbG9yaXMuQmFzZS5PYmplY3RzLlZhcmlhYmxlAwAAAAHOBQAAMAMAAAEAAAAAAAAAAc8FAAAwAwAAAAAAAAAAAAAB0AUAADADAAAAAAAAAAAAAAHRBQAAMAMAAAAAAAAAAAAAD3kFAAABAAAACDMDAAAFegUAABpBcGxvcmlzLkJhc2UuT2JqZWN0cy5Db2xvcgcAAAASRGF0YU9iamVjdCttUGFyZW50FURhdGFPYmplY3QrbUNvbnRhaW5lcgVtVHlwZQRtUkdCEG1UaGVtZUNvbG9ySW5kZXgMbUF1dG9VcGRhdGVkCW1Nb2RpZmllZAQCAAAAAAAfQXBsb3Jpcy5CYXNlLk9iamVjdHMuTGluZUZvcm1hdAMAAAAICAgBAQMAAAAJeQQAAAoAAAAA////AA4AAAAAAAV7BQAAGkFwbG9yaXMuQmFzZS5PYmplY3RzLkNvbG9yBwAAABJEYXRhT2JqZWN0K21QYXJlbnQVRGF0YU9iamVjdCttQ29udGFpbmVyBW1UeXBlBG1SR0IQbVRoZW1lQ29sb3JJbmRleAxtQXV0b1VwZGF0ZWQJbU1vZGlmaWVkBAIAAAAAAB9BcGxvcmlzLkJhc2UuT2JqZWN0cy5MaW5lRm9ybWF0AwAAAAgICAEBAwAAAAl5BAAACgEAAAAAAAAA/////wABAXwFAAByAAAACgoBAAAARXXUAP////8AAAF9BQAAcgAAAAoKAQAAAP///wD/////AAEPfgUAAAEAAAAIIwMAAAF/BQAAcgAAAAoKAAAAAP///wAOAAAAAAABgAUAAHIAAAAKCgAAAAD///8ADgAAAAABB4EFAAAAAQAAAAQAAAAEHUFwbG9yaXMuQmFzZS5PYmplY3RzLlZhcmlhYmxlAwAAAAHSBQAAMAMAAAEAAAAAAAAAAdMFAAAwAwAAAAAAAAAAAAAB1AUAADADAAAAAAAAAAAAAAHVBQAAMAMAAAAAAAAAAAAAD4IFAAABAAAACDICAAAFgwUAABpBcGxvcmlzLkJhc2UuT2JqZWN0cy5Db2xvcgcAAAASRGF0YU9iamVjdCttUGFyZW50FURhdGFPYmplY3QrbUNvbnRhaW5lcgVtVHlwZQRtUkdCEG1UaGVtZUNvbG9ySW5kZXgMbUF1dG9VcGRhdGVkCW1Nb2RpZmllZAQCAAAAAAAfQXBsb3Jpcy5CYXNlLk9iamVjdHMuTGluZUZvcm1hdAMAAAAICAgBAQMAAAAJlwQAAAoAAAAA////AA4AAAAAAAWEBQAAGkFwbG9yaXMuQmFzZS5PYmplY3RzLkNvbG9yBwAAABJEYXRhT2JqZWN0K21QYXJlbnQVRGF0YU9iamVjdCttQ29udGFpbmVyBW1UeXBlBG1SR0IQbVRoZW1lQ29sb3JJbmRleAxtQXV0b1VwZGF0ZWQJbU1vZGlmaWVkBAIAAAAAAB9BcGxvcmlzLkJhc2UuT2JqZWN0cy5MaW5lRm9ybWF0AwAAAAgICAEBAwAAAAmXBAAACgEAAAAAAAAA/////wABAYUFAAByAAAACgoBAAAARXXUAP////8AAAGGBQAAcgAAAAoKAQAAAP///wD/////AAAPhwUAAAEAAAAIBAIAAAGIBQAAcgAAAAoKAAAAAP///wAOAAAAAAABiQUAAHIAAAAKCgAAAAD///8ADgAAAAABB4oFAAAAAQAAAAQAAAAEHUFwbG9yaXMuQmFzZS5PYmplY3RzLlZhcmlhYmxlAwAAAAHWBQAAMAMAAAEAAAAAAAAAAdcFAAAwAwAAAAAAAAAAAAAB2AUAADADAAAAAAAAAAAAAAHZBQAAMAMAAAAAAAAAAAAAD4sFAAABAAAACDYCAAAFjAUAABpBcGxvcmlzLkJhc2UuT2JqZWN0cy5Db2xvcgcAAAASRGF0YU9iamVjdCttUGFyZW50FURhdGFPYmplY3QrbUNvbnRhaW5lcgVtVHlwZQRtUkdCEG1UaGVtZUNvbG9ySW5kZXgMbUF1dG9VcGRhdGVkCW1Nb2RpZmllZAQCAAAAAAAfQXBsb3Jpcy5CYXNlLk9iamVjdHMuTGluZUZvcm1hdAMAAAAICAgBAQMAAAAJtAQAAAoAAAAA////AA4AAAAAAAWNBQAAGkFwbG9yaXMuQmFzZS5PYmplY3RzLkNvbG9yBwAAABJEYXRhT2JqZWN0K21QYXJlbnQVRGF0YU9iamVjdCttQ29udGFpbmVyBW1UeXBlBG1SR0IQbVRoZW1lQ29sb3JJbmRleAxtQXV0b1VwZGF0ZWQJbU1vZGlmaWVkBAIAAAAAAB9BcGxvcmlzLkJhc2UuT2JqZWN0cy5MaW5lRm9ybWF0AwAAAAgICAEBAwAAAAm0BAAACgEAAAAAAAAA/////wABAY4FAAByAAAACgoBAAAARXXUAP////8AAAGPBQAAcgAAAAoKAQAAAP///wD/////AAAPkAUAAAEAAAAIBwIAAAGRBQAAcgAAAAoKAAAAAP///wAOAAAAAAABkgUAAHIAAAAKCgAAAAD///8ADgAAAAABB5MFAAAAAQAAAAQAAAAEHUFwbG9yaXMuQmFzZS5PYmplY3RzLlZhcmlhYmxlAwAAAAHaBQAAMAMAAAEAAAAAAAAAAdsFAAAwAwAAAAAAAAAAAAAB3AUAADADAAAAAAAAAAAAAAHdBQAAMAMAAAAAAAAAAAAAD5QFAAABAAAACCIDAAAFlQUAABpBcGxvcmlzLkJhc2UuT2JqZWN0cy5Db2xvcgcAAAASRGF0YU9iamVjdCttUGFyZW50FURhdGFPYmplY3QrbUNvbnRhaW5lcgVtVHlwZQRtUkdCEG1UaGVtZUNvbG9ySW5kZXgMbUF1dG9VcGRhdGVkCW1Nb2RpZmllZAQCAAAAAAAfQXBsb3Jpcy5CYXNlLk9iamVjdHMuTGluZUZvcm1hdAMAAAAICAgBAQMAAAAJ0QQAAAoAAAAA////AA4AAAAAAAWWBQAAGkFwbG9yaXMuQmFzZS5PYmplY3RzLkNvbG9yBwAAABJEYXRhT2JqZWN0K21QYXJlbnQVRGF0YU9iamVjdCttQ29udGFpbmVyBW1UeXBlBG1SR0IQbVRoZW1lQ29sb3JJbmRleAxtQXV0b1VwZGF0ZWQJbU1vZGlmaWVkBAIAAAAAAB9BcGxvcmlzLkJhc2UuT2JqZWN0cy5MaW5lRm9ybWF0AwAAAAgICAEBAwAAAAnRBAAACgEAAAAAAAAA/////wABAZcFAAByAAAACgoBAAAARXXUAP////8AAAGYBQAAcgAAAAoKAQAAAP///wD/////AAAPmQUAAAEAAAAICQMAAAGaBQAAcgAAAAoKAAAAAAAAAAANAAAAAAABmwUAAHIAAAAKCgAAAAAAAAAADQAAAAABB5wFAAAAAQAAAAQAAAAEHUFwbG9yaXMuQmFzZS5PYmplY3RzLlZhcmlhYmxlAwAAAAHeBQAAMAMAAAEAAAAAAAAAAd8FAAAwAwAAAAAAAAAAAAAB4AUAADADAAAAAAAAAAAAAAHhBQAAMAMAAAAAAAAAAAAAD50FAAABAAAACDQDAAAFngUAABpBcGxvcmlzLkJhc2UuT2JqZWN0cy5Db2xvcgcAAAASRGF0YU9iamVjdCttUGFyZW50FURhdGFPYmplY3QrbUNvbnRhaW5lcgVtVHlwZQRtUkdCEG1UaGVtZUNvbG9ySW5kZXgMbUF1dG9VcGRhdGVkCW1Nb2RpZmllZAQCAAAAAAAfQXBsb3Jpcy5CYXNlLk9iamVjdHMuTGluZUZvcm1hdAMAAAAICAgBAQMAAAAJ7gQAAAoAAAAA////AA4AAAAAAAWfBQAAGkFwbG9yaXMuQmFzZS5PYmplY3RzLkNvbG9yBwAAABJEYXRhT2JqZWN0K21QYXJlbnQVRGF0YU9iamVjdCttQ29udGFpbmVyBW1UeXBlBG1SR0IQbVRoZW1lQ29sb3JJbmRleAxtQXV0b1VwZGF0ZWQJbU1vZGlmaWVkBAIAAAAAAB9BcGxvcmlzLkJhc2UuT2JqZWN0cy5MaW5lRm9ybWF0AwAAAAgICAEBAwAAAAnuBAAACgEAAAAAAAAA/////wABAaAFAAByAAAACgoBAAAAwdDtAP////8AAAGhBQAAcgAAAAoKAQAAAP///wD/////AAEPogUAAAEAAAAIJQMAAAGjBQAAcgAAAAoKAAAAAAAAAAANAAAAAAABpAUAAHIAAAAKCgAAAAAAAAAADQAAAAABB6UFAAAAAQAAAAQAAAAEHUFwbG9yaXMuQmFzZS5PYmplY3RzLlZhcmlhYmxlAwAAAAHiBQAAMAMAAAEAAAAAAAAAAeMFAAAwAwAAAAAAAAAAAAAB5AUAADADAAAAAAAAAAAAAAHlBQAAMAMAAAAAAAAAAAAAD6YFAAABAAAACEkCAAAFpwUAABpBcGxvcmlzLkJhc2UuT2JqZWN0cy5Db2xvcgcAAAASRGF0YU9iamVjdCttUGFyZW50FURhdGFPYmplY3QrbUNvbnRhaW5lcgVtVHlwZQRtUkdCEG1UaGVtZUNvbG9ySW5kZXgMbUF1dG9VcGRhdGVkCW1Nb2RpZmllZAQCAAAAAAAfQXBsb3Jpcy5CYXNlLk9iamVjdHMuTGluZUZvcm1hdAMAAAAICAgBAQMAAAAJCwUAAAoAAAAA////AA4AAAAAAAWoBQAAGkFwbG9yaXMuQmFzZS5PYmplY3RzLkNvbG9yBwAAABJEYXRhT2JqZWN0K21QYXJlbnQVRGF0YU9iamVjdCttQ29udGFpbmVyBW1UeXBlBG1SR0IQbVRoZW1lQ29sb3JJbmRleAxtQXV0b1VwZGF0ZWQJbU1vZGlmaWVkBAIAAAAAAB9BcGxvcmlzLkJhc2UuT2JqZWN0cy5MaW5lRm9ybWF0AwAAAAgICAEBAwAAAAkLBQAACgEAAAAAAAAA/////wABAakFAAByAAAACgoBAAAAwdDtAP////8AAAGqBQAAcgAAAAoKAQAAAP///wD/////AAAPqwUAAAEAAAAIFgIAAAGsBQAAcgAAAAoKAAAAAAAAAAANAAAAAAABrQUAAHIAAAAKCgAAAAAAAAAADQAAAAABB64FAAAAAQAAAAQAAAAEHUFwbG9yaXMuQmFzZS5PYmplY3RzLlZhcmlhYmxlAwAAAAHmBQAAMAMAAAEAAAAAAAAAAecFAAAwAwAAAAAAAAAAAAAB6AUAADADAAAAAAAAAAAAAAHpBQAAMAMAAAAAAAAAAAAAD68FAAABAAAACNsCAAAFsAUAABpBcGxvcmlzLkJhc2UuT2JqZWN0cy5Db2xvcgcAAAASRGF0YU9iamVjdCttUGFyZW50FURhdGFPYmplY3QrbUNvbnRhaW5lcgVtVHlwZQRtUkdCEG1UaGVtZUNvbG9ySW5kZXgMbUF1dG9VcGRhdGVkCW1Nb2RpZmllZAQCAAAAAAAfQXBsb3Jpcy5CYXNlLk9iamVjdHMuTGluZUZvcm1hdAMAAAAICAgBAQMAAAAJKAUAAAoAAAAA////AA4AAAAAAAWxBQAAGkFwbG9yaXMuQmFzZS5PYmplY3RzLkNvbG9yBwAAABJEYXRhT2JqZWN0K21QYXJlbnQVRGF0YU9iamVjdCttQ29udGFpbmVyBW1UeXBlBG1SR0IQbVRoZW1lQ29sb3JJbmRleAxtQXV0b1VwZGF0ZWQJbU1vZGlmaWVkBAIAAAAAAB9BcGxvcmlzLkJhc2UuT2JqZWN0cy5MaW5lRm9ybWF0AwAAAAgICAEBAwAAAAkoBQAACgEAAAAAAAAA/////wABAbIFAAByAAAACgoBAAAAwdDtAP////8AAAGzBQAAcgAAAAoKAQAAAP///wD/////AAAPtAUAAAEAAAAIzQIAAAG1BQAAcgAAAAoKAAAAAAAAAAANAAAAAAABtgUAAHIAAAAKCgAAAAAAAAAADQAAAAABB7cFAAAAAQAAAAQAAAAEHUFwbG9yaXMuQmFzZS5PYmplY3RzLlZhcmlhYmxlAwAAAAHqBQAAMAMAAAEAAAAAAAAAAesFAAAwAwAAAAAAAAAAAAAB7AUAADADAAAAAAAAAAAAAAHtBQAAMAMAAAAAAAAAAAAAD7gFAAABAAAACB8DAAAFuQUAABpBcGxvcmlzLkJhc2UuT2JqZWN0cy5Db2xvcgcAAAASRGF0YU9iamVjdCttUGFyZW50FURhdGFPYmplY3QrbUNvbnRhaW5lcgVtVHlwZQRtUkdCEG1UaGVtZUNvbG9ySW5kZXgMbUF1dG9VcGRhdGVkCW1Nb2RpZmllZAQCAAAAAAAfQXBsb3Jpcy5CYXNlLk9iamVjdHMuTGluZUZvcm1hdAMAAAAICAgBAQMAAAAJRQUAAAoAAAAA////AA4AAAAAAAW6BQAAGkFwbG9yaXMuQmFzZS5PYmplY3RzLkNvbG9yBwAAABJEYXRhT2JqZWN0K21QYXJlbnQVRGF0YU9iamVjdCttQ29udGFpbmVyBW1UeXBlBG1SR0IQbVRoZW1lQ29sb3JJbmRleAxtQXV0b1VwZGF0ZWQJbU1vZGlmaWVkBAIAAAAAAB9BcGxvcmlzLkJhc2UuT2JqZWN0cy5MaW5lRm9ybWF0AwAAAAgICAEBAwAAAAlFBQAACgEAAAAAAAAA/////wABAbsFAAByAAAACgoBAAAAwdDtAP////8AAAG8BQAAcgAAAAoKAQAAAP///wD/////AAAPvQUAAAEAAAAIDgMAAAs="/>
  <p:tag name="APLORISTAG" val="MxTFIxVX6OdtQ0H5y.601"/>
</p:tagLst>
</file>

<file path=ppt/tags/tag839.xml><?xml version="1.0" encoding="utf-8"?>
<p:tagLst xmlns:a="http://schemas.openxmlformats.org/drawingml/2006/main" xmlns:r="http://schemas.openxmlformats.org/officeDocument/2006/relationships" xmlns:p="http://schemas.openxmlformats.org/presentationml/2006/main">
  <p:tag name="APLORISTAG" val="MxTFIxVX6OdtQ0H5y.926"/>
</p:tagLst>
</file>

<file path=ppt/tags/tag84.xml><?xml version="1.0" encoding="utf-8"?>
<p:tagLst xmlns:a="http://schemas.openxmlformats.org/drawingml/2006/main" xmlns:r="http://schemas.openxmlformats.org/officeDocument/2006/relationships" xmlns:p="http://schemas.openxmlformats.org/presentationml/2006/main">
  <p:tag name="APLORISTAG" val="MMq8K+TY0y1GzdU7X.215"/>
</p:tagLst>
</file>

<file path=ppt/tags/tag840.xml><?xml version="1.0" encoding="utf-8"?>
<p:tagLst xmlns:a="http://schemas.openxmlformats.org/drawingml/2006/main" xmlns:r="http://schemas.openxmlformats.org/officeDocument/2006/relationships" xmlns:p="http://schemas.openxmlformats.org/presentationml/2006/main">
  <p:tag name="APLORISTAG" val="MxTFIxVX6OdtQ0H5y.855"/>
</p:tagLst>
</file>

<file path=ppt/tags/tag841.xml><?xml version="1.0" encoding="utf-8"?>
<p:tagLst xmlns:a="http://schemas.openxmlformats.org/drawingml/2006/main" xmlns:r="http://schemas.openxmlformats.org/officeDocument/2006/relationships" xmlns:p="http://schemas.openxmlformats.org/presentationml/2006/main">
  <p:tag name="APLORISTAG" val="MxTFIxVX6OdtQ0H5y.717"/>
</p:tagLst>
</file>

<file path=ppt/tags/tag842.xml><?xml version="1.0" encoding="utf-8"?>
<p:tagLst xmlns:a="http://schemas.openxmlformats.org/drawingml/2006/main" xmlns:r="http://schemas.openxmlformats.org/officeDocument/2006/relationships" xmlns:p="http://schemas.openxmlformats.org/presentationml/2006/main">
  <p:tag name="APLORISTAG" val="MxTFIxVX6OdtQ0H5y.856"/>
</p:tagLst>
</file>

<file path=ppt/tags/tag843.xml><?xml version="1.0" encoding="utf-8"?>
<p:tagLst xmlns:a="http://schemas.openxmlformats.org/drawingml/2006/main" xmlns:r="http://schemas.openxmlformats.org/officeDocument/2006/relationships" xmlns:p="http://schemas.openxmlformats.org/presentationml/2006/main">
  <p:tag name="APLORISTAG" val="MxTFIxVX6OdtQ0H5y.534"/>
</p:tagLst>
</file>

<file path=ppt/tags/tag844.xml><?xml version="1.0" encoding="utf-8"?>
<p:tagLst xmlns:a="http://schemas.openxmlformats.org/drawingml/2006/main" xmlns:r="http://schemas.openxmlformats.org/officeDocument/2006/relationships" xmlns:p="http://schemas.openxmlformats.org/presentationml/2006/main">
  <p:tag name="APLORISTAG" val="MxTFIxVX6OdtQ0H5y.927"/>
</p:tagLst>
</file>

<file path=ppt/tags/tag845.xml><?xml version="1.0" encoding="utf-8"?>
<p:tagLst xmlns:a="http://schemas.openxmlformats.org/drawingml/2006/main" xmlns:r="http://schemas.openxmlformats.org/officeDocument/2006/relationships" xmlns:p="http://schemas.openxmlformats.org/presentationml/2006/main">
  <p:tag name="APLORISTAG" val="MxTFIxVX6OdtQ0H5y.945"/>
</p:tagLst>
</file>

<file path=ppt/tags/tag846.xml><?xml version="1.0" encoding="utf-8"?>
<p:tagLst xmlns:a="http://schemas.openxmlformats.org/drawingml/2006/main" xmlns:r="http://schemas.openxmlformats.org/officeDocument/2006/relationships" xmlns:p="http://schemas.openxmlformats.org/presentationml/2006/main">
  <p:tag name="APLORISTAG" val="MxTFIxVX6OdtQ0H5y.946"/>
</p:tagLst>
</file>

<file path=ppt/tags/tag847.xml><?xml version="1.0" encoding="utf-8"?>
<p:tagLst xmlns:a="http://schemas.openxmlformats.org/drawingml/2006/main" xmlns:r="http://schemas.openxmlformats.org/officeDocument/2006/relationships" xmlns:p="http://schemas.openxmlformats.org/presentationml/2006/main">
  <p:tag name="APLORISTAG" val="MxTFIxVX6OdtQ0H5y.947"/>
</p:tagLst>
</file>

<file path=ppt/tags/tag848.xml><?xml version="1.0" encoding="utf-8"?>
<p:tagLst xmlns:a="http://schemas.openxmlformats.org/drawingml/2006/main" xmlns:r="http://schemas.openxmlformats.org/officeDocument/2006/relationships" xmlns:p="http://schemas.openxmlformats.org/presentationml/2006/main">
  <p:tag name="APLORISTAG" val="MxTFIxVX6OdtQ0H5y.948"/>
</p:tagLst>
</file>

<file path=ppt/tags/tag849.xml><?xml version="1.0" encoding="utf-8"?>
<p:tagLst xmlns:a="http://schemas.openxmlformats.org/drawingml/2006/main" xmlns:r="http://schemas.openxmlformats.org/officeDocument/2006/relationships" xmlns:p="http://schemas.openxmlformats.org/presentationml/2006/main">
  <p:tag name="APLORISTAG" val="MxTFIxVX6OdtQ0H5y.949"/>
</p:tagLst>
</file>

<file path=ppt/tags/tag85.xml><?xml version="1.0" encoding="utf-8"?>
<p:tagLst xmlns:a="http://schemas.openxmlformats.org/drawingml/2006/main" xmlns:r="http://schemas.openxmlformats.org/officeDocument/2006/relationships" xmlns:p="http://schemas.openxmlformats.org/presentationml/2006/main">
  <p:tag name="APLORISTAG" val="MMq8K+TY0y1GzdU7X.216"/>
</p:tagLst>
</file>

<file path=ppt/tags/tag850.xml><?xml version="1.0" encoding="utf-8"?>
<p:tagLst xmlns:a="http://schemas.openxmlformats.org/drawingml/2006/main" xmlns:r="http://schemas.openxmlformats.org/officeDocument/2006/relationships" xmlns:p="http://schemas.openxmlformats.org/presentationml/2006/main">
  <p:tag name="APLORISTAG" val="MxTFIxVX6OdtQ0H5y.950"/>
</p:tagLst>
</file>

<file path=ppt/tags/tag851.xml><?xml version="1.0" encoding="utf-8"?>
<p:tagLst xmlns:a="http://schemas.openxmlformats.org/drawingml/2006/main" xmlns:r="http://schemas.openxmlformats.org/officeDocument/2006/relationships" xmlns:p="http://schemas.openxmlformats.org/presentationml/2006/main">
  <p:tag name="APLORISTAG" val="MxTFIxVX6OdtQ0H5y.951"/>
</p:tagLst>
</file>

<file path=ppt/tags/tag852.xml><?xml version="1.0" encoding="utf-8"?>
<p:tagLst xmlns:a="http://schemas.openxmlformats.org/drawingml/2006/main" xmlns:r="http://schemas.openxmlformats.org/officeDocument/2006/relationships" xmlns:p="http://schemas.openxmlformats.org/presentationml/2006/main">
  <p:tag name="APLORISTAG" val="MxTFIxVX6OdtQ0H5y.952"/>
</p:tagLst>
</file>

<file path=ppt/tags/tag853.xml><?xml version="1.0" encoding="utf-8"?>
<p:tagLst xmlns:a="http://schemas.openxmlformats.org/drawingml/2006/main" xmlns:r="http://schemas.openxmlformats.org/officeDocument/2006/relationships" xmlns:p="http://schemas.openxmlformats.org/presentationml/2006/main">
  <p:tag name="APLORISTAG" val="MxTFIxVX6OdtQ0H5y.953"/>
</p:tagLst>
</file>

<file path=ppt/tags/tag854.xml><?xml version="1.0" encoding="utf-8"?>
<p:tagLst xmlns:a="http://schemas.openxmlformats.org/drawingml/2006/main" xmlns:r="http://schemas.openxmlformats.org/officeDocument/2006/relationships" xmlns:p="http://schemas.openxmlformats.org/presentationml/2006/main">
  <p:tag name="APLORISTAG" val="MxTFIxVX6OdtQ0H5y.954"/>
</p:tagLst>
</file>

<file path=ppt/tags/tag855.xml><?xml version="1.0" encoding="utf-8"?>
<p:tagLst xmlns:a="http://schemas.openxmlformats.org/drawingml/2006/main" xmlns:r="http://schemas.openxmlformats.org/officeDocument/2006/relationships" xmlns:p="http://schemas.openxmlformats.org/presentationml/2006/main">
  <p:tag name="APLORISTAG" val="MxTFIxVX6OdtQ0H5y.955"/>
</p:tagLst>
</file>

<file path=ppt/tags/tag856.xml><?xml version="1.0" encoding="utf-8"?>
<p:tagLst xmlns:a="http://schemas.openxmlformats.org/drawingml/2006/main" xmlns:r="http://schemas.openxmlformats.org/officeDocument/2006/relationships" xmlns:p="http://schemas.openxmlformats.org/presentationml/2006/main">
  <p:tag name="APLORISTAG" val="MxTFIxVX6OdtQ0H5y.956"/>
</p:tagLst>
</file>

<file path=ppt/tags/tag857.xml><?xml version="1.0" encoding="utf-8"?>
<p:tagLst xmlns:a="http://schemas.openxmlformats.org/drawingml/2006/main" xmlns:r="http://schemas.openxmlformats.org/officeDocument/2006/relationships" xmlns:p="http://schemas.openxmlformats.org/presentationml/2006/main">
  <p:tag name="APLORISTAG" val="MxTFIxVX6OdtQ0H5y.957"/>
</p:tagLst>
</file>

<file path=ppt/tags/tag858.xml><?xml version="1.0" encoding="utf-8"?>
<p:tagLst xmlns:a="http://schemas.openxmlformats.org/drawingml/2006/main" xmlns:r="http://schemas.openxmlformats.org/officeDocument/2006/relationships" xmlns:p="http://schemas.openxmlformats.org/presentationml/2006/main">
  <p:tag name="APLORISTAG" val="MxTFIxVX6OdtQ0H5y.35"/>
</p:tagLst>
</file>

<file path=ppt/tags/tag859.xml><?xml version="1.0" encoding="utf-8"?>
<p:tagLst xmlns:a="http://schemas.openxmlformats.org/drawingml/2006/main" xmlns:r="http://schemas.openxmlformats.org/officeDocument/2006/relationships" xmlns:p="http://schemas.openxmlformats.org/presentationml/2006/main">
  <p:tag name="APLORISTAG" val="MxTFIxVX6OdtQ0H5y.37"/>
</p:tagLst>
</file>

<file path=ppt/tags/tag86.xml><?xml version="1.0" encoding="utf-8"?>
<p:tagLst xmlns:a="http://schemas.openxmlformats.org/drawingml/2006/main" xmlns:r="http://schemas.openxmlformats.org/officeDocument/2006/relationships" xmlns:p="http://schemas.openxmlformats.org/presentationml/2006/main">
  <p:tag name="APLORISTAG" val="MMq8K+TY0y1GzdU7X.217"/>
</p:tagLst>
</file>

<file path=ppt/tags/tag860.xml><?xml version="1.0" encoding="utf-8"?>
<p:tagLst xmlns:a="http://schemas.openxmlformats.org/drawingml/2006/main" xmlns:r="http://schemas.openxmlformats.org/officeDocument/2006/relationships" xmlns:p="http://schemas.openxmlformats.org/presentationml/2006/main">
  <p:tag name="APLORISTAG" val="MxTFIxVX6OdtQ0H5y.38"/>
</p:tagLst>
</file>

<file path=ppt/tags/tag861.xml><?xml version="1.0" encoding="utf-8"?>
<p:tagLst xmlns:a="http://schemas.openxmlformats.org/drawingml/2006/main" xmlns:r="http://schemas.openxmlformats.org/officeDocument/2006/relationships" xmlns:p="http://schemas.openxmlformats.org/presentationml/2006/main">
  <p:tag name="APLORISTAG" val="MxTFIxVX6OdtQ0H5y.36"/>
</p:tagLst>
</file>

<file path=ppt/tags/tag862.xml><?xml version="1.0" encoding="utf-8"?>
<p:tagLst xmlns:a="http://schemas.openxmlformats.org/drawingml/2006/main" xmlns:r="http://schemas.openxmlformats.org/officeDocument/2006/relationships" xmlns:p="http://schemas.openxmlformats.org/presentationml/2006/main">
  <p:tag name="APLORISTAG" val="MxTFIxVX6OdtQ0H5y.40"/>
</p:tagLst>
</file>

<file path=ppt/tags/tag863.xml><?xml version="1.0" encoding="utf-8"?>
<p:tagLst xmlns:a="http://schemas.openxmlformats.org/drawingml/2006/main" xmlns:r="http://schemas.openxmlformats.org/officeDocument/2006/relationships" xmlns:p="http://schemas.openxmlformats.org/presentationml/2006/main">
  <p:tag name="APLORISTAG" val="MxTFIxVX6OdtQ0H5y.43"/>
</p:tagLst>
</file>

<file path=ppt/tags/tag864.xml><?xml version="1.0" encoding="utf-8"?>
<p:tagLst xmlns:a="http://schemas.openxmlformats.org/drawingml/2006/main" xmlns:r="http://schemas.openxmlformats.org/officeDocument/2006/relationships" xmlns:p="http://schemas.openxmlformats.org/presentationml/2006/main">
  <p:tag name="APLORISTAG" val="MxTFIxVX6OdtQ0H5y.41"/>
</p:tagLst>
</file>

<file path=ppt/tags/tag865.xml><?xml version="1.0" encoding="utf-8"?>
<p:tagLst xmlns:a="http://schemas.openxmlformats.org/drawingml/2006/main" xmlns:r="http://schemas.openxmlformats.org/officeDocument/2006/relationships" xmlns:p="http://schemas.openxmlformats.org/presentationml/2006/main">
  <p:tag name="APLORISTAG" val="MxTFIxVX6OdtQ0H5y.44"/>
</p:tagLst>
</file>

<file path=ppt/tags/tag866.xml><?xml version="1.0" encoding="utf-8"?>
<p:tagLst xmlns:a="http://schemas.openxmlformats.org/drawingml/2006/main" xmlns:r="http://schemas.openxmlformats.org/officeDocument/2006/relationships" xmlns:p="http://schemas.openxmlformats.org/presentationml/2006/main">
  <p:tag name="APLORISTAG" val="MxTFIxVX6OdtQ0H5y.39"/>
</p:tagLst>
</file>

<file path=ppt/tags/tag867.xml><?xml version="1.0" encoding="utf-8"?>
<p:tagLst xmlns:a="http://schemas.openxmlformats.org/drawingml/2006/main" xmlns:r="http://schemas.openxmlformats.org/officeDocument/2006/relationships" xmlns:p="http://schemas.openxmlformats.org/presentationml/2006/main">
  <p:tag name="APLORISTAG" val="MxTFIxVX6OdtQ0H5y.42"/>
</p:tagLst>
</file>

<file path=ppt/tags/tag868.xml><?xml version="1.0" encoding="utf-8"?>
<p:tagLst xmlns:a="http://schemas.openxmlformats.org/drawingml/2006/main" xmlns:r="http://schemas.openxmlformats.org/officeDocument/2006/relationships" xmlns:p="http://schemas.openxmlformats.org/presentationml/2006/main">
  <p:tag name="APLORISTAG" val="MxTFIxVX6OdtQ0H5y.45"/>
</p:tagLst>
</file>

<file path=ppt/tags/tag869.xml><?xml version="1.0" encoding="utf-8"?>
<p:tagLst xmlns:a="http://schemas.openxmlformats.org/drawingml/2006/main" xmlns:r="http://schemas.openxmlformats.org/officeDocument/2006/relationships" xmlns:p="http://schemas.openxmlformats.org/presentationml/2006/main">
  <p:tag name="APLORISTAG" val="MxTFIxVX6OdtQ0H5y.333"/>
</p:tagLst>
</file>

<file path=ppt/tags/tag87.xml><?xml version="1.0" encoding="utf-8"?>
<p:tagLst xmlns:a="http://schemas.openxmlformats.org/drawingml/2006/main" xmlns:r="http://schemas.openxmlformats.org/officeDocument/2006/relationships" xmlns:p="http://schemas.openxmlformats.org/presentationml/2006/main">
  <p:tag name="APLORISTAG" val="MMq8K+TY0y1GzdU7X.218"/>
</p:tagLst>
</file>

<file path=ppt/tags/tag870.xml><?xml version="1.0" encoding="utf-8"?>
<p:tagLst xmlns:a="http://schemas.openxmlformats.org/drawingml/2006/main" xmlns:r="http://schemas.openxmlformats.org/officeDocument/2006/relationships" xmlns:p="http://schemas.openxmlformats.org/presentationml/2006/main">
  <p:tag name="APLORISTAG" val="MxTFIxVX6OdtQ0H5y.197"/>
</p:tagLst>
</file>

<file path=ppt/tags/tag871.xml><?xml version="1.0" encoding="utf-8"?>
<p:tagLst xmlns:a="http://schemas.openxmlformats.org/drawingml/2006/main" xmlns:r="http://schemas.openxmlformats.org/officeDocument/2006/relationships" xmlns:p="http://schemas.openxmlformats.org/presentationml/2006/main">
  <p:tag name="APLORISTAG" val="MxTFIxVX6OdtQ0H5y.941"/>
</p:tagLst>
</file>

<file path=ppt/tags/tag872.xml><?xml version="1.0" encoding="utf-8"?>
<p:tagLst xmlns:a="http://schemas.openxmlformats.org/drawingml/2006/main" xmlns:r="http://schemas.openxmlformats.org/officeDocument/2006/relationships" xmlns:p="http://schemas.openxmlformats.org/presentationml/2006/main">
  <p:tag name="APLORISTAG" val="MxTFIxVX6OdtQ0H5y.796"/>
</p:tagLst>
</file>

<file path=ppt/tags/tag873.xml><?xml version="1.0" encoding="utf-8"?>
<p:tagLst xmlns:a="http://schemas.openxmlformats.org/drawingml/2006/main" xmlns:r="http://schemas.openxmlformats.org/officeDocument/2006/relationships" xmlns:p="http://schemas.openxmlformats.org/presentationml/2006/main">
  <p:tag name="APLORISTAG" val="MxTFIxVX6OdtQ0H5y.562"/>
</p:tagLst>
</file>

<file path=ppt/tags/tag874.xml><?xml version="1.0" encoding="utf-8"?>
<p:tagLst xmlns:a="http://schemas.openxmlformats.org/drawingml/2006/main" xmlns:r="http://schemas.openxmlformats.org/officeDocument/2006/relationships" xmlns:p="http://schemas.openxmlformats.org/presentationml/2006/main">
  <p:tag name="APLORISTAG" val="MxTFIxVX6OdtQ0H5y.872"/>
</p:tagLst>
</file>

<file path=ppt/tags/tag875.xml><?xml version="1.0" encoding="utf-8"?>
<p:tagLst xmlns:a="http://schemas.openxmlformats.org/drawingml/2006/main" xmlns:r="http://schemas.openxmlformats.org/officeDocument/2006/relationships" xmlns:p="http://schemas.openxmlformats.org/presentationml/2006/main">
  <p:tag name="APLORISTAG" val="MxTFIxVX6OdtQ0H5y.566"/>
</p:tagLst>
</file>

<file path=ppt/tags/tag876.xml><?xml version="1.0" encoding="utf-8"?>
<p:tagLst xmlns:a="http://schemas.openxmlformats.org/drawingml/2006/main" xmlns:r="http://schemas.openxmlformats.org/officeDocument/2006/relationships" xmlns:p="http://schemas.openxmlformats.org/presentationml/2006/main">
  <p:tag name="APLORISTAG" val="MxTFIxVX6OdtQ0H5y.731"/>
</p:tagLst>
</file>

<file path=ppt/tags/tag877.xml><?xml version="1.0" encoding="utf-8"?>
<p:tagLst xmlns:a="http://schemas.openxmlformats.org/drawingml/2006/main" xmlns:r="http://schemas.openxmlformats.org/officeDocument/2006/relationships" xmlns:p="http://schemas.openxmlformats.org/presentationml/2006/main">
  <p:tag name="APLORISTAG" val="MxTFIxVX6OdtQ0H5y.585"/>
</p:tagLst>
</file>

<file path=ppt/tags/tag878.xml><?xml version="1.0" encoding="utf-8"?>
<p:tagLst xmlns:a="http://schemas.openxmlformats.org/drawingml/2006/main" xmlns:r="http://schemas.openxmlformats.org/officeDocument/2006/relationships" xmlns:p="http://schemas.openxmlformats.org/presentationml/2006/main">
  <p:tag name="APLORISTAG" val="MxTFIxVX6OdtQ0H5y.942"/>
</p:tagLst>
</file>

<file path=ppt/tags/tag879.xml><?xml version="1.0" encoding="utf-8"?>
<p:tagLst xmlns:a="http://schemas.openxmlformats.org/drawingml/2006/main" xmlns:r="http://schemas.openxmlformats.org/officeDocument/2006/relationships" xmlns:p="http://schemas.openxmlformats.org/presentationml/2006/main">
  <p:tag name="APLORISTAG" val="MxTFIxVX6OdtQ0H5y.870"/>
</p:tagLst>
</file>

<file path=ppt/tags/tag88.xml><?xml version="1.0" encoding="utf-8"?>
<p:tagLst xmlns:a="http://schemas.openxmlformats.org/drawingml/2006/main" xmlns:r="http://schemas.openxmlformats.org/officeDocument/2006/relationships" xmlns:p="http://schemas.openxmlformats.org/presentationml/2006/main">
  <p:tag name="APLORISTAG" val="MMq8K+TY0y1GzdU7X.219"/>
</p:tagLst>
</file>

<file path=ppt/tags/tag880.xml><?xml version="1.0" encoding="utf-8"?>
<p:tagLst xmlns:a="http://schemas.openxmlformats.org/drawingml/2006/main" xmlns:r="http://schemas.openxmlformats.org/officeDocument/2006/relationships" xmlns:p="http://schemas.openxmlformats.org/presentationml/2006/main">
  <p:tag name="APLORISTAG" val="MxTFIxVX6OdtQ0H5y.943"/>
</p:tagLst>
</file>

<file path=ppt/tags/tag881.xml><?xml version="1.0" encoding="utf-8"?>
<p:tagLst xmlns:a="http://schemas.openxmlformats.org/drawingml/2006/main" xmlns:r="http://schemas.openxmlformats.org/officeDocument/2006/relationships" xmlns:p="http://schemas.openxmlformats.org/presentationml/2006/main">
  <p:tag name="APLORISTAG" val="MxTFIxVX6OdtQ0H5y.618"/>
</p:tagLst>
</file>

<file path=ppt/tags/tag882.xml><?xml version="1.0" encoding="utf-8"?>
<p:tagLst xmlns:a="http://schemas.openxmlformats.org/drawingml/2006/main" xmlns:r="http://schemas.openxmlformats.org/officeDocument/2006/relationships" xmlns:p="http://schemas.openxmlformats.org/presentationml/2006/main">
  <p:tag name="APLORISTAG" val="MxTFIxVX6OdtQ0H5y.944"/>
</p:tagLst>
</file>

<file path=ppt/tags/tag883.xml><?xml version="1.0" encoding="utf-8"?>
<p:tagLst xmlns:a="http://schemas.openxmlformats.org/drawingml/2006/main" xmlns:r="http://schemas.openxmlformats.org/officeDocument/2006/relationships" xmlns:p="http://schemas.openxmlformats.org/presentationml/2006/main">
  <p:tag name="APLORISTAG" val="MxTFIxVX6OdtQ0H5y.871"/>
</p:tagLst>
</file>

<file path=ppt/tags/tag884.xml><?xml version="1.0" encoding="utf-8"?>
<p:tagLst xmlns:a="http://schemas.openxmlformats.org/drawingml/2006/main" xmlns:r="http://schemas.openxmlformats.org/officeDocument/2006/relationships" xmlns:p="http://schemas.openxmlformats.org/presentationml/2006/main">
  <p:tag name="APLORISTAG" val="MxTFIxVX6OdtQ0H5y.624"/>
</p:tagLst>
</file>

<file path=ppt/tags/tag885.xml><?xml version="1.0" encoding="utf-8"?>
<p:tagLst xmlns:a="http://schemas.openxmlformats.org/drawingml/2006/main" xmlns:r="http://schemas.openxmlformats.org/officeDocument/2006/relationships" xmlns:p="http://schemas.openxmlformats.org/presentationml/2006/main">
  <p:tag name="APLORISTAG" val="MxTFIxVX6OdtQ0H5y.835"/>
</p:tagLst>
</file>

<file path=ppt/tags/tag886.xml><?xml version="1.0" encoding="utf-8"?>
<p:tagLst xmlns:a="http://schemas.openxmlformats.org/drawingml/2006/main" xmlns:r="http://schemas.openxmlformats.org/officeDocument/2006/relationships" xmlns:p="http://schemas.openxmlformats.org/presentationml/2006/main">
  <p:tag name="APLORISTAG" val="MxTFIxVX6OdtQ0H5y.836"/>
</p:tagLst>
</file>

<file path=ppt/tags/tag887.xml><?xml version="1.0" encoding="utf-8"?>
<p:tagLst xmlns:a="http://schemas.openxmlformats.org/drawingml/2006/main" xmlns:r="http://schemas.openxmlformats.org/officeDocument/2006/relationships" xmlns:p="http://schemas.openxmlformats.org/presentationml/2006/main">
  <p:tag name="APLORISTAG" val="MxTFIxVX6OdtQ0H5y.837"/>
</p:tagLst>
</file>

<file path=ppt/tags/tag888.xml><?xml version="1.0" encoding="utf-8"?>
<p:tagLst xmlns:a="http://schemas.openxmlformats.org/drawingml/2006/main" xmlns:r="http://schemas.openxmlformats.org/officeDocument/2006/relationships" xmlns:p="http://schemas.openxmlformats.org/presentationml/2006/main">
  <p:tag name="APLORISTAG" val="MxTFIxVX6OdtQ0H5y.838"/>
</p:tagLst>
</file>

<file path=ppt/tags/tag889.xml><?xml version="1.0" encoding="utf-8"?>
<p:tagLst xmlns:a="http://schemas.openxmlformats.org/drawingml/2006/main" xmlns:r="http://schemas.openxmlformats.org/officeDocument/2006/relationships" xmlns:p="http://schemas.openxmlformats.org/presentationml/2006/main">
  <p:tag name="APLORISTAG" val="MxTFIxVX6OdtQ0H5y.839"/>
</p:tagLst>
</file>

<file path=ppt/tags/tag89.xml><?xml version="1.0" encoding="utf-8"?>
<p:tagLst xmlns:a="http://schemas.openxmlformats.org/drawingml/2006/main" xmlns:r="http://schemas.openxmlformats.org/officeDocument/2006/relationships" xmlns:p="http://schemas.openxmlformats.org/presentationml/2006/main">
  <p:tag name="APLORISTAG" val="MMq8K+TY0y1GzdU7X.220"/>
</p:tagLst>
</file>

<file path=ppt/tags/tag890.xml><?xml version="1.0" encoding="utf-8"?>
<p:tagLst xmlns:a="http://schemas.openxmlformats.org/drawingml/2006/main" xmlns:r="http://schemas.openxmlformats.org/officeDocument/2006/relationships" xmlns:p="http://schemas.openxmlformats.org/presentationml/2006/main">
  <p:tag name="APLORISTAG" val="MxTFIxVX6OdtQ0H5y.840"/>
</p:tagLst>
</file>

<file path=ppt/tags/tag891.xml><?xml version="1.0" encoding="utf-8"?>
<p:tagLst xmlns:a="http://schemas.openxmlformats.org/drawingml/2006/main" xmlns:r="http://schemas.openxmlformats.org/officeDocument/2006/relationships" xmlns:p="http://schemas.openxmlformats.org/presentationml/2006/main">
  <p:tag name="APLORISTAG" val="M4RvBrLxyRrRJbWwc"/>
</p:tagLst>
</file>

<file path=ppt/tags/tag892.xml><?xml version="1.0" encoding="utf-8"?>
<p:tagLst xmlns:a="http://schemas.openxmlformats.org/drawingml/2006/main" xmlns:r="http://schemas.openxmlformats.org/officeDocument/2006/relationships" xmlns:p="http://schemas.openxmlformats.org/presentationml/2006/main">
  <p:tag name="APLORISTAG" val="MYRJM1C857JMjEwmB"/>
</p:tagLst>
</file>

<file path=ppt/tags/tag893.xml><?xml version="1.0" encoding="utf-8"?>
<p:tagLst xmlns:a="http://schemas.openxmlformats.org/drawingml/2006/main" xmlns:r="http://schemas.openxmlformats.org/officeDocument/2006/relationships" xmlns:p="http://schemas.openxmlformats.org/presentationml/2006/main">
  <p:tag name="APLORISTAG" val="MYRJM1C857JMjEwmB.858"/>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AFFQAAABlTeXN0ZW0uRHJhd2luZy5SZWN0YW5nbGVGBAAAAAF4AXkFd2lkdGgGaGVpZ2h0AAAAAAsLCwsEAAAA//9/////f////3////9//wEWAAAAFQAAAP//f////3////9/////f/8AAAAAAAUXAAAALEFwbG9yaXMuQ2hhcnQuQXhpc0JyZWFrK0F4aXNCcmVha0Rpc3BsYXlNb2RlAQAAAAd2YWx1ZV9fAAgCAAAAAQAAAAEBAQoKCRgAAAAKCgAAAAAACRkAAAAKCRoAAAAAAAAACgUbAAAAGUFwbG9yaXMuQ2hhcnQuT3JpZW50YXRpb24BAAAAB3ZhbHVlX18ACAIAAAABAAAACRwAAAABHQAAABUAAADsRBdCdiJ4QXoNg0P2YoFDAAQeAAAAC1N5c3RlbS5HdWlkCwAAAAJfYQJfYgJfYwJfZAJfZQJfZgJfZwJfaAJfaQJfagJfawAAAAAAAAAAAAAACAcHAgICAgICAgIAAAAAAAAAAAAAAAAAAAAAAAoKCR8AAAAACgoKAQAAAAAAAAD/////AAEBIAAAABUAAAAAACBBAAAgQbAnj0NVlaRD00+8Q1XsJUMXZptDJV6xQwUhAAAAFVN5c3RlbS5EcmF3aW5nLlBvaW50RgIAAAABeAF5AAALCwQAAAASXdVDPHa6QwYiAAAAEFlSSk0xQzg1N0pNakV3bUI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7EQXQgokiUMBLwAAACEAAAAY9pVDCiSJQwkwAAAACTEAAAAJMgAAAAkzAAAAAAAAAAAAAAAAAAAACTQAAAAAAAAAAAAJNQAAAAkBAAAACQEAAAAJNgAAAAEHAAAABgAAAAkBAAAAATcAAAAnAAAAAAAAAM3MTD8AAAAIAQAJAQAAAAk4AAAACTkAAAABAAAAAAAAAAABMzMzMzMz4z8BmpmZmZmZuT8AAAAgQQABCToAAAAKCTsAAAAJPAAAAAk9AAAAAT4AAAAhAAAA7EQXQgokiUMBPwAAACEAAADsRBdCdiJ4QQ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BDVItBsP2ZQy26VEOwAxFCCWUAAAAB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BQAAAAgBAAAAAgAAAAMAAAAEAAAABQAAAAUc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bgAAACEAAADsRBdCdiJ4QQFvAAAAIQAAABj2lUMKJIlDCXAAAAAJcQAAAAAAAAAKBXIAAAAUU3lzdGVtLkRyYXdpbmcuU2l6ZUYCAAAABXdpZHRoBmhlaWdodAAACwsEAAAAAAAAAAAAAAABcwAAAHIAAAAAAAAAAAAAAAAAAAABdAAAABUAAAAAAAAAAAAAAAAAAAAAAAAAFAAAAP////8BAQoJdQAAAAEACgAPHwAAAKMsAAACUEsDBBQABgAIAAAAIQCSV401eQEAAHA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VEtOwzAQ3SNxh8hblLhlgRBq2gWFJVSiHMDYkyaqY1se93d7Jm5BUIWEqt3ESuz3m3hmNNnWOlmDx8qanA2zAUvASKsqs8jZ+/w5vWcJBmGU0NZAznaAbDK+vhrNdw4wIbTBnJUhuAfOUZZQC8ysA0M7hfW1CPTqF9wJuRQL4LeDwR2X1gQwIQ0NBxuPplCIlQ7J05Y+750QnCWP+3ONVM6Ec7qSIpBR3uzyVty6E7c26shcaouikqCsXNVkKSP81IsNxf9DwIPGDmctCofoGSGjeywrhzeHCK9Ue18pSGbChxdRU1C+1Xxj/fLD2mXWXYcWtaM86DwIhSVAqHUW16wWlfmHfjyMPC7DCxtp8kXiHh+BLhTw+DzfQqTpEcSw04AXTrsn7VMuhQf1FjzdvYsb+Mnd40PauukEPL/ev+/eF2+XPLXhzFuHNCE8nP4TvjqtQaeOiMCHCjp77VuRxsvpgkfNBs38UqBatHmcl+NPAAAA//8DAFBLAwQUAAYACAAAACEAUHxOwfY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ySz0oDMRCH74LvEObezbaCiDTbiwi9idQHGJPZP+xuJiTTun17g6C4sNYek8x8882PbHfTOKgTxdSxN7AuSlDkLbvONwbeDs+rB1BJ0Dsc2JOBMyXYVbc321caUHJTaruQVKb4ZKAVCY9aJ9vSiKngQD6/1BxHlHyMjQ5oe2xIb8ryXsffDKhmTLV3BuLerUEdziFP/p/Ndd1ZemJ7HMnLwgg9r8hkjA2JgWnQHxz7d+a+yMKgl10217v8vaceSdChoLYcaRViTilKl3P90XFsX/J1+qq4JHR3vdB89aVwaBLyjtxlJQzh20jP/kD1CQAA//8DAFBLAwQUAAYACAAAACEAjJbFbvMAAAC6Ag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asMwDMbvg72D0X1x0o0xRp1exqDXLXsAYytxaGIbS/uTt5/JoE2hdJdcDJ+Ev+8noe3uZxzEFybqg1dQFSUI9CbY3ncKPprXuycQxNpbPQSPCiYk2NW3N9s3HDTnT+T6SCK7eFLgmOOzlGQcjpqKENHnThvSqDnL1MmozUF3KDdl+SjT0gPqM0+xtwrS3t6DaKaYk//3Dm3bG3wJ5nNEzxciJPE05AFEo1OHrOBPF5kR5OX4h1XjnU5o3znl7S4pluVrMNWaMN8hHcgh8mkdxxLJuVNdg9msCcP5YPAEMks5v0cGeXZx9S8AAAD//wMAUEsDBBQABgAIAAAAIQAypEXrwAEAAM8CAAAPAAAAeGwvd29ya2Jvb2sueG1sjFJLj5wwDL5X6n+Icp9JCDC7GgGr6TzUkapqD+3uOQ1hiDYPlITCqup/r4HSh3rpyflsx/b32cXDaDT6Kn1QzpY42VKMpBWuVvZW4s+fLpt7jELktubaWVniVxnwQ/X2TTE4//LFuRcEBWwocRtjtyckiFYaHraukxYijfOGR4D+RkLnJa9DK2U0mjBKd8RwZfFSYe//p4ZrGiXkyYneSBuXIl5qHmH80Kou4KpolJZPCyPEu+4jNzD3qDHSPMRzraKsS5wDdIP8y+H77l2vNETZjtIMk+oXy0ePeB/d0RkgEcKjErGHR4nplDXp8KTkEH5/mCAan5Wt3VDi9I6CsK8rZJQBHObgs6pjCx2TZEpZfO+lurUR1sHSbG5A/ugwCwidZovszO7QaedVOPHIYV2TwldgkWDk9woe/lon05xk/Su4FkBpMnNiRimFbOGs6L0HZY8Q+UlOjvFDiFUBFvVelfjbXc7Sc35KNyy/pJtDfqabZJeyzS67sDw7Mpbl7Pu6VjP+s1ejhHfBNXErnCHLSuEUBJGjkPNl3C+XURVm3B+8aK8ndNH8BnqzmQfMAmzWych6i9UPAAAA//8DAFBLAwQUAAYACAAAACEAbWi3qggBAACUAQAAFAAAAHhsL3NoYXJlZFN0cmluZ3MueG1sbJBPS8NAEMXvhX6HZUHQg9ko+AdJ0kNpvVQvbT/Aspkmg5vZdGfSmm/vqojQ9vjmN/Pm8YrZZ+fVASJjoFLfZblWQC7USE2pt5vl7bNWLJZq6wNBqUdgPaumk4JZVLolLnUr0r8Yw66FznIWeqBEdiF2VpKMjeE+gq25BZDOm/s8fzSdRdLKhYGk1E9aDYT7AeZ/uioYq0KqNXhwksIVRqrCfA9/wWsMR1JvoYZoBfx4ma+xIdyhsyR+VNdWlAebkj/kV6pJDtLenB6uwlEtB/B8Chb7AfseajWdvNsDNlZCPFuat+A+0saCGiQ4wyvsUH4sNuDaTG05Vf//yKRWqy8AAAD//wMAUEsDBBQABgAIAAAAIQDnZXW41gAAALgBAAAjAAAAeGwvd29ya3NoZWV0cy9fcmVscy9zaGVldDEueG1sLnJlbHOskMlqAzEMQO+F/oPRPdZMDqGUeHIJhVxD+gHC1ix0vGC5afL3dSiFDAR66VHb05O2u4uf1ZmzTDEYaHUDioONbgqDgffT2+oFlBQKjuYY2MCVBXbd89P2yDOVOiTjlERVShADYynpFVHsyJ5Ex8ShVvqYPZUa5gET2Q8aGNdNs8F8z4BuwVQHZyAfXAvqdE1189/s2PeT5X20n55DebACz37eZ/qqx1Uq5YGLAa3R/eTkrt7q2gv42Gn9n042+puuLIx+k62u/7tp4OLf3TcA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Koy5CMHCAAAJn0AAA0AAAB4bC9zdHlsZXMueG1s7F3rb6NGEP9eqf8DQurHhIfBhsj2qUnq9qTr6aSkUr9iG9voeFiA75yr+r93ZheM2TgmeDe9Vpr74PCYmZ397TyA3Zsdv9snsfYlzIsoSye6dW3qWpgusmWUrif6H4+zK0/XijJIl0GcpeFEfwoL/d30xx/GRfkUhw+bMCw1EJEWE31TltsbwygWmzAJiutsG6ZwZ5XlSVDCab42im0eBssCmZLYsE1zaCRBlOpcwk2yeI2QJMg/77ZXiyzZBmU0j+KofGKydC1Z3Lxfp1kezGNQdW85waKWzU6eiU+iRZ4V2aq8BnFGtlpFi/C5lr7hGyBpOk53ySwpC22R7dIS0Dpc0vid90u4OHR0jXf6LluCGua1+ZNuTMdGxT0dr7K0ETIEDVHRm89p9jWd4S0uGamm4+Kb9iWI4YqFMhZZnOVaCQCDYHYlDZKQU9wFcTTPIyRbBUkUP/HLNl5gY1LRJREgxBTiLfDfOVJVbfl4lzcVpctwH0K3PKG1x2CTJQESPmvMOJZby3xr/XdH+p9qy0RVVYHV1ZiAldzIHBBkI8mHJV/PJ/psZrJ/7Z79GsWx9hCkBV6uhoL9KWCo4N7Bem2wXrwwHYMflWGezpCzOn582oKFpeDyXAyj66Be58GTZbtHDAZrcDqeZ/kSQsyx3/BL03EcrkpQNI/WG/xbZlv4nWdlCf44HS+jYJ2lQQyHRs1RHUB3FmEcP2AY+nPVyHYd6Nd+deSRENLQItE58RC6Uh1yifwEWmgx+Q2T/SKTFmy38dMMhDPR/AzkN2e3rOfN+c9xtE6T8JjhU56V4aJk8ZdZaUuPI+Vf1kNUnpggTNfjXQ39RegNOob+4y6Zh/mMpbhmkNGRmjOVJoCp5bT9clP8t/UhfCCknPE+wofwkQn5ZD9kP2Q/b5dPyb/Iv8i/yL/ghYm9vNHzM71fnHuep/ev8/mC8CF8ZPIp2Q/ZD9nP2z2PkX+Rf5F/kX99r/cdij8Ufyj+UPyh+MPXI9D35/PxkPAhfGTyBdkP2Q/Zz9s9b1y0qIqYZJakEXqEXrWStQKCkhwlOZkkRxFFJqKQ95H3yXgf2Q/ZD9nP272ikH+Rf5F/kX99rykHij8Ufyj+UPyh+MOnPGkJyPl4SPgQPjL5guyH7Ifs5+2eN8i/yL/Iv8i/vtfzPMUfij//x/hjHFfr4rW7jsp2eRcV7dL2q9PVu8A5u0t+HbirMl6sahMr3daqwFUV9OsqIFZJs07+T/L6Ki8VdjirWuTtHw0qFhYM6kph2ibLo28wRY1lABdQOizk1fv2K6Fk2X9RUe1rHmwfwz0USGPIGs+0lhmqDuCUtl0PWrtEQH1V1cB249UaZfflemDcNWr9+mtdly2rJfQxTywoWkaLToO9ZOxf6EnjvCzQQGg5qg8oVAc8RCINC0JCIcUsjrOv4VL7Daoe5nGUfoaanCyyWKDhfBfFZZRioIGigJtouQyxUiqWCeghCBbZqBEE+V+NICg8qkYQVIhVIshWBbatCmxbFdi2KrBtVWAPVIE9UAX2QBXYA1VgD1SB7agC21EFtqMKbEcV2I4qsF1VYLuqwIaStGoipKsKbFcV2ENVYA9VgY3lt5Wko6EqsIeqwB6pAnukCuyRKrB9WCahZNR8eCRWIsgyValkmep0GinrHTzLqsEJqq2rkqQMcUsZ4pYyxC1liNvKELeVIQ513xVZga0McVsZ4gNliA+UIT5QhvhAGeIDZYg7yhB3lCHuKEPcUYa4owxxVxnibj/En311aXcJnp7OfnR5xi4kpP78bfX787fNpD9/2zj680viJ6SX3u0LSaU/vyR+QgLp374kfkKy6N2+kCL680viJ6SD/u1L4ieE/t7tCwG/P78kfkJw79++JH5CIO/dvhC++/NL4udKxj9XEr9hOxH27v9QMn8MJfEbSuI3lMRvJInfSBI/v/11o/f4+e2PGr35LVNSAcuU1qD97eqCLgDL0eeB/gKEmbMLBMiCaMmCaMmCaMmCKMyI9QdRmAm7QIAsiMLM1wUayIIozHT110CY4bpAgCyIwozWBRrIgijMYPXXQJi5ukCALIjCTNUFGsiCKMxM9ddAmJHqEvAR96WL67UM7ckDtm2ZuH7hU5jjAqOao53H2caOIgfbBdZynJE3sGzbctBX+NKJV5FjqufkfHPLekPHamGGKB0zMyd3Ti2/EMiHGMA5+fA15OhlnNx7DfnoQD54BfkIP/9y6aNz5J7vub7nmPg9tSI/i2RFb+NLd0V/trM1Pb4kVPSv0cf2Gn3OolPJd3A6t5LPt5N9YWhr+tGB3jtpmvXYVvSu2dCfXIoj0uNLLdfHO2tqIH8EYHo418bp/S48Gb13ME2/Cx+k982DfAsOT6wlOuoAY8ApjUqhrgFj9Jj2KvquAWD0+HGT01tmF6Ij13ItfE3hDN5ZB0BEkR7GtabvRBTpcSavkt/ZAaC38Ymzoj8bHSp97MbDvE5AUT6mQC7f7xwwpHcb/bs8GPGxG4vzOi0I6RuP9PnSykNshqVvy32zJS7TtsQ9sR9ws9zDYjjozzJcBbu4fDzcnOjN8e/hMtolENArqk/Rl6xkIiZ6c/wBd+6FSAsmDMs8PxSwZzX81XZ5NNH/+uV25N//MrOvPPPWu3IGoXvlu7f3V65zd3t/P/NN27z7G2DFDcRvYBtsiQ262UbisCLWcm6KGLbxzqvOVso/NNcm+tEJVx+1N0Bt/ss6YTAHZBucT/8BAAD//wMAUEsDBBQABgAIAAAAIQAuhBb1ggMAAA8IAAAYAAAAeGwvd29ya3NoZWV0cy9zaGVldDEueG1sjFXRbuI4FH1faf/B8juJEyAhiFAVaLWVZjTVdGb6bBwDVpM4a5sCs9p/n2u7pAnMSOUhOL4nx+dc32vPbo5ViV650kLWOY4CghGvmSxEvc3x92/3gwlG2tC6oKWseY5PXOOb+d9/zQ5Svegd5wYBQ61zvDOmmYahZjteUR3IhtcQ2UhVUQOvahvqRnFauI+qMowJScKKihp7hqn6CIfcbATjK8n2Fa+NJ1G8pAb0651o9JntWHyIr1D0AF7PejoSVz7S8kWjK32VYEpquTEBk1XopV27zMKs57NiV0S/SVZF1cu+GQBxA+bWohTm5OxiVLHpw7aWiq5L2JFjNKKso5Je039cJzDNZ4WA3NqCQIpvcnwbTe+GOJzP3M79EPygO2Nk6PqJl5wZXkABYWQLYy3liwU+wBQBRu0AlpEyI175kpdlju9iqK1/3RowhAXCdoXu+LzavSulR4XWVPOlLJ9FYXawJJRswTd0X5r3yUkwGcZkGMXjNvhVHv7hYrsz8MkI8mXTNi1OK64ZVJLVCQqYLGE5eKJK2H6AZNOjt+VXi5MgSUYkscTanOwGAGjNtbkXlhkjttdGVmdxb6SeDvw6uiFkydN1db7RuUy0CkCpV5AMJzD+82eRS6DX79K4oobOZ0oeEDQC6NINtW0aTUG5TcIoho1hNnhrow4D0xpmX+dkFr7CHrA3xMIj4MsWMeojlh4BDlvEsI9YeQR4bxHjPuLOI8Bmi0haRAhOWju2cC7sxJPWjo2Cvw5N3NI4wwuPSLzVIBq/L+Piy348JhHp/qI+26qPjkjWj7syz3HqVkuCUZeKkOhu8K6uZxIydWkyGrcmbbRv8kLWwiPOJofppcmL+Jhk3d+kb2LVR8eTqAvO0j4azgurzlsmQZS9a/MWfaf7Em3oln+maitqjUq+gb0nQYqR8r3qxkY2bhYKcC0NtNf5bQcXCocSJgGsuJHSnF+gly3vEzf7BkkloMXdHZHjRiqjqDDQBTD/U0KgXDXCNkQ2ypI0zmA/4UY0gl0HgLbkW8pOb7cDUlNR5Fg9FK7/+NF80mY+g3+0V8D5H5wVJE6H0eA2WZDB2D7iJCWDNI2jRbokWULI/+fTu4Kj5uIa/e3RXVEW8iPj7hKd+MtlPquO08dPP9BnWcChBIfil5o/Qgrc+PkJzLihPWZBnn86sWF7lc9/AQAA//8DAFBLAwQUAAYACAAAACEA6An0rZoCAAAQBwAAGwAAAHhsL2RyYXdpbmdzL3ZtbERyYXdpbmcxLnZtbOxVTW/bMAy991cI6iGXBP7I2mWqHaDo0Ns2YN3HsVBsJVYriYbFOG5//SjbSZsVG4rtsMsM2KFIiuR7fECyzhpGr/Oizfm2ccIXlbLSz6wuGvCwxlkBVrTW8JMxEX6XCOu1LpQYfg5XuldcUV2hnppYGqdCrEUUWVl8s+amn+tro/nyhGUgfCVrZeQDbJG1QnWYc1VqDNEQ1qWV9VGAlRJlzhMehQLRUYVl1g4F8aFWTJc5v+1iem4xjVPOCoCm9PpR5TxNzuN42n85oxo19Q051LWWWOXcxtPYjBlD3tE37tQwIjXEBu4VuwPtPD4YKm41qqafj9FAoR7bNLLUymEPF+5zjqFtAc6pAsO0OW/IGkE9Q3GA9ByOT+L0jLPh3ukRxmGESQ1eowYn5MqD2aK6IGRWNhvtZkatUZwvarwYHQi1SOZvyLHTJVYiSYNdKb2pUKQx2Y8z7UrViSSUabXXK200PohKl6VyF9bDbNfIetZ3FxguTthaG1OAgSbnp2t6VBIwE0sKLZSEWG4R9iyGZFoQZadP6WHFgUJirYQdAzfwtvLFtlG03YGvA8k/EerAqcMWkKS1go6N/ISJSx0oJ5Jm0qAIw0xCP5aVut3nhWsU1hsnAm2TZRZRtB8rasVYtD924sqEDb8nebJPqzsq/aXf60fAQSss68QHaNV3jdWVMsb38IL3hjT50nvpigqafiQWT9n5gt4peztlyZTN08GaZ1EnniVSsUsCck1sLq+l8aqP7z09uk58ht0yCYFgjL4rUol1yzi4RztwH04HWJSbEepew7/U5eLvdJkukmNhpk+yTIIU97IMaXtZpv9l+W9kOScxnk2DOkmPZCTvhsMfy7LX30tZpq+XZUR/g8sfAAAA//8DAFBLAwQUAAYACAAAACEAt1BX4jUBAAAS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FfS8MwFMXfBb9DyXubZJUpoe1AZYg4EOxQfAvJ3RZs/pBEu317s27WyXy8nHN/nHNvNdvqLvsCH5Q1NaIFQRkYYaUy6xot23l+g7IQuZG8swZqtIOAZs3lRSUcE9bDs7cOfFQQskQygQlXo02MjmEcxAY0D0VymCSurNc8ptGvsePig68BTwiZYg2RSx453gNzNxLRESnFiHSfvhsAUmDoQIOJAdOC4l9vBK/DvwuDcuLUKu5c6nSMe8qW4iCO7m1Qo7Hv+6IvhxgpP8Vvi6eXoWquzP5WAlBTScGEBx6tbyp8OqTDdTzERbrxSoG83TWP1vC44SZ7sD4BQJkKn7sScSjA9HEzS5nYocGP9Fre3bdz1EwInebkKifTlpasJIxev+9T/AWkYGdfbL4BAAD//wMAUEsDBBQABgAIAAAAIQCtTuMSDwEAACICAAAQAAAAeGwvY29tbWVudHMxLnhtbLxQTUvEMBS8C/6H8O5u2h5klSaLCCuCB8H1B8TmdRvIR8nLLl1/vW/t1oMnT0IImcm8meG1myl4ccRMLkUF9aoCgbFL1sW9gvfd9mYNgoqJ1vgUUcEJCTb6+qrtUggYCwk2iKRgKGW8l5K6AYOhVRox8k+fcjCFYd5LGjMaSwNiCV42VXUrg3ERdGsOZUiZlofUrfyhLjkvjopeQkXGXsFjDWKWPVsFFfsUnFiU+bzy9cE+9CmOxiu4AwZd8ikLFy1OyBPr+kzmbYplFu3MkII5k70Jzp9mtjkT8tux6KecDqOwSF12Y+GdUSs5UnKcnNPlpfCvsg/N/5d9w+yQ/th26T0vekGkvwAAAP//AwBQSwMEFAAGAAgAAAAhAPShL/GKAQAADQ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JNT+MwEIbvK+1/iHynTlmEVpVjhGBXHBZtpRY4G2fSWLi25Rmill+/k0Sl6cKJ23y8fufx2Opqt/VFBxldDJWYz0pRQLCxdmFTiYf177OfokAyoTY+BqjEHlBc6e/f1DLHBJkcYMEWASvREqWFlGhb2BqccTtwp4l5a4jTvJGxaZyF22hftxBInpflpYQdQaihPkvvhmJ0XHT0VdM62p4PH9f7xMBaXafknTXEt9T3zuaIsaHi3lgXKGJb/NpZ8EpOZYo5V2Bfs6O9LpWcpmpljYcbHqEb4xGUPBbUHZh+fUvjMmrV0aIDSzEX6N54geeieDYIPVglOpOdCcSAvWxMhtgnpKyfYn7BFoBQSRaMxSGcaqexu9DzQcDBqbA3GEG4cYq4duQB/zZLk+kT4vmUeGAYeUec6+RjdnhryHyAHO7N4/4b8MeFF3xI68iH4LDA06JatSZDzTs/9I8Fdce7y743uWlN2EB90Hxs9A//OP5uPb+YlT9KfslJTcnjP9b/AAAA//8DAFBLAQItABQABgAIAAAAIQCSV401eQEAAHAFAAATAAAAAAAAAAAAAAAAAAAAAABbQ29udGVudF9UeXBlc10ueG1sUEsBAi0AFAAGAAgAAAAhAFB8TsH2AAAATAIAAAsAAAAAAAAAAAAAAAAAsgMAAF9yZWxzLy5yZWxzUEsBAi0AFAAGAAgAAAAhAIyWxW7zAAAAugIAABoAAAAAAAAAAAAAAAAA2QYAAHhsL19yZWxzL3dvcmtib29rLnhtbC5yZWxzUEsBAi0AFAAGAAgAAAAhADKkRevAAQAAzwIAAA8AAAAAAAAAAAAAAAAADAkAAHhsL3dvcmtib29rLnhtbFBLAQItABQABgAIAAAAIQBtaLeqCAEAAJQBAAAUAAAAAAAAAAAAAAAAAPkKAAB4bC9zaGFyZWRTdHJpbmdzLnhtbFBLAQItABQABgAIAAAAIQDnZXW41gAAALgBAAAjAAAAAAAAAAAAAAAAADMMAAB4bC93b3Jrc2hlZXRzL19yZWxzL3NoZWV0MS54bWwucmVsc1BLAQItABQABgAIAAAAIQD7YqVtlAYAAKcbAAATAAAAAAAAAAAAAAAAAEoNAAB4bC90aGVtZS90aGVtZTEueG1sUEsBAi0AFAAGAAgAAAAhAKoy5CMHCAAAJn0AAA0AAAAAAAAAAAAAAAAADxQAAHhsL3N0eWxlcy54bWxQSwECLQAUAAYACAAAACEALoQW9YIDAAAPCAAAGAAAAAAAAAAAAAAAAABBHAAAeGwvd29ya3NoZWV0cy9zaGVldDEueG1sUEsBAi0AFAAGAAgAAAAhAOgJ9K2aAgAAEAcAABsAAAAAAAAAAAAAAAAA+R8AAHhsL2RyYXdpbmdzL3ZtbERyYXdpbmcxLnZtbFBLAQItABQABgAIAAAAIQC3UFfiNQEAABICAAARAAAAAAAAAAAAAAAAAMwiAABkb2NQcm9wcy9jb3JlLnhtbFBLAQItABQABgAIAAAAIQCtTuMSDwEAACICAAAQAAAAAAAAAAAAAAAAADglAAB4bC9jb21tZW50czEueG1sUEsBAi0AFAAGAAgAAAAhAPShL/GKAQAADQMAABAAAAAAAAAAAAAAAAAAdSYAAGRvY1Byb3BzL2FwcC54bWxQSwUGAAAAAA0ADQBYAwAANSkAAAAABSM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YAAAAFQXJpYWwGdwAAAAYrbW4tZWEJeAAAAAEACXkAAAAHJAAAAAABAAAAEQAAAAQUU3lzdGVtLkRyYXdpbmcuQ29sb3IEAAAABXoAAAAUU3lzdGVtLkRyYXdpbmcuQ29sb3IEAAAABXZhbHVlBXN0YXRlCmtub3duQ29sb3IEbmFtZQAAAAEJBwcEAAAAAAAAAAAAAAAAAAAACgF7AAAAegAAAAAAAP//////AgAAAAoBfAAAAHoAAAD//////////wIAAAAKAX0AAAB6AAAATkEi//////8CAAAACgF+AAAAegAAAN7c2///////AgAAAAoBfwAAAHoAAAB+aT///////wIAAAAKAYAAAAB6AAAAjIRy//////8CAAAACgGBAAAAegAAACUh7f//////AgAAAAoBggAAAHoAAAA0O0b//////wIAAAAKAYMAAAB6AAAAdJjD//////8CAAAACgGEAAAAegAAAB6U9///////AgAAAAoBhQAAAHoAAAAelPf//////wIAAAAKAYYAAAB6AAAAJSHt//////8CAAAACgGHAAAAegAAAAAAAP//////AgAAAAoBiAAAAHoAAAD//////////wIAAAAKAYkAAAB6AAAATkEi//////8CAAAACgGKAAAAegAAAN7c2///////AgAAAAoEJQAAAJgBU3lzdGVtLkNvbGxlY3Rpb25zLkdlbmVyaWMuTGlzdGAxW1tBcGxvcmlzLkJhc2UuT2JqZWN0cy5EYXRhT2JqZWN0LCBBcGxvcmlzLkJhc2UsIFZlcnNpb249NC4wLjAuMTQ4NiwgQ3VsdHVyZT1uZXV0cmFsLCBQdWJsaWNLZXlUb2tlbj0xNmZjMTNhMjI2YzBlOTUxXV0DAAAABl9pdGVtcwVfc2l6ZQhfdmVyc2lvbgQAACFBcGxvcmlzLkJhc2UuT2JqZWN0cy5EYXRhT2JqZWN0W10DAAAACAgJiwAAAA0AAAATAAAABCYAAACVAVN5c3RlbS5Db2xsZWN0aW9ucy5HZW5lcmljLkxpc3RgMVtbQXBsb3Jpcy5CYXNlLlVJLlZpc3VhbE9iamVjdCwgQXBsb3Jpcy5CYXNlLCBWZXJzaW9uPTQuMC4wLjE0ODYsIEN1bHR1cmU9bmV1dHJhbCwgUHVibGljS2V5VG9rZW49MTZmYzEzYTIyNmMwZTk1MV1dAwAAAAZfaXRlbXMFX3NpemUIX3ZlcnNpb24EAAAeQXBsb3Jpcy5CYXNlLlVJLlZpc3VhbE9iamVjdFtdAwAAAAgICYwAAAABAAAAAQAAAAUoAAAAmwFBcGxvcmlzLkJhc2UuT2JqZWN0cy5EYXRhT2JqZWN0Q29sbGVjdGlvbmAxW1tBcGxvcmlzLkNoYXJ0LlZhbHVl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C4wLjE0ODYsIEN1bHR1cmU9bmV1dHJhbCwgUHVibGljS2V5VG9rZW49MTZmYzEzYTIyNmMwZTk1MV1dAwAAAJEBU3lzdGVtLkNvbGxlY3Rpb25zLkdlbmVyaWMuTGlzdGAxW1tBcGxvcmlzLkNoYXJ0LlZhbHVl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NAAAACY4AAAAJBgAAAAkBAAAACY8AAAAFKQAAAJsBQXBsb3Jpcy5CYXNlLk9iamVjdHMuRGF0YU9iamVjdENvbGxlY3Rpb25gMVtbQXBsb3Jpcy5DaGFydC5BeGlzQnJlYWs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AuMC4xNDg2LCBDdWx0dXJlPW5ldXRyYWwsIFB1YmxpY0tleVRva2VuPTE2ZmMxM2EyMjZjMGU5NTFdXQMAAACRAVN5c3RlbS5Db2xsZWN0aW9ucy5HZW5lcmljLkxpc3RgMVtbQXBsb3Jpcy5DaGFydC5BeGlzQnJlYW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kAAAAAmRAAAACQYAAAAJAQAAAAmSAAAABS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gAAAADAAAACWkAAAAJagAAAAlrAAAAAQAAAAAKCglsAAAAAAAAAAoAAAAAAA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L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aAAAAAMAAAAJaQAAAAlqAAAACWsAAAABAAAAAAoGkwAAAAElCWwAAAABAAAACgAAAAAAAAAABS0AAACaAUFwbG9yaXMuQmFzZS5PYmplY3RzLkRhdGFPYmplY3RDb2xsZWN0aW9uYDFbW0FwbG9yaXMuQ2hhcnQuVGlja01hcms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C4wLjE0ODYsIEN1bHR1cmU9bmV1dHJhbCwgUHVibGljS2V5VG9rZW49MTZmYzEzYTIyNmMwZTk1MV1dAwAAAJABU3lzdGVtLkNvbGxlY3Rpb25zLkdlbmVyaWMuTGlzdGAxW1tBcGxvcmlzLkNoYXJ0LlRpY2tNYXJ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QAAAAJlQAAAAkGAAAACQEAAAAJlgAAAAUw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cAAAAhAAAA7EQXQgokiUMBmAAAACEAAAAY9pVDCiSJQwmZAAAAuAEAAP////8BAQoJmgAAAAEACgAHMQAAAAABAAAABQAAAAQVU3lzdGVtLkRyYXdpbmcuUG9pbnRGBAAAAAGbAAAAIQAAABh2l0MKJIlDAZwAAAAhAAAA7EQXQrVOl0MBnQAAACEAAAC23ihDtU6XQwGeAAAAIQAAABj2lUO1TpdDAZ8AAAAhAAAAGHaXQwqki0MHMgAAAAABAAAABQAAAAQXQXBsb3Jpcy5CYXNlLkFuY2hvck1vZGUDAAAABaAAAAAXQXBsb3Jpcy5CYXNlLkFuY2hvck1vZGUBAAAAB3ZhbHVlX18ACAMAAAAEAAAAAaEAAACgAAAABQAAAAGiAAAAoAAAAAMAAAABowAAAKAAAAAGAAAAAaQAAACgAAAABQAAAA8zAAAABQAAAAEAAAAAAQU0AAAAFUFwbG9yaXMuQmFzZS5VSS5MYWJlbBwAAAAPbUFuY2hvclBvc2l0aW9uC21BbmNob3JNb2RlD21BZGRJbm5lck1hcmdpbhZtT2Zmc2V0RGlyZWN0aW9uQW5jaG9yF21PZmZzZXRPcnRob2dvbmFsQW5jaG9yC21UZXh0Rm9ybWF0CW1Sb3RhdGlvbgptQmFja0NvbG9yDW1Vc2VCYWNrQ29sb3IObVVzZ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EBAQAAQMDAQAAAAAHAgAAAwA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wAAAAGlAAAAIQAAABh2l0MKJIlDAaYAAACgAAAABAAAAAAAAAAAAAAAAAmnAAAAAAAAAAmoAAAAAAAFqQAAACpBcGxvcmlzLkJhc2UuVUkuTGFiZWwrTGluZUFsaWdubWVudE9wdGlvbnMBAAAAB3ZhbHVlX18ACAMAAAAAAAAAAaoAAAByAAAAAAAAAAAAAAABqwAAABUAAAAAAAAAAAAAAAAAAAAAAAAAAAAAAAasAAAADUNhdGVnb3J5IGF4aXMKCa0AAAAJrAAAAOQCAAD/////AAEKCa4AAAABAAoBATUAAAAlAAAACa8AAAAGAAAABgAAAAE2AAAAJgAAAAmwAAAAAgAAAAIAAAABOAAAACgAAAAKCbEAAAAJsgAAAAkHAAAACQEAAAAJswAAAAE5AAAAKQAAAAoJtAAAAAm1AAAACQcAAAAJAQAAAAm2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gAAAADAAAACWkAAAAJagAAAAlrAAAAAQAAAAAKBrcAAAABJQlsAAAAAAAAAAoAAAAAAA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oAAAAAwAAAAlpAAAACWoAAAAJawAAAAEAAAAACga4AAAAASUJbAAAAAAAAAAKAAAAAAAAAAAFP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QAAAAEJaAAAAAMAAAAJaQAAAAlqAAAACWsAAAABAAAAAAoJkwAAAAlsAAAAAQAAAAoAAAAAAAAAAAE9AAAALQAAAAoJuQAAAAm6AAAACQcAAAAJAQAAAAm7AAAAAUAAAAAwAAAAAbwAAAAhAAAA7EQXQgokiUMBvQAAACEAAADsRBdCdiJ4QQm+AAAAuAEAAP////8BAQoJvwAAAAEACgAHQQAAAAABAAAABQAAAAQVU3lzdGVtLkRyYXdpbmcuUG9pbnRGBAAAAAHAAAAAIQAAAOxEF0IhzRpBAcEAAAAhAAAA+u0fQQokiUMBwgAAACEAAAD67R9BHuUQQwHDAAAAIQAAAPrtH0F2InhBAcQAAAAhAAAA+u0fQSHNGkEHQgAAAAABAAAABQAAAAQXQXBsb3Jpcy5CYXNlLkFuY2hvck1vZGUDAAAAAcUAAACgAAAAAQAAAAHGAAAAoAAAAAgAAAABxwAAAKAAAAACAAAAAcgAAACgAAAABgAAAAHJAAAAoAAAAAcAAAAPQwAAAAUAAAABAAAAAAEBRAAAADQAAAABygAAACEAAADsRBdCIc0aQQHLAAAAoAAAAAEAAAAAAAAAAAAAAAAJzAAAAAAAAAAJzQAAAAAAAc4AAACpAAAAAAAAAAHPAAAAcgAAAAAAAAAAAAAAAdAAAAAVAAAAAAAAAAAAAAAAAAAAAAAAAAAAAAAG0QAAAApWYWx1ZSBheGlzCgnSAAAACdEAAADkAgAA/////wABCgnTAAAAAQAKAQFFAAAAJQAAAAnUAAAACAAAAAgAAAABRgAAACYAAAAJ1QAAAAIAAAACAAAAB0cAAAAAAQAAAAAAAAAELkFwbG9yaXMuQ2hhcnQuQ29sdW1uT3JpZW50ZWRDaGFydCtVbnVzZWRTZXJpZXMCAAAABEgAAACXAVN5c3RlbS5Db2xsZWN0aW9ucy5HZW5lcmljLkxpc3RgMVtbQXBsb3Jpcy5DaGFydC5DaGFydERhdGFTZXJpZXMsIEFwbG9yaXMuQ2hhcnQsIFZlcnNpb249NC4wLjAuMTQ4NiwgQ3VsdHVyZT1uZXV0cmFsLCBQdWJsaWNLZXlUb2tlbj0xNmZjMTNhMjI2YzBlOTUxXV0DAAAABl9pdGVtcwVfc2l6ZQhfdmVyc2lvbgQAAB9BcGxvcmlzLkNoYXJ0LkNoYXJ0RGF0YVNlcmllc1tdAgAAAAgICdYAAAACAAAAhgEAAAFJAAAAJQAAAAnXAAAAAgAAAJgAAAABSgAAACYAAAAJ2AAAAAAAAAAAAAAABEsAAACcAVN5c3RlbS5Db2xsZWN0aW9ucy5HZW5lcmljLkxpc3RgMVtbQXBsb3Jpcy5DaGFydC5Bbm5vdGF0aW9uRGF0YVNlcmllcywgQXBsb3Jpcy5DaGFydCwgVmVyc2lvbj00LjAuMC4xNDg2LCBDdWx0dXJlPW5ldXRyYWwsIFB1YmxpY0tleVRva2VuPTE2ZmMxM2EyMjZjMGU5NTFdXQMAAAAGX2l0ZW1zBV9zaXplCF92ZXJzaW9uBAAAJEFwbG9yaXMuQ2hhcnQuQW5ub3RhdGlvbkRhdGFTZXJpZXNbXQIAAAAICAnZAAAAAAAAAAAAAAABTAAAACUAAAAJ2gAAAAAAAAAAAAAAAU0AAAAmAAAACdgAAAAAAAAAAAAAAAROAAAAlwFTeXN0ZW0uQ29sbGVjdGlvbnMuR2VuZXJpYy5MaXN0YDFbW0FwbG9yaXMuQ2hhcnQuQW5ub3RhdGlvbkdyb3VwLCBBcGxvcmlzLkNoYXJ0LCBWZXJzaW9uPTQuMC4wLjE0ODYsIEN1bHR1cmU9bmV1dHJhbCwgUHVibGljS2V5VG9rZW49MTZmYzEzYTIyNmMwZTk1MV1dAwAAAAZfaXRlbXMFX3NpemUIX3ZlcnNpb24EAAAfQXBsb3Jpcy5DaGFydC5Bbm5vdGF0aW9uR3JvdXBbXQIAAAAICAnbAAAAAAAAAAAAAAABTwAAACUAAAAJ2gAAAAAAAAAAAAAAAVAAAAAmAAAACdgAAAAAAAAAAAAAAARRAAAAlgFTeXN0ZW0uQ29sbGVjdGlvbnMuR2VuZXJpYy5MaXN0YDFbW0FwbG9yaXMuQ2hhcnQuQ2hhcnREYXRhR3JvdXAsIEFwbG9yaXMuQ2hhcnQsIFZlcnNpb249NC4wLjAuMTQ4NiwgQ3VsdHVyZT1uZXV0cmFsLCBQdWJsaWNLZXlUb2tlbj0xNmZjMTNhMjI2YzBlOTUxXV0DAAAABl9pdGVtcwVfc2l6ZQhfdmVyc2lvbgQAAB5BcGxvcmlzLkNoYXJ0LkNoYXJ0RGF0YUdyb3VwW10CAAAACAgJ3AAAAAQAAAAuAAAAAVIAAAAlAAAACd0AAAAEAAAAHgAAAAFTAAAAJgAAAAnYAAAAAAAAAAAAAAAEVAAAAJABU3lzdGVtLkNvbGxlY3Rpb25zLkdlbmVyaWMuTGlzdGAxW1tBcGxvcmlzLkNoYXJ0LkRlbHRhQmFyLCBBcGxvcmlzLkNoYXJ0LCBWZXJzaW9uPTQuMC4wLjE0ODYsIEN1bHR1cmU9bmV1dHJhbCwgUHVibGljS2V5VG9rZW49MTZmYzEzYTIyNmMwZTk1MV1dAwAAAAZfaXRlbXMFX3NpemUIX3ZlcnNpb24EAAAYQXBsb3Jpcy5DaGFydC5EZWx0YUJhcltdAgAAAAgICd4AAAAAAAAAAAAAAAFVAAAAJQAAAAnaAAAAAAAAAAAAAAABVgAAACYAAAAJ2AAAAAAAAAAAAAAABFcAAACTAVN5c3RlbS5Db2xsZWN0aW9ucy5HZW5lcmljLkxpc3RgMVtbQXBsb3Jpcy5DaGFydC5EZWx0YUJyaWRnZSwgQXBsb3Jpcy5DaGFydCwgVmVyc2lvbj00LjAuMC4xNDg2LCBDdWx0dXJlPW5ldXRyYWwsIFB1YmxpY0tleVRva2VuPTE2ZmMxM2EyMjZjMGU5NTFdXQMAAAAGX2l0ZW1zBV9zaXplCF92ZXJzaW9uBAAAG0FwbG9yaXMuQ2hhcnQuRGVsdGFCcmlkZ2VbXQIAAAAICAnfAAAAAAAAAAAAAAABWAAAACUAAAAJ2gAAAAAAAAAAAAAAAVkAAAAmAAAACdgAAAAAAAAAAAAAAARaAAAAkwFTeXN0ZW0uQ29sbGVjdGlvbnMuR2VuZXJpYy5MaXN0YDFbW0FwbG9yaXMuQ2hhcnQuR3Jvd3RoQXJyb3csIEFwbG9yaXMuQ2hhcnQsIFZlcnNpb249NC4wLjAuMTQ4NiwgQ3VsdHVyZT1uZXV0cmFsLCBQdWJsaWNLZXlUb2tlbj0xNmZjMTNhMjI2YzBlOTUxXV0DAAAABl9pdGVtcwVfc2l6ZQhfdmVyc2lvbgQAABtBcGxvcmlzLkNoYXJ0Lkdyb3d0aEFycm93W10CAAAACAgJ4AAAAAAAAAAAAAAAAVsAAAAlAAAACdoAAAAAAAAAAAAAAAFcAAAAJgAAAAnYAAAAAAAAAAAAAAAEXQAAAJoBU3lzdGVtLkNvbGxlY3Rpb25zLkdlbmVyaWMuTGlzdGAxW1tBcGxvcmlzLkNoYXJ0LldhdGVyZmFsbENvbm5lY3RvciwgQXBsb3Jpcy5DaGFydCwgVmVyc2lvbj00LjAuMC4xNDg2LCBDdWx0dXJlPW5ldXRyYWwsIFB1YmxpY0tleVRva2VuPTE2ZmMxM2EyMjZjMGU5NTFdXQMAAAAGX2l0ZW1zBV9zaXplCF92ZXJzaW9uBAAAIkFwbG9yaXMuQ2hhcnQuV2F0ZXJmYWxsQ29ubmVjdG9yW10CAAAACAgJ4QAAAAAAAAAAAAAAAV4AAAAlAAAACdoAAAAAAAAAAAAAAAFfAAAAJgAAAAnYAAAAAAAAAAAAAAAEYAAAAJgBU3lzdGVtLkNvbGxlY3Rpb25zLkdlbmVyaWMuTGlzdGAxW1tBcGxvcmlzLkNoYXJ0LkVsZW1lbnRDb25uZWN0b3IsIEFwbG9yaXMuQ2hhcnQsIFZlcnNpb249NC4wLjAuMTQ4NiwgQ3VsdHVyZT1uZXV0cmFsLCBQdWJsaWNLZXlUb2tlbj0xNmZjMTNhMjI2YzBlOTUxXV0DAAAABl9pdGVtcwVfc2l6ZQhfdmVyc2lvbgQAACBBcGxvcmlzLkNoYXJ0LkVsZW1lbnRDb25uZWN0b3JbXQIAAAAICAniAAAAAAAAAAAAAAABYQAAACUAAAAJ2gAAAAAAAAAAAAAAAWIAAAAmAAAACdgAAAAAAAAAAAAAAAVjAAAArQFBcGxvcmlzLkJhc2UuT2JqZWN0cy5EYXRhT2JqZWN0Q29sbGVjdGlvbmAxW1tBcGxvcmlzLkNoYXJ0LkNvbHVtbk9yaWVudGVkTGVnZW5kRWxlbWVudCwgQXBsb3Jpcy5DaGFydCwgVmVyc2lvbj00LjAuMC4xNDg2LCBDdWx0dXJlPW5ldXRyYWwsIFB1YmxpY0tleVRva2VuPTE2ZmMxM2EyMjZjMGU5NTFdXQYAAAALbUNvbGxlY3Rpb24FbUxpc3QYRGF0YU9iamVjdCttQ2hpbGRPYmplY3RzEkRhdGFPYmplY3QrbVBhcmVudBVEYXRhT2JqZWN0K21Db250YWluZXIZRGF0YU9iamVjdCttVmlzdWFsT2JqZWN0cwQDAwQEA6sBQXBsb3Jpcy5CYXNlLk9iamVjdHMuU29ydGFibGVDb2xsZWN0aW9uYDFbW0FwbG9yaXMuQ2hhcnQuQ29sdW1uT3JpZW50ZWRMZWdlbmRFbGVtZW50LCBBcGxvcmlzLkNoYXJ0LCBWZXJzaW9uPTQuMC4wLjE0ODYsIEN1bHR1cmU9bmV1dHJhbCwgUHVibGljS2V5VG9rZW49MTZmYzEzYTIyNmMwZTk1MV1dAwAAAKMBU3lzdGVtLkNvbGxlY3Rpb25zLkdlbmVyaWMuTGlzdGAxW1tBcGxvcmlzLkNoYXJ0LkNvbHVtbk9yaWVudGVkTGVnZW5k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njAAAACeQAAAAJFAAAAAkBAAAACeUAAAABZQAAABwAAAAB5gAAACEAAABDVItBsP2ZQwHnAAAAIQAAALUkZkMmHqxDCegAAAAJ6QAAAAAAAAAKAeoAAAByAAAAAAAAAAAAAAAB6wAAAHIAAAAAAAAAAAAAAAAAAAAB7AAAABUAAAAAAAAAAAAAAAAAAAAAAAAApAEAAP////8BAQoJ7QAAAAEACgABZgAAACUAAAAJ7gAAAAEAAAABAAAAAWcAAAAmAAAACe8AAAABAAAAAQAAAAVw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AAACfAAAAAJ8QAAAAEAAAD+////AQAAAAEAAAABAAAAAQAAAAEAAAABAAAAAAABBXE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8gAAAAnzAAAAAQAAAAAAAAAAAAAAAAAAAAABBXUAAAAfQXBsb3Jpcy5CYXNlLk9iamVjdHMuUGVyc0lkRGF0YQIAAAADbUlkC21DdXN0b21EYXRhBwIIAwAAAAn0AAAACgV4AAAAGkFwbG9yaXMuQmFzZS5PYmplY3RzLkNvbG9yBwAAABJEYXRhT2JqZWN0K21QYXJlbnQVRGF0YU9iamVjdCttQ29udGFpbmVyBW1UeXBlBG1SR0IQbVRoZW1lQ29sb3JJbmRleAxtQXV0b1VwZGF0ZWQJbU1vZGlmaWVkAgIAAAAAAAgICAEBAwAAAAoKAAAAAAAAAAANAAAAAAEBeQAAAHgAAAAKCgEAAAAAAAAA/////wABB4sAAAAAAQAAABAAAAAEH0FwbG9yaXMuQmFzZS5PYmplY3RzLkRhdGFPYmplY3QDAAAACQkAAAAJCgAAAAkLAAAACQwAAAAJEAAAAAkRAAAACQ0AAAAJDgAAAAkPAAAACQcAAAAJBgAAAAkYAAAACRQAAAANAweMAAAAAAEAAAAEAAAABBxBcGxvcmlzLkJhc2UuVUkuVmlzdWFsT2JqZWN0AwAAAAkcAAAADQMEjQAAAJEBU3lzdGVtLkNvbGxlY3Rpb25zLkdlbmVyaWMuTGlzdGAxW1tBcGxvcmlzLkNoYXJ0LlZhbHVlTGluZSwgQXBsb3Jpcy5DaGFydCwgVmVyc2lvbj00LjAuMC4xNDg2LCBDdWx0dXJlPW5ldXRyYWwsIFB1YmxpY0tleVRva2VuPTE2ZmMxM2EyMjZjMGU5NTFdXQMAAAAGX2l0ZW1zBV9zaXplCF92ZXJzaW9uBAAAGUFwbG9yaXMuQ2hhcnQuVmFsdWVMaW5lW10CAAAACAgJ9QAAAAAAAAAAAAAAAY4AAAAlAAAACdoAAAAAAAAAAAAAAAGPAAAAJgAAAAnYAAAAAAAAAAAAAAAEkAAAAJEBU3lzdGVtLkNvbGxlY3Rpb25zLkdlbmVyaWMuTGlzdGAxW1tBcGxvcmlzLkNoYXJ0LkF4aXNCcmVhaywgQXBsb3Jpcy5DaGFydCwgVmVyc2lvbj00LjAuMC4xNDg2LCBDdWx0dXJlPW5ldXRyYWwsIFB1YmxpY0tleVRva2VuPTE2ZmMxM2EyMjZjMGU5NTFdXQMAAAAGX2l0ZW1zBV9zaXplCF92ZXJzaW9uBAAAGUFwbG9yaXMuQ2hhcnQuQXhpc0JyZWFrW10CAAAACAgJ9gAAAAAAAAAAAAAAAZEAAAAlAAAACdoAAAAAAAAAAAAAAAGSAAAAJgAAAAnYAAAAAAAAAAAAAAAElAAAAJABU3lzdGVtLkNvbGxlY3Rpb25zLkdlbmVyaWMuTGlzdGAxW1tBcGxvcmlzLkNoYXJ0LlRpY2tNYXJrLCBBcGxvcmlzLkNoYXJ0LCBWZXJzaW9uPTQuMC4wLjE0ODYsIEN1bHR1cmU9bmV1dHJhbCwgUHVibGljS2V5VG9rZW49MTZmYzEzYTIyNmMwZTk1MV1dAwAAAAZfaXRlbXMFX3NpemUIX3ZlcnNpb24EAAAYQXBsb3Jpcy5DaGFydC5UaWNrTWFya1tdAgAAAAgICfcAAAAAAAAAAAAAAAGVAAAAJQAAAAnaAAAAAAAAAAAAAAABlgAAACYAAAAJ2AAAAAAAAAAAAAAAAZkAAABwAAAACgoAAABAPwn4AAAACfkAAAABAAAA/v///wAAAAABAAAAAAAAAAAAAAABAAAAAAAAAAAAAAGaAAAAdQAAAAn6AAAACgWn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QEEJdgAAAAl3AAAACfsAAAABAAn8AAAAAagAAAB4AAAACgoBAAAAAAAAAP////8AAQStAAAAlgFTeXN0ZW0uQ29sbGVjdGlvbnMuR2VuZXJpYy5MaXN0YDFbW0FwbG9yaXMuQmFzZS5PYmplY3RzLlZhcmlhYmxlLCBBcGxvcmlzLkJhc2UsIFZlcnNpb249NC4wLjAuMTQ4NiwgQ3VsdHVyZT1uZXV0cmFsLCBQdWJsaWNLZXlUb2tlbj0xNmZjMTNhMjI2YzBlOTUxXV0DAAAABl9pdGVtcwVfc2l6ZQhfdmVyc2lvbgQAAB9BcGxvcmlzLkJhc2UuT2JqZWN0cy5WYXJpYWJsZVtdAwAAAAgICf0AAAAAAAAAAAAAAAGuAAAAdQAAAAn+AAAACgevAAAAAAEAAAAIAAAABB9BcGxvcmlzLkJhc2UuT2JqZWN0cy5EYXRhT2JqZWN0AwAAAAkqAAAACSsAAAAJLAAAAAktAAAACSgAAAAJKQAAAAoKB7AAAAAAAQAAAAQAAAAEHEFwbG9yaXMuQmFzZS5VSS5WaXN1YWxPYmplY3QDAAAACTAAAAAJNAAAAAoKAbEAAACNAAAACfUAAAAAAAAAAAAAAAGyAAAAJQAAAAnaAAAAAAAAAAAAAAABswAAACYAAAAJ2AAAAAAAAAAAAAAAAbQAAACQAAAACfYAAAAAAAAAAAAAAAG1AAAAJQAAAAnaAAAAAAAAAAAAAAABtgAAACYAAAAJ2AAAAAAAAAAAAAAAAbkAAACUAAAACf8AAAAHAAAALwAAAAG6AAAAJQAAAAkAAQAABwAAAC8AAAABuwAAACYAAAAJ2AAAAAAAAAAAAAAAAb4AAABwAAAACgoAAABAPwkBAQAACQIBAAABAAAA/v///wAAAAABAAAAAAAAAAAAAAABAAAAAAAAAAAAAAG/AAAAdQAAAAkDAQAACgXM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QEEJdgAAAAl3AAAACQQBAAABAAkFAQAAAc0AAAB4AAAACgoBAAAAAAAAAP////8AAQHSAAAArQAAAAn9AAAAAAAAAAAAAAAB0wAAAHUAAAAJBgEAAAoH1AAAAAABAAAACAAAAAQfQXBsb3Jpcy5CYXNlLk9iamVjdHMuRGF0YU9iamVjdAMAAAAJOgAAAAk7AAAACTwAAAAJPQAAAAk4AAAACTkAAAAJBwEAAAkIAQAAB9UAAAAAAQAAAAQAAAAEHEFwbG9yaXMuQmFzZS5VSS5WaXN1YWxPYmplY3QDAAAACUAAAAAJRAAAAAoKB9YAAAAAAQAAACAAAAAEHUFwbG9yaXMuQ2hhcnQuQ2hhcnREYXRhU2VyaWVzAgAAAAkJAQAACQoBAAANHgfXAAAAAAEAAAAgAAAABB9BcGxvcmlzLkJhc2UuT2JqZWN0cy5EYXRhT2JqZWN0AwAAAAkKAQAACQkBAAANHgfYAAAAAAEAAAAAAAAABBxBcGxvcmlzLkJhc2UuVUkuVmlzdWFsT2JqZWN0AwAAAAfZAAAAAAEAAAAAAAAABCJBcGxvcmlzLkNoYXJ0LkFubm90YXRpb25EYXRhU2VyaWVzAgAAAAfaAAAAAAEAAAAAAAAABB9BcGxvcmlzLkJhc2UuT2JqZWN0cy5EYXRhT2JqZWN0AwAAAAfbAAAAAAEAAAAAAAAABB1BcGxvcmlzLkNoYXJ0LkFubm90YXRpb25Hcm91cAIAAAAH3AAAAAABAAAAEAAAAAQcQXBsb3Jpcy5DaGFydC5DaGFydERhdGFHcm91cAIAAAAJCwEAAAkMAQAACQ0BAAAJDgEAAA0MB90AAAAAAQAAABAAAAAEH0FwbG9yaXMuQmFzZS5PYmplY3RzLkRhdGFPYmplY3QDAAAACQwBAAAJCwEAAAkNAQAACQ4BAAANDAfeAAAAAAEAAAAAAAAABBZBcGxvcmlzLkNoYXJ0LkRlbHRhQmFyAgAAAAffAAAAAAEAAAAAAAAABBlBcGxvcmlzLkNoYXJ0LkRlbHRhQnJpZGdlAgAAAAfgAAAAAAEAAAAAAAAABBlBcGxvcmlzLkNoYXJ0Lkdyb3d0aEFycm93AgAAAAfhAAAAAAEAAAAAAAAABCBBcGxvcmlzLkNoYXJ0LldhdGVyZmFsbENvbm5lY3RvcgIAAAAH4gAAAAABAAAAAAAAAAQeQXBsb3Jpcy5DaGFydC5FbGVtZW50Q29ubmVjdG9yAgAAAATjAAAAowFTeXN0ZW0uQ29sbGVjdGlvbnMuR2VuZXJpYy5MaXN0YDFbW0FwbG9yaXMuQ2hhcnQuQ29sdW1uT3JpZW50ZWRMZWdlbmRFbGVtZW50LCBBcGxvcmlzLkNoYXJ0LCBWZXJzaW9uPTQuMC4wLjE0ODYsIEN1bHR1cmU9bmV1dHJhbCwgUHVibGljS2V5VG9rZW49MTZmYzEzYTIyNmMwZTk1MV1dAwAAAAZfaXRlbXMFX3NpemUIX3ZlcnNpb24EAAArQXBsb3Jpcy5DaGFydC5Db2x1bW5PcmllbnRlZExlZ2VuZEVsZW1lbnRbXQIAAAAICAkPAQAAAgAAAEQAAAAB5AAAACUAAAAJEAEAAAIAAAACAAAAAeUAAAAmAAAACREBAAAAAAAAAAAAAAHoAAAAcAAAAAoKAAAAAAAJEgEAAAkTAQAAAQAAAP7///8BAAAAAQAAAAEAAAABAAAAAQAAAAEAAAAAAAEB6QAAAHEAAAAKCgkUAQAACRUBAAABAAAAAAAAAAAAAAAAAAAAAAEB7QAAAHUAAAAJFgEAAAoH7gAAAAABAAAABAAAAAQfQXBsb3Jpcy5CYXNlLk9iamVjdHMuRGF0YU9iamVjdAMAAAAJYwAAAA0DB+8AAAAAAQAAAAQAAAAEHEFwbG9yaXMuQmFzZS5VSS5WaXN1YWxPYmplY3QDAAAACWUAAAANAwHwAAAAeAAAAAoKAAAAAAAAAAANAAAAAAEB8QAAAHgAAAAKCgEAAAAAAAAA/////wABAfIAAAB4AAAACgoBAAAA////AP////8AAQHzAAAAeAAAAAoKAQAAAAAAAAD/////AAEP9AAAAAEAAAAIAAAAAAf1AAAAAAEAAAAAAAAABBdBcGxvcmlzLkNoYXJ0LlZhbHVlTGluZQIAAAAH9gAAAAABAAAAAAAAAAQXQXBsb3Jpcy5DaGFydC5BeGlzQnJlYWsCAAAAB/cAAAAAAQAAAAAAAAAEFkFwbG9yaXMuQ2hhcnQuVGlja01hcmsCAAAABfgAAAAaQXBsb3Jpcy5CYXNlLk9iamVjdHMuQ29sb3IHAAAAEkRhdGFPYmplY3QrbVBhcmVudBVEYXRhT2JqZWN0K21Db250YWluZXIFbVR5cGUEbVJHQhBtVGhlbWVDb2xvckluZGV4DG1BdXRvVXBkYXRlZAltTW9kaWZpZWQEAgAAAAAAH0FwbG9yaXMuQmFzZS5PYmplY3RzLkxpbmVGb3JtYXQDAAAACAgIAQEDAAAACZkAAAAKAAAAAAAAAAANAAAAAAAF+QAAABpBcGxvcmlzLkJhc2UuT2JqZWN0cy5Db2xvcgcAAAASRGF0YU9iamVjdCttUGFyZW50FURhdGFPYmplY3QrbUNvbnRhaW5lcgVtVHlwZQRtUkdCEG1UaGVtZUNvbG9ySW5kZXgMbUF1dG9VcGRhdGVkCW1Nb2RpZmllZAQCAAAAAAAfQXBsb3Jpcy5CYXNlLk9iamVjdHMuTGluZUZvcm1hdAMAAAAICAgBAQMAAAAJmQAAAAoBAAAAAAAAAP////8AAQ/6AAAAAQAAAAiHAwAAAfsAAAB4AAAACgoAAAAAAAAAAA0AAAAAAQH8AAAAeAAAAAoKAQAAAAAAAAD/////AAEH/QAAAAABAAAAAAAAAAQdQXBsb3Jpcy5CYXNlLk9iamVjdHMuVmFyaWFibGUDAAAAD/4AAAABAAAACAAAAAAH/wAAAAABAAAAEAAAAAQWQXBsb3Jpcy5DaGFydC5UaWNrTWFyawIAAAAJFwEAAAkYAQAACRkBAAAJGgEAAAkbAQAACRwBAAAJHQEAAA0JBwABAAAAAQAAABAAAAAEH0FwbG9yaXMuQmFzZS5PYmplY3RzLkRhdGFPYmplY3QDAAAACRcBAAAJGAEAAAkZAQAACRoBAAAJGwEAAAkcAQAACR0BAAANCQUBAQAAGkFwbG9yaXMuQmFzZS5PYmplY3RzLkNvbG9yBwAAABJEYXRhT2JqZWN0K21QYXJlbnQVRGF0YU9iamVjdCttQ29udGFpbmVyBW1UeXBlBG1SR0IQbVRoZW1lQ29sb3JJbmRleAxtQXV0b1VwZGF0ZWQJbU1vZGlmaWVkBAIAAAAAAB9BcGxvcmlzLkJhc2UuT2JqZWN0cy5MaW5lRm9ybWF0AwAAAAgICAEBAwAAAAm+AAAACgAAAAAAAAAADQAAAAAABQIBAAAaQXBsb3Jpcy5CYXNlLk9iamVjdHMuQ29sb3IHAAAAEkRhdGFPYmplY3QrbVBhcmVudBVEYXRhT2JqZWN0K21Db250YWluZXIFbVR5cGUEbVJHQhBtVGhlbWVDb2xvckluZGV4DG1BdXRvVXBkYXRlZAltTW9kaWZpZWQEAgAAAAAAH0FwbG9yaXMuQmFzZS5PYmplY3RzLkxpbmVGb3JtYXQDAAAACAgIAQEDAAAACb4AAAAKAQAAAAAAAAD/////AAEPAwEAAAEAAAAIiAMAAAEEAQAAeAAAAAoKAAAAAAAAAAANAAAAAAEBBQEAAHgAAAAKCgEAAAAAAAAA/////wABDwYBAAABAAAACAAAAAAFBw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aAAAAAMAAAAJaQAAAAlqAAAACWsAAAABAAAAAAoJkwAAAAlsAAAAAQAAAAoAAAAAAAAAAAUIAQ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HAAAACQEAAAAAAAAAAAYeAQAAAS4DAAAABh8BAAABLAYgAQAAAS0GIQEAAAErAQAAAAAKCgYiAQAACE0vZC95eXl5AAAAAAoAAAAAAAAAAAUJAQ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C4wLjE0ODY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BIwEAABMAAAAAAAAAAgAAAP////8JBwAAAAkkAQAABiUBAAApR3Jvd24gU2lnbmlmaWNhbnRseSAoYXQgbGVhc3QgNTAlIGdyb3d0aCkKCgAAAAAAAAAAAAAAAAoKAAkmAQAACScBAAAJKAEAAAAAAAAAAAAAAAAAAAAAAAAAAAkpAQAACQEAAAAJAQAAAAkqAQAAAQoBAAAJAQAACQEAAAABKwEAABMAAAAAAAAAAwAAAP////8JBwAAAAksAQAABi0BAAAQR3Jvd24gTW9kZXJhdGVseQoKAAAAAAAAAAAAAAAACgoACS4BAAAJLwEAAAkwAQAAAAAAAAABAAAAAAAAAAAAAAAACTEBAAAJAQAAAAkBAAAACTIBAAAFCw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YzAQAAFUVxdWlwcGVkIA0KTmF2aWdhdG9ycwAFNAEAAB5BcGxvcmlzLkNoYXJ0LkNoYXJ0R3JvdXBBbmNob3IBAAAAB3ZhbHVlX18ACAIAAAAAAAAACgAAAAABAAAAAQAAAAk1AQAACTYBAAAJNwEAAAoJBwAAAAk4AQAACQEAAAAJAQAAAAk5AQAAAQwBAAALAQAACQEAAAAGOgEAAAlMb3cgRnVlbHMAATsBAAA0AQAAAAAAAAoAAAAAAQAAAAEAAAAJPAEAAAk9AQAACT4BAAAKCQcAAAAJPwEAAAkBAAAACQEAAAAJQAEAAAENAQAACwEAAAkBAAAABkEBAAAPQ2hlY2sgDQpFbmdpbmVzAAFCAQAANAEAAAAAAAAKAAAAAAEAAAABAAAACUMBAAAJRAEAAAlFAQAACgkHAAAACUYBAAAJAQAAAAkBAAAACUcBAAABDgEAAAsBAAAJAQAAAAZIAQAAFUxpbWl0ZWQgDQpUZWNoLiBVc2VycwABSQEAADQBAAAAAAAACgAAAAABAAAAAQAAAAlKAQAACUsBAAAJTAEAAAoJBwAAAAlNAQAACQEAAAAJAQAAAAlOAQAABw8BAAAAAQAAAAQAAAAEKUFwbG9yaXMuQ2hhcnQuQ29sdW1uT3JpZW50ZWRMZWdlbmRFbGVtZW50AgAAAAlPAQAACVABAAAKCgcQAQAAAAEAAAAEAAAABB9BcGxvcmlzLkJhc2UuT2JqZWN0cy5EYXRhT2JqZWN0AwAAAAlPAQAACVABAAAKCgcRAQAAAAEAAAAAAAAABBxBcGxvcmlzLkJhc2UuVUkuVmlzdWFsT2JqZWN0AwAAAAESAQAAeAAAAAoKAAAAAAAAAAANAAAAAAEBEwEAAHgAAAAKCgEAAAAAAAAA/////wABARQBAAB4AAAACgoBAAAA////AP////8AAQEVAQAAeAAAAAoKAQAAAAAAAAD/////AAEPFgEAAAEAAAAIAAAAAAUXAQAAFkFwbG9yaXMuQ2hhcnQuVGlja01hcmsNAAAAC21WaXN1YWxMaW5lCW1HcmlkTGluZQZtTGFiZWwFbUF4aXMIbVZpc2libGUJbVBvc2l0aW9uC21TdGFydFBvaW50CW1FbmRQb2ludAxtSGFzR3JpZExpbmUYRGF0YU9iamVjdCttQ2hpbGRPYmplY3RzEkRhdGFPYmplY3QrbVBhcmVudBVEYXRhT2JqZWN0K21Db250YWluZXIZRGF0YU9iamVjdCttVmlzdWFsT2JqZWN0cwQEBAQAAAQEAAMEBAMaQXBsb3Jpcy5CYXNlLlVJLlZpc3VhbExpbmUDAAAAGkFwbG9yaXMuQmFzZS5VSS5WaXN1YWxMaW5lAwAAABVBcGxvcmlzLkJhc2UuVUkuTGFiZWwDAAAAEkFwbG9yaXMuQ2hhcnQuQXhpcwIAAAABBhVTeXN0ZW0uRHJhd2luZy5Qb2ludEYEAAAAFVN5c3RlbS5EcmF3aW5nLlBvaW50RgQAAAA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UQEAAAoJUgEAAAkHAAAAAQAAAAAAAAAAAVMBAAAhAAAA7EQXQgokiUMBVAEAACEAAADsRAdCCiSJQwAJVQEAAAkHAAAACQEAAAAJVgEAAAEYAQAAFwEAAAlXAQAACglYAQAACQcAAAABmpmZmZmZuT8BWQEAACEAAADsRBdCFydnQwFaAQAAIQAAAOxEB0IXJ2dDAAlbAQAACQcAAAAJAQAAAAlcAQAAARkBAAAXAQAACV0BAAAKCV4BAAAJBwAAAAGamZmZmZnJPwFfAQAAIQAAAOxEF0IaBjxDAWABAAAhAAAA7EQHQhoGPEMACWEBAAAJBwAAAAkBAAAACWIBAAABGgEAABcBAAAJYwEAAAoJZAEAAAkHAAAAATMzMzMzM9M/AWUBAAAhAAAA7EQXQh7lEEMBZgEAACEAAADsRAdCHuUQQwAJZwEAAAkHAAAACQEAAAAJaAEAAAEbAQAAFwEAAAlpAQAACglqAQAACQcAAAABmpmZmZmZ2T8BawEAACEAAADsRBdCQojLQgFsAQAAIQAAAOxEB0JCiMtCAAltAQAACQcAAAAJAQAAAAluAQAAARwBAAAXAQAACW8BAAAKCXABAAAJBwAAAAEAAAAAAADgPwFxAQAAIQAAAOxEF0KRjGpCAXIBAAAhAAAA7EQHQpGMakIACXMBAAAJBwAAAAkBAAAACXQBAAABHQEAABcBAAAJdQEAAAoJdgEAAAkHAAAAATMzMzMzM+M/AXcBAAAhAAAA7EQXQnYieEEBeAEAACEAAADsRAdCdiJ4QQAJeQEAAAkHAAAACQEAAAAJegEAAAUkAQAAogFBcGxvcmlzLkJhc2UuT2JqZWN0cy5EYXRhT2JqZWN0Q29sbGVjdGlvbmAxW1tBcGxvcmlzLkNoYXJ0LkNoYXJ0RGF0YU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wLjAuMTQ4NiwgQ3VsdHVyZT1uZXV0cmFsLCBQdWJsaWNLZXlUb2tlbj0xNmZjMTNhMjI2YzBlOTUxXV0DAAAAmAFTeXN0ZW0uQ29sbGVjdGlvbnMuR2VuZXJpYy5MaXN0YDFbW0FwbG9yaXMuQ2hhcnQuQ2hhcnREYXRh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7AQAACXwBAAAJCQEAAAkBAAAACX0BAAAFJgEAABxBcGxvcmlzLkNoYXJ0LkNvbm5lY3RlZExhYmVsJA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CAAAAClgCAAAFfgEAACtBcGxvcmlzLkNoYXJ0LkNvbm5lY3RlZExhYmVsK2VDb25uZWN0b3JNb2RlAQAAAAd2YWx1ZV9fAAgCAAAAAQAAAAV/AQAANkFwbG9yaXMuQ2hhcnQuQ29ubmVjdGVkTGFiZWwrZUFuZ2xlZENvbm5lY3RvckRpcmVjdGlvbgEAAAAHdmFsdWVfXwAIAgAAAAAAAAABgAEAABUAAAC1rnlD2a15Q9zQC0LY0axBBYEBAAAtQXBsb3Jpcy5DaGFydC5Db25uZWN0ZWRMYWJlbCtlVGFyZ2V0QXJlYVNoYXBlAQAAAAd2YWx1ZV9fAAgCAAAAAAAAAAAAEEEBAYIBAAAhAAAAdlGSQ3s9gkMBgwEAAKAAAAAEAAAAAAAAAAAAAAAACYQBAAAAAAAACYUBAAAAAAGGAQAAqQAAAAAAAAABhwEAAHIAAAAAAAxCAABgQQGIAQAAFQAAAAAAAAAAAAAAAAAAAAAAAABeutk/CSUBAAAKCYkBAAAGigEAAAAgAwAA/////wABCgmLAQAAAQAKAQcnAQAAAAEAAAACAAAABBVTeXN0ZW0uRHJhd2luZy5Qb2ludEYEAAAAAYwBAAAhAAAAdlGSQ3s9gkMBjQEAACEAAADsRANCHKRwQwcoAQAAAAEAAAACAAAABBdBcGxvcmlzLkJhc2UuQW5jaG9yTW9kZQMAAAABjgEAAKAAAAAEAAAAAY8BAACgAAAAAgAAAAEpAQAAJQAAAAmQAQAAAQAAAAEAAAABKgEAACYAAAAJkQEAAAEAAAABAAAAASwBAAAkAQAACgmSAQAACZMBAAAJCgEAAAkBAAAACZQBAAABLgEAACYBAAAKWAIAAAGVAQAAfgEAAAEAAAABlgEAAH8BAAAAAAAAAZcBAAAVAAAAta55Q49NJ0Pc0AtClMCYQgGYAQAAgQEAAAAAAAAAABBBAQGZAQAAIQAAAHZRkkO0fU1DAZoBAACgAAAABAAAAAAAAAAAAAAAAAmbAQAAAAAAAAmcAQAAAAABnQEAAKkAAAAAAAAAAZ4BAAByAAAAAAAoQgAAYEEBnwEAABUAAAAAAAAAAAAAAAAAAAAAAAAAXrrZPwktAQAACgmgAQAACYoBAAAgAwAA/////wABCgmhAQAAAQAKAQcvAQAAAAEAAAACAAAABBVTeXN0ZW0uRHJhd2luZy5Qb2ludEYEAAAAAaIBAAAhAAAAdlGSQ7R9TUMBowEAACEAAADsRANCKtb7QgcwAQAAAAEAAAACAAAABBdBcGxvcmlzLkJhc2UuQW5jaG9yTW9kZQMAAAABpAEAAKAAAAAEAAAAAaUBAACgAAAAAgAAAAExAQAAJQAAAAmmAQAAAQAAAAEAAAABMgEAACYAAAAJpwEAAAEAAAABAAAADzUBAAABAAAACAAAAAAHNgEAAAABAAAAAQAAAAQVQXBsb3Jpcy5CYXNlLlVJLkxhYmVsAwAAAAmoAQAAATcBAAA0AAAAAakBAAAhAAAAMymNQgqki0MBqgEAAKAAAAADAAAAAAAAAAAAAAAACasBAAAAAAAACawBAAAAAAGtAQAAqQAAAAAAAAABrgEAAHIAAAAAAHBCAADgQQGvAQAAFQAAAKqqMEJVlYtDMehTQqqqukESg74/CTMBAAAKCbABAAAJigEAACADAAD/////AQEKCbEBAAABAAoBATgBAAAlAAAACbIBAAAAAAAAAAAAAAE5AQAAJgAAAAmzAQAAAgAAAAQAAAAPPAEAAAEAAAAIAAAAAAc9AQAAAAEAAAABAAAABBVBcGxvcmlzLkJhc2UuVUkuTGFiZWwDAAAACbQBAAABPgEAADQAAAABtQEAACEAAABWGwhDCqSLQwG2AQAAoAAAAAMAAAAAAAAAAAAAAAAJtwEAAAAAAAAJuAEAAAAAAbkBAACpAAAAAAAAAAG6AQAAcgAAAAAAZEIAAGBBAbsBAAAVAAAAqqrdQlWVi0Mx6ElCqqo6QRKDvj8JOgEAAAoJvAEAAAmKAQAAIAMAAP////8BAQoJvQEAAAEACgEBPwEAACUAAAAJvgEAAAAAAAAAAAAAAUABAAAmAAAACb8BAAACAAAABAAAAA9DAQAAAQAAAAgAAAAAB0QBAAAAAQAAAAEAAAAEFUFwbG9yaXMuQmFzZS5VSS5MYWJlbAMAAAAJwAEAAAFFAQAANAAAAAHBAQAAIQAAABSiSUMKpItDAcIBAACgAAAAAwAAAAAAAAAAAAAAAAnDAQAAAAAAAAnEAQAAAAABxQEAAKkAAAAAAAAAAcYBAAByAAAAAAA0QgAA4EEBxwEAABUAAACqqjVDVZWLQzHoIUKqqrpBEoO+PwlBAQAACgnIAQAACYoBAAAgAwAA/////wEBCgnJAQAAAQAKAQFGAQAAJQAAAAnKAQAAAAAAAAAAAAABRwEAACYAAAAJywEAAAIAAAACAAAAD0oBAAABAAAACAAAAAAHSwEAAAABAAAAAQAAAAQVQXBsb3Jpcy5CYXNlLlVJLkxhYmVsAwAAAAnMAQAAAUwBAAA0AAAAAc0BAAAhAAAAaJSFQwqki0MBzgEAAKAAAAADAAAAAAAAAAAAAAAACc8BAAAAAAAACdABAAAAAAHRAQAAqQAAAAAAAAAB0gEAAHIAAAAAAIZCAADgQQHTAQAAFQAAAP9/bUNVlYtDhT1rQqqqukESg74/CUgBAAAKCdQBAAAJigEAACADAAD/////AQEKCdUBAAABAAoBAU0BAAAlAAAACdYBAAAAAAAAAAAAAAFOAQAAJgAAAAnXAQAAAgAAAAIAAAAFTwEAAClBcGxvcmlzLkNoYXJ0LkNvbHVtbk9yaWVudGVkTGVnZW5kRWxlbWVudA0AAAAHbUxlZ2VuZAttRGF0YVNlcmllcxRMZWdlbmRFbGVtZW50K21MYWJlbBhMZWdlbmRFbGVtZW50K21SZWN0YW5nbGUTTGVnZW5kRWxlbWVudCttTGluZRVMZWdlbmRFbGVtZW50K21DaXJjbGUVTGVnZW5kRWxlbWVudCttTWFya2VyFExlZ2VuZEVsZW1lbnQrbUluZGV4HUxlZ2VuZEVsZW1lbnQrbUxhYmVsUG9zaXRpb25zGERhdGFPYmplY3QrbUNoaWxkT2JqZWN0cxJEYXRhT2JqZWN0K21QYXJlbnQVRGF0YU9iamVjdCttQ29udGFpbmVyGURhdGFPYmplY3QrbVZpc3VhbE9iamVjdHMEBAQEBAQEAAQDBAQDIkFwbG9yaXMuQ2hhcnQuQ29sdW1uT3JpZW50ZWRMZWdlbmQCAAAAHUFwbG9yaXMuQ2hhcnQuQ2hhcnREYXRhU2VyaWVzAgAAABVBcGxvcmlzLkJhc2UuVUkuTGFiZWwDAAAAGkFwbG9yaXMuQmFzZS5VSS5WaXN1YWxSZWN0AwAAABpBcGxvcmlzLkJhc2UuVUkuVmlzdWFsTGluZQMAAAAdQXBsb3Jpcy5CYXNlLlVJLlZpc3VhbEVsbGlwc2UDAAAAGkFwbG9yaXMuQ2hhcnQuVmlzdWFsTWFya2VyAgAAAAgXU3lzdGVtLkRyYXdpbmcuUG9pbnRGW10E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FAAAAAkJAQAACdgBAAAJ2QEAAAoKCgAAAAAKCdoBAAAJFAAAAAkBAAAACdsBAAABUAEAAE8BAAAJFAAAAAkKAQAACdwBAAAJ3QEAAAoKCgEAAAAKCd4BAAAJFAAAAAkBAAAACd8BAAABUQEAADAAAAAB4AEAACEAAADsRBdCCiSJQwHhAQAAIQAAAOxEB0IKJIlDCeIBAADMAQAA/////wEBCgnjAQAAAQAKAAFSAQAANAAAAAHkAQAAIQAAAOxEAUIKJIlDAeUBAACgAAAAAgAAAAAAAAAAAAAAAAnmAQAAAAAAAAnnAQAAAAAB6AEAAKkAAAAAAAAAAekBAAByAAAAAACQQQAAYEEB6gEAABUAAABVVX1BqiqGQ2LQj0GqqjpBEoO+PwbrAQAAAjAlCgnsAQAACYoBAADQAgAA/////wEBCgntAQAAAQAKAAFVAQAAJQAAAAnaAAAAAAAAAAAAAAABVgEAACYAAAAJ7gEAAAIAAAACAAAAAVcBAAAwAAAAAe8BAAAhAAAA7EQXQhcnZ0MB8AEAACEAAADsRAdCFydnQwnxAQAAzAEAAP////8BAQoJ8gEAAAEACgABWAEAADQAAAAB8wEAACEAAADsRAFCFydnQwH0AQAAoAAAAAIAAAAAAAAAAAAAAAAJ9QEAAAAAAAAJ9gEAAAAAAfcBAACpAAAAAAAAAAH4AQAAcgAAAAAAyEEAAGBBAfkBAAAVAAAAAAAgQf//YEMMe75Bqqo6QRKDvj8G+gEAAAMxMCUKCfsBAAAJigEAANACAAD/////AQEKCfwBAAABAAoAAVsBAAAlAAAACdoAAAAAAAAAAAAAAAFcAQAAJgAAAAn9AQAAAgAAAAIAAAABXQEAADAAAAAB/gEAACEAAADsRBdCGgY8QwH/AQAAIQAAAOxEB0IaBjxDCQACAADMAQAA/////wEBCgkBAgAAAQAKAAFeAQAANAAAAAECAgAAIQAAAOxEAUIaBjxDAQMCAACgAAAAAgAAAAAAAAAAAAAAAAkEAgAAAAAAAAkFAgAAAAABBgIAAKkAAAAAAAAAAQcCAAByAAAAAADIQQAAYEEBCAIAABUAAAAAACBBAIA2Qwx7vkGqqjpBEoO+PwYJAgAAAzIwJQoJCgIAAAmKAQAA0AIAAP////8BAQoJCwIAAAEACgABYQEAACUAAAAJ2gAAAAAAAAAAAAAAAWIBAAAmAAAACQwCAAACAAAAAgAAAAFjAQAAMAAAAAENAgAAIQAAAOxEF0Ie5RBDAQ4CAAAhAAAA7EQHQh7lEEMJDwIAAMwBAAD/////AQEKCRACAAABAAoAAWQBAAA0AAAAARECAAAhAAAA7EQBQh7lEEMBEgIAAKAAAAACAAAAAAAAAAAAAAAACRMCAAAAAAAACRQCAAAAAAEVAgAAqQAAAAAAAAABFgIAAHIAAAAAAMhBAABgQQEXAgAAFQAAAAAAIEGqKgtDDHu+QaqqOkESg74/BhgCAAADMzAlCgkZAgAACYoBAADQAgAA/////wEBCgkaAgAAAQAKAAFnAQAAJQAAAAnaAAAAAAAAAAAAAAABaAEAACYAAAAJGwIAAAIAAAACAAAAAWkBAAAwAAAAARwCAAAhAAAA7EQXQkKIy0IBHQIAACEAAADsRAdCQojLQgkeAgAAzAEAAP////8BAQoJHwIAAAEACgABagEAADQAAAABIAIAACEAAADsRAFCQojLQgEhAgAAoAAAAAIAAAAAAAAAAAAAAAAJIgIAAAAAAAAJIwIAAAAAASQCAACpAAAAAAAAAAElAgAAcgAAAAAAyEEAAGBBASYCAAAVAAAAAAAgQaqqv0IMe75Bqqo6QRKDvj8GJwIAAAM0MCUKCSgCAAAJigEAANACAAD/////AQEKCSkCAAABAAoAAW0BAAAlAAAACdoAAAAAAAAAAAAAAAFuAQAAJgAAAAkqAgAAAgAAAAIAAAABbwEAADAAAAABKwIAACEAAADsRBdCkYxqQgEsAgAAIQAAAOxEB0KRjGpCCS0CAADMAQAA/////wEBCgkuAgAAAQAKAAFwAQAANAAAAAEvAgAAIQAAAOxEAUKRjGpCATACAACgAAAAAgAAAAAAAAAAAAAAAAkxAgAAAAAAAAkyAgAAAAABMwIAAKkAAAAAAAAAATQCAAByAAAAAADIQQAAYEEBNQIAABUAAAAAACBB//9RQgx7vkGqqjpBEoO+PwY2AgAAAzUwJQoJNwIAAAmKAQAA0AIAAP////8BAQoJOAIAAAEACgABcwEAACUAAAAJ2gAAAAAAAAAAAAAAAXQBAAAmAAAACTkCAAACAAAAAgAAAAF1AQAAMAAAAAE6AgAAIQAAAOxEF0J2InhBATsCAAAhAAAA7EQHQnYieEEJPAIAAMwBAAD/////AQEKCT0CAAABAAoAAXYBAAA0AAAAAT4CAAAhAAAA7EQBQnYieEEBPwIAAKAAAAACAAAAAAAAAAAAAAAACUACAAAAAAAACUECAAAAAAFCAgAAqQAAAAAAAAABQwIAAHIAAAAAAMhBAABgQQFEAgAAFQAAAAAAIEEAACBBDHu+QaqqOkESg74/BkUCAAADNjAlCglGAgAACYoBAADQAgAA/////wEBCglHAgAAAQAKAAF5AQAAJQAAAAnaAAAAAAAAAAAAAAABegEAACYAAAAJSAIAAAIAAAACAAAABHsBAACYAVN5c3RlbS5Db2xsZWN0aW9ucy5HZW5lcmljLkxpc3RgMVtbQXBsb3Jpcy5DaGFydC5DaGFydERhdGFFbGVtZW50LCBBcGxvcmlzLkNoYXJ0LCBWZXJzaW9uPTQuMC4wLjE0ODYsIEN1bHR1cmU9bmV1dHJhbCwgUHVibGljS2V5VG9rZW49MTZmYzEzYTIyNmMwZTk1MV1dAwAAAAZfaXRlbXMFX3NpemUIX3ZlcnNpb24EAAAgQXBsb3Jpcy5DaGFydC5DaGFydERhdGFFbGVtZW50W10CAAAACAgJSQIAAAQAAAASAAAAAXwBAAAlAAAACUoCAAAEAAAAEgAAAAF9AQAAJgAAAAlLAgAAAAAAAAAAAAAFhA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kBAAAKAAAAAABAQQl2AAAACXcAAAAJTAIAAAEACU0CAAABhQEAAHgAAAAKCgAAAAD///8ADgAAAAABAYkBAACtAAAACU4CAAABAAAAAQAAAAGLAQAAdQAAAAlPAgAACgeQAQAAAAEAAAAEAAAABB9BcGxvcmlzLkJhc2UuT2JqZWN0cy5EYXRhT2JqZWN0AwAAAAkkAQAADQMHkQEAAAABAAAABAAAAAQcQXBsb3Jpcy5CYXNlLlVJLlZpc3VhbE9iamVjdAMAAAAJJgEAAA0DAZIBAAB7AQAACVACAAAEAAAAEgAAAAGTAQAAJQAAAAlRAgAABAAAABIAAAABlAEAACYAAAAJUgIAAAAAAAAAAAAABZs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KAQAACgAAAAAAQEEJdgAAAAl3AAAACVMCAAABAAlUAgAAAZwBAAB4AAAACgoAAAAA////AA4AAAAAAQGgAQAArQAAAAlVAgAAAQAAAAEAAAABoQEAAHUAAAAJVgIAAAoHpgEAAAABAAAABAAAAAQfQXBsb3Jpcy5CYXNlLk9iamVjdHMuRGF0YU9iamVjdAMAAAAJLAEAAA0DB6cBAAAAAQAAAAQAAAAEHEFwbG9yaXMuQmFzZS5VSS5WaXN1YWxPYmplY3QDAAAACS4BAAANAwGoAQAANAAAAAFXAgAAIQAAADMpjUIaWCdCAVgCAACgAAAAAQAAAAAAAAAAAAAAAAlZAgAAAAAAAAlaAgAAAAABWwIAAKkAAAAAAAAAAVwCAAByAAAAAADIQQAAYEEBXQIAABUAAABVVWlC///vQQx7vkGqqjpBEoO+PwZeAgAAAzUzJQoJXwIAAAmKAQAANAMAAP////8BAQoJYAIAAAEACgABqwEAACMAAAAKCgAAAAAAKEEJdgAAAAl3AAAACWECAAAAAAliAgAAAawBAAB4AAAACgoAAAAA////AA4AAAAAAQGwAQAArQAAAAljAgAAAQAAAAEAAAABsQEAAHUAAAAJZAIAAAoHsgEAAAABAAAAAAAAAAQfQXBsb3Jpcy5CYXNlLk9iamVjdHMuRGF0YU9iamVjdAMAAAAHswEAAAABAAAABAAAAAQcQXBsb3Jpcy5CYXNlLlVJLlZpc3VhbE9iamVjdAMAAAAJNwEAAAmoAQAACgoBtAEAADQAAAABZQIAACEAAABWGwhDUNcEQgFmAgAAoAAAAAEAAAAAAAAAAAAAAAAJZwIAAAAAAAAJaAIAAAAAAWkCAACpAAAAAAAAAAFqAgAAcgAAAAAAyEEAAGBBAWsCAAAVAAAAVVX4QlVVrUEMe75Bqqo6QRKDvj8GbAIAAAM1NSUKCW0CAAAJigEAADQDAAD/////AQEKCW4CAAABAAoAAbcBAAAjAAAACgoAAAAAAChBCXYAAAAJdwAAAAlvAgAAAAAJcAIAAAG4AQAAeAAAAAoKAAAAAP///wAOAAAAAAEBvAEAAK0AAAAJcQIAAAEAAAABAAAAAb0BAAB1AAAACXICAAAKB74BAAAAAQAAAAAAAAAEH0FwbG9yaXMuQmFzZS5PYmplY3RzLkRhdGFPYmplY3QDAAAAB78BAAAAAQAAAAQAAAAEHEFwbG9yaXMuQmFzZS5VSS5WaXN1YWxPYmplY3QDAAAACT4BAAAJtAEAAAoKAcABAAA0AAAAAXMCAAAhAAAAFKJJQ6NLzUIBdAIAAKAAAAABAAAAAAAAAAAAAAAACXUCAAAAAAAACXYCAAAAAAF3AgAAqQAAAAAAAAABeAIAAHIAAAAAAMhBAABgQQF5AgAAFQAAAAAAPkOqqrVCDHu+QaqqOkESg74/BnoCAAADMzklCgl7AgAACYoBAAA0AwAA/////wEBCgl8AgAAAQAKAAHDAQAAIwAAAAoKAAAAAAAoQQl2AAAACXcAAAAJfQIAAAAACX4CAAABxAEAAHgAAAAKCgAAAAD///8ADgAAAAABAcgBAACtAAAACX8CAAABAAAAAQAAAAHJAQAAdQAAAAmAAgAACgfKAQAAAAEAAAAAAAAABB9BcGxvcmlzLkJhc2UuT2JqZWN0cy5EYXRhT2JqZWN0AwAAAAfLAQAAAAEAAAAEAAAABBxBcGxvcmlzLkJhc2UuVUkuVmlzdWFsT2JqZWN0AwAAAAlFAQAACcABAAAKCgHMAQAANAAAAAGBAgAAIQAAAGiUhUOPTSFDAYICAACgAAAAAQAAAAAAAAAAAAAAAAmDAgAAAAAAAAmEAgAAAAABhQIAAKkAAAAAAAAAAYYCAAByAAAAAADIQQAAYEEBhwIAABUAAAD//35DAAAWQwx7vkGqqjpBEoO+PwaIAgAAAzI2JQoJiQIAAAmKAQAANAMAAP////8BAQoJigIAAAEACgABzwEAACMAAAAKCgAAAAAAKEEJdgAAAAl3AAAACYsCAAAAAAmMAgAAAdABAAB4AAAACgoAAAAA////AA4AAAAAAQHUAQAArQAAAAmNAgAAAQAAAAEAAAAB1QEAAHUAAAAJjgIAAAoH1gEAAAABAAAAAAAAAAQfQXBsb3Jpcy5CYXNlLk9iamVjdHMuRGF0YU9iamVjdAMAAAAH1wEAAAABAAAABAAAAAQcQXBsb3Jpcy5CYXNlLlVJLlZpc3VhbE9iamVjdAMAAAAJTAEAAAnMAQAACgoB2AEAADQAAAABjwIAACEAAACSpxNCsH2cQwGQAgAAoAAAAAUAAAAAAAAAAAAAAAAJkQIAAAAAAAAJkgIAAAAAAZMCAACpAAAAAAAAAAGUAgAAcgAAAAAAZkMAAGBBAZUCAAAVAAAAVVUPQqqqnEO2pEJDqqo6QRKDvj8JJQEAAAoJlgIAAAmKAQAAhAMAAP////8BAQoJlwIAAAEACgAB2QEAABwAAAABmAIAACEAAABDVLNBsH2cQwGZAgAAIQAAAJKnB0JePaJDCZoCAAAJmwIAAAAAAAAKAZwCAAByAAAAAAAAAAAAAAABnQIAAHIAAAAAAAAAAAAAAAAAAAABngIAABUAAAAAAAAAAAAAAAAAAAAAAAAAmAMAAP////8BAQoJnwIAAAEACgAB2gEAACUAAAAJygEAAAAAAAAAAAAAAdsBAAAmAAAACaACAAACAAAAAgAAAAHcAQAANAAAAAGhAgAAIQAAAJKnE0LRyKNDAaICAACgAAAABQAAAAAAAAAAAAAAAAmjAgAAAAAAAAmkAgAAAAABpQIAAKkAAAAAAAAAAaYCAAByAAAAAADMQgAAYEEBpwIAABUAAABVVQ9CAMCjQxj0r0KqqjpBEoO+PwktAQAACgmoAgAACYoBAACEAwAA/////wEBCgmpAgAAAQAKAAHdAQAAHAAAAAGqAgAAIQAAAENUs0HRyKNDAasCAAAhAAAAkqcHQn+IqUMJrAIAAAmtAgAAAAAAAAoBrgIAAHIAAAAAAAAAAAAAAAGvAgAAcgAAAAAAAAAAAAAAAAAAAAGwAgAAFQAAAAAAAAAAAAAAAAAAAAAAAACYAwAA/////wEBCgmxAgAAAQAKAAHeAQAAJQAAAAnKAQAAAAAAAAAAAAAB3wEAACYAAAAJsgIAAAIAAAACAAAAAeIBAABwAAAACgoAAABAPwmzAgAACbQCAAABAAAA/v///wAAAAABAAAAAAAAAAAAAAABAAAAAAAAAAAAAAHjAQAAdQAAAAm1AgAACgHmAQAAIwAAAAoKAAAAAAAoQQl2AAAACXcAAAAJtgIAAAAACbcCAAAB5wEAAHgAAAAKCgAAAAD///8ADgAAAAABAewBAACtAAAACbgCAAABAAAAAQAAAAHtAQAAdQAAAAm5AgAACgfuAQAAAAEAAAAEAAAABBxBcGxvcmlzLkJhc2UuVUkuVmlzdWFsT2JqZWN0AwAAAAlRAQAACVIBAAAKCgHxAQAAcAAAAAoKAAAAQD8JugIAAAm7AgAAAQAAAP7///8AAAAAAQAAAAAAAAAAAAAAAQAAAAAAAAAAAAAB8gEAAHUAAAAJvAIAAAoB9QEAACMAAAAKCgAAAAAAKEEJdgAAAAl3AAAACb0CAAAAAAm+AgAAAfYBAAB4AAAACgoAAAAA////AA4AAAAAAQH7AQAArQAAAAm/AgAAAQAAAAMAAAAB/AEAAHUAAAAJwAIAAAoH/QEAAAABAAAABAAAAAQcQXBsb3Jpcy5CYXNlLlVJLlZpc3VhbE9iamVjdAMAAAAJVwEAAAlYAQAACgoBAAIAAHAAAAAKCgAAAEA/CcECAAAJwgIAAAEAAAD+////AAAAAAEAAAAAAAAAAAAAAAEAAAAAAAAAAAAAAQECAAB1AAAACcMCAAAKAQQCAAAjAAAACgoAAAAAAChBCXYAAAAJdwAAAAnEAgAAAAAJxQIAAAEFAgAAeAAAAAoKAAAAAP///wAOAAAAAAEBCgIAAK0AAAAJxgIAAAEAAAADAAAAAQsCAAB1AAAACccCAAAKBwwCAAAAAQAAAAQAAAAEHEFwbG9yaXMuQmFzZS5VSS5WaXN1YWxPYmplY3QDAAAACV0BAAAJXgEAAAoKAQ8CAABwAAAACgoAAABAPwnIAgAACckCAAABAAAA/v///wAAAAABAAAAAAAAAAAAAAABAAAAAAAAAAAAAAEQAgAAdQAAAAnKAgAACgETAgAAIwAAAAoKAAAAAAAoQQl2AAAACXcAAAAJywIAAAAACcwCAAABFAIAAHgAAAAKCgAAAAD///8ADgAAAAABARkCAACtAAAACc0CAAABAAAAAwAAAAEaAgAAdQAAAAnOAgAACgcbAgAAAAEAAAAEAAAABBxBcGxvcmlzLkJhc2UuVUkuVmlzdWFsT2JqZWN0AwAAAAljAQAACWQBAAAKCgEeAgAAcAAAAAoKAAAAQD8JzwIAAAnQAgAAAQAAAP7///8AAAAAAQAAAAAAAAAAAAAAAQAAAAAAAAAAAAABHwIAAHUAAAAJ0QIAAAoBIgIAACMAAAAKCgAAAAAAKEEJdgAAAAl3AAAACdICAAAAAAnTAgAAASMCAAB4AAAACgoAAAAA////AA4AAAAAAQEoAgAArQAAAAnUAgAAAQAAAAMAAAABKQIAAHUAAAAJ1QIAAAoHKgIAAAABAAAABAAAAAQcQXBsb3Jpcy5CYXNlLlVJLlZpc3VhbE9iamVjdAMAAAAJaQEAAAlqAQAACgoBLQIAAHAAAAAKCgAAAEA/CdYCAAAJ1wIAAAEAAAD+////AAAAAAEAAAAAAAAAAAAAAAEAAAAAAAAAAAAAAS4CAAB1AAAACdgCAAAKATECAAAjAAAACgoAAAAAAChBCXYAAAAJdwAAAAnZAgAAAAAJ2gIAAAEyAgAAeAAAAAoKAAAAAP///wAOAAAAAAEBNwIAAK0AAAAJ2wIAAAEAAAADAAAAATgCAAB1AAAACdwCAAAKBzkCAAAAAQAAAAQAAAAEHEFwbG9yaXMuQmFzZS5VSS5WaXN1YWxPYmplY3QDAAAACW8BAAAJcAEAAAoKATwCAABwAAAACgoAAABAPwndAgAACd4CAAABAAAA/v///wAAAAABAAAAAAAAAAAAAAABAAAAAAAAAAAAAAE9AgAAdQAAAAnfAgAACgFAAgAAIwAAAAoKAAAAAAAoQQl2AAAACXcAAAAJ4AIAAAAACeECAAABQQIAAHgAAAAKCgAAAAD///8ADgAAAAABAUYCAACtAAAACeICAAABAAAAAwAAAAFHAgAAdQAAAAnjAgAACgdIAgAAAAEAAAAEAAAABBxBcGxvcmlzLkJhc2UuVUkuVmlzdWFsT2JqZWN0AwAAAAl1AQAACXYBAAAKCgdJAgAAAAEAAAAQAAAABB5BcGxvcmlzLkNoYXJ0LkNoYXJ0RGF0YUVsZW1lbnQCAAAACeQCAAAJ5QIAAAnmAgAACecCAAANDAdKAgAAAAEAAAAQAAAABB9BcGxvcmlzLkJhc2UuT2JqZWN0cy5EYXRhT2JqZWN0AwAAAAnkAgAACeUCAAAJ5gIAAAnnAgAADQwHSwIAAAABAAAAAAAAAAQcQXBsb3Jpcy5CYXNlLlVJLlZpc3VhbE9iamVjdAMAAAABTAIAAHgAAAAKCgAAAAAAAAAADQAAAAABAU0CAAB4AAAACgoBAAAAAAAAAP////8AAQdOAgAAAAEAAAAEAAAABB1BcGxvcmlzLkJhc2UuT2JqZWN0cy5WYXJpYWJsZQMAAAAF6AIAAB1BcGxvcmlzLkJhc2UuT2JqZWN0cy5WYXJpYWJsZQIAAAAGTnVtYmVyCFBvc2l0aW9uAAAICAMAAAABAAAAAAAAAAHpAgAA6AIAAAAAAAAAAAAAAeoCAADoAgAAAAAAAAAAAAAB6wIAAOgCAAAAAAAAAAAAAA9PAgAAAQAAAAgAAAAAB1ACAAAAAQAAABAAAAAEHkFwbG9yaXMuQ2hhcnQuQ2hhcnREYXRhRWxlbWVudAIAAAAJ7AIAAAntAgAACe4CAAAJ7wIAAA0MB1ECAAAAAQAAABAAAAAEH0FwbG9yaXMuQmFzZS5PYmplY3RzLkRhdGFPYmplY3QDAAAACewCAAAJ7QIAAAnuAgAACe8CAAANDAdSAgAAAAEAAAAAAAAABBxBcGxvcmlzLkJhc2UuVUkuVmlzdWFsT2JqZWN0AwAAAAFTAgAAeAAAAAoKAAAAAAAAAAANAAAAAAEBVAIAAHgAAAAKCgEAAAAAAAAA/////wABB1UCAAAAAQAAAAQAAAAEHUFwbG9yaXMuQmFzZS5PYmplY3RzLlZhcmlhYmxlAwAAAAHwAgAA6AIAAAEAAAAAAAAAAfECAADoAgAAAAAAAAAAAAAB8gIAAOgCAAAAAAAAAAAAAAHzAgAA6AIAAAAAAAAAAAAAD1YCAAABAAAACAAAAAAFWQ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CwEAAAoAAAAAAChBCXYAAAAJdwAAAAn0AgAAAAAJ9QIAAAFaAgAAeAAAAAoKAAAAAP///wAOAAAAAAEBXwIAAK0AAAAJ9gIAAAEAAAADAAAAAWACAAB1AAAACfcCAAAKAWECAAB4AAAACgoAAAAAAAAAAA0AAAAAAAFiAgAAeAAAAAoKAAAAAAAAAAANAAAAAAEHYwIAAAABAAAABAAAAAQdQXBsb3Jpcy5CYXNlLk9iamVjdHMuVmFyaWFibGUDAAAAAfgCAADoAgAAAQAAAAAAAAAB+QIAAOgCAAAAAAAAAAAAAAH6AgAA6AIAAAAAAAAAAAAAAfsCAADoAgAAAAAAAAAAAAAPZAIAAAEAAAAITQEAAAVn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MAQAACgAAAAAAKEEJdgAAAAl3AAAACfwCAAAAAAn9AgAAAWgCAAB4AAAACgoAAAAA////AA4AAAAAAQFtAgAArQAAAAn+AgAAAQAAAAMAAAABbgIAAHUAAAAJ/wIAAAoBbwIAAHgAAAAKCgAAAAAAAAAADQAAAAAAAXACAAB4AAAACgoAAAAAAAAAAA0AAAAAAQdxAgAAAAEAAAAEAAAABB1BcGxvcmlzLkJhc2UuT2JqZWN0cy5WYXJpYWJsZQMAAAABAAMAAOgCAAABAAAAAAAAAAEBAwAA6AIAAAAAAAAAAAAAAQIDAADoAgAAAAAAAAAAAAABAwMAAOgCAAAAAAAAAAAAAA9yAgAAAQAAAAjFAAAAAXUCAAAjAAAACgoAAAAAAChBCXYAAAAJdwAAAAkEAwAAAAAJBQMAAAF2AgAAeAAAAAoKAAAAAP///wAOAAAAAAEBewIAAK0AAAAJBgMAAAEAAAADAAAAAXwCAAB1AAAACQcDAAAKAX0CAAB4AAAACgoAAAAAAAAAAA0AAAAAAAF+AgAAeAAAAAoKAAAAAAAAAAANAAAAAAEHfwIAAAABAAAABAAAAAQdQXBsb3Jpcy5CYXNlLk9iamVjdHMuVmFyaWFibGUDAAAAAQgDAADoAgAAAQAAAAAAAAABCQMAAOgCAAAAAAAAAAAAAAEKAwAA6AIAAAAAAAAAAAAAAQsDAADoAgAAAAAAAAAAAAAPgAIAAAEAAAAILwMAAAGDAgAAIwAAAAoKAAAAAAAoQQl2AAAACXcAAAAJDAMAAAAACQ0DAAABhAIAAHgAAAAKCgAAAAD///8ADgAAAAABAYkCAACtAAAACQ4DAAABAAAAAwAAAAGKAgAAdQAAAAkPAwAACgGLAgAAeAAAAAoKAAAAAAAAAAANAAAAAAABjAIAAHgAAAAKCgAAAAAAAAAADQAAAAABB40CAAAAAQAAAAQAAAAEHUFwbG9yaXMuQmFzZS5PYmplY3RzLlZhcmlhYmxlAwAAAAEQAwAA6AIAAAEAAAAAAAAAAREDAADoAgAAAAAAAAAAAAABEgMAAOgCAAAAAAAAAAAAAAETAwAA6AIAAAAAAAAAAAAAD44CAAABAAAACJADAAABkQIAACMAAAAKCgAAAAAAKEEJdgAAAAl3AAAACRQDAAAAAAkVAwAAAZICAAB4AAAACgoBAAAAAAAAAP////8AAQGWAgAArQAAAAkWAwAAAQAAAAEAAAABlwIAAHUAAAAJFwMAAAoBmgIAAHAAAAAKCgAAAEA/CRgDAAAJGQMAAAEAAAD+////AAAAAAEAAAAAAAAAAAAAAAEAAAAAAAAAAAAAAZsCAABxAAAACgoJGgMAAAkbAwAAAQAAAP7///8AAAAA/////wEAAZ8CAAB1AAAACRwDAAAKB6ACAAAAAQAAAAQAAAAEHEFwbG9yaXMuQmFzZS5VSS5WaXN1YWxPYmplY3QDAAAACdgBAAAJ2QEAAAoKAaMCAAAjAAAACgoAAAAAAChBCXYAAAAJdwAAAAkdAwAAAAAJHgMAAAGkAgAAeAAAAAoKAQAAAAAAAAD/////AAEBqAIAAK0AAAAJHwMAAAEAAAABAAAAAakCAAB1AAAACSADAAAKAawCAABwAAAACgoAAABAPwkhAwAACSIDAAABAAAA/v///wAAAAABAAAAAAAAAAAAAAABAAAAAAAAAAAAAAGtAgAAcQAAAAoKCSMDAAAJJAMAAAEAAAD+////AAAAAP////8BAAGxAgAAdQAAAAklAwAACgeyAgAAAAEAAAAEAAAABBxBcGxvcmlzLkJhc2UuVUkuVmlzdWFsT2JqZWN0AwAAAAncAQAACd0BAAAKCgGzAgAAeAAAAAoKAAAAAAAAAAANAAAAAAAFtAIAABpBcGxvcmlzLkJhc2UuT2JqZWN0cy5Db2xvcgcAAAASRGF0YU9iamVjdCttUGFyZW50FURhdGFPYmplY3QrbUNvbnRhaW5lcgVtVHlwZQRtUkdCEG1UaGVtZUNvbG9ySW5kZXgMbUF1dG9VcGRhdGVkCW1Nb2RpZmllZAQCAAAAAAAfQXBsb3Jpcy5CYXNlLk9iamVjdHMuTGluZUZvcm1hdAMAAAAICAgBAQMAAAAJ4gEAAAoBAAAAAAAAAP////8AAQ+1AgAAAQAAAAiLAwAAAbYCAAB4AAAACgoAAAAAAAAAAA0AAAAAAAG3AgAAeAAAAAoKAAAAAAAAAAANAAAAAAEHuAIAAAABAAAABAAAAAQdQXBsb3Jpcy5CYXNlLk9iamVjdHMuVmFyaWFibGUDAAAAASYDAADoAgAAAQAAAAAAAAABJwMAAOgCAAAAAAAAAAAAAAEoAwAA6AIAAAAAAAAAAAAAASkDAADoAgAAAAAAAAAAAAAPuQIAAAEAAAAIJgAAAAG6AgAAeAAAAAoKAAAAAAAAAAANAAAAAAAFuwIAABpBcGxvcmlzLkJhc2UuT2JqZWN0cy5Db2xvcgcAAAASRGF0YU9iamVjdCttUGFyZW50FURhdGFPYmplY3QrbUNvbnRhaW5lcgVtVHlwZQRtUkdCEG1UaGVtZUNvbG9ySW5kZXgMbUF1dG9VcGRhdGVkCW1Nb2RpZmllZAQCAAAAAAAfQXBsb3Jpcy5CYXNlLk9iamVjdHMuTGluZUZvcm1hdAMAAAAICAgBAQMAAAAJ8QEAAAoBAAAAAAAAAP////8AAQ+8AgAAAQAAAAiNAwAAAb0CAAB4AAAACgoAAAAAAAAAAA0AAAAAAAG+AgAAeAAAAAoKAAAAAAAAAAANAAAAAAEHvwIAAAABAAAABAAAAAQdQXBsb3Jpcy5CYXNlLk9iamVjdHMuVmFyaWFibGUDAAAAASoDAADoAgAAAQAAAAAAAAABKwMAAOgCAAAAAAAAAAAAAAEsAwAA6AIAAAAAAAAAAAAAAS0DAADoAgAAAAAAAAAAAAAPwAIAAAEAAAAIIwAAAAHBAgAAeAAAAAoKAAAAAAAAAAANAAAAAAAFwgIAABpBcGxvcmlzLkJhc2UuT2JqZWN0cy5Db2xvcgcAAAASRGF0YU9iamVjdCttUGFyZW50FURhdGFPYmplY3QrbUNvbnRhaW5lcgVtVHlwZQRtUkdCEG1UaGVtZUNvbG9ySW5kZXgMbUF1dG9VcGRhdGVkCW1Nb2RpZmllZAQCAAAAAAAfQXBsb3Jpcy5CYXNlLk9iamVjdHMuTGluZUZvcm1hdAMAAAAICAgBAQMAAAAJAAIAAAoBAAAAAAAAAP////8AAQ/DAgAAAQAAAAiKAwAAAcQCAAB4AAAACgoAAAAAAAAAAA0AAAAAAAHFAgAAeAAAAAoKAAAAAAAAAAANAAAAAAEHxgIAAAABAAAABAAAAAQdQXBsb3Jpcy5CYXNlLk9iamVjdHMuVmFyaWFibGUDAAAAAS4DAADoAgAAAQAAAAAAAAABLwMAAOgCAAAAAAAAAAAAAAEwAwAA6AIAAAAAAAAAAAAAATEDAADoAgAAAAAAAAAAAAAPxwIAAAEAAAAIKwAAAAHIAgAAeAAAAAoKAAAAAAAAAAANAAAAAAAFyQIAABpBcGxvcmlzLkJhc2UuT2JqZWN0cy5Db2xvcgcAAAASRGF0YU9iamVjdCttUGFyZW50FURhdGFPYmplY3QrbUNvbnRhaW5lcgVtVHlwZQRtUkdCEG1UaGVtZUNvbG9ySW5kZXgMbUF1dG9VcGRhdGVkCW1Nb2RpZmllZAQCAAAAAAAfQXBsb3Jpcy5CYXNlLk9iamVjdHMuTGluZUZvcm1hdAMAAAAICAgBAQMAAAAJDwIAAAoBAAAAAAAAAP////8AAQ/KAgAAAQAAAAiMAwAAAcsCAAB4AAAACgoAAAAAAAAAAA0AAAAAAAHMAgAAeAAAAAoKAAAAAAAAAAANAAAAAAEHzQIAAAABAAAABAAAAAQdQXBsb3Jpcy5CYXNlLk9iamVjdHMuVmFyaWFibGUDAAAAATIDAADoAgAAAQAAAAAAAAABMwMAAOgCAAAAAAAAAAAAAAE0AwAA6AIAAAAAAAAAAAAAATUDAADoAgAAAAAAAAAAAAAPzgIAAAEAAAAIKgAAAAHPAgAAeAAAAAoKAAAAAAAAAAANAAAAAAAF0AIAABpBcGxvcmlzLkJhc2UuT2JqZWN0cy5Db2xvcgcAAAASRGF0YU9iamVjdCttUGFyZW50FURhdGFPYmplY3QrbUNvbnRhaW5lcgVtVHlwZQRtUkdCEG1UaGVtZUNvbG9ySW5kZXgMbUF1dG9VcGRhdGVkCW1Nb2RpZmllZAQCAAAAAAAfQXBsb3Jpcy5CYXNlLk9iamVjdHMuTGluZUZvcm1hdAMAAAAICAgBAQMAAAAJHgIAAAoBAAAAAAAAAP////8AAQ/RAgAAAQAAAAiJAwAAAdICAAB4AAAACgoAAAAAAAAAAA0AAAAAAAHTAgAAeAAAAAoKAAAAAAAAAAANAAAAAAEH1AIAAAABAAAABAAAAAQdQXBsb3Jpcy5CYXNlLk9iamVjdHMuVmFyaWFibGUDAAAAATYDAADoAgAAAQAAAAAAAAABNwMAAOgCAAAAAAAAAAAAAAE4AwAA6AIAAAAAAAAAAAAAATkDAADoAgAAAAAAAAAAAAAP1QIAAAEAAAAIJwAAAAHWAgAAeAAAAAoKAAAAAAAAAAANAAAAAAAF1wIAABpBcGxvcmlzLkJhc2UuT2JqZWN0cy5Db2xvcgcAAAASRGF0YU9iamVjdCttUGFyZW50FURhdGFPYmplY3QrbUNvbnRhaW5lcgVtVHlwZQRtUkdCEG1UaGVtZUNvbG9ySW5kZXgMbUF1dG9VcGRhdGVkCW1Nb2RpZmllZAQCAAAAAAAfQXBsb3Jpcy5CYXNlLk9iamVjdHMuTGluZUZvcm1hdAMAAAAICAgBAQMAAAAJLQIAAAoBAAAAAAAAAP////8AAQ/YAgAAAQAAAAiPAwAAAdkCAAB4AAAACgoAAAAAAAAAAA0AAAAAAAHaAgAAeAAAAAoKAAAAAAAAAAANAAAAAAEH2wIAAAABAAAABAAAAAQdQXBsb3Jpcy5CYXNlLk9iamVjdHMuVmFyaWFibGUDAAAAAToDAADoAgAAAQAAAAAAAAABOwMAAOgCAAAAAAAAAAAAAAE8AwAA6AIAAAAAAAAAAAAAAT0DAADoAgAAAAAAAAAAAAAP3AIAAAEAAAAIKQAAAAHdAgAAeAAAAAoKAAAAAAAAAAANAAAAAAAF3gIAABpBcGxvcmlzLkJhc2UuT2JqZWN0cy5Db2xvcgcAAAASRGF0YU9iamVjdCttUGFyZW50FURhdGFPYmplY3QrbUNvbnRhaW5lcgVtVHlwZQRtUkdCEG1UaGVtZUNvbG9ySW5kZXgMbUF1dG9VcGRhdGVkCW1Nb2RpZmllZAQCAAAAAAAfQXBsb3Jpcy5CYXNlLk9iamVjdHMuTGluZUZvcm1hdAMAAAAICAgBAQMAAAAJPAIAAAoBAAAAAAAAAP////8AAQ/fAgAAAQAAAAiOAwAAAeACAAB4AAAACgoAAAAAAAAAAA0AAAAAAAHhAgAAeAAAAAoKAAAAAAAAAAANAAAAAAEH4gIAAAABAAAABAAAAAQdQXBsb3Jpcy5CYXNlLk9iamVjdHMuVmFyaWFibGUDAAAAAT4DAADoAgAAAQAAAAAAAAABPwMAAOgCAAAAAAAAAAAAAAFAAwAA6AIAAAAAAAAAAAAAAUEDAADoAgAAAAAAAAAAAAAP4wIAAAEAAAAIKAAAAAXkAg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UIDAAAJQwMAAAoJRAMAAAoJCQEAAAgGK4cW2c73wz8KAAAAAAlFAwAACUYDAAAAAAAAAAlHAwAACQkBAAAJAQAAAAlIAwAAAeUCAADkAgAACUkDAAAJSgMAAAoJSwMAAAoJCQEAAAgG7nw/NV66yT8KAQAAAAlMAwAACU0DAAAAAAAAAAlOAwAACQkBAAAJAQAAAAlPAwAAAeYCAADkAgAACVADAAAJUQMAAAoJUgMAAAoJCQEAAAgGgZVDi2znuz8KAgAAAAlTAwAACVQDAAAAAAAAAAlVAwAACQkBAAAJAQAAAAlWAwAAAecCAADkAgAACVcDAAAJWAMAAAoJWQMAAAoJCQEAAAgG/Knx0k1isD8KAwAAAAlaAwAACVsDAAAAAAAAAAlcAwAACQkBAAAJAQAAAAldAwAAAewCAADkAgAACV4DAAAJXwMAAAoJYAMAAAoJCgEAAAgGqvHSTWIQ2D8KAAAAAAlhAwAACWIDAAAAAAAAAAljAwAACQoBAAAJAQAAAAlkAwAAAe0CAADkAgAACWUDAAAJZgMAAAoJZwMAAAoJCgEAAAgGEFg5tMh21j8KAQAAAAloAwAACWkDAAAAAAAAAAlqAwAACQoBAAAJAQAAAAlrAwAAAe4CAADkAgAACWwDAAAJbQMAAAoJbgMAAAoJCgEAAAgGPzVeukkM0j8KAgAAAAlvAwAACXADAAAAAAAAAAlxAwAACQoBAAAJAQAAAAlyAwAAAe8CAADkAgAACXMDAAAJdAMAAAoJdQMAAAoJCgEAAAgGppvEILByyD8KAwAAAAl2AwAACXcDAAAAAAAAAAl4AwAACQoBAAAJAQAAAAl5AwAAAfQCAAB4AAAACgoAAAAAAAAAAA0AAAAAAAH1AgAAeAAAAAoKAAAAAAAAAAANAAAAAAEH9gIAAAABAAAABAAAAAQdQXBsb3Jpcy5CYXNlLk9iamVjdHMuVmFyaWFibGUDAAAAAXoDAADoAgAAAQAAAAAAAAABewMAAOgCAAAAAAAAAAAAAAF8AwAA6AIAAAAAAAAAAAAAAX0DAADoAgAAAAAAAAAAAAAP9wIAAAEAAAAINAMAAAH8AgAAeAAAAAoKAAAAAAAAAAANAAAAAAAB/QIAAHgAAAAKCgAAAAAAAAAADQAAAAABB/4CAAAAAQAAAAQAAAAEHUFwbG9yaXMuQmFzZS5PYmplY3RzLlZhcmlhYmxlAwAAAAF+AwAA6AIAAAEAAAAAAAAAAX8DAADoAgAAAAAAAAAAAAABgAMAAOgCAAAAAAAAAAAAAAGBAwAA6AIAAAAAAAAAAAAAD/8CAAABAAAACDIDAAABBAMAAHgAAAAKCgAAAAAAAAAADQAAAAAAAQUDAAB4AAAACgoAAAAAAAAAAA0AAAAAAQcGAwAAAAEAAAAEAAAABB1BcGxvcmlzLkJhc2UuT2JqZWN0cy5WYXJpYWJsZQMAAAABggMAAOgCAAABAAAAAAAAAAGDAwAA6AIAAAAAAAAAAAAAAYQDAADoAgAAAAAAAAAAAAABhQMAAOgCAAAAAAAAAAAAAA8HAwAAAQAAAAg1AwAAAQwDAAB4AAAACgoAAAAAAAAAAA0AAAAAAAENAwAAeAAAAAoKAAAAAAAAAAANAAAAAAEHDgMAAAABAAAABAAAAAQdQXBsb3Jpcy5CYXNlLk9iamVjdHMuVmFyaWFibGUDAAAAAYYDAADoAgAAAQAAAAAAAAABhwMAAOgCAAAAAAAAAAAAAAGIAwAA6AIAAAAAAAAAAAAAAYkDAADoAgAAAAAAAAAAAAAPDwMAAAEAAAAIkgMAAAEUAwAAeAAAAAoKAAAAAAAAAAANAAAAAAABFQMAAHgAAAAKCgEAAAAAAAAA/////wABBxYDAAAAAQAAAAQAAAAEHUFwbG9yaXMuQmFzZS5PYmplY3RzLlZhcmlhYmxlAwAAAAGKAwAA6AIAAAEAAAAAAAAAAYsDAADoAgAAAAAAAAAAAAABjAMAAOgCAAAAAAAAAAAAAAGNAwAA6AIAAAAAAAAAAAAADxcDAAABAAAACDkDAAABGAMAAHgAAAAKCgAAAAD///8ADgAAAAAABRkDAAAaQXBsb3Jpcy5CYXNlLk9iamVjdHMuQ29sb3IHAAAAEkRhdGFPYmplY3QrbVBhcmVudBVEYXRhT2JqZWN0K21Db250YWluZXIFbVR5cGUEbVJHQhBtVGhlbWVDb2xvckluZGV4DG1BdXRvVXBkYXRlZAltTW9kaWZpZWQEAgAAAAAAH0FwbG9yaXMuQmFzZS5PYmplY3RzLkxpbmVGb3JtYXQDAAAACAgIAQEDAAAACZoCAAAKAQAAAAAAAAD/////AAEBGgMAAHgAAAAKCgEAAAAFKW4A/////wAAARsDAAB4AAAACgoBAAAA////AP////8AAA8cAwAAAQAAAAg7AwAAAR0DAAB4AAAACgoAAAAAAAAAAA0AAAAAAAEeAwAAeAAAAAoKAQAAAAAAAAD/////AAEHHwMAAAABAAAABAAAAAQdQXBsb3Jpcy5CYXNlLk9iamVjdHMuVmFyaWFibGUDAAAAAY4DAADoAgAAAQAAAAAAAAABjwMAAOgCAAAAAAAAAAAAAAGQAwAA6AIAAAAAAAAAAAAAAZEDAADoAgAAAAAAAAAAAAAPIAMAAAEAAAAIOAMAAAEhAwAAeAAAAAoKAAAAAP///wAOAAAAAAAFIgMAABpBcGxvcmlzLkJhc2UuT2JqZWN0cy5Db2xvcgcAAAASRGF0YU9iamVjdCttUGFyZW50FURhdGFPYmplY3QrbUNvbnRhaW5lcgVtVHlwZQRtUkdCEG1UaGVtZUNvbG9ySW5kZXgMbUF1dG9VcGRhdGVkCW1Nb2RpZmllZAQCAAAAAAAfQXBsb3Jpcy5CYXNlLk9iamVjdHMuTGluZUZvcm1hdAMAAAAICAgBAQMAAAAJrAIAAAoBAAAAAAAAAP////8AAQEjAwAAeAAAAAoKAQAAAEV11AD/////AAABJAMAAHgAAAAKCgEAAAD///8A/////wAADyUDAAABAAAACDoDAAABQgMAACYBAAAKWAIAAAGSAwAAfgEAAAIAAAABkwMAAH8BAAABAAAAAZQDAAAVAAAA+mlUQiMAUkPY0AtCxB91QgGVAwAAgQEAAAAAAAAAAKBAAAGWAwAAIQAAADMpjUIcpHBDAZcDAACgAAAAAAAAAAAAAAAAAAAAAAmYAwAAAAAAAAmZAwAAAAABmgMAAKkAAAAAAAAAAZsDAAByAAAAAADIQQAAYEEBnAMAABUAAABVVWlC//9qQwx7vkGqqjpBEoO+PwadAwAAAzE2JQoJngMAAAmKAQAANAMAAP////8BAQoJnwMAAAEACgABQwMAABwAAAABoAMAACEAAAD6aUhCCiSJQwGhAwAAIQAAAGkdtkIjAE9DCaIDAAAJowMAAAAAAAAKAaQDAAByAAAAAAAAAAAAAAABpQMAAHIAAAAAAAAAAAAAAAAAAAABpgMAABUAAAAAAAAAAAAAAAAAAAAAAAAApAEAAP////8BAQoJpwMAAAEACgAHRAMAAAABAAAAAgAAAAQaQXBsb3Jpcy5CYXNlLlVJLlZpc3VhbExpbmUDAAAACgoHRQMAAAABAAAAAwAAAAQVU3lzdGVtLkRyYXdpbmcuUG9pbnRGBAAAAAGoAwAAIQAAADMpjUIcpHBDAakDAAAhAAAA+mk8QhykcEMBqgMAACEAAABpHbxCHKRwQwdGAwAAAAEAAAADAAAABBdBcGxvcmlzLkJhc2UuQW5jaG9yTW9kZQMAAAABqwMAAKAAAAAAAAAAAawDAACgAAAAAgAAAAGtAwAAoAAAAAQAAAABRwMAACUAAAAJrgMAAAAAAAAAAAAAAUgDAAAmAAAACa8DAAACAAAABgAAAAFJAwAAJgEAAApYAgAAAbADAAB+AQAAAgAAAAGxAwAAfwEAAAEAAAABsgMAABUAAAB2Qu1Cspc+Q9jQC0LEYKFCAbMDAACBAQAAAAAAAAAAoEAAAbQDAAAhAAAAVhsIQ+PvZkMBtQMAAKAAAAAAAAAAAAAAAAAAAAAACbYDAAAAAAAACbcDAAAAAAG4AwAAqQAAAAAAAAABuQMAAHIAAAAAAMhBAABgQQG6AwAAFQAAAFVV+EL//2BDDHu+QaqqOkESg74/BrsDAAADMjAlCgm8AwAACYoBAAA0AwAA/////wEBCgm9AwAAAQAKAAFKAwAAHAAAAAG+AwAAIQAAAHZC50IKJIlDAb8DAAAhAAAAcZUcQ7KXO0MJwAMAAAnBAwAAAAAAAAoBwgMAAHIAAAAAAAAAAAAAAAHDAwAAcgAAAAAAAAAAAAAAAAAAAAHEAwAAFQAAAAAAAAAAAAAAAAAAAAAAAACkAQAA/////wEBCgnFAwAAAQAKAAdLAwAAAAEAAAACAAAABBpBcGxvcmlzLkJhc2UuVUkuVmlzdWFsTGluZQMAAAAKCgdMAwAAAAEAAAADAAAABBVTeXN0ZW0uRHJhd2luZy5Qb2ludEYEAAAAAcYDAAAhAAAAVhsIQ+PvZkMBxwMAACEAAAB2QuFC4+9mQwHIAwAAIQAAAHGVH0Pj72ZDB00DAAAAAQAAAAMAAAAEF0FwbG9yaXMuQmFzZS5BbmNob3JNb2RlAwAAAAHJAwAAoAAAAAAAAAABygMAAKAAAAACAAAAAcsDAACgAAAABAAAAAFOAwAAJQAAAAmuAwAAAAAAAAAAAAABTwMAACYAAAAJzAMAAAIAAAACAAAAAVADAAAmAQAAClgCAAABzQMAAH4BAAACAAAAAc4DAAB/AQAAAQAAAAHPAwAAFQAAAPknOENnRWZD2NALQrQKJEIB0AMAAIEBAAAAAAAAAACgQAAB0QMAACEAAAAUoklDvsZ6QwHSAwAAoAAAAAAAAAAAAAAAAAAAAAAJ0wMAAAAAAAAJ1AMAAAAAAdUDAACpAAAAAAAAAAHWAwAAcgAAAAAAyEEAAGBBAdcDAAAVAAAAAAA+Q///dEMMe75Bqqo6QRKDvj8G2AMAAAMxMSUKCdkDAAAJigEAADQDAAD/////AQEKCdoDAAABAAoAAVEDAAAcAAAAAdsDAAAhAAAA+Sc1QwokiUMB3AMAACEAAAAvHF5DZ0VjQwndAwAACd4DAAAAAAAACgHfAwAAcgAAAAAAAAAAAAAAAeADAAByAAAAAAAAAAAAAAAAAAAAAeEDAAAVAAAAAAAAAAAAAAAAAAAAAAAAAKQBAAD/////AQEKCeIDAAABAAoAB1IDAAAAAQAAAAIAAAAEGkFwbG9yaXMuQmFzZS5VSS5WaXN1YWxMaW5lAwAAAAoKB1MDAAAAAQAAAAMAAAAEFVN5c3RlbS5EcmF3aW5nLlBvaW50RgQAAAAB4wMAACEAAAAUoklDvsZ6QwHkAwAAIQAAAPknMkO+xnpDAeUDAAAhAAAALxxhQ77GekMHVAMAAAABAAAAAwAAAAQXQXBsb3Jpcy5CYXNlLkFuY2hvck1vZGUDAAAAAeYDAACgAAAAAAAAAAHnAwAAoAAAAAIAAAAB6AMAAKAAAAAEAAAAAVUDAAAlAAAACcoBAAAAAAAAAAAAAAFWAwAAJgAAAAnpAwAAAgAAAAYAAAABVwMAACYBAAAKWAIAAAHqAwAAfgEAAAIAAAAB6wMAAH8BAAABAAAAAewDAAAVAAAAta55Q9mteUPc0AtC2NGsQQHtAwAAgQEAAAAAAAAAAKBAAAHuAwAAIQAAAGiUhUN7PYJDAe8DAACgAAAAAAAAAAAAAAAAAAAAAAnwAwAAAAAAAAnxAwAAAAAB8gMAAKkAAAAAAAAAAfMDAAByAAAAAACQQQAAYEEB9AMAABUAAACqKoFD//9+Q2LQj0GqqjpBEoO+Pwb1AwAAAjYlCgn2AwAACYoBAAA0AwAA/////wEBCgn3AwAAAQAKAAFYAwAAHAAAAAH4AwAAIQAAALWudkMKJIlDAfkDAAAhAAAAdtGPQ9mtdkMJ+gMAAAn7AwAAAAAAAAoB/AMAAHIAAAAAAAAAAAAAAAH9AwAAcgAAAAAAAAAAAAAAAAAAAAH+AwAAFQAAAAAAAAAAAAAAAAAAAAAAAACkAQAA/////wEBCgn/AwAAAQAKAAdZAwAAAAEAAAACAAAABBpBcGxvcmlzLkJhc2UuVUkuVmlzdWFsTGluZQMAAAAKCgdaAwAAAAEAAAADAAAABBVTeXN0ZW0uRHJhd2luZy5Qb2ludEYEAAAAAQAEAAAhAAAAaJSFQ3s9gkMBAQQAACEAAAC1rnNDez2CQwECBAAAIQAAAHZRkUN7PYJDB1sDAAAAAQAAAAMAAAAEF0FwbG9yaXMuQmFzZS5BbmNob3JNb2RlAwAAAAEDBAAAoAAAAAAAAAABBAQAAKAAAAACAAAAAQUEAACgAAAABAAAAAFcAwAAJQAAAAnWAQAAAAAAAAAAAAABXQMAACYAAAAJBgQAAAIAAAACAAAAAV4DAAAmAQAAClgCAAABBwQAAH4BAAACAAAAAQgEAAB/AQAAAQAAAAEJBAAAFQAAAPppVEIaWD9C2NALQhwqHEMBCgQAAIEBAAAAAAAAAACgQAABCwQAACEAAAAzKY1CKtb7QgEMBAAAoAAAAAAAAAAAAAAAAAAAAAAJDQQAAAAAAAAJDgQAAAAAAQ8EAACpAAAAAAAAAAEQBAAAcgAAAAAAyEEAAGBBAREEAAAVAAAAVVVpQv//70IMe75Bqqo6QRKDvj8GEgQAAAMzOCUKCRMEAAAJigEAADQDAAD/////AQEKCRQEAAABAAoAAV8DAAAcAAAAARUEAAAhAAAA+mlIQiMAT0MBFgQAACEAAABpHbZCGlgzQgkXBAAACRgEAAAAAAAACgEZBAAAcgAAAAAAAAAAAAAAARoEAAByAAAAAAAAAAAAAAAAAAAAARsEAAAVAAAAAAAAAAAAAAAAAAAAAAAAAKQBAAD/////AQEKCRwEAAABAAoAB2ADAAAAAQAAAAIAAAAEGkFwbG9yaXMuQmFzZS5VSS5WaXN1YWxMaW5lAwAAAAoKB2EDAAAAAQAAAAMAAAAEFVN5c3RlbS5EcmF3aW5nLlBvaW50RgQAAAABHQQAACEAAAAzKY1CKtb7QgEeBAAAIQAAAPppPEIq1vtCAR8EAAAhAAAAaR28QirW+0IHYgMAAAABAAAAAwAAAAQXQXBsb3Jpcy5CYXNlLkFuY2hvck1vZGUDAAAAASAEAACgAAAAAAAAAAEhBAAAoAAAAAIAAAABIgQAAKAAAAAEAAAAAWMDAAAlAAAACSMEAAAAAAAAAAAAAAFkAwAAJgAAAAkkBAAAAgAAAAYAAAABZQMAACYBAAAKWAIAAAElBAAAfgEAAAIAAAABJgQAAH8BAAABAAAAAScEAAAVAAAAdkLtQlDXHELY0AtC3mERQwEoBAAAgQEAAAAAAAAAAKBAAAEpBAAAIQAAAFYbCEOGzd9CASoEAACgAAAAAAAAAAAAAAAAAAAAAAkrBAAAAAAAAAksBAAAAAABLQQAAKkAAAAAAAAAAS4EAAByAAAAAADIQQAAYEEBLwQAABUAAABVVfhCqqrTQgx7vkGqqjpBEoO+PwYwBAAAAzM1JQoJMQQAAAmKAQAANAMAAP////8BAQoJMgQAAAEACgABZgMAABwAAAABMwQAACEAAAB2QudCspc7QwE0BAAAIQAAAHGVHENQ1xBCCTUEAAAJNgQAAAAAAAAKATcEAAByAAAAAAAAAAAAAAABOAQAAHIAAAAAAAAAAAAAAAAAAAABOQQAABUAAAAAAAAAAAAAAAAAAAAAAAAApAEAAP////8BAQoJOgQAAAEACgAHZwMAAAABAAAAAgAAAAQaQXBsb3Jpcy5CYXNlLlVJLlZpc3VhbExpbmUDAAAACgoHaAMAAAABAAAAAwAAAAQVU3lzdGVtLkRyYXdpbmcuUG9pbnRGBAAAAAE7BAAAIQAAAFYbCEOGzd9CATwEAAAhAAAAdkLhQobN30IBPQQAACEAAABxlR9Dhs3fQgdpAwAAAAEAAAADAAAABBdBcGxvcmlzLkJhc2UuQW5jaG9yTW9kZQMAAAABPgQAAKAAAAAAAAAAAT8EAACgAAAAAgAAAAFABAAAoAAAAAQAAAABagMAACUAAAAJIwQAAAAAAAAAAAAAAWsDAAAmAAAACUEEAAACAAAABgAAAAFsAwAAJgEAAApYAgAAAUIEAAB+AQAAAgAAAAFDBAAAfwEAAAEAAAABRAQAABUAAAD5JzhDo0vZQtjQC0IrP+dCAUUEAACBAQAAAAAAAAAAoEAAAUYEAAAhAAAAFKJJQ5x1JkMBRwQAAKAAAAAAAAAAAAAAAAAAAAAACUgEAAAAAAAACUkEAAAAAAFKBAAAqQAAAAAAAAABSwQAAHIAAAAAAMhBAABgQQFMBAAAFQAAAAAAPkNV1SBDDHu+QaqqOkESg74/Bk0EAAADMjglCglOBAAACYoBAAA0AwAA/////wEBCglPBAAAAQAKAAFtAwAAHAAAAAFQBAAAIQAAAPknNUNnRWNDAVEEAAAhAAAALxxeQ6NL00IJUgQAAAlTBAAAAAAAAAoBVAQAAHIAAAAAAAAAAAAAAAFVBAAAcgAAAAAAAAAAAAAAAAAAAAFWBAAAFQAAAAAAAAAAAAAAAAAAAAAAAACkAQAA/////wEBCglXBAAAAQAKAAduAwAAAAEAAAACAAAABBpBcGxvcmlzLkJhc2UuVUkuVmlzdWFsTGluZQMAAAAKCgdvAwAAAAEAAAADAAAABBVTeXN0ZW0uRHJhd2luZy5Qb2ludEYEAAAAAVgEAAAhAAAAFKJJQ5x1JkMBWQQAACEAAAD5JzJDnHUmQwFaBAAAIQAAAC8cYUOcdSZDB3ADAAAAAQAAAAMAAAAEF0FwbG9yaXMuQmFzZS5BbmNob3JNb2RlAwAAAAFbBAAAoAAAAAAAAAABXAQAAKAAAAACAAAAAV0EAACgAAAABAAAAAFxAwAAJQAAAAnKAQAAAAAAAAAAAAABcgMAACYAAAAJXgQAAAIAAAAGAAAAAXMDAAAmAQAAClgCAAABXwQAAH4BAAACAAAAAWAEAAB/AQAAAQAAAAFhBAAAFQAAALWueUOPTSdD3NALQpTAmEIBYgQAAIEBAAAAAAAAAACgQAABYwQAACEAAABolIVDtH1NQwFkBAAAoAAAAAAAAAAAAAAAAAAAAAAJZQQAAAAAAAAJZgQAAAAAAWcEAACpAAAAAAAAAAFoBAAAcgAAAAAAyEEAAGBBAWkEAAAVAAAA//9+Q///R0MMe75Bqqo6QRKDvj8GagQAAAMxOSUKCWsEAAAJigEAADQDAAD/////AQEKCWwEAAABAAoAAXQDAAAcAAAAAW0EAAAhAAAAta52Q9mtdkMBbgQAACEAAAB20Y9Dj00kQwlvBAAACXAEAAAAAAAACgFxBAAAcgAAAAAAAAAAAAAAAXIEAAByAAAAAAAAAAAAAAAAAAAAAXMEAAAVAAAAAAAAAAAAAAAAAAAAAAAAAKQBAAD/////AQEKCXQEAAABAAoAB3UDAAAAAQAAAAIAAAAEGkFwbG9yaXMuQmFzZS5VSS5WaXN1YWxMaW5lAwAAAAoKB3YDAAAAAQAAAAMAAAAEFVN5c3RlbS5EcmF3aW5nLlBvaW50RgQAAAABdQQAACEAAABolIVDtH1NQwF2BAAAIQAAALWuc0O0fU1DAXcEAAAhAAAAdlGRQ7R9TUMHdwMAAAABAAAAAwAAAAQXQXBsb3Jpcy5CYXNlLkFuY2hvck1vZGUDAAAAAXgEAACgAAAAAAAAAAF5BAAAoAAAAAIAAAABegQAAKAAAAAEAAAAAXgDAAAlAAAACdYBAAAAAAAAAAAAAAF5AwAAJgAAAAl7BAAAAgAAAAIAAAABmAMAACMAAAAKCgAAAAAAKEEJdgAAAAl3AAAACXwEAAAAAAl9BAAAAZkDAAB4AAAACgoBAAAABSluAP////8AAQGeAwAArQAAAAl+BAAAAQAAAAMAAAABnwMAAHUAAAAJfwQAAAoBogMAAHAAAAAKCgAAAEA/CYAEAAAJgQQAAAEAAAD+////AAAAAAEAAAAAAAAAAAAAAAEAAAAAAAAAAAAAAaMDAABxAAAACgoJggQAAAmDBAAAAQAAAP7///8AAAAA/////wAAAacDAAB1AAAACYQEAAAKB64DAAAAAQAAAAAAAAAEH0FwbG9yaXMuQmFzZS5PYmplY3RzLkRhdGFPYmplY3QDAAAAB68DAAAAAQAAAAQAAAAEHEFwbG9yaXMuQmFzZS5VSS5WaXN1YWxPYmplY3QDAAAACUMDAAAJQgMAAAoKAbYDAAAjAAAACgoAAAAAAChBCXYAAAAJdwAAAAmFBAAAAAAJhgQAAAG3AwAAeAAAAAoKAQAAAAUpbgD/////AAEBvAMAAK0AAAAJhwQAAAEAAAADAAAAAb0DAAB1AAAACYgEAAAKAcADAABwAAAACgoAAABAPwmJBAAACYoEAAABAAAA/v///wAAAAABAAAAAAAAAAAAAAABAAAAAAAAAAAAAAHBAwAAcQAAAAoKCYsEAAAJjAQAAAEAAAD+////AAAAAP////8AAAHFAwAAdQAAAAmNBAAACgfMAwAAAAEAAAAEAAAABBxBcGxvcmlzLkJhc2UuVUkuVmlzdWFsT2JqZWN0AwAAAAlKAwAACUkDAAAKCgHTAwAAIwAAAAoKAAAAAAAoQQl2AAAACXcAAAAJjgQAAAAACY8EAAAB1AMAAHgAAAAKCgEAAAAFKW4A/////wABAdkDAACtAAAACZAEAAABAAAAAwAAAAHaAwAAdQAAAAmRBAAACgHdAwAAcAAAAAoKAAAAQD8JkgQAAAmTBAAAAQAAAP7///8AAAAAAQAAAAAAAAAAAAAAAQAAAAAAAAAAAAAB3gMAAHEAAAAKCgmUBAAACZUEAAABAAAA/v///wAAAAD/////AAAB4gMAAHUAAAAJlgQAAAoH6QMAAAABAAAABAAAAAQcQXBsb3Jpcy5CYXNlLlVJLlZpc3VhbE9iamVjdAMAAAAJUQMAAAlQAwAACgoB8AMAACMAAAAKCgAAAAAAKEEJdgAAAAl3AAAACZcEAAAAAAmYBAAAAfEDAAB4AAAACgoBAAAABSluAP////8AAQH2AwAArQAAAAmZBAAAAQAAAAMAAAAB9wMAAHUAAAAJmgQAAAoB+gMAAHAAAAAKCgEAAEA/CZsEAAAJnAQAAAEAAAD+////AAAAAAEAAAAAAAAAAAAAAAEAAAAAAAAAAAAAAfsDAABxAAAACgoJnQQAAAmeBAAAAQAAAP7///8AAAAA/////wAAAf8DAAB1AAAACZ8EAAAKBwYEAAAAAQAAAAQAAAAEHEFwbG9yaXMuQmFzZS5VSS5WaXN1YWxPYmplY3QDAAAACVgDAAAJVwMAAAoKAQ0EAAAjAAAACgoAAAAAAChBCXYAAAAJdwAAAAmgBAAAAAAJoQQAAAEOBAAAeAAAAAoKAQAAAEV11AD/////AAEBEwQAAK0AAAAJogQAAAEAAAADAAAAARQEAAB1AAAACaMEAAAKARcEAABwAAAACgoAAABAPwmkBAAACaUEAAABAAAA/v///wAAAAABAAAAAAAAAAAAAAABAAAAAAAAAAAAAAEYBAAAcQAAAAoKCaYEAAAJpwQAAAEAAAD+////AAAAAP////8BAAEcBAAAdQAAAAmoBAAACgcjBAAAAAEAAAAAAAAABB9BcGxvcmlzLkJhc2UuT2JqZWN0cy5EYXRhT2JqZWN0AwAAAAckBAAAAAEAAAAEAAAABBxBcGxvcmlzLkJhc2UuVUkuVmlzdWFsT2JqZWN0AwAAAAlfAwAACV4DAAAKCgErBAAAIwAAAAoKAAAAAAAoQQl2AAAACXcAAAAJqQQAAAAACaoEAAABLAQAAHgAAAAKCgEAAABFddQA/////wABATEEAACtAAAACasEAAABAAAAAwAAAAEyBAAAdQAAAAmsBAAACgE1BAAAcAAAAAoKAAAAQD8JrQQAAAmuBAAAAQAAAP7///8AAAAAAQAAAAAAAAAAAAAAAQAAAAAAAAAAAAABNgQAAHEAAAAKCgmvBAAACbAEAAABAAAA/v///wAAAAD/////AQABOgQAAHUAAAAJsQQAAAoHQQQAAAABAAAABAAAAAQcQXBsb3Jpcy5CYXNlLlVJLlZpc3VhbE9iamVjdAMAAAAJZgMAAAllAwAACgoBSAQAACMAAAAKCgAAAAAAKEEJdgAAAAl3AAAACbIEAAAAAAmzBAAAAUkEAAB4AAAACgoBAAAARXXUAP////8AAQFOBAAArQAAAAm0BAAAAQAAAAMAAAABTwQAAHUAAAAJtQQAAAoBUgQAAHAAAAAKCgAAAEA/CbYEAAAJtwQAAAEAAAD+////AAAAAAEAAAAAAAAAAAAAAAEAAAAAAAAAAAAAAVMEAABxAAAACgoJuAQAAAm5BAAAAQAAAP7///8AAAAA/////wEAAVcEAAB1AAAACboEAAAKB14EAAAAAQAAAAQAAAAEHEFwbG9yaXMuQmFzZS5VSS5WaXN1YWxPYmplY3QDAAAACW0DAAAJbAMAAAoKAWUEAAAjAAAACgoAAAAAAChBCXYAAAAJdwAAAAm7BAAAAAAJvAQAAAFmBAAAeAAAAAoKAQAAAEV11AD/////AAEBawQAAK0AAAAJvQQAAAEAAAADAAAAAWwEAAB1AAAACb4EAAAKAW8EAABwAAAACgoBAABAPwm/BAAACcAEAAABAAAA/v///wAAAAABAAAAAAAAAAAAAAABAAAAAAAAAAAAAAFwBAAAcQAAAAoKCcEEAAAJwgQAAAEAAAD+////AAAAAP////8BAAF0BAAAdQAAAAnDBAAACgd7BAAAAAEAAAAEAAAABBxBcGxvcmlzLkJhc2UuVUkuVmlzdWFsT2JqZWN0AwAAAAl0AwAACXMDAAAKCgF8BAAAeAAAAAoKAAAAAP///wAOAAAAAAABfQQAAHgAAAAKCgAAAAD///8ADgAAAAABB34EAAAAAQAAAAQAAAAEHUFwbG9yaXMuQmFzZS5PYmplY3RzLlZhcmlhYmxlAwAAAAHEBAAA6AIAAAEAAAAAAAAAAcUEAADoAgAAAAAAAAAAAAABxgQAAOgCAAAAAAAAAAAAAAHHBAAA6AIAAAAAAAAAAAAAD38EAAABAAAACGcDAAAFgAQAABpBcGxvcmlzLkJhc2UuT2JqZWN0cy5Db2xvcgcAAAASRGF0YU9iamVjdCttUGFyZW50FURhdGFPYmplY3QrbUNvbnRhaW5lcgVtVHlwZQRtUkdCEG1UaGVtZUNvbG9ySW5kZXgMbUF1dG9VcGRhdGVkCW1Nb2RpZmllZAQCAAAAAAAfQXBsb3Jpcy5CYXNlLk9iamVjdHMuTGluZUZvcm1hdAMAAAAICAgBAQMAAAAJogMAAAoAAAAA////AA4AAAAAAAWBBAAAGkFwbG9yaXMuQmFzZS5PYmplY3RzLkNvbG9yBwAAABJEYXRhT2JqZWN0K21QYXJlbnQVRGF0YU9iamVjdCttQ29udGFpbmVyBW1UeXBlBG1SR0IQbVRoZW1lQ29sb3JJbmRleAxtQXV0b1VwZGF0ZWQJbU1vZGlmaWVkBAIAAAAAAB9BcGxvcmlzLkJhc2UuT2JqZWN0cy5MaW5lRm9ybWF0AwAAAAgICAEBAwAAAAmiAwAACgEAAAAAAAAA/////wABAYIEAAB4AAAACgoBAAAABSluAP////8AAAGDBAAAeAAAAAoKAQAAAP///wD/////AAAPhAQAAAEAAAAIWgMAAAGFBAAAeAAAAAoKAAAAAP///wAOAAAAAAABhgQAAHgAAAAKCgAAAAD///8ADgAAAAABB4cEAAAAAQAAAAQAAAAEHUFwbG9yaXMuQmFzZS5PYmplY3RzLlZhcmlhYmxlAwAAAAHIBAAA6AIAAAEAAAAAAAAAAckEAADoAgAAAAAAAAAAAAABygQAAOgCAAAAAAAAAAAAAAHLBAAA6AIAAAAAAAAAAAAAD4gEAAABAAAACHACAAAFiQQAABpBcGxvcmlzLkJhc2UuT2JqZWN0cy5Db2xvcgcAAAASRGF0YU9iamVjdCttUGFyZW50FURhdGFPYmplY3QrbUNvbnRhaW5lcgVtVHlwZQRtUkdCEG1UaGVtZUNvbG9ySW5kZXgMbUF1dG9VcGRhdGVkCW1Nb2RpZmllZAQCAAAAAAAfQXBsb3Jpcy5CYXNlLk9iamVjdHMuTGluZUZvcm1hdAMAAAAICAgBAQMAAAAJwAMAAAoAAAAA////AA4AAAAAAAWKBAAAGkFwbG9yaXMuQmFzZS5PYmplY3RzLkNvbG9yBwAAABJEYXRhT2JqZWN0K21QYXJlbnQVRGF0YU9iamVjdCttQ29udGFpbmVyBW1UeXBlBG1SR0IQbVRoZW1lQ29sb3JJbmRleAxtQXV0b1VwZGF0ZWQJbU1vZGlmaWVkBAIAAAAAAB9BcGxvcmlzLkJhc2UuT2JqZWN0cy5MaW5lRm9ybWF0AwAAAAgICAEBAwAAAAnAAwAACgEAAAAAAAAA/////wABAYsEAAB4AAAACgoBAAAABSluAP////8AAAGMBAAAeAAAAAoKAQAAAP///wD/////AAAPjQQAAAEAAAAIWQIAAAGOBAAAeAAAAAoKAAAAAP///wAOAAAAAAABjwQAAHgAAAAKCgAAAAD///8ADgAAAAABB5AEAAAAAQAAAAQAAAAEHUFwbG9yaXMuQmFzZS5PYmplY3RzLlZhcmlhYmxlAwAAAAHMBAAA6AIAAAEAAAAAAAAAAc0EAADoAgAAAAAAAAAAAAABzgQAAOgCAAAAAAAAAAAAAAHPBAAA6AIAAAAAAAAAAAAAD5EEAAABAAAACGoDAAAFkgQAABpBcGxvcmlzLkJhc2UuT2JqZWN0cy5Db2xvcgcAAAASRGF0YU9iamVjdCttUGFyZW50FURhdGFPYmplY3QrbUNvbnRhaW5lcgVtVHlwZQRtUkdCEG1UaGVtZUNvbG9ySW5kZXgMbUF1dG9VcGRhdGVkCW1Nb2RpZmllZAQCAAAAAAAfQXBsb3Jpcy5CYXNlLk9iamVjdHMuTGluZUZvcm1hdAMAAAAICAgBAQMAAAAJ3QMAAAoAAAAA////AA4AAAAAAAWTBAAAGkFwbG9yaXMuQmFzZS5PYmplY3RzLkNvbG9yBwAAABJEYXRhT2JqZWN0K21QYXJlbnQVRGF0YU9iamVjdCttQ29udGFpbmVyBW1UeXBlBG1SR0IQbVRoZW1lQ29sb3JJbmRleAxtQXV0b1VwZGF0ZWQJbU1vZGlmaWVkBAIAAAAAAB9BcGxvcmlzLkJhc2UuT2JqZWN0cy5MaW5lRm9ybWF0AwAAAAgICAEBAwAAAAndAwAACgEAAAAAAAAA/////wABAZQEAAB4AAAACgoBAAAABSluAP////8AAAGVBAAAeAAAAAoKAQAAAP///wD/////AAAPlgQAAAEAAAAIWAMAAAGXBAAAeAAAAAoKAAAAAP///wAOAAAAAAABmAQAAHgAAAAKCgAAAAD///8ADgAAAAABB5kEAAAAAQAAAAQAAAAEHUFwbG9yaXMuQmFzZS5PYmplY3RzLlZhcmlhYmxlAwAAAAHQBAAA6AIAAAEAAAAAAAAAAdEEAADoAgAAAAAAAAAAAAAB0gQAAOgCAAAAAAAAAAAAAAHTBAAA6AIAAAAAAAAAAAAAD5oEAAABAAAACJMDAAAFmwQAABpBcGxvcmlzLkJhc2UuT2JqZWN0cy5Db2xvcgcAAAASRGF0YU9iamVjdCttUGFyZW50FURhdGFPYmplY3QrbUNvbnRhaW5lcgVtVHlwZQRtUkdCEG1UaGVtZUNvbG9ySW5kZXgMbUF1dG9VcGRhdGVkCW1Nb2RpZmllZAQCAAAAAAAfQXBsb3Jpcy5CYXNlLk9iamVjdHMuTGluZUZvcm1hdAMAAAAICAgBAQMAAAAJ+gMAAAoAAAAA////AA4AAAAAAAWcBAAAGkFwbG9yaXMuQmFzZS5PYmplY3RzLkNvbG9yBwAAABJEYXRhT2JqZWN0K21QYXJlbnQVRGF0YU9iamVjdCttQ29udGFpbmVyBW1UeXBlBG1SR0IQbVRoZW1lQ29sb3JJbmRleAxtQXV0b1VwZGF0ZWQJbU1vZGlmaWVkBAIAAAAAAB9BcGxvcmlzLkJhc2UuT2JqZWN0cy5MaW5lRm9ybWF0AwAAAAgICAEBAwAAAAn6AwAACgEAAAAAAAAA/////wABAZ0EAAB4AAAACgoBAAAABSluAP////8AAAGeBAAAeAAAAAoKAQAAAP///wD/////AAEPnwQAAAEAAAAIhgMAAAGgBAAAeAAAAAoKAAAAAP///wAOAAAAAAABoQQAAHgAAAAKCgAAAAD///8ADgAAAAABB6IEAAAAAQAAAAQAAAAEHUFwbG9yaXMuQmFzZS5PYmplY3RzLlZhcmlhYmxlAwAAAAHUBAAA6AIAAAEAAAAAAAAAAdUEAADoAgAAAAAAAAAAAAAB1gQAAOgCAAAAAAAAAAAAAAHXBAAA6AIAAAAAAAAAAAAAD6MEAAABAAAACGYDAAAFpAQAABpBcGxvcmlzLkJhc2UuT2JqZWN0cy5Db2xvcgcAAAASRGF0YU9iamVjdCttUGFyZW50FURhdGFPYmplY3QrbUNvbnRhaW5lcgVtVHlwZQRtUkdCEG1UaGVtZUNvbG9ySW5kZXgMbUF1dG9VcGRhdGVkCW1Nb2RpZmllZAQCAAAAAAAfQXBsb3Jpcy5CYXNlLk9iamVjdHMuTGluZUZvcm1hdAMAAAAICAgBAQMAAAAJFwQAAAoAAAAA////AA4AAAAAAAWlBAAAGkFwbG9yaXMuQmFzZS5PYmplY3RzLkNvbG9yBwAAABJEYXRhT2JqZWN0K21QYXJlbnQVRGF0YU9iamVjdCttQ29udGFpbmVyBW1UeXBlBG1SR0IQbVRoZW1lQ29sb3JJbmRleAxtQXV0b1VwZGF0ZWQJbU1vZGlmaWVkBAIAAAAAAB9BcGxvcmlzLkJhc2UuT2JqZWN0cy5MaW5lRm9ybWF0AwAAAAgICAEBAwAAAAkXBAAACgEAAAAAAAAA/////wABAaYEAAB4AAAACgoBAAAARXXUAP////8AAAGnBAAAeAAAAAoKAQAAAP///wD/////AAAPqAQAAAEAAAAIWwMAAAGpBAAAeAAAAAoKAAAAAP///wAOAAAAAAABqgQAAHgAAAAKCgAAAAD///8ADgAAAAABB6sEAAAAAQAAAAQAAAAEHUFwbG9yaXMuQmFzZS5PYmplY3RzLlZhcmlhYmxlAwAAAAHYBAAA6AIAAAEAAAAAAAAAAdkEAADoAgAAAAAAAAAAAAAB2gQAAOgCAAAAAAAAAAAAAAHbBAAA6AIAAAAAAAAAAAAAD6wEAAABAAAACGgDAAAFrQQAABpBcGxvcmlzLkJhc2UuT2JqZWN0cy5Db2xvcgcAAAASRGF0YU9iamVjdCttUGFyZW50FURhdGFPYmplY3QrbUNvbnRhaW5lcgVtVHlwZQRtUkdCEG1UaGVtZUNvbG9ySW5kZXgMbUF1dG9VcGRhdGVkCW1Nb2RpZmllZAQCAAAAAAAfQXBsb3Jpcy5CYXNlLk9iamVjdHMuTGluZUZvcm1hdAMAAAAICAgBAQMAAAAJNQQAAAoAAAAA////AA4AAAAAAAWuBAAAGkFwbG9yaXMuQmFzZS5PYmplY3RzLkNvbG9yBwAAABJEYXRhT2JqZWN0K21QYXJlbnQVRGF0YU9iamVjdCttQ29udGFpbmVyBW1UeXBlBG1SR0IQbVRoZW1lQ29sb3JJbmRleAxtQXV0b1VwZGF0ZWQJbU1vZGlmaWVkBAIAAAAAAB9BcGxvcmlzLkJhc2UuT2JqZWN0cy5MaW5lRm9ybWF0AwAAAAgICAEBAwAAAAk1BAAACgEAAAAAAAAA/////wABAa8EAAB4AAAACgoBAAAARXXUAP////8AAAGwBAAAeAAAAAoKAQAAAP///wD/////AAAPsQQAAAEAAAAIXAMAAAGyBAAAeAAAAAoKAAAAAP///wAOAAAAAAABswQAAHgAAAAKCgAAAAD///8ADgAAAAABB7QEAAAAAQAAAAQAAAAEHUFwbG9yaXMuQmFzZS5PYmplY3RzLlZhcmlhYmxlAwAAAAHcBAAA6AIAAAEAAAAAAAAAAd0EAADoAgAAAAAAAAAAAAAB3gQAAOgCAAAAAAAAAAAAAAHfBAAA6AIAAAAAAAAAAAAAD7UEAAABAAAACGkDAAAFtgQAABpBcGxvcmlzLkJhc2UuT2JqZWN0cy5Db2xvcgcAAAASRGF0YU9iamVjdCttUGFyZW50FURhdGFPYmplY3QrbUNvbnRhaW5lcgVtVHlwZQRtUkdCEG1UaGVtZUNvbG9ySW5kZXgMbUF1dG9VcGRhdGVkCW1Nb2RpZmllZAQCAAAAAAAfQXBsb3Jpcy5CYXNlLk9iamVjdHMuTGluZUZvcm1hdAMAAAAICAgBAQMAAAAJUgQAAAoAAAAA////AA4AAAAAAAW3BAAAGkFwbG9yaXMuQmFzZS5PYmplY3RzLkNvbG9yBwAAABJEYXRhT2JqZWN0K21QYXJlbnQVRGF0YU9iamVjdCttQ29udGFpbmVyBW1UeXBlBG1SR0IQbVRoZW1lQ29sb3JJbmRleAxtQXV0b1VwZGF0ZWQJbU1vZGlmaWVkBAIAAAAAAB9BcGxvcmlzLkJhc2UuT2JqZWN0cy5MaW5lRm9ybWF0AwAAAAgICAEBAwAAAAlSBAAACgEAAAAAAAAA/////wABAbgEAAB4AAAACgoBAAAARXXUAP////8AAAG5BAAAeAAAAAoKAQAAAP///wD/////AAAPugQAAAEAAAAIWQMAAAG7BAAAeAAAAAoKAAAAAP///wAOAAAAAAABvAQAAHgAAAAKCgAAAAD///8ADgAAAAABB70EAAAAAQAAAAQAAAAEHUFwbG9yaXMuQmFzZS5PYmplY3RzLlZhcmlhYmxlAwAAAAHgBAAA6AIAAAEAAAAAAAAAAeEEAADoAgAAAAAAAAAAAAAB4gQAAOgCAAAAAAAAAAAAAAHjBAAA6AIAAAAAAAAAAAAAD74EAAABAAAACJEDAAAFvwQAABpBcGxvcmlzLkJhc2UuT2JqZWN0cy5Db2xvcgcAAAASRGF0YU9iamVjdCttUGFyZW50FURhdGFPYmplY3QrbUNvbnRhaW5lcgVtVHlwZQRtUkdCEG1UaGVtZUNvbG9ySW5kZXgMbUF1dG9VcGRhdGVkCW1Nb2RpZmllZAQCAAAAAAAfQXBsb3Jpcy5CYXNlLk9iamVjdHMuTGluZUZvcm1hdAMAAAAICAgBAQMAAAAJbwQAAAoAAAAA////AA4AAAAAAAXABAAAGkFwbG9yaXMuQmFzZS5PYmplY3RzLkNvbG9yBwAAABJEYXRhT2JqZWN0K21QYXJlbnQVRGF0YU9iamVjdCttQ29udGFpbmVyBW1UeXBlBG1SR0IQbVRoZW1lQ29sb3JJbmRleAxtQXV0b1VwZGF0ZWQJbU1vZGlmaWVkBAIAAAAAAB9BcGxvcmlzLkJhc2UuT2JqZWN0cy5MaW5lRm9ybWF0AwAAAAgICAEBAwAAAAlvBAAACgEAAAAAAAAA/////wABAcEEAAB4AAAACgoBAAAARXXUAP////8AAAHCBAAAeAAAAAoKAQAAAP///wD/////AAEPwwQAAAEAAAAIhQMAAAs="/>
</p:tagLst>
</file>

<file path=ppt/tags/tag894.xml><?xml version="1.0" encoding="utf-8"?>
<p:tagLst xmlns:a="http://schemas.openxmlformats.org/drawingml/2006/main" xmlns:r="http://schemas.openxmlformats.org/officeDocument/2006/relationships" xmlns:p="http://schemas.openxmlformats.org/presentationml/2006/main">
  <p:tag name="APLORISTAG" val="MYRJM1C857JMjEwmB.901"/>
</p:tagLst>
</file>

<file path=ppt/tags/tag895.xml><?xml version="1.0" encoding="utf-8"?>
<p:tagLst xmlns:a="http://schemas.openxmlformats.org/drawingml/2006/main" xmlns:r="http://schemas.openxmlformats.org/officeDocument/2006/relationships" xmlns:p="http://schemas.openxmlformats.org/presentationml/2006/main">
  <p:tag name="APLORISTAG" val="MYRJM1C857JMjEwmB.601"/>
</p:tagLst>
</file>

<file path=ppt/tags/tag896.xml><?xml version="1.0" encoding="utf-8"?>
<p:tagLst xmlns:a="http://schemas.openxmlformats.org/drawingml/2006/main" xmlns:r="http://schemas.openxmlformats.org/officeDocument/2006/relationships" xmlns:p="http://schemas.openxmlformats.org/presentationml/2006/main">
  <p:tag name="APLORISTAG" val="MYRJM1C857JMjEwmB.902"/>
</p:tagLst>
</file>

<file path=ppt/tags/tag897.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AFFQAAABlTeXN0ZW0uRHJhd2luZy5SZWN0YW5nbGVGBAAAAAF4AXkFd2lkdGgGaGVpZ2h0AAAAAAsLCwsEAAAA//9/////f////3////9//wEWAAAAFQAAAP//f////3////9/////f/8AAAAAAAUXAAAALEFwbG9yaXMuQ2hhcnQuQXhpc0JyZWFrK0F4aXNCcmVha0Rpc3BsYXlNb2RlAQAAAAd2YWx1ZV9fAAgCAAAAAQAAAAEBAQoKCRgAAAAKCgAAAAAACRkAAAAKCRoAAAAAAAAACgUbAAAAGUFwbG9yaXMuQ2hhcnQuT3JpZW50YXRpb24BAAAAB3ZhbHVlX18ACAIAAAABAAAACRwAAAABHQAAABUAAAC0axhCzHd1QXkNg0NLeIhDAAQeAAAAC1N5c3RlbS5HdWlkCwAAAAJfYQJfYgJfYwJfZAJfZQJfZgJfZwJfaAJfaQJfagJfawAAAAAAAAAAAAAACAcHAgICAgICAgIAAAAAAAAAAAAAAAAAAAAAAAoKCR8AAAAACgoKAQAAAAAAAAD/////AAEBIAAAABUAAAAAACBBAAAgQcBliUNddKVD+yq8Q+s2H0PwiptDJR6yQwUhAAAAFVN5c3RlbS5EcmF3aW5nLlBvaW50RgIAAAABeAF5AAALCwQAAADNYxdEvPTGQwYiAAAAEDhXdEQrM21IUFZhdzgzRTA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tGsYQgkkkEMBLwAAACEAAADwGpZDCSSQQwkwAAAACTEAAAAJMgAAAAkzAAAAAAAAAAAAAAAAAAAACTQAAAAAAAAAAAAJNQAAAAkBAAAACQEAAAAJNgAAAAEHAAAABgAAAAkBAAAAATcAAAAnAAAAAAAAAM3MTD8AAAAIAQAJAQAAAAk4AAAACTkAAAABAAAAAAAAAAABMzMzMzMz4z8BmpmZmZmZuT8AAAAgQQABCToAAAAKCTsAAAAJPAAAAAk9AAAAAT4AAAAhAAAAtGsYQgkkkEMBPwAAACEAAAC0axhCzHd1QQ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DToY1Br72aQy26VEOwAxFCCWUAAAAB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BAAAAAgBAAAAAgAAAAMAAAAEAAAABRwAAAAaQXBsb3Jpcy5CYXNlLlVJLlZpc3VhbFJlY3QUAAAAC21TdGFydFBvaW50CW1FbmRQb2ludAttTGluZUZvcm1hdAttRmlsbEZvcm1hdAltUm90YXRpb24SbVJlY3RhbmdsZVByb3ZpZGVyDG1QYWludE9mZnNldBJtUGFpbnRTaXplT3ZlcnJpZGUObUV4dHJhUm90YXRpb24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BAAEBAQABAAAAAAHAgAAAwAVU3lzdGVtLkRyYXdpbmcuUG9pbnRGBAAAABVTeXN0ZW0uRHJhd2luZy5Qb2ludEYEAAAAH0FwbG9yaXMuQmFzZS5PYmplY3RzLkxpbmVGb3JtYXQDAAAAH0FwbG9yaXMuQmFzZS5PYmplY3RzLkZpbGxGb3JtYXQDAAAACypBcGxvcmlzLkJhc2UuVUkuSVJlY3RhbmdsZVBvc2l0aW9uUHJvdmlkZXIDAAAAFFN5c3RlbS5EcmF3aW5nLlNpemVGBAAAABRTeXN0ZW0uRHJhd2luZy5TaXplRgQAAAALGVN5c3RlbS5EcmF3aW5nLlJlY3RhbmdsZUYEAAAACAgBAQgBAQ9TeXN0ZW0uSW50UHRyW10BAwAAAAFuAAAAIQAAALRrGELMd3VBAW8AAAAhAAAA8BqWQwkkkEMJcAAAAAlxAAAAAAAAAAoFcgAAABRTeXN0ZW0uRHJhd2luZy5TaXplRgIAAAAFd2lkdGgGaGVpZ2h0AAALCwQAAAAAAAAAAAAAAAFzAAAAcgAAAAAAAAAAAAAAAAAAAAF0AAAAFQAAAAAAAAAAAAAAAAAAAAAAAAAUAAAA/////wEBCgl1AAAAAQAKAA8fAAAAVSwAAAJQSwMEFAAGAAgAAAAhAJJXjTV5AQAAcAUAABMACAJbQ29udGVudF9UeXBlc10ueG1s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xUS07DMBDdI3GHyFuUuGWBEGraBYUlVKIcwNiTJqpjWx73d3smbkFQhYSq3cRK7PebeGY02dY6WYPHypqcDbMBS8BIqyqzyNn7/Dm9ZwkGYZTQ1kDOdoBsMr6+Gs13DjAhtMGclSG4B85RllALzKwDQzuF9bUI9OoX3Am5FAvgt4PBHZfWBDAhDQ0HG4+mUIiVDsnTlj7vnRCcJY/7c41UzoRzupIikFHe7PJW3LoTtzbqyFxqi6KSoKxc1WQpI/zUiw3F/0PAg8YOZy0Kh+gZIaN7LCuHN4cIr1R7XylIZsKHF1FTUL7VfGP98sPaZdZdhxa1ozzoPAiFJUCodRbXrBaV+Yd+PIw8LsMLG2nyReIeH4EuFPD4PN9CpOkRxLDTgBdOuyftUy6FB/UWPN29ixv4yd3jQ9q66QQ8v96/794Xb5c8teHMW4c0ITyc/hO+Oq1Bp46IwIcKOnvtW5HGy+mCR80GzfxSoFq0eZyX408AAAD//wMAUEsDBBQABgAIAAAAIQBQfE7B9g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JLPSgMxEIfvgu8Q5t7NtoKINNuLCL2J1AcYk9k/7G4mJNO6fXuDoLiw1h6TzHzzzY9sd9M4qBPF1LE3sC5KUOQtu843Bt4Oz6sHUEnQOxzYk4EzJdhVtzfbVxpQclNqu5BUpvhkoBUJj1on29KIqeBAPr/UHEeUfIyNDmh7bEhvyvJex98MqGZMtXcG4t6tQR3OIU/+n8113Vl6YnscycvCCD2vyGSMDYmBadAfHPt35r7IwqCXXTbXu/y9px5J0KGgthxpFWJOKUqXc/3RcWxf8nX6qrgkdHe90Hz1pXBoEvKO3GUlDOHbSM/+QPUJAAD//wMAUEsDBBQABgAIAAAAIQCMlsVu8wAAALoC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s9qwzAMxu+DvYPRfXHSjTFGnV7GoNctewBjK3FoYhtL+5O3n8mgTaF0l1wMn4S/7yeh7e5nHMQXJuqDV1AVJQj0Jtjedwo+mte7JxDE2ls9BI8KJiTY1bc32zccNOdP5PpIIrt4UuCY47OUZByOmooQ0edOG9KoOcvUyajNQXcoN2X5KNPSA+ozT7G3CtLe3oNoppiT//cObdsbfAnmc0TPFyIk8TTkAUSjU4es4E8XmRHk5fiHVeOdTmjfOeXtLimW5Wsw1Zow3yEdyCHyaR3HEsm5U12D2awJw/lg8AQySzm/RwZ5dnH1LwAAAP//AwBQSwMEFAAGAAgAAAAhADKkRevAAQAAzwIAAA8AAAB4bC93b3JrYm9vay54bWyMUkuPnDAMvlfqf4hyn0kIMLsaAavpPNSRqmoP7e45DWGINg+UhMKq6n+vgdKHeunJ+WzH9vfZxcNoNPoqfVDOljjZUoykFa5W9lbiz58um3uMQuS25tpZWeJXGfBD9fZNMTj/8sW5FwQFbChxG2O3JySIVhoetq6TFiKN84ZHgP5GQuclr0MrZTSaMEp3xHBl8VJh7/+nhmsaJeTJid5IG5ciXmoeYfzQqi7gqmiUlk8LI8S77iM3MPeoMdI8xHOtoqxLnAN0g/zL4fvuXa80RNmO0gyT6hfLR494H93RGSARwqMSsYdHiemUNenwpOQQfn+YIBqfla3dUOL0joKwrytklAEc5uCzqmMLHZNkSll876W6tRHWwdJsbkD+6DALCJ1mi+zM7tBp51U48chhXZPCV2CRYOT3Ch7+WifTnGT9K7gWQGkyc2JGKYVs4azovQdljxD5SU6O8UOIVQEW9V6V+NtdztJzfko3LL+km0N+pptkl7LNLruwPDsyluXs+7pWM/6zV6OEd8E1cSucIctK4RQEkaOQ82XcL5dRFWbcH7xoryd00fwGerOZB8wCbNbJyHqL1Q8AAAD//wMAUEsDBBQABgAIAAAAIQCjg4AQ6QAAAFoBAAAUAAAAeGwvc2hhcmVkU3RyaW5ncy54bWxkkFFLAzEQhN8F/0MICPpgcwoWkVxKKeiTILT+gCXZ3gVyu2eyV71/b6SIcD7OfOzsMHbzNSR1wlwiU6vvVo1WSJ5DpK7V74fn20etigAFSEzY6hmL3rjLC1uKqHpLpdW9yPhkTPE9DlBWPCJVcuQ8gFSZO1PGjBBKjyhDMvdNszYDRNLK80TS6rVWE8WPCXe/2tkSnRW3x4ReajlrxFnzY57BS+ZPUq8cMINgmpd8G05AHsPSf0MeEy7dA/qeOHH3L+f8Zx87isfogSTN6hpEJYS6wENzpbraRPqbv0hTt3HfAA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2KlbZQGAACnGwAAEwAAAHhsL3RoZW1lL3RoZW1lMS54bWzsWU9v2zYUvw/YdyB0b20nthsHdYrYsZutTRvEboceaZmWWFOiQNJJfRva44ABw7phlwG77TBsK9ACu3SfJluHrQP6FfZISrIYy0vSBhvW1YdEIn98/9/jI3X12oOIoUMiJOVx26tdrnqIxD4f0zhoe3eG/UsbHpIKx2PMeEza3pxI79rW++9dxZsqJBFBsD6Wm7jthUolm5WK9GEYy8s8ITHMTbiIsIJXEVTGAh8B3YhV1qrVZiXCNPZQjCMge3syoT5BQ03S28qI9xi8xkrqAZ+JgSZNnBUGO57WNELOZZcJdIhZ2wM+Y340JA+UhxiWCibaXtX8vMrW1QreTBcxtWJtYV3f/NJ16YLxdM3wFMEoZ1rr11tXdnL6BsDUMq7X63V7tZyeAWDfB02tLEWa9f5GrZPRLIDs4zLtbrVRrbv4Av31JZlbnU6n0UplsUQNyD7Wl/Ab1WZ9e83BG5DFN5bw9c52t9t08AZk8c0lfP9Kq1l38QYUMhpPl9Daof1+Sj2HTDjbLYVvAHyjmsIXKIiGPLo0iwmP1apYi/B9LvoA0ECGFY2Rmidkgn2I4i6ORoJizQBvElyYsUO+XBrSvJD0BU1U2/swwZARC3qvnn//6vlT9Or5k+OHz44f/nT86NHxwx8tLWfhLo6D4sKX337259cfoz+efvPy8RfleFnE//rDJ7/8/Hk5EDJoIdGLL5/89uzJi68+/f27xyXwbYFHRfiQRkSiW+QIHfAIdDOGcSUnI3G+FcMQU2cFDoF2CemeCh3grTlmZbgOcY13V0DxKANen913ZB2EYqZoCecbYeQA9zhnHS5KDXBD8ypYeDiLg3LmYlbEHWB8WMa7i2PHtb1ZAlUzC0rH9t2QOGLuMxwrHJCYKKTn+JSQEu3uUerYdY/6gks+UegeRR1MS00ypCMnkBaLdmkEfpmX6Qyudmyzdxd1OCvTeoccukhICMxKhB8S5pjxOp4pHJWRHOKIFQ1+E6uwTMjBXPhFXE8q8HRAGEe9MZGybM1tAfoWnH4DQ70qdfsem0cuUig6LaN5E3NeRO7waTfEUVKGHdA4LGI/kFMIUYz2uSqD73E3Q/Q7+AHHK919lxLH3acXgjs0cERaBIiemYkSX14n3InfwZxNMDFVBkq6U6kjGv9d2WYU6rbl8K5st71t2MTKkmf3RLFehfsPlugdPIv3CWTF8hb1rkK/q9DeW1+hV+XyxdflRSmGKq0bEttrm847Wtl4TyhjAzVn5KY0vbeEDWjch0G9zhw6SX4QS0J41JkMDBxcILBZgwRXH1EVDkKcQN9e8zSRQKakA4kSLuG8aIZLaWs89P7KnjYb+hxiK4fEao+P7fC6Hs6OGzkZI1VgzrQZo3VN4KzM1q+kREG312FW00KdmVvNiGaKosMtV1mb2JzLweS5ajCYWxM6GwT9EFi5Ccd+zRrOO5iRsba79VHmFuOFi3SRDPGYpD7Sei/7qGaclMXKkiJaDxsM+ux4itUK3Fqa7BtwO4uTiuzqK9hl3nsTL2URvPASUDuZjiwuJieL0VHbazXWGh7ycdL2JnBUhscoAa9L3UxiFsB9k6+EDftTk9lk+cKbrUwxNwlqcPth7b6ksFMHEiHVDpahDQ0zlYYAizUnK/9aA8x6UQqUVKOzSbG+AcHwr0kBdnRdSyYT4quiswsj2nb2NS2lfKaIGITjIzRiM3GAwf06VEGfMZVw42Eqgn6B6zltbTPlFuc06YqXYgZnxzFLQpyWW52iWSZbuClIuQzmrSAe6FYqu1Hu/KqYlL8gVYph/D9TRe8ncAWxPtYe8OF2WGCkM6XtcaFCDlUoCanfF9A4mNoB0QJXvDANQQV31Oa/IIf6v805S8OkNZwk1QENkKCwH6lQELIPZclE3ynEauneZUmylJCJqIK4MrFij8ghYUNdA5t6b/dQCKFuqklaBgzuZPy572kGjQLd5BTzzalk+d5rc+Cf7nxsMoNSbh02DU1m/1zEvD1Y7Kp2vVme7b1FRfTEos2qZ1kBzApbQStN+9cU4Zxbra1YSxqvNTLhwIvLGsNg3hAlcJGE9B/Y/6jwmf3goTfUIT+A2org+4UmBmEDUX3JNh5IF0g7OILGyQ7aYNKkrGnT1klbLdusL7jTzfmeMLaW7Cz+Pqex8+bMZefk4kUaO7WwY2s7ttLU4NmTKQpDk+wgYxxjvpQVP2bx0X1w9A58NpgxJU0wwacqgaGHHpg8gOS3HM3Srb8AAAD//wMAUEsDBBQABgAIAAAAIQCHpWqtAAgAAMN8AAANAAAAeGwvc3R5bGVzLnhtbOxd3W+jRhB/r9T/ASH1MeHDYENk+9QkdXvS9XRSUqmv2MY2Oj4swHfOVf3fO7sLxmwcE7yTXitNHmzAM7Ozv50PYDez43f7JNa+hHkRZelEt65NXQvTRbaM0vVE/+NxduXpWlEG6TKIszSc6E9hob+b/vjDuCif4vBhE4alBiLSYqJvynJ7YxjFYhMmQXGdbcMUfllleRKUcJqvjWKbh8GyYExJbNimOTSSIEp1IeEmWbxGSBLkn3fbq0WWbIMymkdxVD5xWbqWLG7er9MsD+YxqLq3nGBRy+Ynz8Qn0SLPimxVXoM4I1utokX4XEvf8A2QNB2nu2SWlIW2yHZpCWgdLmnil/dLuDh0dE10+i5bghrmtfmTbkzHRsU9Ha+ytBEyBA2Zojef0+xrOmM/CcmMajouvmlfghiuWEzGIouzXCsBYBDMr6RBEgqKuyCO5nnEyFZBEsVP4rLNLvAxqeiSCBDiCokWxOecUVVt+exX0VSULsN9CN3ypNYeg02WBIzwWWPGsdxa5lvrvzvS/1RbJlMVC6yuxiSs1EbmgCAfSTEs+Xo+0Wczk/+1e/ZrFMfaQ5AW7HI1FPyrgKGC3w7Wa4P1sgvTMfhRGebpjHFWx49PW7CwFFxeiOF0HdTrPHiybPeIweANTsfzLF9CiDn2G3FpOo7DVQmK5tF6w77LbAuf86wswR+n42UUrLM0iOHQqDmqA+jOIozjBxaG/lw1sl0H+rVfHXkkhDRmkcw52SF0pToUEsUJtNBi8hsm+0UmLdhu46cZCOeixRnIb85uec+b85/jaJ0m4THDpzwrw0XJ4y+30pYeR8q/rIesPDFBmK7Huxr6i9AbdAz9x10yD/MZT3HNIDNHas4wTYClltP2K0zx39aH8IGQcsb7CB/CRyXkk/2Q/ZD9vF0+Jf8i/yL/Iv+CByb+8Eb3z/R8ce5+np6/zucLwofwUcmnZD9kP2Q/b3c/Rv5F/kX+Rf71vZ53KP5Q/KH4Q/GH4o9Yj0Dvn8/HQ8KH8FHJF2Q/ZD9kP293v3HRoipiUlmSRugRetVK1goISnKU5FSSHEUUlYhC3kfep+J9ZD9kP2Q/b/eIQv5F/kX+Rf71vaYcKP5Q/KH4Q/GH4o+Y8qQlIOfjIeFD+KjkC7Ifsh+yn7e73yD/Iv8i/yL/+l738xR/KP78H+OPcVytS9TuOirbNbqoaJe2X52u3gXO2V3y68BdlfHiVZt46bZWBa6qoF9XAbFKmnXyP8nrq6JU2OGsalG0fzSorLBgUFcK0zZZHn2DKWpWBnABpcNCUb1vv5JKlv0XFdW+5sH2MdxDgTSOrPFMa5Wh6gAOte160NolAuqrWAPbjVdrlN2X64EJ16j16691XbasltDHPFlB0TJanDBYHgXA74+K90ml+w5hQmPVGqHKYRbH2ddwqf0GJQnzOEo/Q8FM7vYWmM58F8VllLIoABX7NtFyGbIypux/+HsIghUwOIIgOeMIgqqgOIKgfCuKIBsLbBsLbBsLbBsLbBsL7AEW2AMssAdYYA+wwB5gge1gge1gge1gge1gge1gge1ige1igQ31YnEipIsFtosF9hAL7CEW2Kw2Nko6GmKBPcQCe4QF9ggL7BEW2D6sYUAZNR/uV1EEWSaWSpaJp9MIrXdwL4uDE5RCx5KEhriFhriFhriFhriNhriNhjgUZUeyAhsNcRsN8QEa4gM0xAdoiA/QEB+gIe6gIe6gIe6gIe6gIe6gIe6iIe72Q/zZW5d2l+Du6exLl2fsUkLqz99Wvz9/20z687eNoz+/In5SeundvpRU+vMr4iclkP7tK+InJYve7Uspoj+/In5SOujfviJ+Uujv3b4U8PvzK+InBff+7SviJwXy3u1L4bs/vyJ+rmL8cxXxG7YTYe/+DxXzx1ARv6EifkNF/EaK+I0U8fPbbzd6j5/ffqnRm98yFRWwTGUN2u+uLugCsBy9HugvQJo5u0CAKoiWKoiWKoiWKojSjFh/EKWZsAsEqIIozXxdoIEqiNJMV38NpBmuCwSogijNaF2ggSqI0gxWfw2kmasLBKiCKM1UXaCBKojSzFR/DaQZqS4BH9mmcXG9lqE9ecD3FJPXL3wKc7b6p+Zo53G+66LMwbdotRxn5A0s27Yc5iti6cSryFmqF+Ri58l6t8VqYYYsnWVmQe6cWn4hkQ9ZABfkw9eQMy8T5N5ryEcH8sEryEfs9a+QPjpH7vme63uOyd6nVuRnkazobfbQXdGf7WxNzx4SKvrX6GN7jT5n0ankO2w6t5Iv9np9YWhr+tGB3jtpmvXYVvSu2dCfXIoj07OHWqGPd9bUQP4IwPTYXJug97vw5PTewTT9LnwYvW8e5FtweGIt0VEHOAOb0qgU6howTs/SXkXfNQCcnr3cFPSW2YXoyLVciz2mCAbvrAMwRBk9jGtN34koo2czeZX8zg4Avc3uOCv6s9Gh0sduPMzrBJTJZylQyPc7B4zRu43+XR7M8LEbi/M6LYjRNx7pi3WPh9gMS9+W+2a/Wq5tyTasfmA72R4Ww0F/luEq2MXl4+HHid4c/x4uo10CAb2i+hR9yUouYqI3xx/YtroQacGEYQ3mhwI2lIZvbZdHE/2vX25H/v0vM/vKM2+9K2cQule+e3t/5Tp3t/f3M9+0zbu/AVa2u/cN7FGtsHs23+Ublqtazk0Rwx7bedXZSvmH5tpEPzoR6jPtDVBbfPJOGNwB+e7j038AAAD//wMAUEsDBBQABgAIAAAAIQAW+JWCWQMAAJ0HAAAYAAAAeGwvd29ya3NoZWV0cy9zaGVldDEueG1sjFVRb9owEH6ftP9g+R3iBEgIIlQFVK1Sp1Xr1j0bx4DVJM5sU2DT/vvONskIbFN5CI7vy3ffne/O05tDWaBXrrSQVYbDPsGIV0zmotpk+OuXu94YI21oldNCVjzDR67xzez9u+leqhe95dwgYKh0hrfG1JMg0GzLS6r7suYVWNZSldTAq9oEulac5u6jsggiQuKgpKLCnmGi3sIh12vB+FKyXckr40kUL6gB/Xorat2wHfI38eWK7iHWRs+ZxKW3tHzh8EpfKZiSWq5Nn8ky8NKuo0yDtBNnya6I/pKskqqXXd0D4hqCW4lCmKMLF6OSTe43lVR0VcCJHMIhZWcq6TX923UC02yaC8itLQik+DrDt+FkOcDBbOpO7lnwvT5bI0NXT7zgzPAcCggjWxgrKV8s8B62CDBqB7CMlBnxyhe8KDI8H0JtfXc+YAkOgtbD+brxdudK6VGhFdV8IYtvIjdbcAklm/M13RXmz+a4Px5EZBBGo9b4We4/cLHZGvgEHLu0TfLjkmsGlWR1ggImC3AHT1QK2w+QbHrwYXlvUdyP4yGJLbE2R3sAAFpxbe6EZcaI7bSRZSPuROrpohPdALLk6c51nuiizieg1CuIB2NY//uz0CXQ63dpXFJDZ1Ml9wgaAXTpmto2DSdAY5MQjeFgmDXeWqvDwLaG3dcZmQavcAbshJh7BOhvEVEXsfAIiKxFDLqIpUdA3lrEsEUEoLMVC27+I9ZaMwxBtDSjlsaFM/eI2AfSD0dx177o2iMSkvNf2EUvu+iQpK29IxoivxQdjtoMW2tX9IWbuUc0ogfJpegL+4ik579xK8qlAPrV+mvYonF4Dk6TFu1D8H3nC6amG/6Rqo2oNCr4GpJM+glGyneOWxtZu104ypU0UOzN2xbGO4eCIn3wv5bSNC/QWZb3iZtdjaQS0HBuYme4lsooKgzUJOz/kGAolrWAXEXpMI2TKIX8w/1kBLs2AG3BN5QdT7MaqYnIM6zuc9cN/GAetJlN4R/tFHD+hM4lUTIIe7fxnPRG9hHFCeklSRTOkwVJY0J+NbO0hMa/uNT+OkhLygJ+YNxdaWM/6mfT8jB5fHhGH2UOIwJG1KeKP0IK3PrbEwTjlnbogTz/dGKD9mKd/QYAAP//AwBQSwMEFAAGAAgAAAAhAOI7wbybAgAADgcAABsAAAB4bC9kcmF3aW5ncy92bWxEcmF3aW5nMS52bWzsVU1v2zAMve9XCOohlwT+aJe1qh2g6NDbNmDdx7FQbCVWK4mGzThuf/0o2UmTFRuK7bDLDMWRSIrke3yAs94aRj/Xii7nm8aJtqiUle3M6qKBFlY4K8CKzhr+ZgyE3wXCaqULJYa//ZX+FVdUX6jnIpbaqRBrEUVWFt+suQ19fW00X7xhGYi2krUy8hE2yDqhesy5KjV6r3fr0sr6yMFKiTLnCY98gugowyLrhoT4WCumy5zf9TE9d5jGKWcFQFO2+knlPE3mcTwNb84oR011fQxVrSVWObfxNDZjxBB39I57NbRIBbGBB8XuQbsWHw0ltxpVE/pj1JDPx9aNLLVyGODCQ87Rly3AOVWg7zbnDe1GUAco9pAO4bRJnL7lbLh3coRxaGFSQ6tRgxNy2YLZoLokZFY2a+1mRq1QzM9rvBwNCLVITs/IsNUlViJJ/b5Sel2hSGPaP820K1UvEp+m061eaqPxUVS6LJW7tC3Mto2sZ6G6QH9xwlbamAIMNDk/WdGjEo+ZWFJooSTEcoOwY9EH04AoOn0O9yP2FBJrJWwZuIG3ZVtsGkXTHfjak/wToQ6c2k8BSVpL6NnIj++41J5yImkmDQrfzMTXY1mpu12cv0ZuvXbC0zZZZBF5Q1tRJ8ak4diLa+Mn/J7kyT4t7yn1lzDXj4CDVljWiw/Qqe8aq2tlTBvgeestafKl9coVFTShJRZP2fx8yt6FlUzZaTpldE5Os6gXB4GU7IqA3BCbixtpWhX8O0tA14vPsF0k3uE3o+2aVGLdIvbmce+596c9LIrNCHXQ8C91Of87XSbz5FiY6V6WFxcHqvRRO1Wm/1X5b1RJQqRF2iQ10jojefrDH4syqO+lKINWXyfKiD6Cix8AAAD//wMAUEsDBBQABgAIAAAAIQBReULlNQEAABI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V9LwzAUxd8Fv0PJe5umZTpC24HKEHEgWFF8C8ndGmz+kES7fXuzbtbJfLycc3+cc2+12Ko++QLnpdE1IlmOEtDcCKk3NXppl+kcJT4wLVhvNNRoBx4tmsuLilvKjYMnZyy4IMEnkaQ95bZGXQiWYux5B4r5LDp0FNfGKRbi6DbYMv7BNoCLPL/CCgITLDC8B6Z2IqIjUvAJaT9dPwIEx9CDAh08JhnBv94ATvl/F0blxKlk2NnY6Rj3lC34QZzcWy8n4zAM2VCOMWJ+gt9Wj89j1VTq/a04oKYSnHIHLBjXVPh0iIfrmQ+reOO1BHGzax6MZqFjOrk3LgJA6gqfuyJxLEDVcTOJmeihwY/0Wt7etUvUFDmZpaRIybwl15SUdFa+71P8BcRgZ19svgEAAP//AwBQSwMEFAAGAAgAAAAhAHT+6QQPAQAAIgIAABAAAAB4bC9jb21tZW50czEueG1svFDLTsMwELwj8Q/W3qmTHFBBsSs4FCFxQKJ8gIk3jSU/Iq9bpXw9W9Jw4MQJybI849mZ0babKXhxxEwuRQX1qgKBsUvWxb2C9932Zg2CionW+BRRwQkJNvr6qu1SCBgLCTaIpGAoZbyXkroBg6FVGjHyT59yMIVh3ksaMxpLA2IJXjZVdSuDcRF0aw5lSJmWh9St/KEuOS+Oil5CRcZewWMNYpY9WwUV+xScWJT5vPL1wT70KY7GK7gDBl3yKQsXLU7IE+v6TOZtimUW7cyQgjmTvQnOn2a2ORPy27Hop5wOo7BIXXZj4Z1RKzlScpyc0+Wl8K+yD83/l33D7JD+2HbpPS96QaS/AAAA//8DAFBLAwQUAAYACAAAACEA9KEv8YoBAAAN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P4zAQhu8r7X+IfKdOWYRWlWOEYFccFm2lFjgbZ9JYuLblGaKWX7+TRKXpwonbfLx+5/HY6mq39UUHGV0MlZjPSlFAsLF2YVOJh/Xvs5+iQDKhNj4GqMQeUFzp79/UMscEmRxgwRYBK9ESpYWUaFvYGpxxO3CniXlriNO8kbFpnIXbaF+3EEiel+WlhB1BqKE+S++GYnRcdPRV0zrang8f1/vEwFpdp+SdNcS31PfO5oixoeLeWBcoYlv82lnwSk5lijlXYF+zo70ulZymamWNhxseoRvjEZQ8FtQdmH59S+MyatXRogNLMRfo3niB56J4Ngg9WCU6k50JxIC9bEyG2CekrJ9ifsEWgFBJFozFIZxqp7G70PNBwMGpsDcYQbhxirh25AH/NkuT6RPi+ZR4YBh5R5zr5GN2eGvIfIAc7s3j/hvwx4UXfEjryIfgsMDTolq1JkPNOz/0jwV1x7vLvje5aU3YQH3QfGz0D/84/m49v5iVP0p+yUlNyeM/1v8AAAD//wMAUEsBAi0AFAAGAAgAAAAhAJJXjTV5AQAAcAUAABMAAAAAAAAAAAAAAAAAAAAAAFtDb250ZW50X1R5cGVzXS54bWxQSwECLQAUAAYACAAAACEAUHxOwfYAAABMAgAACwAAAAAAAAAAAAAAAACyAwAAX3JlbHMvLnJlbHNQSwECLQAUAAYACAAAACEAjJbFbvMAAAC6AgAAGgAAAAAAAAAAAAAAAADZBgAAeGwvX3JlbHMvd29ya2Jvb2sueG1sLnJlbHNQSwECLQAUAAYACAAAACEAMqRF68ABAADPAgAADwAAAAAAAAAAAAAAAAAMCQAAeGwvd29ya2Jvb2sueG1sUEsBAi0AFAAGAAgAAAAhAKODgBDpAAAAWgEAABQAAAAAAAAAAAAAAAAA+QoAAHhsL3NoYXJlZFN0cmluZ3MueG1sUEsBAi0AFAAGAAgAAAAhAOdldbjWAAAAuAEAACMAAAAAAAAAAAAAAAAAFAwAAHhsL3dvcmtzaGVldHMvX3JlbHMvc2hlZXQxLnhtbC5yZWxzUEsBAi0AFAAGAAgAAAAhAPtipW2UBgAApxsAABMAAAAAAAAAAAAAAAAAKw0AAHhsL3RoZW1lL3RoZW1lMS54bWxQSwECLQAUAAYACAAAACEAh6VqrQAIAADDfAAADQAAAAAAAAAAAAAAAADwEwAAeGwvc3R5bGVzLnhtbFBLAQItABQABgAIAAAAIQAW+JWCWQMAAJ0HAAAYAAAAAAAAAAAAAAAAABscAAB4bC93b3Jrc2hlZXRzL3NoZWV0MS54bWxQSwECLQAUAAYACAAAACEA4jvBvJsCAAAOBwAAGwAAAAAAAAAAAAAAAACqHwAAeGwvZHJhd2luZ3Mvdm1sRHJhd2luZzEudm1sUEsBAi0AFAAGAAgAAAAhAFF5QuU1AQAAEgIAABEAAAAAAAAAAAAAAAAAfiIAAGRvY1Byb3BzL2NvcmUueG1sUEsBAi0AFAAGAAgAAAAhAHT+6QQPAQAAIgIAABAAAAAAAAAAAAAAAAAA6iQAAHhsL2NvbW1lbnRzMS54bWxQSwECLQAUAAYACAAAACEA9KEv8YoBAAANAwAAEAAAAAAAAAAAAAAAAAAnJgAAZG9jUHJvcHMvYXBwLnhtbFBLBQYAAAAADQANAFgDAADnKAAAAAAFIwAAAB9BcGxvcmlzLkJhc2UuT2JqZWN0cy5UZXh0Rm9ybWF0DAAAABJEYXRhT2JqZWN0K21QYXJlbnQVRGF0YU9iamVjdCttQ29udGFpbmVyCW1Gb250Qm9sZAttRm9udEl0YWxpYw5tRm9udFVuZGVybGluZQltRm9udFNpemUJbUZvbnROYW1lEG1Gb250RmFyRWFzdE5hbWUKbUZvbnRDb2xvcgltTW9kaWZpZWQSbUF1dG9Db2xvckRpc2FibGVkCm1BdXRvQ29sb3ICAgAAAAABAQQAAAQBAQELGkFwbG9yaXMuQmFzZS5PYmplY3RzLkNvbG9yAwAAAAEBGkFwbG9yaXMuQmFzZS5PYmplY3RzLkNvbG9yAwAAAAMAAAAKCgAAAAAAQEEGdgAAAAVBcmlhbAZ3AAAABittbi1lYQl4AAAAAQAJeQAAAAckAAAAAAEAAAARAAAABBRTeXN0ZW0uRHJhd2luZy5Db2xvcgQAAAAFegAAABRTeXN0ZW0uRHJhd2luZy5Db2xvcgQAAAAFdmFsdWUFc3RhdGUKa25vd25Db2xvcgRuYW1lAAAAAQkHBwQAAAAAAAAAAAAAAAAAAAAKAXsAAAB6AAAAAAAA//////8CAAAACgF8AAAAegAAAP//////////AgAAAAoBfQAAAHoAAABOQSL//////wIAAAAKAX4AAAB6AAAA3tzb//////8CAAAACgF/AAAAegAAAH5pP///////AgAAAAoBgAAAAHoAAACMhHL//////wIAAAAKAYEAAAB6AAAAJSHt//////8CAAAACgGCAAAAegAAADQ7Rv//////AgAAAAoBgwAAAHoAAAB0mMP//////wIAAAAKAYQAAAB6AAAAHpT3//////8CAAAACgGFAAAAegAAAB6U9///////AgAAAAoBhgAAAHoAAAAlIe3//////wIAAAAKAYcAAAB6AAAAAAAA//////8CAAAACgGIAAAAegAAAP//////////AgAAAAoBiQAAAHoAAABOQSL//////wIAAAAKAYoAAAB6AAAA3tzb//////8CAAAACgQlAAAAmAFTeXN0ZW0uQ29sbGVjdGlvbnMuR2VuZXJpYy5MaXN0YDFbW0FwbG9yaXMuQmFzZS5PYmplY3RzLkRhdGFPYmplY3QsIEFwbG9yaXMuQmFzZSwgVmVyc2lvbj00LjAuMC4xNDg2LCBDdWx0dXJlPW5ldXRyYWwsIFB1YmxpY0tleVRva2VuPTE2ZmMxM2EyMjZjMGU5NTFdXQMAAAAGX2l0ZW1zBV9zaXplCF92ZXJzaW9uBAAAIUFwbG9yaXMuQmFzZS5PYmplY3RzLkRhdGFPYmplY3RbXQMAAAAICAmLAAAADQAAABMAAAAEJgAAAJUBU3lzdGVtLkNvbGxlY3Rpb25zLkdlbmVyaWMuTGlzdGAxW1tBcGxvcmlzLkJhc2UuVUkuVmlzdWFsT2JqZWN0LCBBcGxvcmlzLkJhc2UsIFZlcnNpb249NC4wLjAuMTQ4NiwgQ3VsdHVyZT1uZXV0cmFsLCBQdWJsaWNLZXlUb2tlbj0xNmZjMTNhMjI2YzBlOTUxXV0DAAAABl9pdGVtcwVfc2l6ZQhfdmVyc2lvbgQAAB5BcGxvcmlzLkJhc2UuVUkuVmlzdWFsT2JqZWN0W10DAAAACAgJjAAAAAEAAAABAAAABSgAAACbAUFwbG9yaXMuQmFzZS5PYmplY3RzLkRhdGFPYmplY3RDb2xsZWN0aW9uYDFbW0FwbG9yaXMuQ2hhcnQuVmFsdWVMaW5l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WYWx1ZUxpbmUsIEFwbG9yaXMuQ2hhcnQsIFZlcnNpb249NC4wLjAuMTQ4NiwgQ3VsdHVyZT1uZXV0cmFsLCBQdWJsaWNLZXlUb2tlbj0xNmZjMTNhMjI2YzBlOTUxXV0DAAAAkQFTeXN0ZW0uQ29sbGVjdGlvbnMuR2VuZXJpYy5MaXN0YDFbW0FwbG9yaXMuQ2hhcnQuVmFsdWVMaW5l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Y0AAAAJjgAAAAkGAAAACQEAAAAJjwAAAAUpAAAAmwFBcGxvcmlzLkJhc2UuT2JqZWN0cy5EYXRhT2JqZWN0Q29sbGVjdGlvbmAxW1tBcGxvcmlzLkNoYXJ0LkF4aXNCcmVhay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QXhpc0JyZWFrLCBBcGxvcmlzLkNoYXJ0LCBWZXJzaW9uPTQuMC4wLjE0ODYsIEN1bHR1cmU9bmV1dHJhbCwgUHVibGljS2V5VG9rZW49MTZmYzEzYTIyNmMwZTk1MV1dAwAAAJEBU3lzdGVtLkNvbGxlY3Rpb25zLkdlbmVyaWMuTGlzdGAxW1tBcGxvcmlzLkNoYXJ0LkF4aXNCcmVh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QAAAACZEAAAAJBgAAAAkBAAAACZIAAAAFK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aAAAAAMAAAAJaQAAAAlqAAAACWsAAAABAAAAAAoKCWwAAAAAAAAACgAAAAAAAAAABS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gAAAADAAAACWkAAAAJagAAAAlrAAAAAQAAAAAKCglsAAAAAAAAAAoAAAAAAAAAAAUs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GAAAACQEAAAAAAAAAAAloAAAAAwAAAAlpAAAACWoAAAAJawAAAAEAAAAACgaTAAAAASUJbAAAAAEAAAAKAAAAAAAAAAAFLQAAAJoBQXBsb3Jpcy5CYXNlLk9iamVjdHMuRGF0YU9iamVjdENvbGxlY3Rpb25gMVtbQXBsb3Jpcy5DaGFydC5UaWNrTWFyaywgQXBsb3Jpcy5DaGFydCwgVmVyc2lvbj00LjAuMC4xNDg2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VGlja01hcmssIEFwbG9yaXMuQ2hhcnQsIFZlcnNpb249NC4wLjAuMTQ4NiwgQ3VsdHVyZT1uZXV0cmFsLCBQdWJsaWNLZXlUb2tlbj0xNmZjMTNhMjI2YzBlOTUxXV0DAAAAkAFTeXN0ZW0uQ29sbGVjdGlvbnMuR2VuZXJpYy5MaXN0YDFbW0FwbG9yaXMuQ2hhcnQuVGlja01hcm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lAAAAAmVAAAACQYAAAAJAQAAAAmWAAAABTAAAAAaQXBsb3Jpcy5CYXNlLlVJLlZpc3VhbExpbmUNAAAAC21TdGFydFBvaW50CW1FbmRQb2ludAttTGluZUZvcm1h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AAAAABwIAAAMAFVN5c3RlbS5EcmF3aW5nLlBvaW50RgQAAAAVU3lzdGVtLkRyYXdpbmcuUG9pbnRGBAAAAB9BcGxvcmlzLkJhc2UuT2JqZWN0cy5MaW5lRm9ybWF0AwAAAAgIAQEIAQEPU3lzdGVtLkludFB0cltdAQMAAAABlwAAACEAAAC0axhCCSSQQwGYAAAAIQAAAPAalkMJJJBDCZkAAAC4AQAA/////wEBCgmaAAAAAQAKAAcxAAAAAAEAAAAFAAAABBVTeXN0ZW0uRHJhd2luZy5Qb2ludEYEAAAAAZsAAAAhAAAA75qXQwkkkEMBnAAAACEAAAC0axhCZxiYQwGdAAAAIQAAAGYoKUNnGJhDAZ4AAAAhAAAA8BqWQ2cYmEMBnwAAACEAAADvmpdDCaSSQwcyAAAAAAEAAAAFAAAABBdBcGxvcmlzLkJhc2UuQW5jaG9yTW9kZQMAAAAFoAAAABdBcGxvcmlzLkJhc2UuQW5jaG9yTW9kZQEAAAAHdmFsdWVfXwAIAwAAAAQAAAABoQAAAKAAAAAFAAAAAaIAAACgAAAAAwAAAAGjAAAAoAAAAAYAAAABpAAAAKAAAAAFAAAADzMAAAAFAAAAAQAAAAABBTQAAAAVQXBsb3Jpcy5CYXNlLlVJLkxhYmVsHAAAAA9tQW5jaG9yUG9zaXRpb24LbUFuY2hvck1vZGUPbUFkZElubmVyTWFyZ2luFm1PZmZzZXREaXJlY3Rpb25BbmNob3IXbU9mZnNldE9ydGhvZ29uYWxBbmNob3ILbVRleHRGb3JtYXQJbVJvdGF0aW9uCm1CYWNrQ29sb3INbVVzZUJhY2tDb2xvcg5tVXNlQmFja2dyb3VuZA5tTGluZUFsaWdubWVudAltVGV4dFNpemUPbUxhYmVsUmVjdGFuZ2xlFW1Jbm5lck1hcmdpbkxlZnRSaWdodAVtVGV4dAptVmFyaWFibGVzDW1WYXJpYWJsZUxpc3QO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AAAAEAAQAAAQEBAABAwMBAAAAAAcCAAADAB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DAAAAAaUAAAAhAAAA75qXQwkkkEMBpgAAAKAAAAAEAAAAAAAAAAAAAAAACacAAAAAAAAACagAAAAAAAWpAAAAKkFwbG9yaXMuQmFzZS5VSS5MYWJlbCtMaW5lQWxpZ25tZW50T3B0aW9ucwEAAAAHdmFsdWVfXwAIAwAAAAAAAAABqgAAAHIAAAAAAAAAAAAAAAGrAAAAFQAAAAAAAAAAAAAAAAAAAAAAAAAAAAAABqwAAAANQ2F0ZWdvcnkgYXhpcwoJrQAAAAmsAAAA5AIAAP////8AAQoJrgAAAAEACgEBNQAAACUAAAAJrwAAAAYAAAAGAAAAATYAAAAmAAAACbAAAAACAAAAAgAAAAE4AAAAKAAAAAoJsQAAAAmyAAAACQcAAAAJAQAAAAmzAAAAATkAAAApAAAACgm0AAAACbUAAAAJBwAAAAkBAAAACbYAAAAFO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aAAAAAMAAAAJaQAAAAlqAAAACWsAAAABAAAAAAoGtwAAAAElCWwAAAAAAAAACgAAAAAAAAAABT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gAAAADAAAACWkAAAAJagAAAAlrAAAAAQAAAAAKBrgAAAABJQlsAAAAAAAAAAoAAAAAAAAAAAU8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BAAAAAQloAAAAAwAAAAlpAAAACWoAAAAJawAAAAEAAAAACgmTAAAACWwAAAABAAAACgAAAAAAAAAAAT0AAAAtAAAACgm5AAAACboAAAAJBwAAAAkBAAAACbsAAAABQAAAADAAAAABvAAAACEAAAC0axhCCSSQQwG9AAAAIQAAALRrGELMd3VBCb4AAAC4AQAA/////wEBCgm/AAAAAQAKAAdBAAAAAAEAAAAFAAAABBVTeXN0ZW0uRHJhd2luZy5Qb2ludEYEAAAAAcAAAAAhAAAAtGsYQvoxHkEBwQAAACEAAADKUiNBCSSQQwHCAAAAIQAAAMpSI0HHzxdDAcMAAAAhAAAAylIjQcx3dUEBxAAAACEAAADKUiNB+jEeQQdCAAAAAAEAAAAFAAAABBdBcGxvcmlzLkJhc2UuQW5jaG9yTW9kZQMAAAABxQAAAKAAAAABAAAAAcYAAACgAAAACAAAAAHHAAAAoAAAAAIAAAAByAAAAKAAAAAGAAAAAckAAACgAAAABwAAAA9DAAAABQAAAAEAAAAAAQFEAAAANAAAAAHKAAAAIQAAALRrGEL6MR5BAcsAAACgAAAAAQAAAAAAAAAAAAAAAAnMAAAAAAAAAAnNAAAAAAABzgAAAKkAAAAAAAAAAc8AAAByAAAAAAAAAAAAAAAB0AAAABUAAAAAAAAAAAAAAAAAAAAAAAAAAAAAAAbRAAAAClZhbHVlIGF4aXMKCdIAAAAJ0QAAAOQCAAD/////AAEKCdMAAAABAAoBAUUAAAAlAAAACdQAAAAIAAAACAAAAAFGAAAAJgAAAAnVAAAAAgAAAAIAAAAHRwAAAAABAAAAAAAAAAQuQXBsb3Jpcy5DaGFydC5Db2x1bW5PcmllbnRlZENoYXJ0K1VudXNlZFNlcmllcwIAAAAESA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1gAAAAIAAACBAQAAAUkAAAAlAAAACdcAAAACAAAAmAAAAAFKAAAAJgAAAAnYAAAAAAAAAAAAAAAESw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dkAAAAAAAAAAAAAAAFMAAAAJQAAAAnaAAAAAAAAAAAAAAABTQAAACYAAAAJ2AAAAAAAAAAAAAAABE4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dsAAAAAAAAAAAAAAAFPAAAAJQAAAAnaAAAAAAAAAAAAAAABUAAAACYAAAAJ2AAAAAAAAAAAAAAABFE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cAAAAAwAAAC0AAAABUgAAACUAAAAJ3QAAAAMAAAAdAAAAAVMAAAAmAAAACdgAAAAAAAAAAAAAAARU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3gAAAAAAAAAAAAAAAVUAAAAlAAAACdoAAAAAAAAAAAAAAAFWAAAAJgAAAAnYAAAAAAAAAAAAAAAEVw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d8AAAAAAAAAAAAAAAFYAAAAJQAAAAnaAAAAAAAAAAAAAAABWQAAACYAAAAJ2AAAAAAAAAAAAAAABFo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gAAAAAAAAAAAAAAABWwAAACUAAAAJ2gAAAAAAAAAAAAAAAVwAAAAmAAAACdgAAAAAAAAAAAAAAARd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hAAAAAAAAAAAAAAABXgAAACUAAAAJ2gAAAAAAAAAAAAAAAV8AAAAmAAAACdgAAAAAAAAAAAAAAARg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eIAAAAAAAAAAAAAAAFhAAAAJQAAAAnaAAAAAAAAAAAAAAABYgAAACYAAAAJ2AAAAAAAAAAAAAAABWMAAACtAUFwbG9yaXMuQmFzZS5PYmplY3RzLkRhdGFPYmplY3RDb2xsZWN0aW9uYDFbW0FwbG9yaXMuQ2hhcnQuQ29sdW1uT3JpZW50ZWRMZWdlbmR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qwFBcGxvcmlzLkJhc2UuT2JqZWN0cy5Tb3J0YWJsZUNvbGxlY3Rpb25gMVtbQXBsb3Jpcy5DaGFydC5Db2x1bW5PcmllbnRlZExlZ2VuZEVsZW1lbnQsIEFwbG9yaXMuQ2hhcnQsIFZlcnNpb249NC4wLjAuMTQ4NiwgQ3VsdHVyZT1uZXV0cmFsLCBQdWJsaWNLZXlUb2tlbj0xNmZjMTNhMjI2YzBlOTUxXV0DAAAAowFTeXN0ZW0uQ29sbGVjdGlvbnMuR2VuZXJpYy5MaXN0YDFbW0FwbG9yaXMuQ2hhcnQuQ29sdW1uT3JpZW50ZWRMZWdlbmR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eMAAAAJ5AAAAAkUAAAACQEAAAAJ5QAAAAFlAAAAHAAAAAHmAAAAIQAAANOhjUGvvZpDAecAAAAhAAAAZ25mQyXerEMJ6AAAAAnpAAAAAAAAAAoB6gAAAHIAAAAAAAAAAAAAAAHrAAAAcgAAAAAAAAAAAAAAAAAAAAHsAAAAFQAAAAAAAAAAAAAAAAAAAAAAAACkAQAA/////wEBCgntAAAAAQAKAAFmAAAAJQAAAAnuAAAAAQAAAAEAAAABZwAAACYAAAAJ7wAAAAEAAAABAAAABXA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8AAAAAnxAAAAAQAAAP7///8BAAAAAQAAAAEAAAABAAAAAQAAAAEAAAAAAAEFcQ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yAAAACfMAAAABAAAAAAAAAAAAAAAAAAAAAAEFdQAAAB9BcGxvcmlzLkJhc2UuT2JqZWN0cy5QZXJzSWREYXRhAgAAAANtSWQLbUN1c3RvbURhdGEHAggDAAAACfQAAAAKBXgAAAAaQXBsb3Jpcy5CYXNlLk9iamVjdHMuQ29sb3IHAAAAEkRhdGFPYmplY3QrbVBhcmVudBVEYXRhT2JqZWN0K21Db250YWluZXIFbVR5cGUEbVJHQhBtVGhlbWVDb2xvckluZGV4DG1BdXRvVXBkYXRlZAltTW9kaWZpZWQCAgAAAAAACAgIAQEDAAAACgoAAAAAAAAAAA0AAAAAAQF5AAAAeAAAAAoKAQAAAAAAAAD/////AAEHiwAAAAABAAAAEAAAAAQfQXBsb3Jpcy5CYXNlLk9iamVjdHMuRGF0YU9iamVjdAMAAAAJCQAAAAkKAAAACQsAAAAJDAAAAAkQAAAACREAAAAJDQAAAAkOAAAACQ8AAAAJBwAAAAkGAAAACRgAAAAJFAAAAA0DB4wAAAAAAQAAAAQAAAAEHEFwbG9yaXMuQmFzZS5VSS5WaXN1YWxPYmplY3QDAAAACRwAAAANAwSNAAAAkQFTeXN0ZW0uQ29sbGVjdGlvbnMuR2VuZXJpYy5MaXN0YDFbW0FwbG9yaXMuQ2hhcnQuVmFsdWVMaW5lLCBBcGxvcmlzLkNoYXJ0LCBWZXJzaW9uPTQuMC4wLjE0ODYsIEN1bHR1cmU9bmV1dHJhbCwgUHVibGljS2V5VG9rZW49MTZmYzEzYTIyNmMwZTk1MV1dAwAAAAZfaXRlbXMFX3NpemUIX3ZlcnNpb24EAAAZQXBsb3Jpcy5DaGFydC5WYWx1ZUxpbmVbXQIAAAAICAn1AAAAAAAAAAAAAAABjgAAACUAAAAJ2gAAAAAAAAAAAAAAAY8AAAAmAAAACdgAAAAAAAAAAAAAAASQAAAAkQFTeXN0ZW0uQ29sbGVjdGlvbnMuR2VuZXJpYy5MaXN0YDFbW0FwbG9yaXMuQ2hhcnQuQXhpc0JyZWFrLCBBcGxvcmlzLkNoYXJ0LCBWZXJzaW9uPTQuMC4wLjE0ODYsIEN1bHR1cmU9bmV1dHJhbCwgUHVibGljS2V5VG9rZW49MTZmYzEzYTIyNmMwZTk1MV1dAwAAAAZfaXRlbXMFX3NpemUIX3ZlcnNpb24EAAAZQXBsb3Jpcy5DaGFydC5BeGlzQnJlYWtbXQIAAAAICAn2AAAAAAAAAAAAAAABkQAAACUAAAAJ2gAAAAAAAAAAAAAAAZIAAAAmAAAACdgAAAAAAAAAAAAAAASUAAAAkAFTeXN0ZW0uQ29sbGVjdGlvbnMuR2VuZXJpYy5MaXN0YDFbW0FwbG9yaXMuQ2hhcnQuVGlja01hcmssIEFwbG9yaXMuQ2hhcnQsIFZlcnNpb249NC4wLjAuMTQ4NiwgQ3VsdHVyZT1uZXV0cmFsLCBQdWJsaWNLZXlUb2tlbj0xNmZjMTNhMjI2YzBlOTUxXV0DAAAABl9pdGVtcwVfc2l6ZQhfdmVyc2lvbgQAABhBcGxvcmlzLkNoYXJ0LlRpY2tNYXJrW10CAAAACAgJ9wAAAAAAAAAAAAAAAZUAAAAlAAAACdoAAAAAAAAAAAAAAAGWAAAAJgAAAAnYAAAAAAAAAAAAAAABmQAAAHAAAAAKCgAAAEA/CfgAAAAJ+QAAAAEAAAD+////AAAAAAEAAAAAAAAAAAAAAAEAAAAAAAAAAAAAAZoAAAB1AAAACfoAAAAKBac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2AAAACXcAAAAJ+wAAAAEACfwAAAABqAAAAHgAAAAKCgEAAAAAAAAA/////wABBK0AAACWAVN5c3RlbS5Db2xsZWN0aW9ucy5HZW5lcmljLkxpc3RgMVtbQXBsb3Jpcy5CYXNlLk9iamVjdHMuVmFyaWFibGUsIEFwbG9yaXMuQmFzZSwgVmVyc2lvbj00LjAuMC4xNDg2LCBDdWx0dXJlPW5ldXRyYWwsIFB1YmxpY0tleVRva2VuPTE2ZmMxM2EyMjZjMGU5NTFdXQMAAAAGX2l0ZW1zBV9zaXplCF92ZXJzaW9uBAAAH0FwbG9yaXMuQmFzZS5PYmplY3RzLlZhcmlhYmxlW10DAAAACAgJ/QAAAAAAAAAAAAAAAa4AAAB1AAAACf4AAAAKB68AAAAAAQAAAAgAAAAEH0FwbG9yaXMuQmFzZS5PYmplY3RzLkRhdGFPYmplY3QDAAAACSoAAAAJKwAAAAksAAAACS0AAAAJKAAAAAkpAAAACgoHsAAAAAABAAAABAAAAAQcQXBsb3Jpcy5CYXNlLlVJLlZpc3VhbE9iamVjdAMAAAAJMAAAAAk0AAAACgoBsQAAAI0AAAAJ9QAAAAAAAAAAAAAAAbIAAAAlAAAACdoAAAAAAAAAAAAAAAGzAAAAJgAAAAnYAAAAAAAAAAAAAAABtAAAAJAAAAAJ9gAAAAAAAAAAAAAAAbUAAAAlAAAACdoAAAAAAAAAAAAAAAG2AAAAJgAAAAnYAAAAAAAAAAAAAAABuQAAAJQAAAAJ/wAAAAcAAAAnAAAAAboAAAAlAAAACQABAAAHAAAAJwAAAAG7AAAAJgAAAAnYAAAAAAAAAAAAAAABvgAAAHAAAAAKCgAAAEA/CQEBAAAJAgEAAAEAAAD+////AAAAAAEAAAAAAAAAAAAAAAEAAAAAAAAAAAAAAb8AAAB1AAAACQMBAAAKBcw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2AAAACXcAAAAJBAEAAAEACQUBAAABzQAAAHgAAAAKCgEAAAAAAAAA/////wABAdIAAACtAAAACf0AAAAAAAAAAAAAAAHTAAAAdQAAAAkGAQAACgfUAAAAAAEAAAAIAAAABB9BcGxvcmlzLkJhc2UuT2JqZWN0cy5EYXRhT2JqZWN0AwAAAAk6AAAACTsAAAAJPAAAAAk9AAAACTgAAAAJOQAAAAkHAQAACQgBAAAH1QAAAAABAAAABAAAAAQcQXBsb3Jpcy5CYXNlLlVJLlZpc3VhbE9iamVjdAMAAAAJQAAAAAlEAAAACgoH1gAAAAABAAAAIAAAAAQdQXBsb3Jpcy5DaGFydC5DaGFydERhdGFTZXJpZXMCAAAACQkBAAAJCgEAAA0eB9cAAAAAAQAAACAAAAAEH0FwbG9yaXMuQmFzZS5PYmplY3RzLkRhdGFPYmplY3QDAAAACQoBAAAJCQEAAA0eB9gAAAAAAQAAAAAAAAAEHEFwbG9yaXMuQmFzZS5VSS5WaXN1YWxPYmplY3QDAAAAB9kAAAAAAQAAAAAAAAAEIkFwbG9yaXMuQ2hhcnQuQW5ub3RhdGlvbkRhdGFTZXJpZXMCAAAAB9oAAAAAAQAAAAAAAAAEH0FwbG9yaXMuQmFzZS5PYmplY3RzLkRhdGFPYmplY3QDAAAAB9sAAAAAAQAAAAAAAAAEHUFwbG9yaXMuQ2hhcnQuQW5ub3RhdGlvbkdyb3VwAgAAAAfcAAAAAAEAAAAQAAAABBxBcGxvcmlzLkNoYXJ0LkNoYXJ0RGF0YUdyb3VwAgAAAAkLAQAACQwBAAAJDQEAAA0NB90AAAAAAQAAABAAAAAEH0FwbG9yaXMuQmFzZS5PYmplY3RzLkRhdGFPYmplY3QDAAAACQwBAAAJCwEAAAkNAQAADQ0H3gAAAAABAAAAAAAAAAQWQXBsb3Jpcy5DaGFydC5EZWx0YUJhcgIAAAAH3wAAAAABAAAAAAAAAAQZQXBsb3Jpcy5DaGFydC5EZWx0YUJyaWRnZQIAAAAH4AAAAAABAAAAAAAAAAQZQXBsb3Jpcy5DaGFydC5Hcm93dGhBcnJvdwIAAAAH4QAAAAABAAAAAAAAAAQgQXBsb3Jpcy5DaGFydC5XYXRlcmZhbGxDb25uZWN0b3ICAAAAB+IAAAAAAQAAAAAAAAAEHkFwbG9yaXMuQ2hhcnQuRWxlbWVudENvbm5lY3RvcgIAAAAE4wAAAKMBU3lzdGVtLkNvbGxlY3Rpb25zLkdlbmVyaWMuTGlzdGAxW1tBcGxvcmlzLkNoYXJ0LkNvbHVtbk9yaWVudGVkTGVnZW5kRWxlbWVudCwgQXBsb3Jpcy5DaGFydCwgVmVyc2lvbj00LjAuMC4xNDg2LCBDdWx0dXJlPW5ldXRyYWwsIFB1YmxpY0tleVRva2VuPTE2ZmMxM2EyMjZjMGU5NTFdXQMAAAAGX2l0ZW1zBV9zaXplCF92ZXJzaW9uBAAAK0FwbG9yaXMuQ2hhcnQuQ29sdW1uT3JpZW50ZWRMZWdlbmRFbGVtZW50W10CAAAACAgJDgEAAAIAAAAsAAAAAeQAAAAlAAAACQ8BAAACAAAAAgAAAAHlAAAAJgAAAAkQAQAAAAAAAAAAAAAB6AAAAHAAAAAKCgAAAAAACREBAAAJEgEAAAEAAAD+////AQAAAAEAAAABAAAAAQAAAAEAAAABAAAAAAABAekAAABxAAAACgoJEwEAAAkUAQAAAQAAAAAAAAAAAAAAAAAAAAABAe0AAAB1AAAACRUBAAAKB+4AAAAAAQAAAAQAAAAEH0FwbG9yaXMuQmFzZS5PYmplY3RzLkRhdGFPYmplY3QDAAAACWMAAAANAwfvAAAAAAEAAAAEAAAABBxBcGxvcmlzLkJhc2UuVUkuVmlzdWFsT2JqZWN0AwAAAAllAAAADQMB8AAAAHgAAAAKCgAAAAAAAAAADQAAAAABAfEAAAB4AAAACgoBAAAAAAAAAP////8AAQHyAAAAeAAAAAoKAQAAAP///wD/////AAEB8wAAAHgAAAAKCgEAAAAAAAAA/////wABD/QAAAABAAAACAAAAAAH9QAAAAABAAAAAAAAAAQXQXBsb3Jpcy5DaGFydC5WYWx1ZUxpbmUCAAAAB/YAAAAAAQAAAAAAAAAEF0FwbG9yaXMuQ2hhcnQuQXhpc0JyZWFrAgAAAAf3AAAAAAEAAAAAAAAABBZBcGxvcmlzLkNoYXJ0LlRpY2tNYXJrAgAAAAX4AAAAGkFwbG9yaXMuQmFzZS5PYmplY3RzLkNvbG9yBwAAABJEYXRhT2JqZWN0K21QYXJlbnQVRGF0YU9iamVjdCttQ29udGFpbmVyBW1UeXBlBG1SR0IQbVRoZW1lQ29sb3JJbmRleAxtQXV0b1VwZGF0ZWQJbU1vZGlmaWVkBAIAAAAAAB9BcGxvcmlzLkJhc2UuT2JqZWN0cy5MaW5lRm9ybWF0AwAAAAgICAEBAwAAAAmZAAAACgAAAAAAAAAADQAAAAAABfkAAAAaQXBsb3Jpcy5CYXNlLk9iamVjdHMuQ29sb3IHAAAAEkRhdGFPYmplY3QrbVBhcmVudBVEYXRhT2JqZWN0K21Db250YWluZXIFbVR5cGUEbVJHQhBtVGhlbWVDb2xvckluZGV4DG1BdXRvVXBkYXRlZAltTW9kaWZpZWQEAgAAAAAAH0FwbG9yaXMuQmFzZS5PYmplY3RzLkxpbmVGb3JtYXQDAAAACAgIAQEDAAAACZkAAAAKAQAAAAAAAAD/////AAEP+gAAAAEAAAAIbAMAAAH7AAAAeAAAAAoKAAAAAAAAAAANAAAAAAEB/AAAAHgAAAAKCgEAAAAAAAAA/////wABB/0AAAAAAQAAAAAAAAAEHUFwbG9yaXMuQmFzZS5PYmplY3RzLlZhcmlhYmxlAwAAAA/+AAAAAQAAAAgAAAAAB/8AAAAAAQAAABAAAAAEFkFwbG9yaXMuQ2hhcnQuVGlja01hcmsCAAAACRYBAAAJFwEAAAkYAQAACRkBAAAJGgEAAAkbAQAACRwBAAANCQcAAQAAAAEAAAAQAAAABB9BcGxvcmlzLkJhc2UuT2JqZWN0cy5EYXRhT2JqZWN0AwAAAAkWAQAACRcBAAAJGAEAAAkZAQAACRoBAAAJGwEAAAkcAQAADQkFAQEAABpBcGxvcmlzLkJhc2UuT2JqZWN0cy5Db2xvcgcAAAASRGF0YU9iamVjdCttUGFyZW50FURhdGFPYmplY3QrbUNvbnRhaW5lcgVtVHlwZQRtUkdCEG1UaGVtZUNvbG9ySW5kZXgMbUF1dG9VcGRhdGVkCW1Nb2RpZmllZAQCAAAAAAAfQXBsb3Jpcy5CYXNlLk9iamVjdHMuTGluZUZvcm1hdAMAAAAICAgBAQMAAAAJvgAAAAoAAAAAAAAAAA0AAAAAAAUCAQAAGkFwbG9yaXMuQmFzZS5PYmplY3RzLkNvbG9yBwAAABJEYXRhT2JqZWN0K21QYXJlbnQVRGF0YU9iamVjdCttQ29udGFpbmVyBW1UeXBlBG1SR0IQbVRoZW1lQ29sb3JJbmRleAxtQXV0b1VwZGF0ZWQJbU1vZGlmaWVkBAIAAAAAAB9BcGxvcmlzLkJhc2UuT2JqZWN0cy5MaW5lRm9ybWF0AwAAAAgICAEBAwAAAAm+AAAACgEAAAAAAAAA/////wABDwMBAAABAAAACGsDAAABBAEAAHgAAAAKCgAAAAAAAAAADQAAAAABAQUBAAB4AAAACgoBAAAAAAAAAP////8AAQ8GAQAAAQAAAAgAAAAABQcB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gAAAADAAAACWkAAAAJagAAAAlrAAAAAQAAAAAKCZMAAAAJbAAAAAEAAAAKAAAAAAAAAAAFCA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wAAAAkBAAAAAAAAAAAGHQEAAAEuAwAAAAYeAQAAASwGHwEAAAEtBiABAAABKwEAAAAACgoGIQEAAAhNL2QveXl5eQAAAAAKAAAAAAAAAAAFCQE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AuMC4xNDg2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ASIBAAATAAAAAAAAAAIAAAD/////CQcAAAAJIwEAAAYkAQAAKUdyb3duIFNpZ25pZmljYW50bHkgKGF0IGxlYXN0IDUwJSBncm93dGgpCgoAAAAAAAAAAAAAAAAKCgAJJQEAAAkmAQAACScBAAAAAAAAAAAAAAAAAAAAAAAAAAAJKAEAAAkBAAAACQEAAAAJKQEAAAEKAQAACQEAAAkBAAAAASoBAAATAAAAAAAAAAMAAAD/////CQcAAAAJKwEAAAYsAQAAEEdyb3duIE1vZGVyYXRlbHkKCgAAAAAAAAAAAAAAAAoKAAktAQAACS4BAAAJLwEAAAAAAAAAAQAAAAAAAAAAAAAAAAkwAQAACQEAAAAJAQAAAAkxAQAABQsB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GMgEAAAhBZHZhbmNlZAAFMwEAAB5BcGxvcmlzLkNoYXJ0LkNoYXJ0R3JvdXBBbmNob3IBAAAAB3ZhbHVlX18ACAIAAAAAAAAACgAAAAABAAAAAQAAAAk0AQAACTUBAAAJNgEAAAoJBwAAAAk3AQAACQEAAAAJAQAAAAk4AQAAAQwBAAALAQAACQEAAAAGOQEAAAZQZW9wbGUAAToBAAAzAQAAAAAAAAoAAAAAAQAAAAEAAAAJOwEAAAk8AQAACT0BAAAKCQcAAAAJPgEAAAkBAAAACQEAAAAJPwEAAAENAQAACwEAAAkBAAAABkABAAAKVGVjaG5vbG9neQABQQEAADMBAAAAAAAACgAAAAABAAAAAQAAAAlCAQAACUMBAAAJRAEAAAoJBwAAAAlFAQAACQEAAAAJAQAAAAlGAQAABw4BAAAAAQAAAAQAAAAEKUFwbG9yaXMuQ2hhcnQuQ29sdW1uT3JpZW50ZWRMZWdlbmRFbGVtZW50AgAAAAlHAQAACUgBAAAKCgcPAQAAAAEAAAAEAAAABB9BcGxvcmlzLkJhc2UuT2JqZWN0cy5EYXRhT2JqZWN0AwAAAAlHAQAACUgBAAAKCgcQAQAAAAEAAAAAAAAABBxBcGxvcmlzLkJhc2UuVUkuVmlzdWFsT2JqZWN0AwAAAAERAQAAeAAAAAoKAAAAAAAAAAANAAAAAAEBEgEAAHgAAAAKCgEAAAAAAAAA/////wABARMBAAB4AAAACgoBAAAA////AP////8AAQEUAQAAeAAAAAoKAQAAAAAAAAD/////AAEPFQEAAAEAAAAIAAAAAAUWAQAAFkFwbG9yaXMuQ2hhcnQuVGlja01hcmsNAAAAC21WaXN1YWxMaW5lCW1HcmlkTGluZQZtTGFiZWwFbUF4aXMIbVZpc2libGUJbVBvc2l0aW9uC21TdGFydFBvaW50CW1FbmRQb2ludAxtSGFzR3JpZExpbmUYRGF0YU9iamVjdCttQ2hpbGRPYmplY3RzEkRhdGFPYmplY3QrbVBhcmVudBVEYXRhT2JqZWN0K21Db250YWluZXIZRGF0YU9iamVjdCttVmlzdWFsT2JqZWN0cwQEBAQAAAQEAAMEBAMaQXBsb3Jpcy5CYXNlLlVJLlZpc3VhbExpbmUDAAAAGkFwbG9yaXMuQmFzZS5VSS5WaXN1YWxMaW5lAwAAABVBcGxvcmlzLkJhc2UuVUkuTGFiZWwDAAAAEkFwbG9yaXMuQ2hhcnQuQXhpcwIAAAABBhVTeXN0ZW0uRHJhd2luZy5Qb2ludEYEAAAAFVN5c3RlbS5EcmF3aW5nLlBvaW50RgQAAAA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SQEAAAoJSgEAAAkHAAAAAQAAAAAAAAAAAUsBAAAhAAAAtGsYQgkkkEMBTAEAACEAAAC0awhCCSSQQwAJTQEAAAkHAAAACQEAAAAJTgEAAAEXAQAAFgEAAAlPAQAACglQAQAACQcAAAABmpmZmZmZuT8BUQEAACEAAAC0axhCpMpyQwFSAQAAIQAAALRrCEKkynJDAAlTAQAACQcAAAAJAQAAAAlUAQAAARgBAAAWAQAACVUBAAAKCVYBAAAJBwAAAAGamZmZmZnJPwFXAQAAIQAAALRrGEI2TUVDAVgBAAAhAAAAtGsIQjZNRUMACVkBAAAJBwAAAAkBAAAACVoBAAABGQEAABYBAAAJWwEAAAoJXAEAAAkHAAAAATMzMzMzM9M/AV0BAAAhAAAAtGsYQsfPF0MBXgEAACEAAAC0awhCx88XQwAJXwEAAAkHAAAACQEAAAAJYAEAAAEaAQAAFgEAAAlhAQAACgliAQAACQcAAAABmpmZmZmZ2T8BYwEAACEAAAC0axhCsqTUQgFkAQAAIQAAALRrCEKypNRCAAllAQAACQcAAAAJAQAAAAlmAQAAARsBAAAWAQAACWcBAAAKCWgBAAAJBwAAAAEAAAAAAADgPwFpAQAAIQAAALRrGEKsU3NCAWoBAAAhAAAAtGsIQqxTc0IACWsBAAAJBwAAAAkBAAAACWwBAAABHAEAABYBAAAJbQEAAAoJbgEAAAkHAAAAATMzMzMzM+M/AW8BAAAhAAAAtGsYQsx3dUEBcAEAACEAAAC0awhCzHd1QQAJcQEAAAkHAAAACQEAAAAJcgEAAAUjAQAAogFBcGxvcmlzLkJhc2UuT2JqZWN0cy5EYXRhT2JqZWN0Q29sbGVjdGlvbmAxW1tBcGxvcmlzLkNoYXJ0LkNoYXJ0RGF0YU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wLjAuMTQ4NiwgQ3VsdHVyZT1uZXV0cmFsLCBQdWJsaWNLZXlUb2tlbj0xNmZjMTNhMjI2YzBlOTUxXV0DAAAAmAFTeXN0ZW0uQ29sbGVjdGlvbnMuR2VuZXJpYy5MaXN0YDFbW0FwbG9yaXMuQ2hhcnQuQ2hhcnREYXRh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zAQAACXQBAAAJCQEAAAkBAAAACXUBAAAFJQEAABxBcGxvcmlzLkNoYXJ0LkNvbm5lY3RlZExhYmVsJA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CAAAAClgCAAAFdgEAACtBcGxvcmlzLkNoYXJ0LkNvbm5lY3RlZExhYmVsK2VDb25uZWN0b3JNb2RlAQAAAAd2YWx1ZV9fAAgCAAAAAQAAAAV3AQAANkFwbG9yaXMuQ2hhcnQuQ29ubmVjdGVkTGFiZWwrZUFuZ2xlZENvbm5lY3RvckRpcmVjdGlvbgEAAAAHdmFsdWVfXwAIAgAAAAAAAAABeAEAABUAAAA+OWhDjbJxQ9BrQkIUVi5CBXkBAAAtQXBsb3Jpcy5DaGFydC5Db25uZWN0ZWRMYWJlbCtlVGFyZ2V0QXJlYVNoYXBlAQAAAAd2YWx1ZV9fAAgCAAAAAAAAAAAAEEEBAXoBAAAhAAAAGWqQQ6i+g0MBewEAAKAAAAAEAAAAAAAAAAAAAAAACXwBAAAAAAAACX0BAAAAAAF+AQAAqQAAAAAAAAABfwEAAHIAAAAAAAxCAABgQQGAAQAAFQAAAAAAAAAAAAAAAAAAAAAAAABeutk/CSQBAAAKCYEBAAAGggEAAAAgAwAA/////wABCgmDAQAAAQAKAQcmAQAAAAEAAAACAAAABBVTeXN0ZW0uRHJhd2luZy5Qb2ludEYEAAAAAYQBAAAhAAAAGWqQQ6i+g0MBhQEAACEAAAC0awRCosx8QwcnAQAAAAEAAAACAAAABBdBcGxvcmlzLkJhc2UuQW5jaG9yTW9kZQMAAAABhgEAAKAAAAAEAAAAAYcBAACgAAAAAgAAAAEoAQAAJQAAAAmIAQAAAQAAAAEAAAABKQEAACYAAAAJiQEAAAEAAAABAAAAASsBAAAjAQAACgmKAQAACYsBAAAJCgEAAAkBAAAACYwBAAABLQEAACUBAAAKWAIAAAGNAQAAdgEAAAEAAAABjgEAAHcBAAAAAAAAAY8BAAAVAAAAPjloQ+DU4kLQa0JCOpD0QgGQAQAAeQEAAAAAAAAAABBBAQGRAQAAIQAAABlqkEN+ji5DAZIBAACgAAAABAAAAAAAAAAAAAAAAAmTAQAAAAAAAAmUAQAAAAABlQEAAKkAAAAAAAAAAZYBAAByAAAAAAAoQgAAYEEBlwEAABUAAAAAAAAAAAAAAAAAAAAAAAAAXrrZPwksAQAACgmYAQAACYIBAAAgAwAA/////wABCgmZAQAAAQAKAQcuAQAAAAEAAAACAAAABBVTeXN0ZW0uRHJhd2luZy5Qb2ludEYEAAAAAZoBAAAhAAAAGWqQQ36OLkMBmwEAACEAAAC0awRCyssDQwcvAQAAAAEAAAACAAAABBdBcGxvcmlzLkJhc2UuQW5jaG9yTW9kZQMAAAABnAEAAKAAAAAEAAAAAZ0BAACgAAAAAgAAAAEwAQAAJQAAAAmeAQAAAQAAAAEAAAABMQEAACYAAAAJnwEAAAEAAAABAAAADzQBAAABAAAACAAAAAAHNQEAAAABAAAAAQAAAAQVQXBsb3Jpcy5CYXNlLlVJLkxhYmVsAwAAAAmgAQAAATYBAAA0AAAAAaEBAAAhAAAALJSjQgmkkkMBogEAAKAAAAADAAAAAAAAAAAAAAAACaMBAAAAAAAACaQBAAAAAAGlAQAAqQAAAAAAAAABpgEAAHIAAAAAAExCAABAQQGnAQAAFQAAAEUXZUJ00ZJDjlxFQqOLLkESg74/CTIBAAAKCagBAAAJggEAACADAAD/////AQEKCakBAAABAAoBATcBAAAlAAAACaoBAAAAAAAAAAAAAAE4AQAAJgAAAAmrAQAAAgAAAAQAAAAPOwEAAAEAAAAIAAAAAAc8AQAAAAEAAAABAAAABBVBcGxvcmlzLkJhc2UuVUkuTGFiZWwDAAAACawBAAABPQEAADQAAAABrQEAACEAAABnKClDCaSSQwGuAQAAoAAAAAMAAAAAAAAAAAAAAAAJrwEAAAAAAAAJsAEAAAAAAbEBAACpAAAAAAAAAAGyAQAAcgAAAAAADEIAAEBBAbMBAAAVAAAAdNEXQ3TRkkMDLgtCo4suQRKDvj8JOQEAAAoJtAEAAAmCAQAAIAMAAP////8BAQoJtQEAAAEACgEBPgEAACUAAAAJtgEAAAAAAAAAAAAAAT8BAAAmAAAACbcBAAACAAAABAAAAA9CAQAAAQAAAAgAAAAAB0MBAAAAAQAAAAEAAAAEFUFwbG9yaXMuQmFzZS5VSS5MYWJlbAMAAAAJuAEAAAFEAQAANAAAAAG5AQAAIQAAAFxDgEMJpJJDAboBAACgAAAAAwAAAAAAAAAAAAAAAAm7AQAAAAAAAAm8AQAAAAABvQEAAKkAAAAAAAAAAb4BAAByAAAAAABsQgAAQEEBvwEAABUAAACLLmRDdNGSQ9RzYkKjiy5BEoO+PwlAAQAACgnAAQAACYIBAAAgAwAA/////wEBCgnBAQAAAQAKAQFFAQAAJQAAAAnCAQAAAAAAAAAAAAABRgEAACYAAAAJwwEAAAIAAAACAAAABUcBAAApQXBsb3Jpcy5DaGFydC5Db2x1bW5PcmllbnRlZExlZ2VuZEVsZW1lbnQNAAAAB21MZWdlbmQLbURhdGFTZXJpZXMUTGVnZW5kRWxlbWVudCttTGFiZWwYTGVnZW5kRWxlbWVudCttUmVjdGFuZ2xlE0xlZ2VuZEVsZW1lbnQrbUxpbmUVTGVnZW5kRWxlbWVudCttQ2lyY2xlFUxlZ2VuZEVsZW1lbnQrbU1hcmtlchRMZWdlbmRFbGVtZW50K21JbmRleB1MZWdlbmRFbGVtZW50K21MYWJlbFBvc2l0aW9ucxhEYXRhT2JqZWN0K21DaGlsZE9iamVjdHMSRGF0YU9iamVjdCttUGFyZW50FURhdGFPYmplY3QrbUNvbnRhaW5lchlEYXRhT2JqZWN0K21WaXN1YWxPYmplY3RzBAQEBAQEBAAEAwQEAyJBcGxvcmlzLkNoYXJ0LkNvbHVtbk9yaWVudGVkTGVnZW5kAgAAAB1BcGxvcmlzLkNoYXJ0LkNoYXJ0RGF0YVNlcmllcwIAAAAVQXBsb3Jpcy5CYXNlLlVJLkxhYmVsAwAAABpBcGxvcmlzLkJhc2UuVUkuVmlzdWFsUmVjdAMAAAAaQXBsb3Jpcy5CYXNlLlVJLlZpc3VhbExpbmUDAAAAHUFwbG9yaXMuQmFzZS5VSS5WaXN1YWxFbGxpcHNlAwAAABpBcGxvcmlzLkNoYXJ0LlZpc3VhbE1hcmtlcgIAAAAIF1N5c3RlbS5EcmF3aW5nLlBvaW50RltdBA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RQAAAAJCQEAAAnEAQAACcUBAAAKCgoAAAAACgnGAQAACRQAAAAJAQAAAAnHAQAAAUgBAABHAQAACRQAAAAJCgEAAAnIAQAACckBAAAKCgoBAAAACgnKAQAACRQAAAAJAQAAAAnLAQAAAUkBAAAwAAAAAcwBAAAhAAAAtGsYQgkkkEMBzQEAACEAAAC0awhCCSSQQwnOAQAAzAEAAP////8BAQoJzwEAAAEACgABSgEAADQAAAAB0AEAACEAAAC0awJCCSSQQwHRAQAAoAAAAAIAAAAAAAAAAAAAAAAJ0gEAAAAAAAAJ0wEAAAAAAdQBAACpAAAAAAAAAAHVAQAAcgAAAAAAgEEAAEBBAdYBAAAVAAAAuuiCQRddjUN6LYxBo4suQRKDvj8G1wEAAAIwJQoJ2AEAAAmCAQAA0AIAAP////8BAQoJ2QEAAAEACgABTQEAACUAAAAJ2gAAAAAAAAAAAAAAAU4BAAAmAAAACdoBAAACAAAAAgAAAAFPAQAAMAAAAAHbAQAAIQAAALRrGEKkynJDAdwBAAAhAAAAtGsIQqTKckMJ3QEAAMwBAAD/////AQEKCd4BAAABAAoAAVABAAA0AAAAAd8BAAAhAAAAtGsCQqTKckMB4AEAAKAAAAACAAAAAAAAAAAAAAAACeEBAAAAAAAACeIBAAAAAAHjAQAAqQAAAAAAAAAB5AEAAHIAAAAAALhBAABAQQHlAQAAFQAAAAAAIEHRRW1DNBa/QaOLLkESg74/BuYBAAADMTAlCgnnAQAACYIBAADQAgAA/////wEBCgnoAQAAAQAKAAFTAQAAJQAAAAnaAAAAAAAAAAAAAAABVAEAACYAAAAJ6QEAAAIAAAACAAAAAVUBAAAwAAAAAeoBAAAhAAAAtGsYQjZNRUMB6wEAACEAAAC0awhCNk1FQwnsAQAAzAEAAP////8BAQoJ7QEAAAEACgABVgEAADQAAAAB7gEAACEAAAC0awJCNk1FQwHvAQAAoAAAAAIAAAAAAAAAAAAAAAAJ8AEAAAAAAAAJ8QEAAAAAAfIBAACpAAAAAAAAAAHzAQAAcgAAAAAAuEEAAEBBAfQBAAAVAAAAAAAgQXTRP0M0Fr9Bo4suQRKDvj8G9QEAAAMyMCUKCfYBAAAJggEAANACAAD/////AQEKCfcBAAABAAoAAVkBAAAlAAAACdoAAAAAAAAAAAAAAAFaAQAAJgAAAAn4AQAAAgAAAAIAAAABWwEAADAAAAAB+QEAACEAAAC0axhCx88XQwH6AQAAIQAAALRrCELHzxdDCfsBAADMAQAA/////wEBCgn8AQAAAQAKAAFcAQAANAAAAAH9AQAAIQAAALRrAkLHzxdDAf4BAACgAAAAAgAAAAAAAAAAAAAAAAn/AQAAAAAAAAkAAgAAAAABAQIAAKkAAAAAAAAAAQICAAByAAAAAAC4QQAAQEEBAwIAABUAAAAAACBBF10SQzQWv0Gjiy5BEoO+PwYEAgAAAzMwJQoJBQIAAAmCAQAA0AIAAP////8BAQoJBgIAAAEACgABXwEAACUAAAAJ2gAAAAAAAAAAAAAAAWABAAAmAAAACQcCAAACAAAAAgAAAAFhAQAAMAAAAAEIAgAAIQAAALRrGEKypNRCAQkCAAAhAAAAtGsIQrKk1EIJCgIAAMwBAAD/////AQEKCQsCAAABAAoAAWIBAAA0AAAAAQwCAAAhAAAAtGsCQrKk1EIBDQIAAKAAAAACAAAAAAAAAAAAAAAACQ4CAAAAAAAACQ8CAAAAAAEQAgAAqQAAAAAAAAABEQIAAHIAAAAAALhBAABAQQESAgAAFQAAAAAAIEF00clCNBa/QaOLLkESg74/BhMCAAADNDAlCgkUAgAACYIBAADQAgAA/////wEBCgkVAgAAAQAKAAFlAQAAJQAAAAnaAAAAAAAAAAAAAAABZgEAACYAAAAJFgIAAAIAAAACAAAAAWcBAAAwAAAAARcCAAAhAAAAtGsYQqxTc0IBGAIAACEAAAC0awhCrFNzQgkZAgAAzAEAAP////8BAQoJGgIAAAEACgABaAEAADQAAAABGwIAACEAAAC0awJCrFNzQgEcAgAAoAAAAAIAAAAAAAAAAAAAAAAJHQIAAAAAAAAJHgIAAAAAAR8CAACpAAAAAAAAAAEgAgAAcgAAAAAAuEEAAEBBASECAAAVAAAAAAAgQXTRXUI0Fr9Bo4suQRKDvj8GIgIAAAM1MCUKCSMCAAAJggEAANACAAD/////AQEKCSQCAAABAAoAAWsBAAAlAAAACdoAAAAAAAAAAAAAAAFsAQAAJgAAAAklAgAAAgAAAAIAAAABbQEAADAAAAABJgIAACEAAAC0axhCzHd1QQEnAgAAIQAAALRrCELMd3VBCSgCAADMAQAA/////wEBCgkpAgAAAQAKAAFuAQAANAAAAAEqAgAAIQAAALRrAkLMd3VBASsCAACgAAAAAgAAAAAAAAAAAAAAAAksAgAAAAAAAAktAgAAAAABLgIAAKkAAAAAAAAAAS8CAAByAAAAAAC4QQAAQEEBMAIAABUAAAAAACBBAAAgQTQWv0Gjiy5BEoO+PwYxAgAAAzYwJQoJMgIAAAmCAQAA0AIAAP////8BAQoJMwIAAAEACgABcQEAACUAAAAJ2gAAAAAAAAAAAAAAAXIBAAAmAAAACTQCAAACAAAAAgAAAARzAQAAmAFTeXN0ZW0uQ29sbGVjdGlvbnMuR2VuZXJpYy5MaXN0YDFbW0FwbG9yaXMuQ2hhcnQuQ2hhcnREYXRhRWxlbWVudCwgQXBsb3Jpcy5DaGFydCwgVmVyc2lvbj00LjAuMC4xNDg2LCBDdWx0dXJlPW5ldXRyYWwsIFB1YmxpY0tleVRva2VuPTE2ZmMxM2EyMjZjMGU5NTFdXQMAAAAGX2l0ZW1zBV9zaXplCF92ZXJzaW9uBAAAIEFwbG9yaXMuQ2hhcnQuQ2hhcnREYXRhRWxlbWVudFtdAgAAAAgICTUCAAADAAAAEQAAAAF0AQAAJQAAAAk2AgAAAwAAABEAAAABdQEAACYAAAAJNwIAAAAAAAAAAAAABXw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JAQAACgAAAAAAQEEJdgAAAAl3AAAACTgCAAABAAk5AgAAAX0BAAB4AAAACgoAAAAA////AA4AAAAAAQGBAQAArQAAAAk6AgAAAQAAAAEAAAABgwEAAHUAAAAJOwIAAAoHiAEAAAABAAAABAAAAAQfQXBsb3Jpcy5CYXNlLk9iamVjdHMuRGF0YU9iamVjdAMAAAAJIwEAAA0DB4kBAAAAAQAAAAQAAAAEHEFwbG9yaXMuQmFzZS5VSS5WaXN1YWxPYmplY3QDAAAACSUBAAANAwGKAQAAcwEAAAk8AgAAAwAAABEAAAABiwEAACUAAAAJPQIAAAMAAAARAAAAAYwBAAAmAAAACT4CAAAAAAAAAAAAAAWT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CgEAAAoAAAAAAEBBCXYAAAAJdwAAAAk/AgAAAQAJQAIAAAGUAQAAeAAAAAoKAAAAAP///wAOAAAAAAEBmAEAAK0AAAAJQQIAAAEAAAABAAAAAZkBAAB1AAAACUICAAAKB54BAAAAAQAAAAQAAAAEH0FwbG9yaXMuQmFzZS5PYmplY3RzLkRhdGFPYmplY3QDAAAACSsBAAANAwefAQAAAAEAAAAEAAAABBxBcGxvcmlzLkJhc2UuVUkuVmlzdWFsT2JqZWN0AwAAAAktAQAADQMBoAEAADQAAAABQwIAACEAAAAslKNChRktQgFEAgAAoAAAAAEAAAAAAAAAAAAAAAAJRQIAAAAAAAAJRgIAAAAAAUcCAACpAAAAAAAAAAFIAgAAcgAAAAAAuEEAAEBBAUkCAAAVAAAAAACMQrroAkI0Fr9Bo4suQRKDvj8GSgIAAAM1MyUKCUsCAAAJggEAADQDAAD/////AQEKCUwCAAABAAoAAaMBAAAjAAAACgoAAAAAAChBCXYAAAAJdwAAAAlNAgAAAAAJTgIAAAGkAQAAeAAAAAoKAAAAAP///wAOAAAAAAEBqAEAAK0AAAAJTwIAAAEAAAABAAAAAakBAAB1AAAACVACAAAKB6oBAAAAAQAAAAAAAAAEH0FwbG9yaXMuQmFzZS5PYmplY3RzLkRhdGFPYmplY3QDAAAAB6sBAAAAAQAAAAQAAAAEHEFwbG9yaXMuQmFzZS5VSS5WaXN1YWxPYmplY3QDAAAACTYBAAAJoAEAAAoKAawBAAA0AAAAAVECAAAhAAAAZygpQy21CEIBUgIAAKAAAAABAAAAAAAAAAAAAAAACVMCAAAAAAAACVQCAAAAAAFVAgAAqQAAAAAAAAABVgIAAHIAAAAAALhBAABAQQFXAgAAFQAAANFFHUNGF71BNBa/QaOLLkESg74/BlgCAAADNTUlCglZAgAACYIBAAA0AwAA/////wEBCglaAgAAAQAKAAGvAQAAIwAAAAoKAAAAAAAoQQl2AAAACXcAAAAJWwIAAAAACVwCAAABsAEAAHgAAAAKCgAAAAD///8ADgAAAAABAbQBAACtAAAACV0CAAABAAAAAQAAAAG1AQAAdQAAAAleAgAACge2AQAAAAEAAAAAAAAABB9BcGxvcmlzLkJhc2UuT2JqZWN0cy5EYXRhT2JqZWN0AwAAAAe3AQAAAAEAAAAEAAAABBxBcGxvcmlzLkJhc2UuVUkuVmlzdWFsT2JqZWN0AwAAAAk9AQAACawBAAAKCgG4AQAANAAAAAFfAgAAIQAAAFxDgEPg1NZCAWACAACgAAAAAQAAAAAAAAAAAAAAAAlhAgAAAAAAAAliAgAAAAABYwIAAKkAAAAAAAAAAWQCAAByAAAAAAC4QQAAQEEBZQIAABUAAACji3RDLrrAQjQWv0Gjiy5BEoO+PwZmAgAAAzM5JQoJZwIAAAmCAQAANAMAAP////8BAQoJaAIAAAEACgABuwEAACMAAAAKCgAAAAAAKEEJdgAAAAl3AAAACWkCAAAAAAlqAgAAAbwBAAB4AAAACgoAAAAA////AA4AAAAAAQHAAQAArQAAAAlrAgAAAQAAAAEAAAABwQEAAHUAAAAJbAIAAAoHwgEAAAABAAAAAAAAAAQfQXBsb3Jpcy5CYXNlLk9iamVjdHMuRGF0YU9iamVjdAMAAAAHwwEAAAABAAAABAAAAAQcQXBsb3Jpcy5CYXNlLlVJLlZpc3VhbE9iamVjdAMAAAAJRAEAAAm4AQAACgoBxAEAADQAAAABbQIAACEAAABazhRCrz2dQwFuAgAAoAAAAAUAAAAAAAAAAAAAAAAJbwIAAAAAAAAJcAIAAAAAAXECAACpAAAAAAAAAAFyAgAAcgAAAAAAU0MAAEBBAXMCAAAVAAAAdNENQtFFnUOBy0JDo4suQRKDvj8JJAEAAAoJdAIAAAmCAQAAhAMAAP////8BAQoJdQIAAAEACgABxQEAABwAAAABdgIAACEAAADTobVBrz2dQwF3AgAAIQAAAFrOCEJd/aJDCXgCAAAJeQIAAAAAAAAKAXoCAAByAAAAAAAAAAAAAAABewIAAHIAAAAAAAAAAAAAAAAAAAABfAIAABUAAAAAAAAAAAAAAAAAAAAAAAAAmAMAAP////8BAQoJfQIAAAEACgABxgEAACUAAAAJwgEAAAAAAAAAAAAAAccBAAAmAAAACX4CAAACAAAAAgAAAAHIAQAANAAAAAF/AgAAIQAAAFrOFELI6aRDAYACAACgAAAABQAAAAAAAAAAAAAAAAmBAgAAAAAAAAmCAgAAAAABgwIAAKkAAAAAAAAAAYQCAAByAAAAAAC8QgAAQEEBhQIAABUAAAB00Q1CAAClQ9LcsEKjiy5BEoO+PwksAQAACgmGAgAACYIBAACEAwAA/////wEBCgmHAgAAAQAKAAHJAQAAHAAAAAGIAgAAIQAAANOhtUHI6aRDAYkCAAAhAAAAWs4IQnapqkMJigIAAAmLAgAAAAAAAAoBjAIAAHIAAAAAAAAAAAAAAAGNAgAAcgAAAAAAAAAAAAAAAAAAAAGOAgAAFQAAAAAAAAAAAAAAAAAAAAAAAACYAwAA/////wEBCgmPAgAAAQAKAAHKAQAAJQAAAAnCAQAAAAAAAAAAAAABywEAACYAAAAJkAIAAAIAAAACAAAAAc4BAABwAAAACgoAAABAPwmRAgAACZICAAABAAAA/v///wAAAAABAAAAAAAAAAAAAAABAAAAAAAAAAAAAAHPAQAAdQAAAAmTAgAACgHSAQAAIwAAAAoKAAAAAAAoQQl2AAAACXcAAAAJlAIAAAAACZUCAAAB0wEAAHgAAAAKCgAAAAD///8ADgAAAAABAdgBAACtAAAACZYCAAABAAAAAQAAAAHZAQAAdQAAAAmXAgAACgfaAQAAAAEAAAAEAAAABBxBcGxvcmlzLkJhc2UuVUkuVmlzdWFsT2JqZWN0AwAAAAlJAQAACUoBAAAKCgHdAQAAcAAAAAoKAAAAQD8JmAIAAAmZAgAAAQAAAP7///8AAAAAAQAAAAAAAAAAAAAAAQAAAAAAAAAAAAAB3gEAAHUAAAAJmgIAAAoB4QEAACMAAAAKCgAAAAAAKEEJdgAAAAl3AAAACZsCAAAAAAmcAgAAAeIBAAB4AAAACgoAAAAA////AA4AAAAAAQHnAQAArQAAAAmdAgAAAQAAAAMAAAAB6AEAAHUAAAAJngIAAAoH6QEAAAABAAAABAAAAAQcQXBsb3Jpcy5CYXNlLlVJLlZpc3VhbE9iamVjdAMAAAAJTwEAAAlQAQAACgoB7AEAAHAAAAAKCgAAAEA/CZ8CAAAJoAIAAAEAAAD+////AAAAAAEAAAAAAAAAAAAAAAEAAAAAAAAAAAAAAe0BAAB1AAAACaECAAAKAfABAAAjAAAACgoAAAAAAChBCXYAAAAJdwAAAAmiAgAAAAAJowIAAAHxAQAAeAAAAAoKAAAAAP///wAOAAAAAAEB9gEAAK0AAAAJpAIAAAEAAAADAAAAAfcBAAB1AAAACaUCAAAKB/gBAAAAAQAAAAQAAAAEHEFwbG9yaXMuQmFzZS5VSS5WaXN1YWxPYmplY3QDAAAACVUBAAAJVgEAAAoKAfsBAABwAAAACgoAAABAPwmmAgAACacCAAABAAAA/v///wAAAAABAAAAAAAAAAAAAAABAAAAAAAAAAAAAAH8AQAAdQAAAAmoAgAACgH/AQAAIwAAAAoKAAAAAAAoQQl2AAAACXcAAAAJqQIAAAAACaoCAAABAAIAAHgAAAAKCgAAAAD///8ADgAAAAABAQUCAACtAAAACasCAAABAAAAAwAAAAEGAgAAdQAAAAmsAgAACgcHAgAAAAEAAAAEAAAABBxBcGxvcmlzLkJhc2UuVUkuVmlzdWFsT2JqZWN0AwAAAAlbAQAACVwBAAAKCgEKAgAAcAAAAAoKAAAAQD8JrQIAAAmuAgAAAQAAAP7///8AAAAAAQAAAAAAAAAAAAAAAQAAAAAAAAAAAAABCwIAAHUAAAAJrwIAAAoBDgIAACMAAAAKCgAAAAAAKEEJdgAAAAl3AAAACbACAAAAAAmxAgAAAQ8CAAB4AAAACgoAAAAA////AA4AAAAAAQEUAgAArQAAAAmyAgAAAQAAAAMAAAABFQIAAHUAAAAJswIAAAoHFgIAAAABAAAABAAAAAQcQXBsb3Jpcy5CYXNlLlVJLlZpc3VhbE9iamVjdAMAAAAJYQEAAAliAQAACgoBGQIAAHAAAAAKCgAAAEA/CbQCAAAJtQIAAAEAAAD+////AAAAAAEAAAAAAAAAAAAAAAEAAAAAAAAAAAAAARoCAAB1AAAACbYCAAAKAR0CAAAjAAAACgoAAAAAAChBCXYAAAAJdwAAAAm3AgAAAAAJuAIAAAEeAgAAeAAAAAoKAAAAAP///wAOAAAAAAEBIwIAAK0AAAAJuQIAAAEAAAADAAAAASQCAAB1AAAACboCAAAKByUCAAAAAQAAAAQAAAAEHEFwbG9yaXMuQmFzZS5VSS5WaXN1YWxPYmplY3QDAAAACWcBAAAJaAEAAAoKASgCAABwAAAACgoAAABAPwm7AgAACbwCAAABAAAA/v///wAAAAABAAAAAAAAAAAAAAABAAAAAAAAAAAAAAEpAgAAdQAAAAm9AgAACgEsAgAAIwAAAAoKAAAAAAAoQQl2AAAACXcAAAAJvgIAAAAACb8CAAABLQIAAHgAAAAKCgAAAAD///8ADgAAAAABATICAACtAAAACcACAAABAAAAAwAAAAEzAgAAdQAAAAnBAgAACgc0AgAAAAEAAAAEAAAABBxBcGxvcmlzLkJhc2UuVUkuVmlzdWFsT2JqZWN0AwAAAAltAQAACW4BAAAKCgc1AgAAAAEAAAAQAAAABB5BcGxvcmlzLkNoYXJ0LkNoYXJ0RGF0YUVsZW1lbnQCAAAACcICAAAJwwIAAAnEAgAADQ0HNgIAAAABAAAAEAAAAAQfQXBsb3Jpcy5CYXNlLk9iamVjdHMuRGF0YU9iamVjdAMAAAAJwgIAAAnDAgAACcQCAAANDQc3AgAAAAEAAAAAAAAABBxBcGxvcmlzLkJhc2UuVUkuVmlzdWFsT2JqZWN0AwAAAAE4AgAAeAAAAAoKAAAAAAAAAAANAAAAAAEBOQIAAHgAAAAKCgEAAAAAAAAA/////wABBzoCAAAAAQAAAAQAAAAEHUFwbG9yaXMuQmFzZS5PYmplY3RzLlZhcmlhYmxlAwAAAAXFAgAAHUFwbG9yaXMuQmFzZS5PYmplY3RzLlZhcmlhYmxlAgAAAAZOdW1iZXIIUG9zaXRpb24AAAgIAwAAAAEAAAAAAAAAAcYCAADFAgAAAAAAAAAAAAABxwIAAMUCAAAAAAAAAAAAAAHIAgAAxQIAAAAAAAAAAAAADzsCAAABAAAACAAAAAAHPAIAAAABAAAAEAAAAAQeQXBsb3Jpcy5DaGFydC5DaGFydERhdGFFbGVtZW50AgAAAAnJAgAACcoCAAAJywIAAA0NBz0CAAAAAQAAABAAAAAEH0FwbG9yaXMuQmFzZS5PYmplY3RzLkRhdGFPYmplY3QDAAAACckCAAAJygIAAAnLAgAADQ0HPgIAAAABAAAAAAAAAAQcQXBsb3Jpcy5CYXNlLlVJLlZpc3VhbE9iamVjdAMAAAABPwIAAHgAAAAKCgAAAAAAAAAADQAAAAABAUACAAB4AAAACgoBAAAAAAAAAP////8AAQdBAgAAAAEAAAAEAAAABB1BcGxvcmlzLkJhc2UuT2JqZWN0cy5WYXJpYWJsZQMAAAABzAIAAMUCAAABAAAAAAAAAAHNAgAAxQIAAAAAAAAAAAAAAc4CAADFAgAAAAAAAAAAAAABzwIAAMUCAAAAAAAAAAAAAA9CAgAAAQAAAAgAAAAABUU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sBAAAKAAAAAAAoQQl2AAAACXcAAAAJ0AIAAAAACdECAAABRgIAAHgAAAAKCgAAAAD///8ADgAAAAABAUsCAACtAAAACdICAAABAAAAAwAAAAFMAgAAdQAAAAnTAgAACgFNAgAAeAAAAAoKAAAAAAAAAAANAAAAAAABTgIAAHgAAAAKCgAAAAAAAAAADQAAAAABB08CAAAAAQAAAAQAAAAEHUFwbG9yaXMuQmFzZS5PYmplY3RzLlZhcmlhYmxlAwAAAAHUAgAAxQIAAAEAAAAAAAAAAdUCAADFAgAAAAAAAAAAAAAB1gIAAMUCAAAAAAAAAAAAAAHXAgAAxQIAAAAAAAAAAAAAD1ACAAABAAAACE0BAAAFUw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DAEAAAoAAAAAAChBCXYAAAAJdwAAAAnYAgAAAAAJ2QIAAAFUAgAAeAAAAAoKAAAAAP///wAOAAAAAAEBWQIAAK0AAAAJ2gIAAAEAAAADAAAAAVoCAAB1AAAACdsCAAAKAVsCAAB4AAAACgoAAAAAAAAAAA0AAAAAAAFcAgAAeAAAAAoKAAAAAAAAAAANAAAAAAEHXQIAAAABAAAABAAAAAQdQXBsb3Jpcy5CYXNlLk9iamVjdHMuVmFyaWFibGUDAAAAAdwCAADFAgAAAQAAAAAAAAAB3QIAAMUCAAAAAAAAAAAAAAHeAgAAxQIAAAAAAAAAAAAAAd8CAADFAgAAAAAAAAAAAAAPXgIAAAEAAAAIxQAAAAFhAgAAIwAAAAoKAAAAAAAoQQl2AAAACXcAAAAJ4AIAAAAACeECAAABYgIAAHgAAAAKCgAAAAD///8ADgAAAAABAWcCAACtAAAACeICAAABAAAAAwAAAAFoAgAAdQAAAAnjAgAACgFpAgAAeAAAAAoKAAAAAAAAAAANAAAAAAABagIAAHgAAAAKCgAAAAAAAAAADQAAAAABB2sCAAAAAQAAAAQAAAAEHUFwbG9yaXMuQmFzZS5PYmplY3RzLlZhcmlhYmxlAwAAAAHkAgAAxQIAAAEAAAAAAAAAAeUCAADFAgAAAAAAAAAAAAAB5gIAAMUCAAAAAAAAAAAAAAHnAgAAxQIAAAAAAAAAAAAAD2wCAAABAAAACC8DAAABbwIAACMAAAAKCgAAAAAAKEEJdgAAAAl3AAAACegCAAAAAAnpAgAAAXACAAB4AAAACgoBAAAAAAAAAP////8AAQF0AgAArQAAAAnqAgAAAQAAAAEAAAABdQIAAHUAAAAJ6wIAAAoBeAIAAHAAAAAKCgAAAEA/CewCAAAJ7QIAAAEAAAD+////AAAAAAEAAAAAAAAAAAAAAAEAAAAAAAAAAAAAAXkCAABxAAAACgoJ7gIAAAnvAgAAAQAAAP7///8AAAAA/////wEAAX0CAAB1AAAACfACAAAKB34CAAAAAQAAAAQAAAAEHEFwbG9yaXMuQmFzZS5VSS5WaXN1YWxPYmplY3QDAAAACcQBAAAJxQEAAAoKAYECAAAjAAAACgoAAAAAAChBCXYAAAAJdwAAAAnxAgAAAAAJ8gIAAAGCAgAAeAAAAAoKAQAAAAAAAAD/////AAEBhgIAAK0AAAAJ8wIAAAEAAAABAAAAAYcCAAB1AAAACfQCAAAKAYoCAABwAAAACgoAAABAPwn1AgAACfYCAAABAAAA/v///wAAAAABAAAAAAAAAAAAAAABAAAAAAAAAAAAAAGLAgAAcQAAAAoKCfcCAAAJ+AIAAAEAAAD+////AAAAAP////8BAAGPAgAAdQAAAAn5AgAACgeQAgAAAAEAAAAEAAAABBxBcGxvcmlzLkJhc2UuVUkuVmlzdWFsT2JqZWN0AwAAAAnIAQAACckBAAAKCgGRAgAAeAAAAAoKAAAAAAAAAAANAAAAAAAFkgIAABpBcGxvcmlzLkJhc2UuT2JqZWN0cy5Db2xvcgcAAAASRGF0YU9iamVjdCttUGFyZW50FURhdGFPYmplY3QrbUNvbnRhaW5lcgVtVHlwZQRtUkdCEG1UaGVtZUNvbG9ySW5kZXgMbUF1dG9VcGRhdGVkCW1Nb2RpZmllZAQCAAAAAAAfQXBsb3Jpcy5CYXNlLk9iamVjdHMuTGluZUZvcm1hdAMAAAAICAgBAQMAAAAJzgEAAAoBAAAAAAAAAP////8AAQ+TAgAAAQAAAAhyAwAAAZQCAAB4AAAACgoAAAAAAAAAAA0AAAAAAAGVAgAAeAAAAAoKAAAAAAAAAAANAAAAAAEHlgIAAAABAAAABAAAAAQdQXBsb3Jpcy5CYXNlLk9iamVjdHMuVmFyaWFibGUDAAAAAfoCAADFAgAAAQAAAAAAAAAB+wIAAMUCAAAAAAAAAAAAAAH8AgAAxQIAAAAAAAAAAAAAAf0CAADFAgAAAAAAAAAAAAAPlwIAAAEAAAAIJgAAAAGYAgAAeAAAAAoKAAAAAAAAAAANAAAAAAAFmQIAABpBcGxvcmlzLkJhc2UuT2JqZWN0cy5Db2xvcgcAAAASRGF0YU9iamVjdCttUGFyZW50FURhdGFPYmplY3QrbUNvbnRhaW5lcgVtVHlwZQRtUkdCEG1UaGVtZUNvbG9ySW5kZXgMbUF1dG9VcGRhdGVkCW1Nb2RpZmllZAQCAAAAAAAfQXBsb3Jpcy5CYXNlLk9iamVjdHMuTGluZUZvcm1hdAMAAAAICAgBAQMAAAAJ3QEAAAoBAAAAAAAAAP////8AAQ+aAgAAAQAAAAhuAwAAAZsCAAB4AAAACgoAAAAAAAAAAA0AAAAAAAGcAgAAeAAAAAoKAAAAAAAAAAANAAAAAAEHnQIAAAABAAAABAAAAAQdQXBsb3Jpcy5CYXNlLk9iamVjdHMuVmFyaWFibGUDAAAAAf4CAADFAgAAAQAAAAAAAAAB/wIAAMUCAAAAAAAAAAAAAAEAAwAAxQIAAAAAAAAAAAAAAQEDAADFAgAAAAAAAAAAAAAPngIAAAEAAAAIIwAAAAGfAgAAeAAAAAoKAAAAAAAAAAANAAAAAAAFoAIAABpBcGxvcmlzLkJhc2UuT2JqZWN0cy5Db2xvcgcAAAASRGF0YU9iamVjdCttUGFyZW50FURhdGFPYmplY3QrbUNvbnRhaW5lcgVtVHlwZQRtUkdCEG1UaGVtZUNvbG9ySW5kZXgMbUF1dG9VcGRhdGVkCW1Nb2RpZmllZAQCAAAAAAAfQXBsb3Jpcy5CYXNlLk9iamVjdHMuTGluZUZvcm1hdAMAAAAICAgBAQMAAAAJ7AEAAAoBAAAAAAAAAP////8AAQ+hAgAAAQAAAAhvAwAAAaICAAB4AAAACgoAAAAAAAAAAA0AAAAAAAGjAgAAeAAAAAoKAAAAAAAAAAANAAAAAAEHpAIAAAABAAAABAAAAAQdQXBsb3Jpcy5CYXNlLk9iamVjdHMuVmFyaWFibGUDAAAAAQIDAADFAgAAAQAAAAAAAAABAwMAAMUCAAAAAAAAAAAAAAEEAwAAxQIAAAAAAAAAAAAAAQUDAADFAgAAAAAAAAAAAAAPpQIAAAEAAAAIKwAAAAGmAgAAeAAAAAoKAAAAAAAAAAANAAAAAAAFpwIAABpBcGxvcmlzLkJhc2UuT2JqZWN0cy5Db2xvcgcAAAASRGF0YU9iamVjdCttUGFyZW50FURhdGFPYmplY3QrbUNvbnRhaW5lcgVtVHlwZQRtUkdCEG1UaGVtZUNvbG9ySW5kZXgMbUF1dG9VcGRhdGVkCW1Nb2RpZmllZAQCAAAAAAAfQXBsb3Jpcy5CYXNlLk9iamVjdHMuTGluZUZvcm1hdAMAAAAICAgBAQMAAAAJ+wEAAAoBAAAAAAAAAP////8AAQ+oAgAAAQAAAAhwAwAAAakCAAB4AAAACgoAAAAAAAAAAA0AAAAAAAGqAgAAeAAAAAoKAAAAAAAAAAANAAAAAAEHqwIAAAABAAAABAAAAAQdQXBsb3Jpcy5CYXNlLk9iamVjdHMuVmFyaWFibGUDAAAAAQYDAADFAgAAAQAAAAAAAAABBwMAAMUCAAAAAAAAAAAAAAEIAwAAxQIAAAAAAAAAAAAAAQkDAADFAgAAAAAAAAAAAAAPrAIAAAEAAAAIKgAAAAGtAgAAeAAAAAoKAAAAAAAAAAANAAAAAAAFrgIAABpBcGxvcmlzLkJhc2UuT2JqZWN0cy5Db2xvcgcAAAASRGF0YU9iamVjdCttUGFyZW50FURhdGFPYmplY3QrbUNvbnRhaW5lcgVtVHlwZQRtUkdCEG1UaGVtZUNvbG9ySW5kZXgMbUF1dG9VcGRhdGVkCW1Nb2RpZmllZAQCAAAAAAAfQXBsb3Jpcy5CYXNlLk9iamVjdHMuTGluZUZvcm1hdAMAAAAICAgBAQMAAAAJCgIAAAoBAAAAAAAAAP////8AAQ+vAgAAAQAAAAhtAwAAAbACAAB4AAAACgoAAAAAAAAAAA0AAAAAAAGxAgAAeAAAAAoKAAAAAAAAAAANAAAAAAEHsgIAAAABAAAABAAAAAQdQXBsb3Jpcy5CYXNlLk9iamVjdHMuVmFyaWFibGUDAAAAAQoDAADFAgAAAQAAAAAAAAABCwMAAMUCAAAAAAAAAAAAAAEMAwAAxQIAAAAAAAAAAAAAAQ0DAADFAgAAAAAAAAAAAAAPswIAAAEAAAAIJwAAAAG0AgAAeAAAAAoKAAAAAAAAAAANAAAAAAAFtQIAABpBcGxvcmlzLkJhc2UuT2JqZWN0cy5Db2xvcgcAAAASRGF0YU9iamVjdCttUGFyZW50FURhdGFPYmplY3QrbUNvbnRhaW5lcgVtVHlwZQRtUkdCEG1UaGVtZUNvbG9ySW5kZXgMbUF1dG9VcGRhdGVkCW1Nb2RpZmllZAQCAAAAAAAfQXBsb3Jpcy5CYXNlLk9iamVjdHMuTGluZUZvcm1hdAMAAAAICAgBAQMAAAAJGQIAAAoBAAAAAAAAAP////8AAQ+2AgAAAQAAAAhzAwAAAbcCAAB4AAAACgoAAAAAAAAAAA0AAAAAAAG4AgAAeAAAAAoKAAAAAAAAAAANAAAAAAEHuQIAAAABAAAABAAAAAQdQXBsb3Jpcy5CYXNlLk9iamVjdHMuVmFyaWFibGUDAAAAAQ4DAADFAgAAAQAAAAAAAAABDwMAAMUCAAAAAAAAAAAAAAEQAwAAxQIAAAAAAAAAAAAAAREDAADFAgAAAAAAAAAAAAAPugIAAAEAAAAIKQAAAAG7AgAAeAAAAAoKAAAAAAAAAAANAAAAAAAFvAIAABpBcGxvcmlzLkJhc2UuT2JqZWN0cy5Db2xvcgcAAAASRGF0YU9iamVjdCttUGFyZW50FURhdGFPYmplY3QrbUNvbnRhaW5lcgVtVHlwZQRtUkdCEG1UaGVtZUNvbG9ySW5kZXgMbUF1dG9VcGRhdGVkCW1Nb2RpZmllZAQCAAAAAAAfQXBsb3Jpcy5CYXNlLk9iamVjdHMuTGluZUZvcm1hdAMAAAAICAgBAQMAAAAJKAIAAAoBAAAAAAAAAP////8AAQ+9AgAAAQAAAAhxAwAAAb4CAAB4AAAACgoAAAAAAAAAAA0AAAAAAAG/AgAAeAAAAAoKAAAAAAAAAAANAAAAAAEHwAIAAAABAAAABAAAAAQdQXBsb3Jpcy5CYXNlLk9iamVjdHMuVmFyaWFibGUDAAAAARIDAADFAgAAAQAAAAAAAAABEwMAAMUCAAAAAAAAAAAAAAEUAwAAxQIAAAAAAAAAAAAAARUDAADFAgAAAAAAAAAAAAAPwQIAAAEAAAAIKAAAAAXCAg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RYDAAAJFwMAAAoJGAMAAAoJCQEAAAgGK4cW2c73wz8KAAAAAAkZAwAACRoDAAAAAAAAAAkbAwAACQkBAAAJAQAAAAkcAwAAAcMCAADCAgAACR0DAAAJHgMAAAoJHwMAAAoJCQEAAAgG7nw/NV66yT8KAQAAAAkgAwAACSEDAAAAAAAAAAkiAwAACQkBAAAJAQAAAAkjAwAAAcQCAADCAgAACSQDAAAJJQMAAAoJJgMAAAoJCQEAAAgGgZVDi2znuz8KAgAAAAknAwAACSgDAAAAAAAAAAkpAwAACQkBAAAJAQAAAAkqAwAAAckCAADCAgAACSsDAAAJLAMAAAoJLQMAAAoJCgEAAAgGqvHSTWIQ2D8KAAAAAAkuAwAACS8DAAAAAAAAAAkwAwAACQoBAAAJAQAAAAkxAwAAAcoCAADCAgAACTIDAAAJMwMAAAoJNAMAAAoJCgEAAAgGEFg5tMh21j8KAQAAAAk1AwAACTYDAAAAAAAAAAk3AwAACQoBAAAJAQAAAAk4AwAAAcsCAADCAgAACTkDAAAJOgMAAAoJOwMAAAoJCgEAAAgGPzVeukkM0j8KAgAAAAk8AwAACT0DAAAAAAAAAAk+AwAACQoBAAAJAQAAAAk/AwAAAdACAAB4AAAACgoAAAAAAAAAAA0AAAAAAAHRAgAAeAAAAAoKAAAAAAAAAAANAAAAAAEH0gIAAAABAAAABAAAAAQdQXBsb3Jpcy5CYXNlLk9iamVjdHMuVmFyaWFibGUDAAAAAUADAADFAgAAAQAAAAAAAAABQQMAAMUCAAAAAAAAAAAAAAFCAwAAxQIAAAAAAAAAAAAAAUMDAADFAgAAAAAAAAAAAAAP0wIAAAEAAAAINAMAAAHYAgAAeAAAAAoKAAAAAAAAAAANAAAAAAAB2QIAAHgAAAAKCgAAAAAAAAAADQAAAAABB9oCAAAAAQAAAAQAAAAEHUFwbG9yaXMuQmFzZS5PYmplY3RzLlZhcmlhYmxlAwAAAAFEAwAAxQIAAAEAAAAAAAAAAUUDAADFAgAAAAAAAAAAAAABRgMAAMUCAAAAAAAAAAAAAAFHAwAAxQIAAAAAAAAAAAAAD9sCAAABAAAACDIDAAAB4AIAAHgAAAAKCgAAAAAAAAAADQAAAAAAAeECAAB4AAAACgoAAAAAAAAAAA0AAAAAAQfiAgAAAAEAAAAEAAAABB1BcGxvcmlzLkJhc2UuT2JqZWN0cy5WYXJpYWJsZQMAAAABSAMAAMUCAAABAAAAAAAAAAFJAwAAxQIAAAAAAAAAAAAAAUoDAADFAgAAAAAAAAAAAAABSwMAAMUCAAAAAAAAAAAAAA/jAgAAAQAAAAg1AwAAAegCAAB4AAAACgoAAAAAAAAAAA0AAAAAAAHpAgAAeAAAAAoKAQAAAAAAAAD/////AAEH6gIAAAABAAAABAAAAAQdQXBsb3Jpcy5CYXNlLk9iamVjdHMuVmFyaWFibGUDAAAAAUwDAADFAgAAAQAAAAAAAAABTQMAAMUCAAAAAAAAAAAAAAFOAwAAxQIAAAAAAAAAAAAAAU8DAADFAgAAAAAAAAAAAAAP6wIAAAEAAAAIOQMAAAHsAgAAeAAAAAoKAAAAAP///wAOAAAAAAAF7QIAABpBcGxvcmlzLkJhc2UuT2JqZWN0cy5Db2xvcgcAAAASRGF0YU9iamVjdCttUGFyZW50FURhdGFPYmplY3QrbUNvbnRhaW5lcgVtVHlwZQRtUkdCEG1UaGVtZUNvbG9ySW5kZXgMbUF1dG9VcGRhdGVkCW1Nb2RpZmllZAQCAAAAAAAfQXBsb3Jpcy5CYXNlLk9iamVjdHMuTGluZUZvcm1hdAMAAAAICAgBAQMAAAAJeAIAAAoBAAAAAAAAAP////8AAQHuAgAAeAAAAAoKAQAAAAUpbgD/////AAAB7wIAAHgAAAAKCgEAAAD///8A/////wAAD/ACAAABAAAACDsDAAAB8QIAAHgAAAAKCgAAAAAAAAAADQAAAAAAAfICAAB4AAAACgoBAAAAAAAAAP////8AAQfzAgAAAAEAAAAEAAAABB1BcGxvcmlzLkJhc2UuT2JqZWN0cy5WYXJpYWJsZQMAAAABUAMAAMUCAAABAAAAAAAAAAFRAwAAxQIAAAAAAAAAAAAAAVIDAADFAgAAAAAAAAAAAAABUwMAAMUCAAAAAAAAAAAAAA/0AgAAAQAAAAg4AwAAAfUCAAB4AAAACgoAAAAA////AA4AAAAAAAX2AgAAGkFwbG9yaXMuQmFzZS5PYmplY3RzLkNvbG9yBwAAABJEYXRhT2JqZWN0K21QYXJlbnQVRGF0YU9iamVjdCttQ29udGFpbmVyBW1UeXBlBG1SR0IQbVRoZW1lQ29sb3JJbmRleAxtQXV0b1VwZGF0ZWQJbU1vZGlmaWVkBAIAAAAAAB9BcGxvcmlzLkJhc2UuT2JqZWN0cy5MaW5lRm9ybWF0AwAAAAgICAEBAwAAAAmKAgAACgEAAAAAAAAA/////wABAfcCAAB4AAAACgoBAAAARXXUAP////8AAAH4AgAAeAAAAAoKAQAAAP///wD/////AAAP+QIAAAEAAAAIOgMAAAEWAwAAJQEAAApYAgAAAVQDAAB2AQAAAgAAAAFVAwAAdwEAAAEAAAABVgMAABUAAABy8mVCM1FcQ8xrQkK+7YFCAVcDAAB5AQAAAAAAAAAAoEAAAVgDAAAhAAAALJSjQqLMfEMBWQMAAKAAAAAAAAAAAAAAAAAAAAAACVoDAAAAAAAACVsDAAAAAAFcAwAAqQAAAAAAAAABXQMAAHIAAAAAALhBAABAQQFeAwAAFQAAAAAAjELRRXdDNBa/QaOLLkESg74/Bl8DAAADMTYlCglgAwAACYIBAAA0AwAA/////wEBCglhAwAAAQAKAAEXAwAAHAAAAAFiAwAAIQAAAHLyWUIJJJBDAWMDAAAhAAAAHy/aQjNRWUMJZAMAAAllAwAAAAAAAAoBZgMAAHIAAAAAAAAAAAAAAAFnAwAAcgAAAAAAAAAAAAAAAAAAAAFoAwAAFQAAAAAAAAAAAAAAAAAAAAAAAACkAQAA/////wEBCglpAwAAAQAKAAcYAwAAAAEAAAACAAAABBpBcGxvcmlzLkJhc2UuVUkuVmlzdWFsTGluZQMAAAAKCgcZAwAAAAEAAAADAAAABBVTeXN0ZW0uRHJhd2luZy5Qb2ludEYEAAAAAWoDAAAhAAAALJSjQqLMfEMBawMAACEAAABy8k1Cosx8QwFsAwAAIQAAAB8v4EKizHxDBxoDAAAAAQAAAAMAAAAEF0FwbG9yaXMuQmFzZS5BbmNob3JNb2RlAwAAAAFtAwAAoAAAAAAAAAABbgMAAKAAAAACAAAAAW8DAACgAAAABAAAAAEbAwAAJQAAAAlwAwAAAAAAAAAAAAABHAMAACYAAAAJcQMAAAIAAAAGAAAAAR0DAAAlAQAAClgCAAABcgMAAHYBAAACAAAAAXMDAAB3AQAAAQAAAAF0AwAAFQAAAO7aEEPB2EdDyGtCQqLeqkIBdQMAAHkBAAAAAAAAAACgQAABdgMAACEAAABnKClDapByQwF3AwAAoAAAAAAAAAAAAAAAAAAAAAAJeAMAAAAAAAAJeQMAAAAAAXoDAACpAAAAAAAAAAF7AwAAcgAAAAAAuEEAAEBBAXwDAAAVAAAA0UUdQ9FFbUM0Fr9Bo4suQRKDvj8GfQMAAAMyMCUKCX4DAAAJggEAADQDAAD/////AQEKCX8DAAABAAoAAR4DAAAcAAAAAYADAAAhAAAA7toNQwkkkEMBgQMAACEAAADgdURDwdhEQwmCAwAACYMDAAAAAAAACgGEAwAAcgAAAAAAAAAAAAAAAYUDAAByAAAAAAAAAAAAAAAAAAAAAYYDAAAVAAAAAAAAAAAAAAAAAAAAAAAAAKQBAAD/////AQEKCYcDAAABAAoABx8DAAAAAQAAAAIAAAAEGkFwbG9yaXMuQmFzZS5VSS5WaXN1YWxMaW5lAwAAAAoKByADAAAAAQAAAAMAAAAEFVN5c3RlbS5EcmF3aW5nLlBvaW50RgQAAAABiAMAACEAAABnKClDapByQwGJAwAAIQAAAO7aCkNqkHJDAYoDAAAhAAAA4HVHQ2qQckMHIQMAAAABAAAAAwAAAAQXQXBsb3Jpcy5CYXNlLkFuY2hvck1vZGUDAAAAAYsDAACgAAAAAAAAAAGMAwAAoAAAAAIAAAABjQMAAKAAAAAEAAAAASIDAAAlAAAACXADAAAAAAAAAAAAAAEjAwAAJgAAAAmOAwAAAgAAAAIAAAABJAMAACUBAAAKWAIAAAGPAwAAdgEAAAIAAAABkAMAAHcBAAABAAAAAZEDAAAVAAAAPjloQ42ycUPQa0JCFFYuQgGSAwAAeQEAAAAAAAAAAKBAAAGTAwAAIQAAAFxDgEOovoNDAZQDAACgAAAAAAAAAAAAAAAAAAAAAAmVAwAAAAAAAAmWAwAAAAABlwMAAKkAAAAAAAAAAZgDAAByAAAAAAC4QQAAQEEBmQMAABUAAACji3RDRheBQzQWv0Gjiy5BEoO+PwaaAwAAAzExJQoJmwMAAAmCAQAANAMAAP////8BAQoJnAMAAAEACgABJQMAABwAAAABnQMAACEAAAA+OWVDCSSQQwGeAwAAIQAAABnqjUONsm5DCZ8DAAAJoAMAAAAAAAAKAaEDAAByAAAAAAAAAAAAAAABogMAAHIAAAAAAAAAAAAAAAAAAAABowMAABUAAAAAAAAAAAAAAAAAAAAAAAAApAEAAP////8BAQoJpAMAAAEACgAHJgMAAAABAAAAAgAAAAQaQXBsb3Jpcy5CYXNlLlVJLlZpc3VhbExpbmUDAAAACgoHJwMAAAABAAAAAwAAAAQVU3lzdGVtLkRyYXdpbmcuUG9pbnRGBAAAAAGlAwAAIQAAAFxDgEOovoNDAaYDAAAhAAAAPjliQ6i+g0MBpwMAACEAAAAZao9DqL6DQwcoAwAAAAEAAAADAAAABBdBcGxvcmlzLkJhc2UuQW5jaG9yTW9kZQMAAAABqAMAAKAAAAAAAAAAAakDAACgAAAAAgAAAAGqAwAAoAAAAAQAAAABKQMAACUAAAAJwgEAAAAAAAAAAAAAASoDAAAmAAAACasDAAACAAAABgAAAAErAwAAJQEAAApYAgAAAawDAAB2AQAAAgAAAAGtAwAAdwEAAAEAAAABrgMAABUAAABy8mVChRlFQsxrQkLSCiVDAa8DAAB5AQAAAAAAAAAAoEAAAbADAAAhAAAALJSjQsrLA0MBsQMAAKAAAAAAAAAAAAAAAAAAAAAACbIDAAAAAAAACbMDAAAAAAG0AwAAqQAAAAAAAAABtQMAAHIAAAAAALhBAABAQQG2AwAAFQAAAAAAjEIuuvxCNBa/QaOLLkESg74/BrcDAAADMzglCgm4AwAACYIBAAA0AwAA/////wEBCgm5AwAAAQAKAAEsAwAAHAAAAAG6AwAAIQAAAHLyWUIzUVlDAbsDAAAhAAAAHy/aQoUZOUIJvAMAAAm9AwAAAAAAAAoBvgMAAHIAAAAAAAAAAAAAAAG/AwAAcgAAAAAAAAAAAAAAAAAAAAHAAwAAFQAAAAAAAAAAAAAAAAAAAAAAAACkAQAA/////wEBCgnBAwAAAQAKAActAwAAAAEAAAACAAAABBpBcGxvcmlzLkJhc2UuVUkuVmlzdWFsTGluZQMAAAAKCgcuAwAAAAEAAAADAAAABBVTeXN0ZW0uRHJhd2luZy5Qb2ludEYEAAAAAcIDAAAhAAAALJSjQsrLA0MBwwMAACEAAABy8k1CyssDQwHEAwAAIQAAAB8v4ELKywNDBy8DAAAAAQAAAAMAAAAEF0FwbG9yaXMuQmFzZS5BbmNob3JNb2RlAwAAAAHFAwAAoAAAAAAAAAABxgMAAKAAAAACAAAAAccDAACgAAAABAAAAAEwAwAAJQAAAAnIAwAAAAAAAAAAAAABMQMAACYAAAAJyQMAAAIAAAAGAAAAATIDAAAlAQAAClgCAAABygMAAHYBAAACAAAAAcsDAAB3AQAAAQAAAAHMAwAAFQAAAO7aEEMttSBCyGtCQnarGUMBzQMAAHkBAAAAAAAAAACgQAABzgMAACEAAABnKClDDAbqQgHPAwAAoAAAAAAAAAAAAAAAAAAAAAAJ0AMAAAAAAAAJ0QMAAAAAAdIDAACpAAAAAAAAAAHTAwAAcgAAAAAAuEEAAEBBAdQDAAAVAAAA0UUdQ+ii30I0Fr9Bo4suQRKDvj8G1QMAAAMzNSUKCdYDAAAJggEAADQDAAD/////AQEKCdcDAAABAAoAATMDAAAcAAAAAdgDAAAhAAAA7toNQ8HYREMB2QMAACEAAADgdURDLbUUQgnaAwAACdsDAAAAAAAACgHcAwAAcgAAAAAAAAAAAAAAAd0DAAByAAAAAAAAAAAAAAAAAAAAAd4DAAAVAAAAAAAAAAAAAAAAAAAAAAAAAKQBAAD/////AQEKCd8DAAABAAoABzQDAAAAAQAAAAIAAAAEGkFwbG9yaXMuQmFzZS5VSS5WaXN1YWxMaW5lAwAAAAoKBzUDAAAAAQAAAAMAAAAEFVN5c3RlbS5EcmF3aW5nLlBvaW50RgQAAAAB4AMAACEAAABnKClDDAbqQgHhAwAAIQAAAO7aCkMMBupCAeIDAAAhAAAA4HVHQwwG6kIHNgMAAAABAAAAAwAAAAQXQXBsb3Jpcy5CYXNlLkFuY2hvck1vZGUDAAAAAeMDAACgAAAAAAAAAAHkAwAAoAAAAAIAAAAB5QMAAKAAAAAEAAAAATcDAAAlAAAACcgDAAAAAAAAAAAAAAE4AwAAJgAAAAnmAwAAAgAAAAYAAAABOQMAACUBAAAKWAIAAAHnAwAAdgEAAAIAAAAB6AMAAHcBAAABAAAAAekDAAAVAAAAPjloQ+DU4kLQa0JCOpD0QgHqAwAAeQEAAAAAAAAAAKBAAAHrAwAAIQAAAFxDgEN+ji5DAewDAACgAAAAAAAAAAAAAAAAAAAAAAntAwAAAAAAAAnuAwAAAAAB7wMAAKkAAAAAAAAAAfADAAByAAAAAAC4QQAAQEEB8QMAABUAAACji3RDRhcpQzQWv0Gjiy5BEoO+PwbyAwAAAzI4JQoJ8wMAAAmCAQAANAMAAP////8BAQoJ9AMAAAEACgABOgMAABwAAAAB9QMAACEAAAA+OWVDjbJuQwH2AwAAIQAAABnqjUPg1NxCCfcDAAAJ+AMAAAAAAAAKAfkDAAByAAAAAAAAAAAAAAAB+gMAAHIAAAAAAAAAAAAAAAAAAAAB+wMAABUAAAAAAAAAAAAAAAAAAAAAAAAApAEAAP////8BAQoJ/AMAAAEACgAHOwMAAAABAAAAAgAAAAQaQXBsb3Jpcy5CYXNlLlVJLlZpc3VhbExpbmUDAAAACgoHPAMAAAABAAAAAwAAAAQVU3lzdGVtLkRyYXdpbmcuUG9pbnRGBAAAAAH9AwAAIQAAAFxDgEN+ji5DAf4DAAAhAAAAPjliQ36OLkMB/wMAACEAAAAZao9Dfo4uQwc9AwAAAAEAAAADAAAABBdBcGxvcmlzLkJhc2UuQW5jaG9yTW9kZQMAAAABAAQAAKAAAAAAAAAAAQEEAACgAAAAAgAAAAECBAAAoAAAAAQAAAABPgMAACUAAAAJwgEAAAAAAAAAAAAAAT8DAAAmAAAACQMEAAACAAAABgAAAAFaAwAAIwAAAAoKAAAAAAAoQQl2AAAACXcAAAAJBAQAAAAACQUEAAABWwMAAHgAAAAKCgEAAAAFKW4A/////wABAWADAACtAAAACQYEAAABAAAAAwAAAAFhAwAAdQAAAAkHBAAACgFkAwAAcAAAAAoKAAAAQD8JCAQAAAkJBAAAAQAAAP7///8AAAAAAQAAAAAAAAAAAAAAAQAAAAAAAAAAAAABZQMAAHEAAAAKCgkKBAAACQsEAAABAAAA/v///wAAAAD/////AAABaQMAAHUAAAAJDAQAAAoHcAMAAAABAAAAAAAAAAQfQXBsb3Jpcy5CYXNlLk9iamVjdHMuRGF0YU9iamVjdAMAAAAHcQMAAAABAAAABAAAAAQcQXBsb3Jpcy5CYXNlLlVJLlZpc3VhbE9iamVjdAMAAAAJFwMAAAkWAwAACgoBeAMAACMAAAAKCgAAAAAAKEEJdgAAAAl3AAAACQ0EAAAAAAkOBAAAAXkDAAB4AAAACgoBAAAABSluAP////8AAQF+AwAArQAAAAkPBAAAAQAAAAMAAAABfwMAAHUAAAAJEAQAAAoBggMAAHAAAAAKCgAAAEA/CREEAAAJEgQAAAEAAAD+////AAAAAAEAAAAAAAAAAAAAAAEAAAAAAAAAAAAAAYMDAABxAAAACgoJEwQAAAkUBAAAAQAAAP7///8AAAAA/////wAAAYcDAAB1AAAACRUEAAAKB44DAAAAAQAAAAQAAAAEHEFwbG9yaXMuQmFzZS5VSS5WaXN1YWxPYmplY3QDAAAACR4DAAAJHQMAAAoKAZUDAAAjAAAACgoAAAAAAChBCXYAAAAJdwAAAAkWBAAAAAAJFwQAAAGWAwAAeAAAAAoKAQAAAAUpbgD/////AAEBmwMAAK0AAAAJGAQAAAEAAAADAAAAAZwDAAB1AAAACRkEAAAKAZ8DAABwAAAACgoAAABAPwkaBAAACRsEAAABAAAA/v///wAAAAABAAAAAAAAAAAAAAABAAAAAAAAAAAAAAGgAwAAcQAAAAoKCRwEAAAJHQQAAAEAAAD+////AAAAAP////8AAAGkAwAAdQAAAAkeBAAACgerAwAAAAEAAAAEAAAABBxBcGxvcmlzLkJhc2UuVUkuVmlzdWFsT2JqZWN0AwAAAAklAwAACSQDAAAKCgGyAwAAIwAAAAoKAAAAAAAoQQl2AAAACXcAAAAJHwQAAAAACSAEAAABswMAAHgAAAAKCgEAAABFddQA/////wABAbgDAACtAAAACSEEAAABAAAAAwAAAAG5AwAAdQAAAAkiBAAACgG8AwAAcAAAAAoKAAAAQD8JIwQAAAkkBAAAAQAAAP7///8AAAAAAQAAAAAAAAAAAAAAAQAAAAAAAAAAAAABvQMAAHEAAAAKCgklBAAACSYEAAABAAAA/v///wAAAAD/////AQABwQMAAHUAAAAJJwQAAAoHyAMAAAABAAAAAAAAAAQfQXBsb3Jpcy5CYXNlLk9iamVjdHMuRGF0YU9iamVjdAMAAAAHyQMAAAABAAAABAAAAAQcQXBsb3Jpcy5CYXNlLlVJLlZpc3VhbE9iamVjdAMAAAAJLAMAAAkrAwAACgoB0AMAACMAAAAKCgAAAAAAKEEJdgAAAAl3AAAACSgEAAAAAAkpBAAAAdEDAAB4AAAACgoBAAAARXXUAP////8AAQHWAwAArQAAAAkqBAAAAQAAAAMAAAAB1wMAAHUAAAAJKwQAAAoB2gMAAHAAAAAKCgAAAEA/CSwEAAAJLQQAAAEAAAD+////AAAAAAEAAAAAAAAAAAAAAAEAAAAAAAAAAAAAAdsDAABxAAAACgoJLgQAAAkvBAAAAQAAAP7///8AAAAA/////wEAAd8DAAB1AAAACTAEAAAKB+YDAAAAAQAAAAQAAAAEHEFwbG9yaXMuQmFzZS5VSS5WaXN1YWxPYmplY3QDAAAACTMDAAAJMgMAAAoKAe0DAAAjAAAACgoAAAAAAChBCXYAAAAJdwAAAAkxBAAAAAAJMgQAAAHuAwAAeAAAAAoKAQAAAEV11AD/////AAEB8wMAAK0AAAAJMwQAAAEAAAADAAAAAfQDAAB1AAAACTQEAAAKAfcDAABwAAAACgoAAABAPwk1BAAACTYEAAABAAAA/v///wAAAAABAAAAAAAAAAAAAAABAAAAAAAAAAAAAAH4AwAAcQAAAAoKCTcEAAAJOAQAAAEAAAD+////AAAAAP////8BAAH8AwAAdQAAAAk5BAAACgcDBAAAAAEAAAAEAAAABBxBcGxvcmlzLkJhc2UuVUkuVmlzdWFsT2JqZWN0AwAAAAk6AwAACTkDAAAKCgEEBAAAeAAAAAoKAAAAAP///wAOAAAAAAABBQQAAHgAAAAKCgAAAAD///8ADgAAAAABBwYEAAAAAQAAAAQAAAAEHUFwbG9yaXMuQmFzZS5PYmplY3RzLlZhcmlhYmxlAwAAAAE6BAAAxQIAAAEAAAAAAAAAATsEAADFAgAAAAAAAAAAAAABPAQAAMUCAAAAAAAAAAAAAAE9BAAAxQIAAAAAAAAAAAAADwcEAAABAAAACGcDAAAFCAQAABpBcGxvcmlzLkJhc2UuT2JqZWN0cy5Db2xvcgcAAAASRGF0YU9iamVjdCttUGFyZW50FURhdGFPYmplY3QrbUNvbnRhaW5lcgVtVHlwZQRtUkdCEG1UaGVtZUNvbG9ySW5kZXgMbUF1dG9VcGRhdGVkCW1Nb2RpZmllZAQCAAAAAAAfQXBsb3Jpcy5CYXNlLk9iamVjdHMuTGluZUZvcm1hdAMAAAAICAgBAQMAAAAJZAMAAAoAAAAA////AA4AAAAAAAUJBAAAGkFwbG9yaXMuQmFzZS5PYmplY3RzLkNvbG9yBwAAABJEYXRhT2JqZWN0K21QYXJlbnQVRGF0YU9iamVjdCttQ29udGFpbmVyBW1UeXBlBG1SR0IQbVRoZW1lQ29sb3JJbmRleAxtQXV0b1VwZGF0ZWQJbU1vZGlmaWVkBAIAAAAAAB9BcGxvcmlzLkJhc2UuT2JqZWN0cy5MaW5lRm9ybWF0AwAAAAgICAEBAwAAAAlkAwAACgEAAAAAAAAA/////wABAQoEAAB4AAAACgoBAAAABSluAP////8AAAELBAAAeAAAAAoKAQAAAP///wD/////AAAPDAQAAAEAAAAIWgMAAAENBAAAeAAAAAoKAAAAAP///wAOAAAAAAABDgQAAHgAAAAKCgAAAAD///8ADgAAAAABBw8EAAAAAQAAAAQAAAAEHUFwbG9yaXMuQmFzZS5PYmplY3RzLlZhcmlhYmxlAwAAAAE+BAAAxQIAAAEAAAAAAAAAAT8EAADFAgAAAAAAAAAAAAABQAQAAMUCAAAAAAAAAAAAAAFBBAAAxQIAAAAAAAAAAAAADxAEAAABAAAACHACAAAFEQQAABpBcGxvcmlzLkJhc2UuT2JqZWN0cy5Db2xvcgcAAAASRGF0YU9iamVjdCttUGFyZW50FURhdGFPYmplY3QrbUNvbnRhaW5lcgVtVHlwZQRtUkdCEG1UaGVtZUNvbG9ySW5kZXgMbUF1dG9VcGRhdGVkCW1Nb2RpZmllZAQCAAAAAAAfQXBsb3Jpcy5CYXNlLk9iamVjdHMuTGluZUZvcm1hdAMAAAAICAgBAQMAAAAJggMAAAoAAAAA////AA4AAAAAAAUSBAAAGkFwbG9yaXMuQmFzZS5PYmplY3RzLkNvbG9yBwAAABJEYXRhT2JqZWN0K21QYXJlbnQVRGF0YU9iamVjdCttQ29udGFpbmVyBW1UeXBlBG1SR0IQbVRoZW1lQ29sb3JJbmRleAxtQXV0b1VwZGF0ZWQJbU1vZGlmaWVkBAIAAAAAAB9BcGxvcmlzLkJhc2UuT2JqZWN0cy5MaW5lRm9ybWF0AwAAAAgICAEBAwAAAAmCAwAACgEAAAAAAAAA/////wABARMEAAB4AAAACgoBAAAABSluAP////8AAAEUBAAAeAAAAAoKAQAAAP///wD/////AAAPFQQAAAEAAAAIWQIAAAEWBAAAeAAAAAoKAAAAAP///wAOAAAAAAABFwQAAHgAAAAKCgAAAAD///8ADgAAAAABBxgEAAAAAQAAAAQAAAAEHUFwbG9yaXMuQmFzZS5PYmplY3RzLlZhcmlhYmxlAwAAAAFCBAAAxQIAAAEAAAAAAAAAAUMEAADFAgAAAAAAAAAAAAABRAQAAMUCAAAAAAAAAAAAAAFFBAAAxQIAAAAAAAAAAAAADxkEAAABAAAACGoDAAAFGgQAABpBcGxvcmlzLkJhc2UuT2JqZWN0cy5Db2xvcgcAAAASRGF0YU9iamVjdCttUGFyZW50FURhdGFPYmplY3QrbUNvbnRhaW5lcgVtVHlwZQRtUkdCEG1UaGVtZUNvbG9ySW5kZXgMbUF1dG9VcGRhdGVkCW1Nb2RpZmllZAQCAAAAAAAfQXBsb3Jpcy5CYXNlLk9iamVjdHMuTGluZUZvcm1hdAMAAAAICAgBAQMAAAAJnwMAAAoAAAAA////AA4AAAAAAAUbBAAAGkFwbG9yaXMuQmFzZS5PYmplY3RzLkNvbG9yBwAAABJEYXRhT2JqZWN0K21QYXJlbnQVRGF0YU9iamVjdCttQ29udGFpbmVyBW1UeXBlBG1SR0IQbVRoZW1lQ29sb3JJbmRleAxtQXV0b1VwZGF0ZWQJbU1vZGlmaWVkBAIAAAAAAB9BcGxvcmlzLkJhc2UuT2JqZWN0cy5MaW5lRm9ybWF0AwAAAAgICAEBAwAAAAmfAwAACgEAAAAAAAAA/////wABARwEAAB4AAAACgoBAAAABSluAP////8AAAEdBAAAeAAAAAoKAQAAAP///wD/////AAAPHgQAAAEAAAAIWAMAAAEfBAAAeAAAAAoKAAAAAP///wAOAAAAAAABIAQAAHgAAAAKCgAAAAD///8ADgAAAAABByEEAAAAAQAAAAQAAAAEHUFwbG9yaXMuQmFzZS5PYmplY3RzLlZhcmlhYmxlAwAAAAFGBAAAxQIAAAEAAAAAAAAAAUcEAADFAgAAAAAAAAAAAAABSAQAAMUCAAAAAAAAAAAAAAFJBAAAxQIAAAAAAAAAAAAADyIEAAABAAAACGYDAAAFIwQAABpBcGxvcmlzLkJhc2UuT2JqZWN0cy5Db2xvcgcAAAASRGF0YU9iamVjdCttUGFyZW50FURhdGFPYmplY3QrbUNvbnRhaW5lcgVtVHlwZQRtUkdCEG1UaGVtZUNvbG9ySW5kZXgMbUF1dG9VcGRhdGVkCW1Nb2RpZmllZAQCAAAAAAAfQXBsb3Jpcy5CYXNlLk9iamVjdHMuTGluZUZvcm1hdAMAAAAICAgBAQMAAAAJvAMAAAoAAAAA////AA4AAAAAAAUkBAAAGkFwbG9yaXMuQmFzZS5PYmplY3RzLkNvbG9yBwAAABJEYXRhT2JqZWN0K21QYXJlbnQVRGF0YU9iamVjdCttQ29udGFpbmVyBW1UeXBlBG1SR0IQbVRoZW1lQ29sb3JJbmRleAxtQXV0b1VwZGF0ZWQJbU1vZGlmaWVkBAIAAAAAAB9BcGxvcmlzLkJhc2UuT2JqZWN0cy5MaW5lRm9ybWF0AwAAAAgICAEBAwAAAAm8AwAACgEAAAAAAAAA/////wABASUEAAB4AAAACgoBAAAARXXUAP////8AAAEmBAAAeAAAAAoKAQAAAP///wD/////AAAPJwQAAAEAAAAIWwMAAAEoBAAAeAAAAAoKAAAAAP///wAOAAAAAAABKQQAAHgAAAAKCgAAAAD///8ADgAAAAABByoEAAAAAQAAAAQAAAAEHUFwbG9yaXMuQmFzZS5PYmplY3RzLlZhcmlhYmxlAwAAAAFKBAAAxQIAAAEAAAAAAAAAAUsEAADFAgAAAAAAAAAAAAABTAQAAMUCAAAAAAAAAAAAAAFNBAAAxQIAAAAAAAAAAAAADysEAAABAAAACGgDAAAFLAQAABpBcGxvcmlzLkJhc2UuT2JqZWN0cy5Db2xvcgcAAAASRGF0YU9iamVjdCttUGFyZW50FURhdGFPYmplY3QrbUNvbnRhaW5lcgVtVHlwZQRtUkdCEG1UaGVtZUNvbG9ySW5kZXgMbUF1dG9VcGRhdGVkCW1Nb2RpZmllZAQCAAAAAAAfQXBsb3Jpcy5CYXNlLk9iamVjdHMuTGluZUZvcm1hdAMAAAAICAgBAQMAAAAJ2gMAAAoAAAAA////AA4AAAAAAAUtBAAAGkFwbG9yaXMuQmFzZS5PYmplY3RzLkNvbG9yBwAAABJEYXRhT2JqZWN0K21QYXJlbnQVRGF0YU9iamVjdCttQ29udGFpbmVyBW1UeXBlBG1SR0IQbVRoZW1lQ29sb3JJbmRleAxtQXV0b1VwZGF0ZWQJbU1vZGlmaWVkBAIAAAAAAB9BcGxvcmlzLkJhc2UuT2JqZWN0cy5MaW5lRm9ybWF0AwAAAAgICAEBAwAAAAnaAwAACgEAAAAAAAAA/////wABAS4EAAB4AAAACgoBAAAARXXUAP////8AAAEvBAAAeAAAAAoKAQAAAP///wD/////AAAPMAQAAAEAAAAIXAMAAAExBAAAeAAAAAoKAAAAAP///wAOAAAAAAABMgQAAHgAAAAKCgAAAAD///8ADgAAAAABBzMEAAAAAQAAAAQAAAAEHUFwbG9yaXMuQmFzZS5PYmplY3RzLlZhcmlhYmxlAwAAAAFOBAAAxQIAAAEAAAAAAAAAAU8EAADFAgAAAAAAAAAAAAABUAQAAMUCAAAAAAAAAAAAAAFRBAAAxQIAAAAAAAAAAAAADzQEAAABAAAACGkDAAAFNQQAABpBcGxvcmlzLkJhc2UuT2JqZWN0cy5Db2xvcgcAAAASRGF0YU9iamVjdCttUGFyZW50FURhdGFPYmplY3QrbUNvbnRhaW5lcgVtVHlwZQRtUkdCEG1UaGVtZUNvbG9ySW5kZXgMbUF1dG9VcGRhdGVkCW1Nb2RpZmllZAQCAAAAAAAfQXBsb3Jpcy5CYXNlLk9iamVjdHMuTGluZUZvcm1hdAMAAAAICAgBAQMAAAAJ9wMAAAoAAAAA////AA4AAAAAAAU2BAAAGkFwbG9yaXMuQmFzZS5PYmplY3RzLkNvbG9yBwAAABJEYXRhT2JqZWN0K21QYXJlbnQVRGF0YU9iamVjdCttQ29udGFpbmVyBW1UeXBlBG1SR0IQbVRoZW1lQ29sb3JJbmRleAxtQXV0b1VwZGF0ZWQJbU1vZGlmaWVkBAIAAAAAAB9BcGxvcmlzLkJhc2UuT2JqZWN0cy5MaW5lRm9ybWF0AwAAAAgICAEBAwAAAAn3AwAACgEAAAAAAAAA/////wABATcEAAB4AAAACgoBAAAARXXUAP////8AAAE4BAAAeAAAAAoKAQAAAP///wD/////AAAPOQQAAAEAAAAIWQMAAAs="/>
  <p:tag name="APLORISTAG" val="MYRJM1C857JMjEwmB.856"/>
</p:tagLst>
</file>

<file path=ppt/tags/tag898.xml><?xml version="1.0" encoding="utf-8"?>
<p:tagLst xmlns:a="http://schemas.openxmlformats.org/drawingml/2006/main" xmlns:r="http://schemas.openxmlformats.org/officeDocument/2006/relationships" xmlns:p="http://schemas.openxmlformats.org/presentationml/2006/main">
  <p:tag name="APLORISTAG" val="MYRJM1C857JMjEwmB.857"/>
</p:tagLst>
</file>

<file path=ppt/tags/tag899.xml><?xml version="1.0" encoding="utf-8"?>
<p:tagLst xmlns:a="http://schemas.openxmlformats.org/drawingml/2006/main" xmlns:r="http://schemas.openxmlformats.org/officeDocument/2006/relationships" xmlns:p="http://schemas.openxmlformats.org/presentationml/2006/main">
  <p:tag name="APLORISTAG" val="MYRJM1C857JMjEwmB.860"/>
</p:tagLst>
</file>

<file path=ppt/tags/tag9.xml><?xml version="1.0" encoding="utf-8"?>
<p:tagLst xmlns:a="http://schemas.openxmlformats.org/drawingml/2006/main" xmlns:r="http://schemas.openxmlformats.org/officeDocument/2006/relationships" xmlns:p="http://schemas.openxmlformats.org/presentationml/2006/main">
  <p:tag name="APLORISTAG" val="MX/IjfW661gLV+xOY.170"/>
</p:tagLst>
</file>

<file path=ppt/tags/tag90.xml><?xml version="1.0" encoding="utf-8"?>
<p:tagLst xmlns:a="http://schemas.openxmlformats.org/drawingml/2006/main" xmlns:r="http://schemas.openxmlformats.org/officeDocument/2006/relationships" xmlns:p="http://schemas.openxmlformats.org/presentationml/2006/main">
  <p:tag name="APLORISTAG" val="MMq8K+TY0y1GzdU7X.41"/>
</p:tagLst>
</file>

<file path=ppt/tags/tag900.xml><?xml version="1.0" encoding="utf-8"?>
<p:tagLst xmlns:a="http://schemas.openxmlformats.org/drawingml/2006/main" xmlns:r="http://schemas.openxmlformats.org/officeDocument/2006/relationships" xmlns:p="http://schemas.openxmlformats.org/presentationml/2006/main">
  <p:tag name="APLORISTAG" val="MYRJM1C857JMjEwmB.859"/>
</p:tagLst>
</file>

<file path=ppt/tags/tag901.xml><?xml version="1.0" encoding="utf-8"?>
<p:tagLst xmlns:a="http://schemas.openxmlformats.org/drawingml/2006/main" xmlns:r="http://schemas.openxmlformats.org/officeDocument/2006/relationships" xmlns:p="http://schemas.openxmlformats.org/presentationml/2006/main">
  <p:tag name="APLORISTAG" val="MYRJM1C857JMjEwmB.903"/>
</p:tagLst>
</file>

<file path=ppt/tags/tag902.xml><?xml version="1.0" encoding="utf-8"?>
<p:tagLst xmlns:a="http://schemas.openxmlformats.org/drawingml/2006/main" xmlns:r="http://schemas.openxmlformats.org/officeDocument/2006/relationships" xmlns:p="http://schemas.openxmlformats.org/presentationml/2006/main">
  <p:tag name="APLORISTAG" val="MYRJM1C857JMjEwmB.904"/>
</p:tagLst>
</file>

<file path=ppt/tags/tag903.xml><?xml version="1.0" encoding="utf-8"?>
<p:tagLst xmlns:a="http://schemas.openxmlformats.org/drawingml/2006/main" xmlns:r="http://schemas.openxmlformats.org/officeDocument/2006/relationships" xmlns:p="http://schemas.openxmlformats.org/presentationml/2006/main">
  <p:tag name="APLORISTAG" val="MYRJM1C857JMjEwmB.905"/>
</p:tagLst>
</file>

<file path=ppt/tags/tag904.xml><?xml version="1.0" encoding="utf-8"?>
<p:tagLst xmlns:a="http://schemas.openxmlformats.org/drawingml/2006/main" xmlns:r="http://schemas.openxmlformats.org/officeDocument/2006/relationships" xmlns:p="http://schemas.openxmlformats.org/presentationml/2006/main">
  <p:tag name="APLORISTAG" val="MYRJM1C857JMjEwmB.906"/>
</p:tagLst>
</file>

<file path=ppt/tags/tag905.xml><?xml version="1.0" encoding="utf-8"?>
<p:tagLst xmlns:a="http://schemas.openxmlformats.org/drawingml/2006/main" xmlns:r="http://schemas.openxmlformats.org/officeDocument/2006/relationships" xmlns:p="http://schemas.openxmlformats.org/presentationml/2006/main">
  <p:tag name="APLORISTAG" val="MYRJM1C857JMjEwmB.907"/>
</p:tagLst>
</file>

<file path=ppt/tags/tag906.xml><?xml version="1.0" encoding="utf-8"?>
<p:tagLst xmlns:a="http://schemas.openxmlformats.org/drawingml/2006/main" xmlns:r="http://schemas.openxmlformats.org/officeDocument/2006/relationships" xmlns:p="http://schemas.openxmlformats.org/presentationml/2006/main">
  <p:tag name="APLORISTAG" val="MYRJM1C857JMjEwmB.908"/>
</p:tagLst>
</file>

<file path=ppt/tags/tag907.xml><?xml version="1.0" encoding="utf-8"?>
<p:tagLst xmlns:a="http://schemas.openxmlformats.org/drawingml/2006/main" xmlns:r="http://schemas.openxmlformats.org/officeDocument/2006/relationships" xmlns:p="http://schemas.openxmlformats.org/presentationml/2006/main">
  <p:tag name="APLORISTAG" val="MYRJM1C857JMjEwmB.909"/>
</p:tagLst>
</file>

<file path=ppt/tags/tag908.xml><?xml version="1.0" encoding="utf-8"?>
<p:tagLst xmlns:a="http://schemas.openxmlformats.org/drawingml/2006/main" xmlns:r="http://schemas.openxmlformats.org/officeDocument/2006/relationships" xmlns:p="http://schemas.openxmlformats.org/presentationml/2006/main">
  <p:tag name="APLORISTAG" val="MYRJM1C857JMjEwmB.910"/>
</p:tagLst>
</file>

<file path=ppt/tags/tag909.xml><?xml version="1.0" encoding="utf-8"?>
<p:tagLst xmlns:a="http://schemas.openxmlformats.org/drawingml/2006/main" xmlns:r="http://schemas.openxmlformats.org/officeDocument/2006/relationships" xmlns:p="http://schemas.openxmlformats.org/presentationml/2006/main">
  <p:tag name="APLORISTAG" val="MYRJM1C857JMjEwmB.911"/>
</p:tagLst>
</file>

<file path=ppt/tags/tag91.xml><?xml version="1.0" encoding="utf-8"?>
<p:tagLst xmlns:a="http://schemas.openxmlformats.org/drawingml/2006/main" xmlns:r="http://schemas.openxmlformats.org/officeDocument/2006/relationships" xmlns:p="http://schemas.openxmlformats.org/presentationml/2006/main">
  <p:tag name="APLORISTAG" val="MMq8K+TY0y1GzdU7X.43"/>
</p:tagLst>
</file>

<file path=ppt/tags/tag910.xml><?xml version="1.0" encoding="utf-8"?>
<p:tagLst xmlns:a="http://schemas.openxmlformats.org/drawingml/2006/main" xmlns:r="http://schemas.openxmlformats.org/officeDocument/2006/relationships" xmlns:p="http://schemas.openxmlformats.org/presentationml/2006/main">
  <p:tag name="APLORISTAG" val="MYRJM1C857JMjEwmB.38"/>
</p:tagLst>
</file>

<file path=ppt/tags/tag911.xml><?xml version="1.0" encoding="utf-8"?>
<p:tagLst xmlns:a="http://schemas.openxmlformats.org/drawingml/2006/main" xmlns:r="http://schemas.openxmlformats.org/officeDocument/2006/relationships" xmlns:p="http://schemas.openxmlformats.org/presentationml/2006/main">
  <p:tag name="APLORISTAG" val="MYRJM1C857JMjEwmB.40"/>
</p:tagLst>
</file>

<file path=ppt/tags/tag912.xml><?xml version="1.0" encoding="utf-8"?>
<p:tagLst xmlns:a="http://schemas.openxmlformats.org/drawingml/2006/main" xmlns:r="http://schemas.openxmlformats.org/officeDocument/2006/relationships" xmlns:p="http://schemas.openxmlformats.org/presentationml/2006/main">
  <p:tag name="APLORISTAG" val="MYRJM1C857JMjEwmB.43"/>
</p:tagLst>
</file>

<file path=ppt/tags/tag913.xml><?xml version="1.0" encoding="utf-8"?>
<p:tagLst xmlns:a="http://schemas.openxmlformats.org/drawingml/2006/main" xmlns:r="http://schemas.openxmlformats.org/officeDocument/2006/relationships" xmlns:p="http://schemas.openxmlformats.org/presentationml/2006/main">
  <p:tag name="APLORISTAG" val="MYRJM1C857JMjEwmB.42"/>
</p:tagLst>
</file>

<file path=ppt/tags/tag914.xml><?xml version="1.0" encoding="utf-8"?>
<p:tagLst xmlns:a="http://schemas.openxmlformats.org/drawingml/2006/main" xmlns:r="http://schemas.openxmlformats.org/officeDocument/2006/relationships" xmlns:p="http://schemas.openxmlformats.org/presentationml/2006/main">
  <p:tag name="APLORISTAG" val="MYRJM1C857JMjEwmB.41"/>
</p:tagLst>
</file>

<file path=ppt/tags/tag915.xml><?xml version="1.0" encoding="utf-8"?>
<p:tagLst xmlns:a="http://schemas.openxmlformats.org/drawingml/2006/main" xmlns:r="http://schemas.openxmlformats.org/officeDocument/2006/relationships" xmlns:p="http://schemas.openxmlformats.org/presentationml/2006/main">
  <p:tag name="APLORISTAG" val="MYRJM1C857JMjEwmB.39"/>
</p:tagLst>
</file>

<file path=ppt/tags/tag916.xml><?xml version="1.0" encoding="utf-8"?>
<p:tagLst xmlns:a="http://schemas.openxmlformats.org/drawingml/2006/main" xmlns:r="http://schemas.openxmlformats.org/officeDocument/2006/relationships" xmlns:p="http://schemas.openxmlformats.org/presentationml/2006/main">
  <p:tag name="APLORISTAG" val="MYRJM1C857JMjEwmB.35"/>
</p:tagLst>
</file>

<file path=ppt/tags/tag917.xml><?xml version="1.0" encoding="utf-8"?>
<p:tagLst xmlns:a="http://schemas.openxmlformats.org/drawingml/2006/main" xmlns:r="http://schemas.openxmlformats.org/officeDocument/2006/relationships" xmlns:p="http://schemas.openxmlformats.org/presentationml/2006/main">
  <p:tag name="APLORISTAG" val="MYRJM1C857JMjEwmB.333"/>
</p:tagLst>
</file>

<file path=ppt/tags/tag918.xml><?xml version="1.0" encoding="utf-8"?>
<p:tagLst xmlns:a="http://schemas.openxmlformats.org/drawingml/2006/main" xmlns:r="http://schemas.openxmlformats.org/officeDocument/2006/relationships" xmlns:p="http://schemas.openxmlformats.org/presentationml/2006/main">
  <p:tag name="APLORISTAG" val="MYRJM1C857JMjEwmB.197"/>
</p:tagLst>
</file>

<file path=ppt/tags/tag919.xml><?xml version="1.0" encoding="utf-8"?>
<p:tagLst xmlns:a="http://schemas.openxmlformats.org/drawingml/2006/main" xmlns:r="http://schemas.openxmlformats.org/officeDocument/2006/relationships" xmlns:p="http://schemas.openxmlformats.org/presentationml/2006/main">
  <p:tag name="APLORISTAG" val="MYRJM1C857JMjEwmB.815"/>
</p:tagLst>
</file>

<file path=ppt/tags/tag92.xml><?xml version="1.0" encoding="utf-8"?>
<p:tagLst xmlns:a="http://schemas.openxmlformats.org/drawingml/2006/main" xmlns:r="http://schemas.openxmlformats.org/officeDocument/2006/relationships" xmlns:p="http://schemas.openxmlformats.org/presentationml/2006/main">
  <p:tag name="APLORISTAG" val="MMq8K+TY0y1GzdU7X.37"/>
</p:tagLst>
</file>

<file path=ppt/tags/tag920.xml><?xml version="1.0" encoding="utf-8"?>
<p:tagLst xmlns:a="http://schemas.openxmlformats.org/drawingml/2006/main" xmlns:r="http://schemas.openxmlformats.org/officeDocument/2006/relationships" xmlns:p="http://schemas.openxmlformats.org/presentationml/2006/main">
  <p:tag name="APLORISTAG" val="MYRJM1C857JMjEwmB.912"/>
</p:tagLst>
</file>

<file path=ppt/tags/tag921.xml><?xml version="1.0" encoding="utf-8"?>
<p:tagLst xmlns:a="http://schemas.openxmlformats.org/drawingml/2006/main" xmlns:r="http://schemas.openxmlformats.org/officeDocument/2006/relationships" xmlns:p="http://schemas.openxmlformats.org/presentationml/2006/main">
  <p:tag name="APLORISTAG" val="MYRJM1C857JMjEwmB.913"/>
</p:tagLst>
</file>

<file path=ppt/tags/tag922.xml><?xml version="1.0" encoding="utf-8"?>
<p:tagLst xmlns:a="http://schemas.openxmlformats.org/drawingml/2006/main" xmlns:r="http://schemas.openxmlformats.org/officeDocument/2006/relationships" xmlns:p="http://schemas.openxmlformats.org/presentationml/2006/main">
  <p:tag name="APLORISTAG" val="MYRJM1C857JMjEwmB.871"/>
</p:tagLst>
</file>

<file path=ppt/tags/tag923.xml><?xml version="1.0" encoding="utf-8"?>
<p:tagLst xmlns:a="http://schemas.openxmlformats.org/drawingml/2006/main" xmlns:r="http://schemas.openxmlformats.org/officeDocument/2006/relationships" xmlns:p="http://schemas.openxmlformats.org/presentationml/2006/main">
  <p:tag name="APLORISTAG" val="MYRJM1C857JMjEwmB.624"/>
</p:tagLst>
</file>

<file path=ppt/tags/tag924.xml><?xml version="1.0" encoding="utf-8"?>
<p:tagLst xmlns:a="http://schemas.openxmlformats.org/drawingml/2006/main" xmlns:r="http://schemas.openxmlformats.org/officeDocument/2006/relationships" xmlns:p="http://schemas.openxmlformats.org/presentationml/2006/main">
  <p:tag name="APLORISTAG" val="MYRJM1C857JMjEwmB.870"/>
</p:tagLst>
</file>

<file path=ppt/tags/tag925.xml><?xml version="1.0" encoding="utf-8"?>
<p:tagLst xmlns:a="http://schemas.openxmlformats.org/drawingml/2006/main" xmlns:r="http://schemas.openxmlformats.org/officeDocument/2006/relationships" xmlns:p="http://schemas.openxmlformats.org/presentationml/2006/main">
  <p:tag name="APLORISTAG" val="MYRJM1C857JMjEwmB.872"/>
</p:tagLst>
</file>

<file path=ppt/tags/tag926.xml><?xml version="1.0" encoding="utf-8"?>
<p:tagLst xmlns:a="http://schemas.openxmlformats.org/drawingml/2006/main" xmlns:r="http://schemas.openxmlformats.org/officeDocument/2006/relationships" xmlns:p="http://schemas.openxmlformats.org/presentationml/2006/main">
  <p:tag name="APLORISTAG" val="MYRJM1C857JMjEwmB.873"/>
</p:tagLst>
</file>

<file path=ppt/tags/tag927.xml><?xml version="1.0" encoding="utf-8"?>
<p:tagLst xmlns:a="http://schemas.openxmlformats.org/drawingml/2006/main" xmlns:r="http://schemas.openxmlformats.org/officeDocument/2006/relationships" xmlns:p="http://schemas.openxmlformats.org/presentationml/2006/main">
  <p:tag name="APLORISTAG" val="MYRJM1C857JMjEwmB.820"/>
</p:tagLst>
</file>

<file path=ppt/tags/tag928.xml><?xml version="1.0" encoding="utf-8"?>
<p:tagLst xmlns:a="http://schemas.openxmlformats.org/drawingml/2006/main" xmlns:r="http://schemas.openxmlformats.org/officeDocument/2006/relationships" xmlns:p="http://schemas.openxmlformats.org/presentationml/2006/main">
  <p:tag name="APLORISTAG" val="MYRJM1C857JMjEwmB.821"/>
</p:tagLst>
</file>

<file path=ppt/tags/tag929.xml><?xml version="1.0" encoding="utf-8"?>
<p:tagLst xmlns:a="http://schemas.openxmlformats.org/drawingml/2006/main" xmlns:r="http://schemas.openxmlformats.org/officeDocument/2006/relationships" xmlns:p="http://schemas.openxmlformats.org/presentationml/2006/main">
  <p:tag name="APLORISTAG" val="MYRJM1C857JMjEwmB.914"/>
</p:tagLst>
</file>

<file path=ppt/tags/tag93.xml><?xml version="1.0" encoding="utf-8"?>
<p:tagLst xmlns:a="http://schemas.openxmlformats.org/drawingml/2006/main" xmlns:r="http://schemas.openxmlformats.org/officeDocument/2006/relationships" xmlns:p="http://schemas.openxmlformats.org/presentationml/2006/main">
  <p:tag name="APLORISTAG" val="MMq8K+TY0y1GzdU7X.38"/>
</p:tagLst>
</file>

<file path=ppt/tags/tag930.xml><?xml version="1.0" encoding="utf-8"?>
<p:tagLst xmlns:a="http://schemas.openxmlformats.org/drawingml/2006/main" xmlns:r="http://schemas.openxmlformats.org/officeDocument/2006/relationships" xmlns:p="http://schemas.openxmlformats.org/presentationml/2006/main">
  <p:tag name="APLORISTAG" val="MYRJM1C857JMjEwmB.874"/>
</p:tagLst>
</file>

<file path=ppt/tags/tag931.xml><?xml version="1.0" encoding="utf-8"?>
<p:tagLst xmlns:a="http://schemas.openxmlformats.org/drawingml/2006/main" xmlns:r="http://schemas.openxmlformats.org/officeDocument/2006/relationships" xmlns:p="http://schemas.openxmlformats.org/presentationml/2006/main">
  <p:tag name="APLORISTAG" val="MYRJM1C857JMjEwmB.915"/>
</p:tagLst>
</file>

<file path=ppt/tags/tag932.xml><?xml version="1.0" encoding="utf-8"?>
<p:tagLst xmlns:a="http://schemas.openxmlformats.org/drawingml/2006/main" xmlns:r="http://schemas.openxmlformats.org/officeDocument/2006/relationships" xmlns:p="http://schemas.openxmlformats.org/presentationml/2006/main">
  <p:tag name="APLORISTAG" val="MYRJM1C857JMjEwmB.818"/>
</p:tagLst>
</file>

<file path=ppt/tags/tag933.xml><?xml version="1.0" encoding="utf-8"?>
<p:tagLst xmlns:a="http://schemas.openxmlformats.org/drawingml/2006/main" xmlns:r="http://schemas.openxmlformats.org/officeDocument/2006/relationships" xmlns:p="http://schemas.openxmlformats.org/presentationml/2006/main">
  <p:tag name="APLORISTAG" val="MYRJM1C857JMjEwmB.824"/>
</p:tagLst>
</file>

<file path=ppt/tags/tag934.xml><?xml version="1.0" encoding="utf-8"?>
<p:tagLst xmlns:a="http://schemas.openxmlformats.org/drawingml/2006/main" xmlns:r="http://schemas.openxmlformats.org/officeDocument/2006/relationships" xmlns:p="http://schemas.openxmlformats.org/presentationml/2006/main">
  <p:tag name="APLORISTAG" val="MYRJM1C857JMjEwmB.825"/>
</p:tagLst>
</file>

<file path=ppt/tags/tag935.xml><?xml version="1.0" encoding="utf-8"?>
<p:tagLst xmlns:a="http://schemas.openxmlformats.org/drawingml/2006/main" xmlns:r="http://schemas.openxmlformats.org/officeDocument/2006/relationships" xmlns:p="http://schemas.openxmlformats.org/presentationml/2006/main">
  <p:tag name="APLORISTAG" val="MYRJM1C857JMjEwmB.826"/>
</p:tagLst>
</file>

<file path=ppt/tags/tag936.xml><?xml version="1.0" encoding="utf-8"?>
<p:tagLst xmlns:a="http://schemas.openxmlformats.org/drawingml/2006/main" xmlns:r="http://schemas.openxmlformats.org/officeDocument/2006/relationships" xmlns:p="http://schemas.openxmlformats.org/presentationml/2006/main">
  <p:tag name="APLORISTAG" val="MYRJM1C857JMjEwmB.827"/>
</p:tagLst>
</file>

<file path=ppt/tags/tag937.xml><?xml version="1.0" encoding="utf-8"?>
<p:tagLst xmlns:a="http://schemas.openxmlformats.org/drawingml/2006/main" xmlns:r="http://schemas.openxmlformats.org/officeDocument/2006/relationships" xmlns:p="http://schemas.openxmlformats.org/presentationml/2006/main">
  <p:tag name="APLORISTAG" val="M4RvBrLxyRrRJbWwc.858"/>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AFFQAAABlTeXN0ZW0uRHJhd2luZy5SZWN0YW5nbGVGBAAAAAF4AXkFd2lkdGgGaGVpZ2h0AAAAAAsLCwsEAAAA//9/////f////3////9//wEWAAAAFQAAAP//f////3////9/////f/8AAAAAAAUXAAAALEFwbG9yaXMuQ2hhcnQuQXhpc0JyZWFrK0F4aXNCcmVha0Rpc3BsYXlNb2RlAQAAAAd2YWx1ZV9fAAgCAAAAAQAAAAEBAQoKCRgAAAAKCgAAAAAACRkAAAAKCRoAAAAAAAAACgUbAAAAGUFwbG9yaXMuQ2hhcnQuT3JpZW50YXRpb24BAAAAB3ZhbHVlX18ACAIAAAABAAAACRwAAAABHQAAABUAAADQyBhCvDl9QXoNg0ORj4JDAAQeAAAAC1N5c3RlbS5HdWlkCwAAAAJfYQJfYgJfYwJfZAJfZQJfZgJfZwJfaAJfaQJfagJfawAAAAAAAAAAAAAACAcHAgICAgICAgIAAAAAAAAAAAAAAAAAAAAAAAoKCR8AAAAACgoKAQAAAAAAAAD/////AAEBIAAAABUAAAAAACBBAAAgQVuSj0OqaqVDfj9SQi56JEOUlptDNVyyQwUhAAAAFVN5c3RlbS5EcmF3aW5nLlBvaW50RgIAAAABeAF5AAALCwQAAACuFs5CKKO7QwYiAAAAEDRSdkJyTHh5UnJSSmJXd2M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0MgYQl95ikMBLwAAACEAAACUJpZDX3mKQwkwAAAACTEAAAAJMgAAAAkzAAAAAAAAAAAAAAAAAAAACTQAAAAAAAAAAAAJNQAAAAkBAAAACQEAAAAJNgAAAAEHAAAABgAAAAkBAAAAATcAAAAnAAAAAAAAAM3MTD8AAAAIAQAJAQAAAAk4AAAACTkAAAABAAAAAAAAAAAAMzMzMzMz4z8AmpmZmZmZuT8AAAAgQQABCToAAAAKCTsAAAAJPAAAAAk9AAAAAT4AAAAhAAAA0MgYQl95ikMBPwAAACEAAADQyBhCvDl9QQ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ALXI5BvvuaQy26VEOwAxFCCWUAAAAB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BQAAAAgBAAAAAgAAAAMAAAAEAAAABQAAAAUc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bgAAACEAAADQyBhCvDl9QQFvAAAAIQAAAJQmlkNfeYpDCXAAAAAJcQAAAAAAAAAKBXIAAAAUU3lzdGVtLkRyYXdpbmcuU2l6ZUYCAAAABXdpZHRoBmhlaWdodAAACwsEAAAAAAAAAAAAAAABcwAAAHIAAAAAAAAAAAAAAAAAAAABdAAAABUAAAAAAAAAAAAAAAAAAAAAAAAAFAAAAP////8BAQoJdQAAAAEACgAPHwAAAJcsAAACUEsDBBQABgAIAAAAIQCSV401eQEAAHA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VEtOwzAQ3SNxh8hblLhlgRBq2gWFJVSiHMDYkyaqY1se93d7Jm5BUIWEqt3ESuz3m3hmNNnWOlmDx8qanA2zAUvASKsqs8jZ+/w5vWcJBmGU0NZAznaAbDK+vhrNdw4wIbTBnJUhuAfOUZZQC8ysA0M7hfW1CPTqF9wJuRQL4LeDwR2X1gQwIQ0NBxuPplCIlQ7J05Y+750QnCWP+3ONVM6Ec7qSIpBR3uzyVty6E7c26shcaouikqCsXNVkKSP81IsNxf9DwIPGDmctCofoGSGjeywrhzeHCK9Ue18pSGbChxdRU1C+1Xxj/fLD2mXWXYcWtaM86DwIhSVAqHUW16wWlfmHfjyMPC7DCxtp8kXiHh+BLhTw+DzfQqTpEcSw04AXTrsn7VMuhQf1FjzdvYsb+Mnd40PauukEPL/ev+/eF2+XPLXhzFuHNCE8nP4TvjqtQaeOiMCHCjp77VuRxsvpgkfNBs38UqBatHmcl+NPAAAA//8DAFBLAwQUAAYACAAAACEAUHxOwfY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ySz0oDMRCH74LvEObezbaCiDTbiwi9idQHGJPZP+xuJiTTun17g6C4sNYek8x8882PbHfTOKgTxdSxN7AuSlDkLbvONwbeDs+rB1BJ0Dsc2JOBMyXYVbc321caUHJTaruQVKb4ZKAVCY9aJ9vSiKngQD6/1BxHlHyMjQ5oe2xIb8ryXsffDKhmTLV3BuLerUEdziFP/p/Ndd1ZemJ7HMnLwgg9r8hkjA2JgWnQHxz7d+a+yMKgl10217v8vaceSdChoLYcaRViTilKl3P90XFsX/J1+qq4JHR3vdB89aVwaBLyjtxlJQzh20jP/kD1CQAA//8DAFBLAwQUAAYACAAAACEAjJbFbvMAAAC6Ag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asMwDMbvg72D0X1x0o0xRp1exqDXLXsAYytxaGIbS/uTt5/JoE2hdJdcDJ+Ev+8noe3uZxzEFybqg1dQFSUI9CbY3ncKPprXuycQxNpbPQSPCiYk2NW3N9s3HDTnT+T6SCK7eFLgmOOzlGQcjpqKENHnThvSqDnL1MmozUF3KDdl+SjT0gPqM0+xtwrS3t6DaKaYk//3Dm3bG3wJ5nNEzxciJPE05AFEo1OHrOBPF5kR5OX4h1XjnU5o3znl7S4pluVrMNWaMN8hHcgh8mkdxxLJuVNdg9msCcP5YPAEMks5v0cGeXZx9S8AAAD//wMAUEsDBBQABgAIAAAAIQAypEXrwAEAAM8CAAAPAAAAeGwvd29ya2Jvb2sueG1sjFJLj5wwDL5X6n+Icp9JCDC7GgGr6TzUkapqD+3uOQ1hiDYPlITCqup/r4HSh3rpyflsx/b32cXDaDT6Kn1QzpY42VKMpBWuVvZW4s+fLpt7jELktubaWVniVxnwQ/X2TTE4//LFuRcEBWwocRtjtyckiFYaHraukxYijfOGR4D+RkLnJa9DK2U0mjBKd8RwZfFSYe//p4ZrGiXkyYneSBuXIl5qHmH80Kou4KpolJZPCyPEu+4jNzD3qDHSPMRzraKsS5wDdIP8y+H77l2vNETZjtIMk+oXy0ePeB/d0RkgEcKjErGHR4nplDXp8KTkEH5/mCAan5Wt3VDi9I6CsK8rZJQBHObgs6pjCx2TZEpZfO+lurUR1sHSbG5A/ugwCwidZovszO7QaedVOPHIYV2TwldgkWDk9woe/lon05xk/Su4FkBpMnNiRimFbOGs6L0HZY8Q+UlOjvFDiFUBFvVelfjbXc7Sc35KNyy/pJtDfqabZJeyzS67sDw7Mpbl7Pu6VjP+s1ejhHfBNXErnCHLSuEUBJGjkPNl3C+XURVm3B+8aK8ndNH8BnqzmQfMAmzWych6i9UPAAAA//8DAFBLAwQUAAYACAAAACEAbWi3qggBAACUAQAAFAAAAHhsL3NoYXJlZFN0cmluZ3MueG1sbJBPS8NAEMXvhX6HZUHQg9ko+AdJ0kNpvVQvbT/Aspkmg5vZdGfSmm/vqojQ9vjmN/Pm8YrZZ+fVASJjoFLfZblWQC7USE2pt5vl7bNWLJZq6wNBqUdgPaumk4JZVLolLnUr0r8Yw66FznIWeqBEdiF2VpKMjeE+gq25BZDOm/s8fzSdRdLKhYGk1E9aDYT7AeZ/uioYq0KqNXhwksIVRqrCfA9/wWsMR1JvoYZoBfx4ma+xIdyhsyR+VNdWlAebkj/kV6pJDtLenB6uwlEtB/B8Chb7AfseajWdvNsDNlZCPFuat+A+0saCGiQ4wyvsUH4sNuDaTG05Vf//yKRWqy8AAAD//wMAUEsDBBQABgAIAAAAIQDnZXW41gAAALgBAAAjAAAAeGwvd29ya3NoZWV0cy9fcmVscy9zaGVldDEueG1sLnJlbHOskMlqAzEMQO+F/oPRPdZMDqGUeHIJhVxD+gHC1ix0vGC5afL3dSiFDAR66VHb05O2u4uf1ZmzTDEYaHUDioONbgqDgffT2+oFlBQKjuYY2MCVBXbd89P2yDOVOiTjlERVShADYynpFVHsyJ5Ex8ShVvqYPZUa5gET2Q8aGNdNs8F8z4BuwVQHZyAfXAvqdE1189/s2PeT5X20n55DebACz37eZ/qqx1Uq5YGLAa3R/eTkrt7q2gv42Gn9n042+puuLIx+k62u/7tp4OLf3TcA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Ielaq0ACAAAw3wAAA0AAAB4bC9zdHlsZXMueG1s7F3db6NGEH+v1P8BIfUx4cNgQ2T71CR1e9L1dFJSqa/YxjY6PizAd85V/d87uwvGbBwTvJNeK00ebMAzs7O/nQ9gN7Pjd/sk1r6EeRFl6US3rk1dC9NFtozS9UT/43F25elaUQbpMoizNJzoT2Ghv5v++MO4KJ/i8GEThqUGItJiom/KcntjGMViEyZBcZ1twxR+WWV5EpRwmq+NYpuHwbJgTEls2KY5NJIgSnUh4SZZvEZIEuSfd9urRZZsgzKaR3FUPnFZupYsbt6v0ywP5jGourecYFHL5ifPxCfRIs+KbFVegzgjW62iRfhcS9/wDZA0Hae7ZJaUhbbIdmkJaB0uaeKX90u4OHR0TXT6LluCGua1+ZNuTMdGxT0dr7K0ETIEDZmiN5/T7Gs6Yz8JyYxqOi6+aV+CGK5YTMYii7NcKwFgEMyvpEESCoq7II7mecTIVkESxU/iss0u8DGp6JIIEOIKiRbE55xRVW357FfRVJQuw30I3fKk1h6DTZYEjPBZY8ax3FrmW+u/O9L/VFsmUxULrK7GJKzURuaAIB9JMSz5ej7RZzOT/7V79msUx9pDkBbscjUU/KuAoYLfDtZrg/WyC9Mx+FEZ5umMcVbHj09bsLAUXF6I4XQd1Os8eLJs94jB4A1Ox/MsX0KIOfYbcWk6jsNVCYrm0XrDvstsC5/zrCzBH6fjZRSsszSI4dCoOaoD6M4ijOMHFob+XDWyXQf6tV8deSSENGaRzDnZIXSlOhQSxQm00GLyGyb7RSYt2G7jpxkI56LFGchvzm55z5vzn+NonSbhMcOnPCvDRcnjL7fSlh5Hyr+sh6w8MUGYrse7GvqL0Bt0DP3HXTIP8xlPcc0gM0dqzjBNgKWW0/YrTPHf1ofwgZByxvsIH8JHJeST/ZD9kP28XT4l/yL/Iv8i/4IHJv7wRvfP9Hxx7n6enr/O5wvCh/BRyadkP2Q/ZD9vdz9G/kX+Rf5F/vW9nnco/lD8ofhD8Yfij1iPQO+fz8dDwofwUckXZD9kP2Q/b3e/cdGiKmJSWZJG6BF61UrWCghKcpTkVJIcRRSViELeR96n4n1kP2Q/ZD9v94hC/kX+Rf5F/vW9phwo/lD8ofhD8Yfij5jypCUg5+Mh4UP4qOQLsh+yH7Kft7vfIP8i/yL/Iv/6XvfzFH8o/vwf449xXK1L1O46Kts1uqhol7Zfna7eBc7ZXfLrwF2V8eJVm3jptlYFrqqgX1cBsUqadfI/yeurolTY4axqUbR/NKissGBQVwrTNlkefYMpalYGcAGlw0JRvW+/kkqW/RcV1b7mwfYx3EOBNI6s8UxrlaHqAA617XrQ2iUC6qtYA9uNV2uU3ZfrgQnXqPXrr3VdtqyW0Mc8WUHRMlqcMFgeBcDvj4r3SaX7DmFCY9UaocphFsfZ13Cp/QYlCfM4Sj9DwUzu9haYznwXxWWUsigAFfs20XIZsjKm7H/4ewiCFTA4giA54wiCqqA4gqB8K4ogGwtsGwtsGwtsGwtsGwvsARbYAyywB1hgD7DAHmCB7WCB7WCB7WCB7WCB7WCB7WKB7WKBDfVicSKkiwW2iwX2EAvsIRbYrDY2SjoaYoE9xAJ7hAX2CAvsERbYPqxhQBk1H+5XUQRZJpZKlomn0witd3Avi4MTlELHkoSGuIWGuIWGuIWGuI2GuI2GOBRlR7ICGw1xGw3xARriAzTEB2iID9AQH6Ah7qAh7qAh7qAh7qAh7qAh7qIh7vZD/Nlbl3aX4O7p7EuXZ+xSQurP31a/P3/bTPrzt42jP78iflJ66d2+lFT68yviJyWQ/u0r4icli97tSymiP78iflI66N++In5S6O/dvhTw+/Mr4icF9/7tK+InBfLe7Uvhuz+/In6uYvxzFfEbthNh7/4PFfPHUBG/oSJ+Q0X8Ror4jRTx89tvN3qPn99+qdGb3zIVFbBMZQ3a764u6AKwHL0e6C9Amjm7QIAqiJYqiJYqiJYqiNKMWH8QpZmwCwSogijNfF2ggSqI0kxXfw2kGa4LBKiCKM1oXaCBKojSDFZ/DaSZqwsEqIIozVRdoIEqiNLMVH8NpBmpLgEf2aZxcb2WoT15wPcUk9cvfApztvqn5mjncb7roszBt2i1HGfkDSzbthzmK2LpxKvIWaoX5GLnyXq3xWphhiydZWZB7pxafiGRD1kAF+TD15AzLxPk3mvIRwfywSvIR+z1r5A+Okfu+Z7re47J3qdW5GeRrOht9tBd0Z/tbE3PHhIq+tfoY3uNPmfRqeQ7bDq3ki/2en1haGv60YHeO2ma9dhW9K7Z0J9ciiPTs4daoY931tRA/gjA9Nhcm6D3u/Dk9N7BNP0ufBi9bx7kW3B4Yi3RUQc4A5vSqBTqGjBOz9JeRd81AJyevdwU9JbZhejItVyLPaYIBu+sAzBEGT2Ma03fiSijZzN5lfzODgC9ze44K/qz0aHSx248zOsElMlnKVDI9zsHjNG7jf5dHszwsRuL8zotiNE3HumLdY+H2AxL35b7Zr9arm3JNqx+YDvZHhbDQX+W4SrYxeXj4ceJ3hz/Hi6jXQIBvaL6FH3JSi5iojfHH9i2uhBpwYRhDeaHAjaUhm9tl0cT/a9fbkf+/S8z+8ozb70rZxC6V757e3/lOne39/cz37TNu78BVra79w3sUa2wezbf5RuWq1rOTRHDHtt51dlK+Yfm2kQ/OhHqM+0NUFt88k4Y3AH57uPTfwAAAP//AwBQSwMEFAAGAAgAAAAhAJkORrZ8AwAALQgAABgAAAB4bC93b3Jrc2hlZXRzL3NoZWV0MS54bWyMVdFu4jgUfV9p/8HKO4mTQEIQMCrQairNaKvpzPTZOAasJnHWNgVmtf++1zbJJKErlYfg+J4cn3N9fT3/dC4L9Mak4qJaeKGPPcQqKnJe7Rfej+8Po6mHlCZVTgpRsYV3Ycr7tPzzj/lJyFd1YEwjYKjUwjtoXc+CQNEDK4nyRc0qiOyELImGV7kPVC0Zye1HZRFEGCdBSXjlOYaZ/AiH2O04ZRtBjyWrtCORrCAa9KsDr1XDds4/xJdLcgKvjZ6OxI2LtHzh+EZfyakUSuy0T0UZOGm3LrMg6/ks6Q3RO8kqiXw91iMgrsHclhdcX6xdD5V09rivhCTbAnbkHI4J7agkt/Qf1wlMy3nOIbemIJBku4V3F87uYy9Yzu3O/eTspDpjpMn2mRWMapZDAXnIFMZWiFcDfIQpDIzKAgwjoZq/sTUrioX3OYHa+tuuAUNYIGhX6I6b1R5sKT1JtCWKrUXxwnN9gCWhZHO2I8dC/56c+tM4wnEYTdrgN3H6zPj+oOGTMeTLpG2WXzZMUagkoxMUUFHAcvBEJTfnAZJNzs6WWy1K/CQZ48QQK30xGwCgLVP6gRtmD9Gj0qJsxF1JHV10pYshS46uq/NKF/U+AaVOQRJPYfz/n4U2gU6/TeOGaLKcS3FCcBBAl6qJOabhDJSbJIwj2BhqgncmajEwrWD2bYnnwRvsAb0iVg4BX7aIcR+xdghw2CLiPmLjEOC9RUz6iHuHAJstImkRAThp7cAyQzvRtLVjouCvQxO1NNbwyiESZ9UPJ4P4ehCPJ7j7C/tsmy4687MuFOPJ/WjAft/Fp0N82MX3TEPmhqbDSWvaRPumBzJXDtGYjuO0J3Qgct1HR3HcQw+4N310mPWTMEBDNzFaGyXReNom1Bl2fcAVcE327CuRe14pVLAdVAb2Uw9Jd5LtWIvazkJ5boWGw9e8HeC6YVDg2IcVd0Lo5gVOuuF9ZvpYIyE5NAB7gyy8WkgtCddwRmD+l4BAsam5OS7ZOEvSKIPdg/tSc3obANqC7Qm9XO8OJGc8X3jyMbenk531F6WXc/hHRwmc/0AnwVEah6O7ZIVHE/OIkhSP0jQKV+kaZwnG/za9vYRGNLhk323sJaEBO1Nmr9ipu3qW8/I8e/ryE30VObQsaJl/VewJUmDHL89gxg5NEwZ57mnFBu1Fv/wPAAD//wMAUEsDBBQABgAIAAAAIQDoCfStmgIAABAHAAAbAAAAeGwvZHJhd2luZ3Mvdm1sRHJhd2luZzEudm1s7FVNb9swDL33VwjqIZcE/sjaZaodoOjQ2zZg3cexUGwlViuJhsU4bn/9KNtJmxUbiu2wywzYoUiK5Ht8QLLOGkav86LN+bZxwheVstLPrC4a8LDGWQFWtNbwkzERfpcI67UulBh+Dle6V1xRXaGemlgap0KsRRRZWXyz5qaf62uj+fKEZSB8JWtl5ANskbVCdZhzVWoM0RDWpZX1UYCVEmXOEx6FAtFRhWXWDgXxoVZMlzm/7WJ6bjGNU84KgKb0+lHlPE3O43jafzmjGjX1DTnUtZZY5dzG09iMGUPe0Tfu1DAiNcQG7hW7A+08PhgqbjWqpp+P0UChHts0stTKYQ8X7nOOoW0BzqkCw7Q5b8gaQT1DcYD0HI5P4vSMs+He6RHGYYRJDV6jBifkyoPZorogZFY2G+1mRq1RnC9qvBgdCLVI5m/IsdMlViJJg10pvalQpDHZjzPtStWJJJRptdcrbTQ+iEqXpXIX1sNs18h61ncXGC5O2FobU4CBJuena3pUEjATSwotlIRYbhH2LIZkWhBlp0/pYcWBQmKthB0DN/C28sW2UbTdga8DyT8R6sCpwxaQpLWCjo38hIlLHSgnkmbSoAjDTEI/lpW63eeFaxTWGycCbZNlFlG0HytqxVi0P3biyoQNvyd5sk+rOyr9pd/rR8BBKyzrxAdo1XeN1ZUyxvfwgveGNPnSe+mKCpp+JBZP2fmC3il7O2XJlM3TwZpnUSeeJVKxSwJyTWwur6Xxqo/vPT26TnyG3TIJgWCMvitSiXXLOLhHO3AfTgdYlJsR6l7Dv9Tl4u90mS6SY2GmT7JMghT3sgxpe1mm/2X5b2Q5JzGeTYM6SY9kJO+Gwx/LstffS1mmr5dlRH+Dyx8AAAD//wMAUEsDBBQABgAIAAAAIQA3svNSNgEAABI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V9LwzAUxd8Fv0PJe5t2lTlC24HKEHEgWFF8uyR3W7D5QxLt9u3Nulkn8/Fyzv1xzr3VfKu65Audl0bXpMhykqDmRki9rslLu0hnJPEBtIDOaKzJDj2ZN5cXFbeMG4dPzlh0QaJPIkl7xm1NNiFYRqnnG1Tgs+jQUVwZpyDE0a2pBf4Ba6STPJ9ShQEEBKB7YGpHIjkiBR+R9tN1A0Bwih0q1MHTIivorzegU/7fhUE5cSoZdjZ2OsY9ZQt+EEf31svR2Pd91pdDjJi/oG/Lx+ehair1/lYcSVMJzrhDCMY1FT0d4uE68GEZb7ySKG52zYPREDagk3vjIgClrui5KxKHAkwdN5OYiR0a/Eiv5e1duyDNJC+maX6V5tO2KNlkxsrr932Kv4AY7OyLzTcAAAD//wMAUEsDBBQABgAIAAAAIQCtTuMSDwEAACICAAAQAAAAeGwvY29tbWVudHMxLnhtbLxQTUvEMBS8C/6H8O5u2h5klSaLCCuCB8H1B8TmdRvIR8nLLl1/vW/t1oMnT0IImcm8meG1myl4ccRMLkUF9aoCgbFL1sW9gvfd9mYNgoqJ1vgUUcEJCTb6+qrtUggYCwk2iKRgKGW8l5K6AYOhVRox8k+fcjCFYd5LGjMaSwNiCV42VXUrg3ERdGsOZUiZlofUrfyhLjkvjopeQkXGXsFjDWKWPVsFFfsUnFiU+bzy9cE+9CmOxiu4AwZd8ikLFy1OyBPr+kzmbYplFu3MkII5k70Jzp9mtjkT8tux6KecDqOwSF12Y+GdUSs5UnKcnNPlpfCvsg/N/5d9w+yQ/th26T0vekGkvwAAAP//AwBQSwMEFAAGAAgAAAAhAPShL/GKAQAADQ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JNT+MwEIbvK+1/iHynTlmEVpVjhGBXHBZtpRY4G2fSWLi25Rmill+/k0Sl6cKJ23y8fufx2Opqt/VFBxldDJWYz0pRQLCxdmFTiYf177OfokAyoTY+BqjEHlBc6e/f1DLHBJkcYMEWASvREqWFlGhb2BqccTtwp4l5a4jTvJGxaZyF22hftxBInpflpYQdQaihPkvvhmJ0XHT0VdM62p4PH9f7xMBaXafknTXEt9T3zuaIsaHi3lgXKGJb/NpZ8EpOZYo5V2Bfs6O9LpWcpmpljYcbHqEb4xGUPBbUHZh+fUvjMmrV0aIDSzEX6N54geeieDYIPVglOpOdCcSAvWxMhtgnpKyfYn7BFoBQSRaMxSGcaqexu9DzQcDBqbA3GEG4cYq4duQB/zZLk+kT4vmUeGAYeUec6+RjdnhryHyAHO7N4/4b8MeFF3xI68iH4LDA06JatSZDzTs/9I8Fdce7y743uWlN2EB90Hxs9A//OP5uPb+YlT9KfslJTcnjP9b/AAAA//8DAFBLAQItABQABgAIAAAAIQCSV401eQEAAHAFAAATAAAAAAAAAAAAAAAAAAAAAABbQ29udGVudF9UeXBlc10ueG1sUEsBAi0AFAAGAAgAAAAhAFB8TsH2AAAATAIAAAsAAAAAAAAAAAAAAAAAsgMAAF9yZWxzLy5yZWxzUEsBAi0AFAAGAAgAAAAhAIyWxW7zAAAAugIAABoAAAAAAAAAAAAAAAAA2QYAAHhsL19yZWxzL3dvcmtib29rLnhtbC5yZWxzUEsBAi0AFAAGAAgAAAAhADKkRevAAQAAzwIAAA8AAAAAAAAAAAAAAAAADAkAAHhsL3dvcmtib29rLnhtbFBLAQItABQABgAIAAAAIQBtaLeqCAEAAJQBAAAUAAAAAAAAAAAAAAAAAPkKAAB4bC9zaGFyZWRTdHJpbmdzLnhtbFBLAQItABQABgAIAAAAIQDnZXW41gAAALgBAAAjAAAAAAAAAAAAAAAAADMMAAB4bC93b3Jrc2hlZXRzL19yZWxzL3NoZWV0MS54bWwucmVsc1BLAQItABQABgAIAAAAIQD7YqVtlAYAAKcbAAATAAAAAAAAAAAAAAAAAEoNAAB4bC90aGVtZS90aGVtZTEueG1sUEsBAi0AFAAGAAgAAAAhAIelaq0ACAAAw3wAAA0AAAAAAAAAAAAAAAAADxQAAHhsL3N0eWxlcy54bWxQSwECLQAUAAYACAAAACEAmQ5GtnwDAAAtCAAAGAAAAAAAAAAAAAAAAAA6HAAAeGwvd29ya3NoZWV0cy9zaGVldDEueG1sUEsBAi0AFAAGAAgAAAAhAOgJ9K2aAgAAEAcAABsAAAAAAAAAAAAAAAAA7B8AAHhsL2RyYXdpbmdzL3ZtbERyYXdpbmcxLnZtbFBLAQItABQABgAIAAAAIQA3svNSNgEAABICAAARAAAAAAAAAAAAAAAAAL8iAABkb2NQcm9wcy9jb3JlLnhtbFBLAQItABQABgAIAAAAIQCtTuMSDwEAACICAAAQAAAAAAAAAAAAAAAAACwlAAB4bC9jb21tZW50czEueG1sUEsBAi0AFAAGAAgAAAAhAPShL/GKAQAADQMAABAAAAAAAAAAAAAAAAAAaSYAAGRvY1Byb3BzL2FwcC54bWxQSwUGAAAAAA0ADQBYAwAAKSkAAAAABSM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YAAAAFQXJpYWwGdwAAAAYrbW4tZWEJeAAAAAEACXkAAAAHJAAAAAABAAAAEQAAAAQUU3lzdGVtLkRyYXdpbmcuQ29sb3IEAAAABXoAAAAUU3lzdGVtLkRyYXdpbmcuQ29sb3IEAAAABXZhbHVlBXN0YXRlCmtub3duQ29sb3IEbmFtZQAAAAEJBwcEAAAAAAAAAAAAAAAAAAAACgF7AAAAegAAAAAAAP//////AgAAAAoBfAAAAHoAAAD//////////wIAAAAKAX0AAAB6AAAATkEi//////8CAAAACgF+AAAAegAAAN7c2///////AgAAAAoBfwAAAHoAAAB+aT///////wIAAAAKAYAAAAB6AAAAjIRy//////8CAAAACgGBAAAAegAAACUh7f//////AgAAAAoBggAAAHoAAAA0O0b//////wIAAAAKAYMAAAB6AAAAdJjD//////8CAAAACgGEAAAAegAAAB6U9///////AgAAAAoBhQAAAHoAAAAelPf//////wIAAAAKAYYAAAB6AAAAJSHt//////8CAAAACgGHAAAAegAAAAAAAP//////AgAAAAoBiAAAAHoAAAD//////////wIAAAAKAYkAAAB6AAAATkEi//////8CAAAACgGKAAAAegAAAN7c2///////AgAAAAoEJQAAAJgBU3lzdGVtLkNvbGxlY3Rpb25zLkdlbmVyaWMuTGlzdGAxW1tBcGxvcmlzLkJhc2UuT2JqZWN0cy5EYXRhT2JqZWN0LCBBcGxvcmlzLkJhc2UsIFZlcnNpb249NC4wLjAuMTQ4NiwgQ3VsdHVyZT1uZXV0cmFsLCBQdWJsaWNLZXlUb2tlbj0xNmZjMTNhMjI2YzBlOTUxXV0DAAAABl9pdGVtcwVfc2l6ZQhfdmVyc2lvbgQAACFBcGxvcmlzLkJhc2UuT2JqZWN0cy5EYXRhT2JqZWN0W10DAAAACAgJiwAAAA0AAAATAAAABCYAAACVAVN5c3RlbS5Db2xsZWN0aW9ucy5HZW5lcmljLkxpc3RgMVtbQXBsb3Jpcy5CYXNlLlVJLlZpc3VhbE9iamVjdCwgQXBsb3Jpcy5CYXNlLCBWZXJzaW9uPTQuMC4wLjE0ODYsIEN1bHR1cmU9bmV1dHJhbCwgUHVibGljS2V5VG9rZW49MTZmYzEzYTIyNmMwZTk1MV1dAwAAAAZfaXRlbXMFX3NpemUIX3ZlcnNpb24EAAAeQXBsb3Jpcy5CYXNlLlVJLlZpc3VhbE9iamVjdFtdAwAAAAgICYwAAAABAAAAAQAAAAUoAAAAmwFBcGxvcmlzLkJhc2UuT2JqZWN0cy5EYXRhT2JqZWN0Q29sbGVjdGlvbmAxW1tBcGxvcmlzLkNoYXJ0LlZhbHVl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C4wLjE0ODYsIEN1bHR1cmU9bmV1dHJhbCwgUHVibGljS2V5VG9rZW49MTZmYzEzYTIyNmMwZTk1MV1dAwAAAJEBU3lzdGVtLkNvbGxlY3Rpb25zLkdlbmVyaWMuTGlzdGAxW1tBcGxvcmlzLkNoYXJ0LlZhbHVl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NAAAACY4AAAAJBgAAAAkBAAAACY8AAAAFKQAAAJsBQXBsb3Jpcy5CYXNlLk9iamVjdHMuRGF0YU9iamVjdENvbGxlY3Rpb25gMVtbQXBsb3Jpcy5DaGFydC5BeGlzQnJlYWs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AuMC4xNDg2LCBDdWx0dXJlPW5ldXRyYWwsIFB1YmxpY0tleVRva2VuPTE2ZmMxM2EyMjZjMGU5NTFdXQMAAACRAVN5c3RlbS5Db2xsZWN0aW9ucy5HZW5lcmljLkxpc3RgMVtbQXBsb3Jpcy5DaGFydC5BeGlzQnJlYW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kAAAAAmRAAAACQYAAAAJAQAAAAmSAAAABS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gAAAADAAAACWkAAAAJagAAAAlrAAAAAQAAAAAKCglsAAAAAAAAAAoAAAAAAA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oAAAAAwAAAAlpAAAACWoAAAAJawAAAAEAAAAACgoJbAAAAAAAAAAKAAAAAAAAAAAFL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aAAAAAMAAAAJaQAAAAlqAAAACWsAAAABAAAAAAoGkwAAAAElCWwAAAABAAAACgAAAAAAAAAABS0AAACaAUFwbG9yaXMuQmFzZS5PYmplY3RzLkRhdGFPYmplY3RDb2xsZWN0aW9uYDFbW0FwbG9yaXMuQ2hhcnQuVGlja01hcms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C4wLjE0ODYsIEN1bHR1cmU9bmV1dHJhbCwgUHVibGljS2V5VG9rZW49MTZmYzEzYTIyNmMwZTk1MV1dAwAAAJABU3lzdGVtLkNvbGxlY3Rpb25zLkdlbmVyaWMuTGlzdGAxW1tBcGxvcmlzLkNoYXJ0LlRpY2tNYXJ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QAAAAJlQAAAAkGAAAACQEAAAAJlgAAAAUw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cAAAAhAAAA0MgYQl95ikMBmAAAACEAAACUJpZDX3mKQwmZAAAAuAEAAP////8BAQoJmgAAAAEACgAHMQAAAAABAAAABQAAAAQVU3lzdGVtLkRyYXdpbmcuUG9pbnRGBAAAAAGbAAAAIQAAAJSml0NfeYpDAZwAAAAhAAAA0MgYQgqkmEMBnQAAACEAAACuPylDCqSYQwGeAAAAIQAAAJQmlkMKpJhDAZ8AAAAhAAAAlKaXQ1/5jEMHMgAAAAABAAAABQAAAAQXQXBsb3Jpcy5CYXNlLkFuY2hvck1vZGUDAAAABaAAAAAXQXBsb3Jpcy5CYXNlLkFuY2hvck1vZGUBAAAAB3ZhbHVlX18ACAMAAAAEAAAAAaEAAACgAAAABQAAAAGiAAAAoAAAAAMAAAABowAAAKAAAAAGAAAAAaQAAACgAAAABQAAAA8zAAAABQAAAAEAAAAAAQU0AAAAFUFwbG9yaXMuQmFzZS5VSS5MYWJlbBwAAAAPbUFuY2hvclBvc2l0aW9uC21BbmNob3JNb2RlD21BZGRJbm5lck1hcmdpbhZtT2Zmc2V0RGlyZWN0aW9uQW5jaG9yF21PZmZzZXRPcnRob2dvbmFsQW5jaG9yC21UZXh0Rm9ybWF0CW1Sb3RhdGlvbgptQmFja0NvbG9yDW1Vc2VCYWNrQ29sb3IObVVzZ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EBAQAAQMDAQAAAAAHAgAAAwA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wAAAAGlAAAAIQAAAJSml0NfeYpDAaYAAACgAAAABAAAAAAAAAAAAAAAAAmnAAAAAAAAAAmoAAAAAAAFqQAAACpBcGxvcmlzLkJhc2UuVUkuTGFiZWwrTGluZUFsaWdubWVudE9wdGlvbnMBAAAAB3ZhbHVlX18ACAMAAAAAAAAAAaoAAAByAAAAAAAAAAAAAAABqwAAABUAAAAAAAAAAAAAAAAAAAAAAAAAAAAAAAasAAAADUNhdGVnb3J5IGF4aXMKCa0AAAAJrAAAAOQCAAD/////AAEKCa4AAAABAAoBATUAAAAlAAAACa8AAAAGAAAABgAAAAE2AAAAJgAAAAmwAAAAAgAAAAIAAAABOAAAACgAAAAKCbEAAAAJsgAAAAkHAAAACQEAAAAJswAAAAE5AAAAKQAAAAoJtAAAAAm1AAAACQcAAAAJAQAAAAm2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gAAAADAAAACWkAAAAJagAAAAlrAAAAAQAAAAAKBrcAAAABJQlsAAAAAAAAAAoAAAAAAA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oAAAAAwAAAAlpAAAACWoAAAAJawAAAAEAAAAACga4AAAAASUJbAAAAAAAAAAKAAAAAAAAAAAFP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QAAAAEJaAAAAAMAAAAJaQAAAAlqAAAACWsAAAABAAAAAAoJkwAAAAlsAAAAAQAAAAoAAAAAAAAAAAE9AAAALQAAAAoJuQAAAAm6AAAACQcAAAAJAQAAAAm7AAAAAUAAAAAwAAAAAbwAAAAhAAAA0MgYQl95ikMBvQAAACEAAADQyBhCvDl9QQm+AAAAuAEAAP////8BAQoJvwAAAAEACgAHQQAAAAABAAAABQAAAAQVU3lzdGVtLkRyYXdpbmcuUG9pbnRGBAAAAAHAAAAAIQAAANDIGEJn5B9BAcEAAAAhAAAAiv0lQV95ikMBwgAAACEAAACK/SVBLWMSQwHDAAAAIQAAAIr9JUG8OX1BAcQAAAAhAAAAiv0lQWfkH0EHQgAAAAABAAAABQAAAAQXQXBsb3Jpcy5CYXNlLkFuY2hvck1vZGUDAAAAAcUAAACgAAAAAQAAAAHGAAAAoAAAAAgAAAABxwAAAKAAAAACAAAAAcgAAACgAAAABgAAAAHJAAAAoAAAAAcAAAAPQwAAAAUAAAABAAAAAAEBRAAAADQAAAABygAAACEAAADQyBhCZ+QfQQHLAAAAoAAAAAEAAAAAAAAAAAAAAAAJzAAAAAAAAAAJzQAAAAAAAc4AAACpAAAAAAAAAAHPAAAAcgAAAAAAAAAAAAAAAdAAAAAVAAAAAAAAAAAAAAAAAAAAAAAAAAAAAAAG0QAAAApWYWx1ZSBheGlzCgnSAAAACdEAAADkAgAA/////wABCgnTAAAAAQAKAQFFAAAAJQAAAAnUAAAACAAAAAgAAAABRgAAACYAAAAJ1QAAAAIAAAACAAAAB0cAAAAAAQAAAAAAAAAELkFwbG9yaXMuQ2hhcnQuQ29sdW1uT3JpZW50ZWRDaGFydCtVbnVzZWRTZXJpZXMCAAAABEgAAACXAVN5c3RlbS5Db2xsZWN0aW9ucy5HZW5lcmljLkxpc3RgMVtbQXBsb3Jpcy5DaGFydC5DaGFydERhdGFTZXJpZXMsIEFwbG9yaXMuQ2hhcnQsIFZlcnNpb249NC4wLjAuMTQ4NiwgQ3VsdHVyZT1uZXV0cmFsLCBQdWJsaWNLZXlUb2tlbj0xNmZjMTNhMjI2YzBlOTUxXV0DAAAABl9pdGVtcwVfc2l6ZQhfdmVyc2lvbgQAAB9BcGxvcmlzLkNoYXJ0LkNoYXJ0RGF0YVNlcmllc1tdAgAAAAgICdYAAAACAAAAkAEAAAFJAAAAJQAAAAnXAAAAAgAAAJgAAAABSgAAACYAAAAJ2AAAAAAAAAAAAAAABEsAAACcAVN5c3RlbS5Db2xsZWN0aW9ucy5HZW5lcmljLkxpc3RgMVtbQXBsb3Jpcy5DaGFydC5Bbm5vdGF0aW9uRGF0YVNlcmllcywgQXBsb3Jpcy5DaGFydCwgVmVyc2lvbj00LjAuMC4xNDg2LCBDdWx0dXJlPW5ldXRyYWwsIFB1YmxpY0tleVRva2VuPTE2ZmMxM2EyMjZjMGU5NTFdXQMAAAAGX2l0ZW1zBV9zaXplCF92ZXJzaW9uBAAAJEFwbG9yaXMuQ2hhcnQuQW5ub3RhdGlvbkRhdGFTZXJpZXNbXQIAAAAICAnZAAAAAAAAAAAAAAABTAAAACUAAAAJ2gAAAAAAAAAAAAAAAU0AAAAmAAAACdgAAAAAAAAAAAAAAAROAAAAlwFTeXN0ZW0uQ29sbGVjdGlvbnMuR2VuZXJpYy5MaXN0YDFbW0FwbG9yaXMuQ2hhcnQuQW5ub3RhdGlvbkdyb3VwLCBBcGxvcmlzLkNoYXJ0LCBWZXJzaW9uPTQuMC4wLjE0ODYsIEN1bHR1cmU9bmV1dHJhbCwgUHVibGljS2V5VG9rZW49MTZmYzEzYTIyNmMwZTk1MV1dAwAAAAZfaXRlbXMFX3NpemUIX3ZlcnNpb24EAAAfQXBsb3Jpcy5DaGFydC5Bbm5vdGF0aW9uR3JvdXBbXQIAAAAICAnbAAAAAAAAAAAAAAABTwAAACUAAAAJ2gAAAAAAAAAAAAAAAVAAAAAmAAAACdgAAAAAAAAAAAAAAARRAAAAlgFTeXN0ZW0uQ29sbGVjdGlvbnMuR2VuZXJpYy5MaXN0YDFbW0FwbG9yaXMuQ2hhcnQuQ2hhcnREYXRhR3JvdXAsIEFwbG9yaXMuQ2hhcnQsIFZlcnNpb249NC4wLjAuMTQ4NiwgQ3VsdHVyZT1uZXV0cmFsLCBQdWJsaWNLZXlUb2tlbj0xNmZjMTNhMjI2YzBlOTUxXV0DAAAABl9pdGVtcwVfc2l6ZQhfdmVyc2lvbgQAAB5BcGxvcmlzLkNoYXJ0LkNoYXJ0RGF0YUdyb3VwW10CAAAACAgJ3AAAAAQAAAAuAAAAAVIAAAAlAAAACd0AAAAEAAAAHgAAAAFTAAAAJgAAAAnYAAAAAAAAAAAAAAAEVAAAAJABU3lzdGVtLkNvbGxlY3Rpb25zLkdlbmVyaWMuTGlzdGAxW1tBcGxvcmlzLkNoYXJ0LkRlbHRhQmFyLCBBcGxvcmlzLkNoYXJ0LCBWZXJzaW9uPTQuMC4wLjE0ODYsIEN1bHR1cmU9bmV1dHJhbCwgUHVibGljS2V5VG9rZW49MTZmYzEzYTIyNmMwZTk1MV1dAwAAAAZfaXRlbXMFX3NpemUIX3ZlcnNpb24EAAAYQXBsb3Jpcy5DaGFydC5EZWx0YUJhcltdAgAAAAgICd4AAAAAAAAAAAAAAAFVAAAAJQAAAAnaAAAAAAAAAAAAAAABVgAAACYAAAAJ2AAAAAAAAAAAAAAABFcAAACTAVN5c3RlbS5Db2xsZWN0aW9ucy5HZW5lcmljLkxpc3RgMVtbQXBsb3Jpcy5DaGFydC5EZWx0YUJyaWRnZSwgQXBsb3Jpcy5DaGFydCwgVmVyc2lvbj00LjAuMC4xNDg2LCBDdWx0dXJlPW5ldXRyYWwsIFB1YmxpY0tleVRva2VuPTE2ZmMxM2EyMjZjMGU5NTFdXQMAAAAGX2l0ZW1zBV9zaXplCF92ZXJzaW9uBAAAG0FwbG9yaXMuQ2hhcnQuRGVsdGFCcmlkZ2VbXQIAAAAICAnfAAAAAAAAAAAAAAABWAAAACUAAAAJ2gAAAAAAAAAAAAAAAVkAAAAmAAAACdgAAAAAAAAAAAAAAARaAAAAkwFTeXN0ZW0uQ29sbGVjdGlvbnMuR2VuZXJpYy5MaXN0YDFbW0FwbG9yaXMuQ2hhcnQuR3Jvd3RoQXJyb3csIEFwbG9yaXMuQ2hhcnQsIFZlcnNpb249NC4wLjAuMTQ4NiwgQ3VsdHVyZT1uZXV0cmFsLCBQdWJsaWNLZXlUb2tlbj0xNmZjMTNhMjI2YzBlOTUxXV0DAAAABl9pdGVtcwVfc2l6ZQhfdmVyc2lvbgQAABtBcGxvcmlzLkNoYXJ0Lkdyb3d0aEFycm93W10CAAAACAgJ4AAAAAAAAAAAAAAAAVsAAAAlAAAACdoAAAAAAAAAAAAAAAFcAAAAJgAAAAnYAAAAAAAAAAAAAAAEXQAAAJoBU3lzdGVtLkNvbGxlY3Rpb25zLkdlbmVyaWMuTGlzdGAxW1tBcGxvcmlzLkNoYXJ0LldhdGVyZmFsbENvbm5lY3RvciwgQXBsb3Jpcy5DaGFydCwgVmVyc2lvbj00LjAuMC4xNDg2LCBDdWx0dXJlPW5ldXRyYWwsIFB1YmxpY0tleVRva2VuPTE2ZmMxM2EyMjZjMGU5NTFdXQMAAAAGX2l0ZW1zBV9zaXplCF92ZXJzaW9uBAAAIkFwbG9yaXMuQ2hhcnQuV2F0ZXJmYWxsQ29ubmVjdG9yW10CAAAACAgJ4QAAAAAAAAAAAAAAAV4AAAAlAAAACdoAAAAAAAAAAAAAAAFfAAAAJgAAAAnYAAAAAAAAAAAAAAAEYAAAAJgBU3lzdGVtLkNvbGxlY3Rpb25zLkdlbmVyaWMuTGlzdGAxW1tBcGxvcmlzLkNoYXJ0LkVsZW1lbnRDb25uZWN0b3IsIEFwbG9yaXMuQ2hhcnQsIFZlcnNpb249NC4wLjAuMTQ4NiwgQ3VsdHVyZT1uZXV0cmFsLCBQdWJsaWNLZXlUb2tlbj0xNmZjMTNhMjI2YzBlOTUxXV0DAAAABl9pdGVtcwVfc2l6ZQhfdmVyc2lvbgQAACBBcGxvcmlzLkNoYXJ0LkVsZW1lbnRDb25uZWN0b3JbXQIAAAAICAniAAAAAAAAAAAAAAABYQAAACUAAAAJ2gAAAAAAAAAAAAAAAWIAAAAmAAAACdgAAAAAAAAAAAAAAAVjAAAArQFBcGxvcmlzLkJhc2UuT2JqZWN0cy5EYXRhT2JqZWN0Q29sbGVjdGlvbmAxW1tBcGxvcmlzLkNoYXJ0LkNvbHVtbk9yaWVudGVkTGVnZW5kRWxlbWVudCwgQXBsb3Jpcy5DaGFydCwgVmVyc2lvbj00LjAuMC4xNDg2LCBDdWx0dXJlPW5ldXRyYWwsIFB1YmxpY0tleVRva2VuPTE2ZmMxM2EyMjZjMGU5NTFdXQYAAAALbUNvbGxlY3Rpb24FbUxpc3QYRGF0YU9iamVjdCttQ2hpbGRPYmplY3RzEkRhdGFPYmplY3QrbVBhcmVudBVEYXRhT2JqZWN0K21Db250YWluZXIZRGF0YU9iamVjdCttVmlzdWFsT2JqZWN0cwQDAwQEA6sBQXBsb3Jpcy5CYXNlLk9iamVjdHMuU29ydGFibGVDb2xsZWN0aW9uYDFbW0FwbG9yaXMuQ2hhcnQuQ29sdW1uT3JpZW50ZWRMZWdlbmRFbGVtZW50LCBBcGxvcmlzLkNoYXJ0LCBWZXJzaW9uPTQuMC4wLjE0ODYsIEN1bHR1cmU9bmV1dHJhbCwgUHVibGljS2V5VG9rZW49MTZmYzEzYTIyNmMwZTk1MV1dAwAAAKMBU3lzdGVtLkNvbGxlY3Rpb25zLkdlbmVyaWMuTGlzdGAxW1tBcGxvcmlzLkNoYXJ0LkNvbHVtbk9yaWVudGVkTGVnZW5k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njAAAACeQAAAAJFAAAAAkBAAAACeUAAAABZQAAABwAAAAB5gAAACEAAAALXI5BvvuaQwHnAAAAIQAAAK6FZkM0HK1DCegAAAAJ6QAAAAAAAAAKAeoAAAByAAAAAAAAAAAAAAAB6wAAAHIAAAAAAAAAAAAAAAAAAAAB7AAAABUAAAAAAAAAAAAAAAAAAAAAAAAApAEAAP////8BAQoJ7QAAAAEACgABZgAAACUAAAAJ7gAAAAEAAAABAAAAAWcAAAAmAAAACe8AAAABAAAAAQAAAAVw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AAACfAAAAAJ8QAAAAEAAAD+////AQAAAAEAAAABAAAAAQAAAAEAAAABAAAAAAABBXE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8gAAAAnzAAAAAQAAAAAAAAAAAAAAAAAAAAABBXUAAAAfQXBsb3Jpcy5CYXNlLk9iamVjdHMuUGVyc0lkRGF0YQIAAAADbUlkC21DdXN0b21EYXRhBwIIAwAAAAn0AAAACgV4AAAAGkFwbG9yaXMuQmFzZS5PYmplY3RzLkNvbG9yBwAAABJEYXRhT2JqZWN0K21QYXJlbnQVRGF0YU9iamVjdCttQ29udGFpbmVyBW1UeXBlBG1SR0IQbVRoZW1lQ29sb3JJbmRleAxtQXV0b1VwZGF0ZWQJbU1vZGlmaWVkAgIAAAAAAAgICAEBAwAAAAoKAAAAAAAAAAANAAAAAAEBeQAAAHgAAAAKCgEAAAAAAAAA/////wABB4sAAAAAAQAAABAAAAAEH0FwbG9yaXMuQmFzZS5PYmplY3RzLkRhdGFPYmplY3QDAAAACQkAAAAJCgAAAAkLAAAACQwAAAAJEAAAAAkRAAAACQ0AAAAJDgAAAAkPAAAACQcAAAAJBgAAAAkYAAAACRQAAAANAweMAAAAAAEAAAAEAAAABBxBcGxvcmlzLkJhc2UuVUkuVmlzdWFsT2JqZWN0AwAAAAkcAAAADQMEjQAAAJEBU3lzdGVtLkNvbGxlY3Rpb25zLkdlbmVyaWMuTGlzdGAxW1tBcGxvcmlzLkNoYXJ0LlZhbHVlTGluZSwgQXBsb3Jpcy5DaGFydCwgVmVyc2lvbj00LjAuMC4xNDg2LCBDdWx0dXJlPW5ldXRyYWwsIFB1YmxpY0tleVRva2VuPTE2ZmMxM2EyMjZjMGU5NTFdXQMAAAAGX2l0ZW1zBV9zaXplCF92ZXJzaW9uBAAAGUFwbG9yaXMuQ2hhcnQuVmFsdWVMaW5lW10CAAAACAgJ9QAAAAAAAAAAAAAAAY4AAAAlAAAACdoAAAAAAAAAAAAAAAGPAAAAJgAAAAnYAAAAAAAAAAAAAAAEkAAAAJEBU3lzdGVtLkNvbGxlY3Rpb25zLkdlbmVyaWMuTGlzdGAxW1tBcGxvcmlzLkNoYXJ0LkF4aXNCcmVhaywgQXBsb3Jpcy5DaGFydCwgVmVyc2lvbj00LjAuMC4xNDg2LCBDdWx0dXJlPW5ldXRyYWwsIFB1YmxpY0tleVRva2VuPTE2ZmMxM2EyMjZjMGU5NTFdXQMAAAAGX2l0ZW1zBV9zaXplCF92ZXJzaW9uBAAAGUFwbG9yaXMuQ2hhcnQuQXhpc0JyZWFrW10CAAAACAgJ9gAAAAAAAAAAAAAAAZEAAAAlAAAACdoAAAAAAAAAAAAAAAGSAAAAJgAAAAnYAAAAAAAAAAAAAAAElAAAAJABU3lzdGVtLkNvbGxlY3Rpb25zLkdlbmVyaWMuTGlzdGAxW1tBcGxvcmlzLkNoYXJ0LlRpY2tNYXJrLCBBcGxvcmlzLkNoYXJ0LCBWZXJzaW9uPTQuMC4wLjE0ODYsIEN1bHR1cmU9bmV1dHJhbCwgUHVibGljS2V5VG9rZW49MTZmYzEzYTIyNmMwZTk1MV1dAwAAAAZfaXRlbXMFX3NpemUIX3ZlcnNpb24EAAAYQXBsb3Jpcy5DaGFydC5UaWNrTWFya1tdAgAAAAgICfcAAAAAAAAAAAAAAAGVAAAAJQAAAAnaAAAAAAAAAAAAAAABlgAAACYAAAAJ2AAAAAAAAAAAAAAAAZkAAABwAAAACgoAAABAPwn4AAAACfkAAAABAAAA/v///wAAAAABAAAAAAAAAAAAAAABAAAAAAAAAAAAAAGaAAAAdQAAAAn6AAAACgWn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QEEJdgAAAAl3AAAACfsAAAABAAn8AAAAAagAAAB4AAAACgoBAAAAAAAAAP////8AAQStAAAAlgFTeXN0ZW0uQ29sbGVjdGlvbnMuR2VuZXJpYy5MaXN0YDFbW0FwbG9yaXMuQmFzZS5PYmplY3RzLlZhcmlhYmxlLCBBcGxvcmlzLkJhc2UsIFZlcnNpb249NC4wLjAuMTQ4NiwgQ3VsdHVyZT1uZXV0cmFsLCBQdWJsaWNLZXlUb2tlbj0xNmZjMTNhMjI2YzBlOTUxXV0DAAAABl9pdGVtcwVfc2l6ZQhfdmVyc2lvbgQAAB9BcGxvcmlzLkJhc2UuT2JqZWN0cy5WYXJpYWJsZVtdAwAAAAgICf0AAAAAAAAAAAAAAAGuAAAAdQAAAAn+AAAACgevAAAAAAEAAAAIAAAABB9BcGxvcmlzLkJhc2UuT2JqZWN0cy5EYXRhT2JqZWN0AwAAAAkqAAAACSsAAAAJLAAAAAktAAAACSgAAAAJKQAAAAoKB7AAAAAAAQAAAAQAAAAEHEFwbG9yaXMuQmFzZS5VSS5WaXN1YWxPYmplY3QDAAAACTAAAAAJNAAAAAoKAbEAAACNAAAACfUAAAAAAAAAAAAAAAGyAAAAJQAAAAnaAAAAAAAAAAAAAAABswAAACYAAAAJ2AAAAAAAAAAAAAAAAbQAAACQAAAACfYAAAAAAAAAAAAAAAG1AAAAJQAAAAnaAAAAAAAAAAAAAAABtgAAACYAAAAJ2AAAAAAAAAAAAAAAAbkAAACUAAAACf8AAAAHAAAALwAAAAG6AAAAJQAAAAkAAQAABwAAAC8AAAABuwAAACYAAAAJ2AAAAAAAAAAAAAAAAb4AAABwAAAACgoAAABAPwkBAQAACQIBAAABAAAA/v///wAAAAABAAAAAAAAAAAAAAABAAAAAAAAAAAAAAG/AAAAdQAAAAkDAQAACgXM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QEEJdgAAAAl3AAAACQQBAAABAAkFAQAAAc0AAAB4AAAACgoBAAAAAAAAAP////8AAQHSAAAArQAAAAn9AAAAAAAAAAAAAAAB0wAAAHUAAAAJBgEAAAoH1AAAAAABAAAACAAAAAQfQXBsb3Jpcy5CYXNlLk9iamVjdHMuRGF0YU9iamVjdAMAAAAJOgAAAAk7AAAACTwAAAAJPQAAAAk4AAAACTkAAAAJBwEAAAkIAQAAB9UAAAAAAQAAAAQAAAAEHEFwbG9yaXMuQmFzZS5VSS5WaXN1YWxPYmplY3QDAAAACUAAAAAJRAAAAAoKB9YAAAAAAQAAACAAAAAEHUFwbG9yaXMuQ2hhcnQuQ2hhcnREYXRhU2VyaWVzAgAAAAkJAQAACQoBAAANHgfXAAAAAAEAAAAgAAAABB9BcGxvcmlzLkJhc2UuT2JqZWN0cy5EYXRhT2JqZWN0AwAAAAkKAQAACQkBAAANHgfYAAAAAAEAAAAAAAAABBxBcGxvcmlzLkJhc2UuVUkuVmlzdWFsT2JqZWN0AwAAAAfZAAAAAAEAAAAAAAAABCJBcGxvcmlzLkNoYXJ0LkFubm90YXRpb25EYXRhU2VyaWVzAgAAAAfaAAAAAAEAAAAAAAAABB9BcGxvcmlzLkJhc2UuT2JqZWN0cy5EYXRhT2JqZWN0AwAAAAfbAAAAAAEAAAAAAAAABB1BcGxvcmlzLkNoYXJ0LkFubm90YXRpb25Hcm91cAIAAAAH3AAAAAABAAAAEAAAAAQcQXBsb3Jpcy5DaGFydC5DaGFydERhdGFHcm91cAIAAAAJCwEAAAkMAQAACQ0BAAAJDgEAAA0MB90AAAAAAQAAABAAAAAEH0FwbG9yaXMuQmFzZS5PYmplY3RzLkRhdGFPYmplY3QDAAAACQwBAAAJCwEAAAkNAQAACQ4BAAANDAfeAAAAAAEAAAAAAAAABBZBcGxvcmlzLkNoYXJ0LkRlbHRhQmFyAgAAAAffAAAAAAEAAAAAAAAABBlBcGxvcmlzLkNoYXJ0LkRlbHRhQnJpZGdlAgAAAAfgAAAAAAEAAAAAAAAABBlBcGxvcmlzLkNoYXJ0Lkdyb3d0aEFycm93AgAAAAfhAAAAAAEAAAAAAAAABCBBcGxvcmlzLkNoYXJ0LldhdGVyZmFsbENvbm5lY3RvcgIAAAAH4gAAAAABAAAAAAAAAAQeQXBsb3Jpcy5DaGFydC5FbGVtZW50Q29ubmVjdG9yAgAAAATjAAAAowFTeXN0ZW0uQ29sbGVjdGlvbnMuR2VuZXJpYy5MaXN0YDFbW0FwbG9yaXMuQ2hhcnQuQ29sdW1uT3JpZW50ZWRMZWdlbmRFbGVtZW50LCBBcGxvcmlzLkNoYXJ0LCBWZXJzaW9uPTQuMC4wLjE0ODYsIEN1bHR1cmU9bmV1dHJhbCwgUHVibGljS2V5VG9rZW49MTZmYzEzYTIyNmMwZTk1MV1dAwAAAAZfaXRlbXMFX3NpemUIX3ZlcnNpb24EAAArQXBsb3Jpcy5DaGFydC5Db2x1bW5PcmllbnRlZExlZ2VuZEVsZW1lbnRbXQIAAAAICAkPAQAAAgAAAGEAAAAB5AAAACUAAAAJEAEAAAIAAAACAAAAAeUAAAAmAAAACREBAAAAAAAAAAAAAAHoAAAAcAAAAAoKAAAAAAAJEgEAAAkTAQAAAQAAAP7///8BAAAAAQAAAAEAAAABAAAAAQAAAAEAAAAAAAEB6QAAAHEAAAAKCgkUAQAACRUBAAABAAAAAAAAAAAAAAAAAAAAAAEB7QAAAHUAAAAJFgEAAAoH7gAAAAABAAAABAAAAAQfQXBsb3Jpcy5CYXNlLk9iamVjdHMuRGF0YU9iamVjdAMAAAAJYwAAAA0DB+8AAAAAAQAAAAQAAAAEHEFwbG9yaXMuQmFzZS5VSS5WaXN1YWxPYmplY3QDAAAACWUAAAANAwHwAAAAeAAAAAoKAAAAAAAAAAANAAAAAAEB8QAAAHgAAAAKCgEAAAAAAAAA/////wABAfIAAAB4AAAACgoBAAAA////AP////8AAQHzAAAAeAAAAAoKAQAAAAAAAAD/////AAEP9AAAAAEAAAAIAAAAAAf1AAAAAAEAAAAAAAAABBdBcGxvcmlzLkNoYXJ0LlZhbHVlTGluZQIAAAAH9gAAAAABAAAAAAAAAAQXQXBsb3Jpcy5DaGFydC5BeGlzQnJlYWsCAAAAB/cAAAAAAQAAAAAAAAAEFkFwbG9yaXMuQ2hhcnQuVGlja01hcmsCAAAABfgAAAAaQXBsb3Jpcy5CYXNlLk9iamVjdHMuQ29sb3IHAAAAEkRhdGFPYmplY3QrbVBhcmVudBVEYXRhT2JqZWN0K21Db250YWluZXIFbVR5cGUEbVJHQhBtVGhlbWVDb2xvckluZGV4DG1BdXRvVXBkYXRlZAltTW9kaWZpZWQEAgAAAAAAH0FwbG9yaXMuQmFzZS5PYmplY3RzLkxpbmVGb3JtYXQDAAAACAgIAQEDAAAACZkAAAAKAAAAAAAAAAANAAAAAAAF+QAAABpBcGxvcmlzLkJhc2UuT2JqZWN0cy5Db2xvcgcAAAASRGF0YU9iamVjdCttUGFyZW50FURhdGFPYmplY3QrbUNvbnRhaW5lcgVtVHlwZQRtUkdCEG1UaGVtZUNvbG9ySW5kZXgMbUF1dG9VcGRhdGVkCW1Nb2RpZmllZAQCAAAAAAAfQXBsb3Jpcy5CYXNlLk9iamVjdHMuTGluZUZvcm1hdAMAAAAICAgBAQMAAAAJmQAAAAoBAAAAAAAAAP////8AAQ/6AAAAAQAAAAilAwAAAfsAAAB4AAAACgoAAAAAAAAAAA0AAAAAAQH8AAAAeAAAAAoKAQAAAAAAAAD/////AAEH/QAAAAABAAAAAAAAAAQdQXBsb3Jpcy5CYXNlLk9iamVjdHMuVmFyaWFibGUDAAAAD/4AAAABAAAACAAAAAAH/wAAAAABAAAAEAAAAAQWQXBsb3Jpcy5DaGFydC5UaWNrTWFyawIAAAAJFwEAAAkYAQAACRkBAAAJGgEAAAkbAQAACRwBAAAJHQEAAA0JBwABAAAAAQAAABAAAAAEH0FwbG9yaXMuQmFzZS5PYmplY3RzLkRhdGFPYmplY3QDAAAACRcBAAAJGAEAAAkZAQAACRoBAAAJGwEAAAkcAQAACR0BAAANCQUBAQAAGkFwbG9yaXMuQmFzZS5PYmplY3RzLkNvbG9yBwAAABJEYXRhT2JqZWN0K21QYXJlbnQVRGF0YU9iamVjdCttQ29udGFpbmVyBW1UeXBlBG1SR0IQbVRoZW1lQ29sb3JJbmRleAxtQXV0b1VwZGF0ZWQJbU1vZGlmaWVkBAIAAAAAAB9BcGxvcmlzLkJhc2UuT2JqZWN0cy5MaW5lRm9ybWF0AwAAAAgICAEBAwAAAAm+AAAACgAAAAAAAAAADQAAAAAABQIBAAAaQXBsb3Jpcy5CYXNlLk9iamVjdHMuQ29sb3IHAAAAEkRhdGFPYmplY3QrbVBhcmVudBVEYXRhT2JqZWN0K21Db250YWluZXIFbVR5cGUEbVJHQhBtVGhlbWVDb2xvckluZGV4DG1BdXRvVXBkYXRlZAltTW9kaWZpZWQEAgAAAAAAH0FwbG9yaXMuQmFzZS5PYmplY3RzLkxpbmVGb3JtYXQDAAAACAgIAQEDAAAACb4AAAAKAQAAAAAAAAD/////AAEPAwEAAAEAAAAIpgMAAAEEAQAAeAAAAAoKAAAAAAAAAAANAAAAAAEBBQEAAHgAAAAKCgEAAAAAAAAA/////wABDwYBAAABAAAACAAAAAAFBw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JaAAAAAMAAAAJaQAAAAlqAAAACWsAAAABAAAAAAoJkwAAAAlsAAAAAQAAAAoAAAAAAAAAAAUIAQ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HAAAACQEAAAAAAAAAAAYeAQAAAS4DAAAABh8BAAABLAYgAQAAAS0GIQEAAAErAQAAAAAKCgYiAQAACE0vZC95eXl5AAAAAAoAAAAAAAAAAAUJAQ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C4wLjE0ODY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BIwEAABMAAAAAAAAAAgAAAP////8JBwAAAAkkAQAABiUBAAApR3Jvd24gU2lnbmlmaWNhbnRseSAoYXQgbGVhc3QgNTAlIGdyb3d0aCkKCgAAAAAAAAAAAAAAAAoKAAkmAQAACScBAAAJKAEAAAAAAAAAAAAAAAAAAAAAAAAAAAkpAQAACQEAAAAJAQAAAAkqAQAAAQoBAAAJAQAACQEAAAABKwEAABMAAAAAAAAAAwAAAP////8JBwAAAAksAQAABi0BAAAQR3Jvd24gTW9kZXJhdGVseQoKAAAAAAAAAAAAAAAACgoACS4BAAAJLwEAAAkwAQAAAAAAAAABAAAAAAAAAAAAAAAACTEBAAAJAQAAAAkBAAAACTIBAAAFCw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YzAQAAFUVxdWlwcGVkIA0KTmF2aWdhdG9ycwAFNAEAAB5BcGxvcmlzLkNoYXJ0LkNoYXJ0R3JvdXBBbmNob3IBAAAAB3ZhbHVlX18ACAIAAAAAAAAACgAAAAABAAAAAQAAAAk1AQAACTYBAAAJNwEAAAoJBwAAAAk4AQAACQEAAAAJAQAAAAk5AQAAAQwBAAALAQAACQEAAAAGOgEAAAlMb3cgRnVlbHMAATsBAAA0AQAAAAAAAAoAAAAAAQAAAAEAAAAJPAEAAAk9AQAACT4BAAAKCQcAAAAJPwEAAAkBAAAACQEAAAAJQAEAAAENAQAACwEAAAkBAAAABkEBAAAPQ2hlY2sgDQpFbmdpbmVzAAFCAQAANAEAAAAAAAAKAAAAAAEAAAABAAAACUMBAAAJRAEAAAlFAQAACgkHAAAACUYBAAAJAQAAAAkBAAAACUcBAAABDgEAAAsBAAAJAQAAAAZIAQAAFUxpbWl0ZWQgDQpUZWNoLiBVc2VycwABSQEAADQBAAAAAAAACgAAAAABAAAAAQAAAAlKAQAACUsBAAAJTAEAAAoJBwAAAAlNAQAACQEAAAAJAQAAAAlOAQAABw8BAAAAAQAAAAQAAAAEKUFwbG9yaXMuQ2hhcnQuQ29sdW1uT3JpZW50ZWRMZWdlbmRFbGVtZW50AgAAAAlPAQAACVABAAAKCgcQAQAAAAEAAAAEAAAABB9BcGxvcmlzLkJhc2UuT2JqZWN0cy5EYXRhT2JqZWN0AwAAAAlPAQAACVABAAAKCgcRAQAAAAEAAAAAAAAABBxBcGxvcmlzLkJhc2UuVUkuVmlzdWFsT2JqZWN0AwAAAAESAQAAeAAAAAoKAAAAAAAAAAANAAAAAAEBEwEAAHgAAAAKCgEAAAAAAAAA/////wABARQBAAB4AAAACgoBAAAA////AP////8AAQEVAQAAeAAAAAoKAQAAAAAAAAD/////AAEPFgEAAAEAAAAIAAAAAAUXAQAAFkFwbG9yaXMuQ2hhcnQuVGlja01hcmsNAAAAC21WaXN1YWxMaW5lCW1HcmlkTGluZQZtTGFiZWwFbUF4aXMIbVZpc2libGUJbVBvc2l0aW9uC21TdGFydFBvaW50CW1FbmRQb2ludAxtSGFzR3JpZExpbmUYRGF0YU9iamVjdCttQ2hpbGRPYmplY3RzEkRhdGFPYmplY3QrbVBhcmVudBVEYXRhT2JqZWN0K21Db250YWluZXIZRGF0YU9iamVjdCttVmlzdWFsT2JqZWN0cwQEBAQAAAQEAAMEBAMaQXBsb3Jpcy5CYXNlLlVJLlZpc3VhbExpbmUDAAAAGkFwbG9yaXMuQmFzZS5VSS5WaXN1YWxMaW5lAwAAABVBcGxvcmlzLkJhc2UuVUkuTGFiZWwDAAAAEkFwbG9yaXMuQ2hhcnQuQXhpcwIAAAABBhVTeXN0ZW0uRHJhd2luZy5Qb2ludEYEAAAAFVN5c3RlbS5EcmF3aW5nLlBvaW50RgQAAAA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UQEAAAoJUgEAAAkHAAAAAQAAAAAAAAAAAVMBAAAhAAAA0MgYQl95ikMBVAEAACEAAADQyAhCX3mKQwAJVQEAAAkHAAAACQEAAAAJVgEAAAEYAQAAFwEAAAlXAQAACglYAQAACQcAAAABmpmZmZmZuT8BWQEAACEAAADQyBhCjm1pQwFaAQAAIQAAANDICEKObWlDAAlbAQAACQcAAAAJAQAAAAlcAQAAARkBAAAXAQAACV0BAAAKCV4BAAAJBwAAAAGamZmZmZnJPwFfAQAAIQAAANDIGEJd6D1DAWABAAAhAAAA0MgIQl3oPUMACWEBAAAJBwAAAAkBAAAACWIBAAABGgEAABcBAAAJYwEAAAoJZAEAAAkHAAAAATMzMzMzM9M/AWUBAAAhAAAA0MgYQi1jEkMBZgEAACEAAADQyAhCLWMSQwAJZwEAAAkHAAAACQEAAAAJaAEAAAEbAQAAFwEAAAlpAQAACglqAQAACQcAAAABmpmZmZmZ2T8BawEAACEAAADQyBhC+bvNQgFsAQAAIQAAANDICEL5u81CAAltAQAACQcAAAAJAQAAAAluAQAAARwBAAAXAQAACW8BAAAKCXABAAAJBwAAAAEAAAAAAADgPwFxAQAAIQAAANDIGEIwY21CAXIBAAAhAAAA0MgIQjBjbUIACXMBAAAJBwAAAAkBAAAACXQBAAABHQEAABcBAAAJdQEAAAoJdgEAAAkHAAAAATMzMzMzM+M/AXcBAAAhAAAA0MgYQrw5fUEBeAEAACEAAADQyAhCvDl9QQAJeQEAAAkHAAAACQEAAAAJegEAAAUkAQAAogFBcGxvcmlzLkJhc2UuT2JqZWN0cy5EYXRhT2JqZWN0Q29sbGVjdGlvbmAxW1tBcGxvcmlzLkNoYXJ0LkNoYXJ0RGF0YU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wLjAuMTQ4NiwgQ3VsdHVyZT1uZXV0cmFsLCBQdWJsaWNLZXlUb2tlbj0xNmZjMTNhMjI2YzBlOTUxXV0DAAAAmAFTeXN0ZW0uQ29sbGVjdGlvbnMuR2VuZXJpYy5MaXN0YDFbW0FwbG9yaXMuQ2hhcnQuQ2hhcnREYXRh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7AQAACXwBAAAJCQEAAAkBAAAACX0BAAAFJgEAABxBcGxvcmlzLkNoYXJ0LkNvbm5lY3RlZExhYmVsJA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CAAAAClgCAAAFfgEAACtBcGxvcmlzLkNoYXJ0LkNvbm5lY3RlZExhYmVsK2VDb25uZWN0b3JNb2RlAQAAAAd2YWx1ZV9fAAgCAAAAAQAAAAV/AQAANkFwbG9yaXMuQ2hhcnQuQ29ubmVjdGVkTGFiZWwrZUFuZ2xlZENvbm5lY3RvckRpcmVjdGlvbgEAAAAHdmFsdWVfXwAIAgAAAAAAAAABgAEAABUAAACvD3pDNJF1Q9TQC0JQDONBBYEBAAAtQXBsb3Jpcy5DaGFydC5Db25uZWN0ZWRMYWJlbCtlVGFyZ2V0QXJlYVNoYXBlAQAAAAd2YWx1ZV9fAAgCAAAAAAAAAAAAEEEBAYIBAAAhAAAA8oGSQ/zggUMBgwEAAKAAAAAEAAAAAAAAAAAAAAAACYQBAAAAAAAACYUBAAAAAAGGAQAAqQAAAAAAAAABhwEAAHIAAAAAAAxCAABgQQGIAQAAFQAAAAAAAAAAAAAAAAAAAAAAAABeutk/CSUBAAAKCYkBAAAGigEAAAAgAwAA/////wABCgmLAQAAAQAKAQcnAQAAAAEAAAACAAAABBVTeXN0ZW0uRHJhd2luZy5Qb2ludEYEAAAAAYwBAAAhAAAA8oGSQ/zggUMBjQEAACEAAADQyARCcN9zQwcoAQAAAAEAAAACAAAABBdBcGxvcmlzLkJhc2UuQW5jaG9yTW9kZQMAAAABjgEAAKAAAAAEAAAAAY8BAACgAAAAAgAAAAEpAQAAJQAAAAmQAQAAAQAAAAEAAAABKgEAACYAAAAJkQEAAAEAAAABAAAAASwBAAAkAQAACgmSAQAACZMBAAAJCgEAAAkBAAAACZQBAAABLgEAACYBAAAKWAIAAAGVAQAAfgEAAAEAAAABlgEAAH8BAAAAAAAAAZcBAAAVAAAArw96Qw6jCUPU0AtCTNzLQgGYAQAAgQEAAAAAAAAAABBBAQGZAQAAIQAAAPKBkkMhmjxDAZoBAACgAAAABAAAAAAAAAAAAAAAAAmbAQAAAAAAAAmcAQAAAAABnQEAAKkAAAAAAAAAAZ4BAAByAAAAAAAoQgAAYEEBnwEAABUAAAAAAAAAAAAAAAAAAAAAAAAAXrrZPwktAQAACgmgAQAACYoBAAAgAwAA/////wABCgmhAQAAAQAKAQcvAQAAAAEAAAACAAAABBVTeXN0ZW0uRHJhd2luZy5Qb2ludEYEAAAAAaIBAAAhAAAA8oGSQyGaPEMBowEAACEAAADQyARCPHcJQwcwAQAAAAEAAAACAAAABBdBcGxvcmlzLkJhc2UuQW5jaG9yTW9kZQMAAAABpAEAAKAAAAAEAAAAAaUBAACgAAAAAgAAAAExAQAAJQAAAAmmAQAAAQAAAAEAAAABMgEAACYAAAAJpwEAAAEAAAABAAAADzUBAAABAAAACAAAAAAHNgEAAAABAAAAAQAAAAQVQXBsb3Jpcy5CYXNlLlVJLkxhYmVsAwAAAAmoAQAAATcBAAA0AAAAAakBAAAhAAAAJeuNQl/5jEMBqgEAAKAAAAADAAAAAAAAAAAAAAAACasBAAAAAAAACawBAAAAAAGtAQAAqQAAAAAAAAABrgEAAHIAAAAAAHBCAADgQQGvAQAAFQAAAKqqMEJV1YxDMehTQqqqukESg74/CTMBAAAKCbABAAAJigEAACADAAD/////AQEKCbEBAAABAAoBATgBAAAlAAAACbIBAAAAAAAAAAAAAAE5AQAAJgAAAAmzAQAAAgAAAAQAAAAPPAEAAAEAAAAIAAAAAAc9AQAAAAEAAAABAAAABBVBcGxvcmlzLkJhc2UuVUkuTGFiZWwDAAAACbQBAAABPgEAADQAAAABtQEAACEAAABQfAhDX/mMQwG2AQAAoAAAAAMAAAAAAAAAAAAAAAAJtwEAAAAAAAAJuAEAAAAAAbkBAACpAAAAAAAAAAG6AQAAcgAAAAAAZEIAAGBBAbsBAAAVAAAAqqrdQlXVjEMx6ElCqqo6QRKDvj8JOgEAAAoJvAEAAAmKAQAAIAMAAP////8BAQoJvQEAAAEACgEBPwEAACUAAAAJvgEAAAAAAAAAAAAAAUABAAAmAAAACb8BAAACAAAABAAAAA9DAQAAAQAAAAgAAAAAB0QBAAAAAQAAAAEAAAAEFUFwbG9yaXMuQmFzZS5VSS5MYWJlbAMAAAAJwAEAAAFFAQAANAAAAAHBAQAAIQAAAAwDSkNf+YxDAcIBAACgAAAAAwAAAAAAAAAAAAAAAAnDAQAAAAAAAAnEAQAAAAABxQEAAKkAAAAAAAAAAcYBAAByAAAAAAA0QgAA4EEBxwEAABUAAACqqjVDVdWMQzHoIUKqqrpBEoO+PwlBAQAACgnIAQAACYoBAAAgAwAA/////wEBCgnJAQAAAQAKAQFGAQAAJQAAAAnKAQAAAAAAAAAAAAABRwEAACYAAAAJywEAAAIAAAACAAAAD0oBAAABAAAACAAAAAAHSwEAAAABAAAAAQAAAAQVQXBsb3Jpcy5CYXNlLlVJLkxhYmVsAwAAAAnMAQAAAUwBAAA0AAAAAc0BAAAhAAAA5cSFQ1/5jEMBzgEAAKAAAAADAAAAAAAAAAAAAAAACc8BAAAAAAAACdABAAAAAAHRAQAAqQAAAAAAAAAB0gEAAHIAAAAAAIZCAADgQQHTAQAAFQAAAFVVbkNV1YxDhT1rQqqqukESg74/CUgBAAAKCdQBAAAJigEAACADAAD/////AQEKCdUBAAABAAoBAU0BAAAlAAAACdYBAAAAAAAAAAAAAAFOAQAAJgAAAAnXAQAAAgAAAAIAAAAFTwEAAClBcGxvcmlzLkNoYXJ0LkNvbHVtbk9yaWVudGVkTGVnZW5kRWxlbWVudA0AAAAHbUxlZ2VuZAttRGF0YVNlcmllcxRMZWdlbmRFbGVtZW50K21MYWJlbBhMZWdlbmRFbGVtZW50K21SZWN0YW5nbGUTTGVnZW5kRWxlbWVudCttTGluZRVMZWdlbmRFbGVtZW50K21DaXJjbGUVTGVnZW5kRWxlbWVudCttTWFya2VyFExlZ2VuZEVsZW1lbnQrbUluZGV4HUxlZ2VuZEVsZW1lbnQrbUxhYmVsUG9zaXRpb25zGERhdGFPYmplY3QrbUNoaWxkT2JqZWN0cxJEYXRhT2JqZWN0K21QYXJlbnQVRGF0YU9iamVjdCttQ29udGFpbmVyGURhdGFPYmplY3QrbVZpc3VhbE9iamVjdHMEBAQEBAQEAAQDBAQDIkFwbG9yaXMuQ2hhcnQuQ29sdW1uT3JpZW50ZWRMZWdlbmQCAAAAHUFwbG9yaXMuQ2hhcnQuQ2hhcnREYXRhU2VyaWVzAgAAABVBcGxvcmlzLkJhc2UuVUkuTGFiZWwDAAAAGkFwbG9yaXMuQmFzZS5VSS5WaXN1YWxSZWN0AwAAABpBcGxvcmlzLkJhc2UuVUkuVmlzdWFsTGluZQMAAAAdQXBsb3Jpcy5CYXNlLlVJLlZpc3VhbEVsbGlwc2UDAAAAGkFwbG9yaXMuQ2hhcnQuVmlzdWFsTWFya2VyAgAAAAgXU3lzdGVtLkRyYXdpbmcuUG9pbnRGW10E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FAAAAAkJAQAACdgBAAAJ2QEAAAoKCgAAAAAKCdoBAAAJFAAAAAkBAAAACdsBAAABUAEAAE8BAAAJFAAAAAkKAQAACdwBAAAJ3QEAAAoKCgEAAAAKCd4BAAAJFAAAAAkBAAAACd8BAAABUQEAADAAAAAB4AEAACEAAADQyBhCX3mKQwHhAQAAIQAAANDICEJfeYpDCeIBAADMAQAA/////wEBCgnjAQAAAQAKAAFSAQAANAAAAAHkAQAAIQAAANDIAkJfeYpDAeUBAACgAAAAAgAAAAAAAAAAAAAAAAnmAQAAAAAAAAnnAQAAAAAB6AEAAKkAAAAAAAAAAekBAAByAAAAAACQQQAAYEEB6gEAABUAAABVVX1BqmqHQ2LQj0GqqjpBEoO+PwbrAQAAAjAlCgnsAQAACYoBAADQAgAA/////wEBCgntAQAAAQAKAAFVAQAAJQAAAAnaAAAAAAAAAAAAAAABVgEAACYAAAAJ7gEAAAIAAAACAAAAAVcBAAAwAAAAAe8BAAAhAAAA0MgYQo5taUMB8AEAACEAAADQyAhCjm1pQwnxAQAAzAEAAP////8BAQoJ8gEAAAEACgABWAEAADQAAAAB8wEAACEAAADQyAJCjm1pQwH0AQAAoAAAAAIAAAAAAAAAAAAAAAAJ9QEAAAAAAAAJ9gEAAAAAAfcBAACpAAAAAAAAAAH4AQAAcgAAAAAAyEEAAGBBAfkBAAAVAAAAAAAgQf9/Y0MMe75Bqqo6QRKDvj8G+gEAAAMxMCUKCfsBAAAJigEAANACAAD/////AQEKCfwBAAABAAoAAVsBAAAlAAAACdoAAAAAAAAAAAAAAAFcAQAAJgAAAAn9AQAAAgAAAAIAAAABXQEAADAAAAAB/gEAACEAAADQyBhCXeg9QwH/AQAAIQAAANDICEJd6D1DCQACAADMAQAA/////wEBCgkBAgAAAQAKAAFeAQAANAAAAAECAgAAIQAAANDIAkJd6D1DAQMCAACgAAAAAgAAAAAAAAAAAAAAAAkEAgAAAAAAAAkFAgAAAAABBgIAAKkAAAAAAAAAAQcCAAByAAAAAADIQQAAYEEBCAIAABUAAAAAACBBqio4Qwx7vkGqqjpBEoO+PwYJAgAAAzIwJQoJCgIAAAmKAQAA0AIAAP////8BAQoJCwIAAAEACgABYQEAACUAAAAJ2gAAAAAAAAAAAAAAAWIBAAAmAAAACQwCAAACAAAAAgAAAAFjAQAAMAAAAAENAgAAIQAAANDIGEItYxJDAQ4CAAAhAAAA0MgIQi1jEkMJDwIAAMwBAAD/////AQEKCRACAAABAAoAAWQBAAA0AAAAARECAAAhAAAA0MgCQi1jEkMBEgIAAKAAAAACAAAAAAAAAAAAAAAACRMCAAAAAAAACRQCAAAAAAEVAgAAqQAAAAAAAAABFgIAAHIAAAAAAMhBAABgQQEXAgAAFQAAAAAAIEFV1QxDDHu+QaqqOkESg74/BhgCAAADMzAlCgkZAgAACYoBAADQAgAA/////wEBCgkaAgAAAQAKAAFnAQAAJQAAAAnaAAAAAAAAAAAAAAABaAEAACYAAAAJGwIAAAIAAAACAAAAAWkBAAAwAAAAARwCAAAhAAAA0MgYQvm7zUIBHQIAACEAAADQyAhC+bvNQgkeAgAAzAEAAP////8BAQoJHwIAAAEACgABagEAADQAAAABIAIAACEAAADQyAJC+bvNQgEhAgAAoAAAAAIAAAAAAAAAAAAAAAAJIgIAAAAAAAAJIwIAAAAAASQCAACpAAAAAAAAAAElAgAAcgAAAAAAyEEAAGBBASYCAAAVAAAAAAAgQVVVwUIMe75Bqqo6QRKDvj8GJwIAAAM0MCUKCSgCAAAJigEAANACAAD/////AQEKCSkCAAABAAoAAW0BAAAlAAAACdoAAAAAAAAAAAAAAAFuAQAAJgAAAAkqAgAAAgAAAAIAAAABbwEAADAAAAABKwIAACEAAADQyBhCMGNtQgEsAgAAIQAAANDICEIwY21CCS0CAADMAQAA/////wEBCgkuAgAAAQAKAAFwAQAANAAAAAEvAgAAIQAAANDIAkIwY21CATACAACgAAAAAgAAAAAAAAAAAAAAAAkxAgAAAAAAAAkyAgAAAAABMwIAAKkAAAAAAAAAATQCAAByAAAAAADIQQAAYEEBNQIAABUAAAAAACBBVVVVQgx7vkGqqjpBEoO+PwY2AgAAAzUwJQoJNwIAAAmKAQAA0AIAAP////8BAQoJOAIAAAEACgABcwEAACUAAAAJ2gAAAAAAAAAAAAAAAXQBAAAmAAAACTkCAAACAAAAAgAAAAF1AQAAMAAAAAE6AgAAIQAAANDIGEK8OX1BATsCAAAhAAAA0MgIQrw5fUEJPAIAAMwBAAD/////AQEKCT0CAAABAAoAAXYBAAA0AAAAAT4CAAAhAAAA0MgCQrw5fUEBPwIAAKAAAAACAAAAAAAAAAAAAAAACUACAAAAAAAACUECAAAAAAFCAgAAqQAAAAAAAAABQwIAAHIAAAAAAMhBAABgQQFEAgAAFQAAAAAAIEEAACBBDHu+QaqqOkESg74/BkUCAAADNjAlCglGAgAACYoBAADQAgAA/////wEBCglHAgAAAQAKAAF5AQAAJQAAAAnaAAAAAAAAAAAAAAABegEAACYAAAAJSAIAAAIAAAACAAAABHsBAACYAVN5c3RlbS5Db2xsZWN0aW9ucy5HZW5lcmljLkxpc3RgMVtbQXBsb3Jpcy5DaGFydC5DaGFydERhdGFFbGVtZW50LCBBcGxvcmlzLkNoYXJ0LCBWZXJzaW9uPTQuMC4wLjE0ODYsIEN1bHR1cmU9bmV1dHJhbCwgUHVibGljS2V5VG9rZW49MTZmYzEzYTIyNmMwZTk1MV1dAwAAAAZfaXRlbXMFX3NpemUIX3ZlcnNpb24EAAAgQXBsb3Jpcy5DaGFydC5DaGFydERhdGFFbGVtZW50W10CAAAACAgJSQIAAAQAAAASAAAAAXwBAAAlAAAACUoCAAAEAAAAEgAAAAF9AQAAJgAAAAlLAgAAAAAAAAAAAAAFhA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QkBAAAKAAAAAABAQQl2AAAACXcAAAAJTAIAAAEACU0CAAABhQEAAHgAAAAKCgAAAAD///8ADgAAAAABAYkBAACtAAAACU4CAAABAAAAAQAAAAGLAQAAdQAAAAlPAgAACgeQAQAAAAEAAAAEAAAABB9BcGxvcmlzLkJhc2UuT2JqZWN0cy5EYXRhT2JqZWN0AwAAAAkkAQAADQMHkQEAAAABAAAABAAAAAQcQXBsb3Jpcy5CYXNlLlVJLlZpc3VhbE9iamVjdAMAAAAJJgEAAA0DAZIBAAB7AQAACVACAAAEAAAAEgAAAAGTAQAAJQAAAAlRAgAABAAAABIAAAABlAEAACYAAAAJUgIAAAAAAAAAAAAABZs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KAQAACgAAAAAAQEEJdgAAAAl3AAAACVMCAAABAAlUAgAAAZwBAAB4AAAACgoAAAAA////AA4AAAAAAQGgAQAArQAAAAlVAgAAAQAAAAEAAAABoQEAAHUAAAAJVgIAAAoHpgEAAAABAAAABAAAAAQfQXBsb3Jpcy5CYXNlLk9iamVjdHMuRGF0YU9iamVjdAMAAAAJLAEAAA0DB6cBAAAAAQAAAAQAAAAEHEFwbG9yaXMuQmFzZS5VSS5WaXN1YWxPYmplY3QDAAAACS4BAAANAwGoAQAANAAAAAFXAgAAIQAAACXrjUJQiXRCAVgCAACgAAAAAQAAAAAAAAAAAAAAAAlZAgAAAAAAAAlaAgAAAAABWwIAAKkAAAAAAAAAAVwCAAByAAAAAADIQQAAYEEBXQIAABUAAACqqmxCqqpEQgx7vkGqqjpBEoO+PwZeAgAAAzQ5JQoJXwIAAAmKAQAANAMAAP////8BAQoJYAIAAAEACgABqwEAACMAAAAKCgAAAAAAKEEJdgAAAAl3AAAACWECAAAAAAliAgAAAawBAAB4AAAACgoAAAAA////AA4AAAAAAQGwAQAArQAAAAljAgAAAQAAAAEAAAABsQEAAHUAAAAJZAIAAAoHsgEAAAABAAAAAAAAAAQfQXBsb3Jpcy5CYXNlLk9iamVjdHMuRGF0YU9iamVjdAMAAAAHswEAAAABAAAABAAAAAQcQXBsb3Jpcy5CYXNlLlVJLlZpc3VhbE9iamVjdAMAAAAJNwEAAAmoAQAACgoBtAEAADQAAAABZQIAACEAAABQfAhDVZbjQgFmAgAAoAAAAAEAAAAAAAAAAAAAAAAJZwIAAAAAAAAJaAIAAAAAAWkCAACpAAAAAAAAAAFqAgAAcgAAAAAAyEEAAGBBAWsCAAAVAAAAVVX4Qv//zEIMe75Bqqo6QRKDvj8GbAIAAAMzNyUKCW0CAAAJigEAADQDAAD/////AQEKCW4CAAABAAoAAbcBAAAjAAAACgoAAAAAAChBCXYAAAAJdwAAAAlvAgAAAAAJcAIAAAG4AQAAeAAAAAoKAAAAAP///wAOAAAAAAEBvAEAAK0AAAAJcQIAAAEAAAABAAAAAb0BAAB1AAAACXICAAAKB74BAAAAAQAAAAAAAAAEH0FwbG9yaXMuQmFzZS5PYmplY3RzLkRhdGFPYmplY3QDAAAAB78BAAAAAQAAAAQAAAAEHEFwbG9yaXMuQmFzZS5VSS5WaXN1YWxPYmplY3QDAAAACT4BAAAJtAEAAAoKAcABAAA0AAAAAXMCAAAhAAAADANKQwBCEEMBdAIAAKAAAAABAAAAAAAAAAAAAAAACXUCAAAAAAAACXYCAAAAAAF3AgAAqQAAAAAAAAABeAIAAHIAAAAAAMhBAABgQQF5AgAAFQAAAAAAPkMAgARDDHu+QaqqOkESg74/BnoCAAADMzAlCgl7AgAACYoBAAA0AwAA/////wEBCgl8AgAAAQAKAAHDAQAAIwAAAAoKAAAAAAAoQQl2AAAACXcAAAAJfQIAAAAACX4CAAABxAEAAHgAAAAKCgAAAAD///8ADgAAAAABAcgBAACtAAAACX8CAAABAAAAAQAAAAHJAQAAdQAAAAmAAgAACgfKAQAAAAEAAAAAAAAABB9BcGxvcmlzLkJhc2UuT2JqZWN0cy5EYXRhT2JqZWN0AwAAAAfLAQAAAAEAAAAEAAAABBxBcGxvcmlzLkJhc2UuVUkuVmlzdWFsT2JqZWN0AwAAAAlFAQAACcABAAAKCgHMAQAANAAAAAGBAgAAIQAAAOXEhUMOowNDAYICAACgAAAAAQAAAAAAAAAAAAAAAAmDAgAAAAAAAAmEAgAAAAABhQIAAKkAAAAAAAAAAYYCAAByAAAAAADIQQAAYEEBhwIAABUAAABV1X9D///vQgx7vkGqqjpBEoO+PwaIAgAAAzMzJQoJiQIAAAmKAQAANAMAAP////8BAQoJigIAAAEACgABzwEAACMAAAAKCgAAAAAAKEEJdgAAAAl3AAAACYsCAAAAAAmMAgAAAdABAAB4AAAACgoAAAAA////AA4AAAAAAQHUAQAArQAAAAmNAgAAAQAAAAEAAAAB1QEAAHUAAAAJjgIAAAoH1gEAAAABAAAAAAAAAAQfQXBsb3Jpcy5CYXNlLk9iamVjdHMuRGF0YU9iamVjdAMAAAAH1wEAAAABAAAABAAAAAQcQXBsb3Jpcy5CYXNlLlVJLlZpc3VhbE9iamVjdAMAAAAJTAEAAAnMAQAACgoB2AEAADQAAAABjwIAACEAAAB2KxVCvnudQwGQAgAAoAAAAAUAAAAAAAAAAAAAAAAJkQIAAAAAAAAJkgIAAAAAAZMCAACpAAAAAAAAAAGUAgAAcgAAAAAAZkMAAGBBAZUCAAAVAAAAVVUPQgCAnUO2pEJDqqo6QRKDvj8JJQEAAAoJlgIAAAmKAQAAhAMAAP////8BAQoJlwIAAAEACgAB2QEAABwAAAABmAIAACEAAAALXLZBvnudQwGZAgAAIQAAAHYrCUJsO6NDCZoCAAAJmwIAAAAAAAAKAZwCAAByAAAAAAAAAAAAAAABnQIAAHIAAAAAAAAAAAAAAAAAAAABngIAABUAAAAAAAAAAAAAAAAAAAAAAAAAmAMAAP////8BAQoJnwIAAAEACgAB2gEAACUAAAAJygEAAAAAAAAAAAAAAdsBAAAmAAAACaACAAACAAAAAgAAAAHcAQAANAAAAAGhAgAAIQAAAHYrFULfxqRDAaICAACgAAAABQAAAAAAAAAAAAAAAAmjAgAAAAAAAAmkAgAAAAABpQIAAKkAAAAAAAAAAaYCAAByAAAAAADMQgAAYEEBpwIAABUAAABVVQ9CVZWkQxj0r0KqqjpBEoO+PwktAQAACgmoAgAACYoBAACEAwAA/////wEBCgmpAgAAAQAKAAHdAQAAHAAAAAGqAgAAIQAAAAtctkHfxqRDAasCAAAhAAAAdisJQo2GqkMJrAIAAAmtAgAAAAAAAAoBrgIAAHIAAAAAAAAAAAAAAAGvAgAAcgAAAAAAAAAAAAAAAAAAAAGwAgAAFQAAAAAAAAAAAAAAAAAAAAAAAACYAwAA/////wEBCgmxAgAAAQAKAAHeAQAAJQAAAAnKAQAAAAAAAAAAAAAB3wEAACYAAAAJsgIAAAIAAAACAAAAAeIBAABwAAAACgoAAABAPwmzAgAACbQCAAABAAAA/v///wAAAAABAAAAAAAAAAAAAAABAAAAAAAAAAAAAAHjAQAAdQAAAAm1AgAACgHmAQAAIwAAAAoKAAAAAAAoQQl2AAAACXcAAAAJtgIAAAAACbcCAAAB5wEAAHgAAAAKCgAAAAD///8ADgAAAAABAewBAACtAAAACbgCAAABAAAAAQAAAAHtAQAAdQAAAAm5AgAACgfuAQAAAAEAAAAEAAAABBxBcGxvcmlzLkJhc2UuVUkuVmlzdWFsT2JqZWN0AwAAAAlRAQAACVIBAAAKCgHxAQAAcAAAAAoKAAAAQD8JugIAAAm7AgAAAQAAAP7///8AAAAAAQAAAAAAAAAAAAAAAQAAAAAAAAAAAAAB8gEAAHUAAAAJvAIAAAoB9QEAACMAAAAKCgAAAAAAKEEJdgAAAAl3AAAACb0CAAAAAAm+AgAAAfYBAAB4AAAACgoAAAAA////AA4AAAAAAQH7AQAArQAAAAm/AgAAAQAAAAMAAAAB/AEAAHUAAAAJwAIAAAoH/QEAAAABAAAABAAAAAQcQXBsb3Jpcy5CYXNlLlVJLlZpc3VhbE9iamVjdAMAAAAJVwEAAAlYAQAACgoBAAIAAHAAAAAKCgAAAEA/CcECAAAJwgIAAAEAAAD+////AAAAAAEAAAAAAAAAAAAAAAEAAAAAAAAAAAAAAQECAAB1AAAACcMCAAAKAQQCAAAjAAAACgoAAAAAAChBCXYAAAAJdwAAAAnEAgAAAAAJxQIAAAEFAgAAeAAAAAoKAAAAAP///wAOAAAAAAEBCgIAAK0AAAAJxgIAAAEAAAADAAAAAQsCAAB1AAAACccCAAAKBwwCAAAAAQAAAAQAAAAEHEFwbG9yaXMuQmFzZS5VSS5WaXN1YWxPYmplY3QDAAAACV0BAAAJXgEAAAoKAQ8CAABwAAAACgoAAABAPwnIAgAACckCAAABAAAA/v///wAAAAABAAAAAAAAAAAAAAABAAAAAAAAAAAAAAEQAgAAdQAAAAnKAgAACgETAgAAIwAAAAoKAAAAAAAoQQl2AAAACXcAAAAJywIAAAAACcwCAAABFAIAAHgAAAAKCgAAAAD///8ADgAAAAABARkCAACtAAAACc0CAAABAAAAAwAAAAEaAgAAdQAAAAnOAgAACgcbAgAAAAEAAAAEAAAABBxBcGxvcmlzLkJhc2UuVUkuVmlzdWFsT2JqZWN0AwAAAAljAQAACWQBAAAKCgEeAgAAcAAAAAoKAAAAQD8JzwIAAAnQAgAAAQAAAP7///8AAAAAAQAAAAAAAAAAAAAAAQAAAAAAAAAAAAABHwIAAHUAAAAJ0QIAAAoBIgIAACMAAAAKCgAAAAAAKEEJdgAAAAl3AAAACdICAAAAAAnTAgAAASMCAAB4AAAACgoAAAAA////AA4AAAAAAQEoAgAArQAAAAnUAgAAAQAAAAMAAAABKQIAAHUAAAAJ1QIAAAoHKgIAAAABAAAABAAAAAQcQXBsb3Jpcy5CYXNlLlVJLlZpc3VhbE9iamVjdAMAAAAJaQEAAAlqAQAACgoBLQIAAHAAAAAKCgAAAEA/CdYCAAAJ1wIAAAEAAAD+////AAAAAAEAAAAAAAAAAAAAAAEAAAAAAAAAAAAAAS4CAAB1AAAACdgCAAAKATECAAAjAAAACgoAAAAAAChBCXYAAAAJdwAAAAnZAgAAAAAJ2gIAAAEyAgAAeAAAAAoKAAAAAP///wAOAAAAAAEBNwIAAK0AAAAJ2wIAAAEAAAADAAAAATgCAAB1AAAACdwCAAAKBzkCAAAAAQAAAAQAAAAEHEFwbG9yaXMuQmFzZS5VSS5WaXN1YWxPYmplY3QDAAAACW8BAAAJcAEAAAoKATwCAABwAAAACgoAAABAPwndAgAACd4CAAABAAAA/v///wAAAAABAAAAAAAAAAAAAAABAAAAAAAAAAAAAAE9AgAAdQAAAAnfAgAACgFAAgAAIwAAAAoKAAAAAAAoQQl2AAAACXcAAAAJ4AIAAAAACeECAAABQQIAAHgAAAAKCgAAAAD///8ADgAAAAABAUYCAACtAAAACeICAAABAAAAAwAAAAFHAgAAdQAAAAnjAgAACgdIAgAAAAEAAAAEAAAABBxBcGxvcmlzLkJhc2UuVUkuVmlzdWFsT2JqZWN0AwAAAAl1AQAACXYBAAAKCgdJAgAAAAEAAAAQAAAABB5BcGxvcmlzLkNoYXJ0LkNoYXJ0RGF0YUVsZW1lbnQCAAAACeQCAAAJ5QIAAAnmAgAACecCAAANDAdKAgAAAAEAAAAQAAAABB9BcGxvcmlzLkJhc2UuT2JqZWN0cy5EYXRhT2JqZWN0AwAAAAnkAgAACeUCAAAJ5gIAAAnnAgAADQwHSwIAAAABAAAAAAAAAAQcQXBsb3Jpcy5CYXNlLlVJLlZpc3VhbE9iamVjdAMAAAABTAIAAHgAAAAKCgAAAAAAAAAADQAAAAABAU0CAAB4AAAACgoBAAAAAAAAAP////8AAQdOAgAAAAEAAAAEAAAABB1BcGxvcmlzLkJhc2UuT2JqZWN0cy5WYXJpYWJsZQMAAAAF6AIAAB1BcGxvcmlzLkJhc2UuT2JqZWN0cy5WYXJpYWJsZQIAAAAGTnVtYmVyCFBvc2l0aW9uAAAICAMAAAABAAAAAAAAAAHpAgAA6AIAAAAAAAAAAAAAAeoCAADoAgAAAAAAAAAAAAAB6wIAAOgCAAAAAAAAAAAAAA9PAgAAAQAAAAgAAAAAB1ACAAAAAQAAABAAAAAEHkFwbG9yaXMuQ2hhcnQuQ2hhcnREYXRhRWxlbWVudAIAAAAJ7AIAAAntAgAACe4CAAAJ7wIAAA0MB1ECAAAAAQAAABAAAAAEH0FwbG9yaXMuQmFzZS5PYmplY3RzLkRhdGFPYmplY3QDAAAACewCAAAJ7QIAAAnuAgAACe8CAAANDAdSAgAAAAEAAAAAAAAABBxBcGxvcmlzLkJhc2UuVUkuVmlzdWFsT2JqZWN0AwAAAAFTAgAAeAAAAAoKAAAAAAAAAAANAAAAAAEBVAIAAHgAAAAKCgEAAAAAAAAA/////wABB1UCAAAAAQAAAAQAAAAEHUFwbG9yaXMuQmFzZS5PYmplY3RzLlZhcmlhYmxlAwAAAAHwAgAA6AIAAAEAAAAAAAAAAfECAADoAgAAAAAAAAAAAAAB8gIAAOgCAAAAAAAAAAAAAAHzAgAA6AIAAAAAAAAAAAAAD1YCAAABAAAACAAAAAAFWQ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CwEAAAoAAAAAAChBCXYAAAAJdwAAAAn0AgAAAAAJ9QIAAAFaAgAAeAAAAAoKAAAAAP///wAOAAAAAAEBXwIAAK0AAAAJ9gIAAAEAAAADAAAAAWACAAB1AAAACfcCAAAKAWECAAB4AAAACgoAAAAAAAAAAA0AAAAAAAFiAgAAeAAAAAoKAAAAAAAAAAANAAAAAAEHYwIAAAABAAAABAAAAAQdQXBsb3Jpcy5CYXNlLk9iamVjdHMuVmFyaWFibGUDAAAAAfgCAADoAgAAAQAAAAAAAAAB+QIAAOgCAAAAAAAAAAAAAAH6AgAA6AIAAAAAAAAAAAAAAfsCAADoAgAAAAAAAAAAAAAPZAIAAAEAAAAITQEAAAVnAg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xBcGxvcmlzLkNoYXJ0LkNoYXJ0RGF0YUdyb3VwAgAAAAEBAQsaQXBsb3Jpcy5CYXNlLk9iamVjdHMuQ29sb3IDAAAAAQEaQXBsb3Jpcy5CYXNlLk9iamVjdHMuQ29sb3IDAAAAAwAAAAkMAQAACgAAAAAAKEEJdgAAAAl3AAAACfwCAAAAAAn9AgAAAWgCAAB4AAAACgoAAAAA////AA4AAAAAAQFtAgAArQAAAAn+AgAAAQAAAAMAAAABbgIAAHUAAAAJ/wIAAAoBbwIAAHgAAAAKCgAAAAAAAAAADQAAAAAAAXACAAB4AAAACgoAAAAAAAAAAA0AAAAAAQdxAgAAAAEAAAAEAAAABB1BcGxvcmlzLkJhc2UuT2JqZWN0cy5WYXJpYWJsZQMAAAABAAMAAOgCAAABAAAAAAAAAAEBAwAA6AIAAAAAAAAAAAAAAQIDAADoAgAAAAAAAAAAAAABAwMAAOgCAAAAAAAAAAAAAA9yAgAAAQAAAAjFAAAAAXUCAAAjAAAACgoAAAAAAChBCXYAAAAJdwAAAAkEAwAAAAAJBQMAAAF2AgAAeAAAAAoKAAAAAP///wAOAAAAAAEBewIAAK0AAAAJBgMAAAEAAAADAAAAAXwCAAB1AAAACQcDAAAKAX0CAAB4AAAACgoAAAAAAAAAAA0AAAAAAAF+AgAAeAAAAAoKAAAAAAAAAAANAAAAAAEHfwIAAAABAAAABAAAAAQdQXBsb3Jpcy5CYXNlLk9iamVjdHMuVmFyaWFibGUDAAAAAQgDAADoAgAAAQAAAAAAAAABCQMAAOgCAAAAAAAAAAAAAAEKAwAA6AIAAAAAAAAAAAAAAQsDAADoAgAAAAAAAAAAAAAPgAIAAAEAAAAILwMAAAGDAgAAIwAAAAoKAAAAAAAoQQl2AAAACXcAAAAJDAMAAAAACQ0DAAABhAIAAHgAAAAKCgAAAAD///8ADgAAAAABAYkCAACtAAAACQ4DAAABAAAAAwAAAAGKAgAAdQAAAAkPAwAACgGLAgAAeAAAAAoKAAAAAAAAAAANAAAAAAABjAIAAHgAAAAKCgAAAAAAAAAADQAAAAABB40CAAAAAQAAAAQAAAAEHUFwbG9yaXMuQmFzZS5PYmplY3RzLlZhcmlhYmxlAwAAAAEQAwAA6AIAAAEAAAAAAAAAAREDAADoAgAAAAAAAAAAAAABEgMAAOgCAAAAAAAAAAAAAAETAwAA6AIAAAAAAAAAAAAAD44CAAABAAAACKEDAAABkQIAACMAAAAKCgAAAAAAKEEJdgAAAAl3AAAACRQDAAAAAAkVAwAAAZICAAB4AAAACgoBAAAAAAAAAP////8AAQGWAgAArQAAAAkWAwAAAQAAAAEAAAABlwIAAHUAAAAJFwMAAAoBmgIAAHAAAAAKCgAAAEA/CRgDAAAJGQMAAAEAAAD+////AAAAAAEAAAAAAAAAAAAAAAEAAAAAAAAAAAAAAZsCAABxAAAACgoJGgMAAAkbAwAAAQAAAP7///8AAAAA/////wEAAZ8CAAB1AAAACRwDAAAKB6ACAAAAAQAAAAQAAAAEHEFwbG9yaXMuQmFzZS5VSS5WaXN1YWxPYmplY3QDAAAACdgBAAAJ2QEAAAoKAaMCAAAjAAAACgoAAAAAAChBCXYAAAAJdwAAAAkdAwAAAAAJHgMAAAGkAgAAeAAAAAoKAQAAAAAAAAD/////AAEBqAIAAK0AAAAJHwMAAAEAAAABAAAAAakCAAB1AAAACSADAAAKAawCAABwAAAACgoAAABAPwkhAwAACSIDAAABAAAA/v///wAAAAABAAAAAAAAAAAAAAABAAAAAAAAAAAAAAGtAgAAcQAAAAoKCSMDAAAJJAMAAAEAAAD+////AAAAAP////8BAAGxAgAAdQAAAAklAwAACgeyAgAAAAEAAAAEAAAABBxBcGxvcmlzLkJhc2UuVUkuVmlzdWFsT2JqZWN0AwAAAAncAQAACd0BAAAKCgGzAgAAeAAAAAoKAAAAAAAAAAANAAAAAAAFtAIAABpBcGxvcmlzLkJhc2UuT2JqZWN0cy5Db2xvcgcAAAASRGF0YU9iamVjdCttUGFyZW50FURhdGFPYmplY3QrbUNvbnRhaW5lcgVtVHlwZQRtUkdCEG1UaGVtZUNvbG9ySW5kZXgMbUF1dG9VcGRhdGVkCW1Nb2RpZmllZAQCAAAAAAAfQXBsb3Jpcy5CYXNlLk9iamVjdHMuTGluZUZvcm1hdAMAAAAICAgBAQMAAAAJ4gEAAAoBAAAAAAAAAP////8AAQ+1AgAAAQAAAAipAwAAAbYCAAB4AAAACgoAAAAAAAAAAA0AAAAAAAG3AgAAeAAAAAoKAAAAAAAAAAANAAAAAAEHuAIAAAABAAAABAAAAAQdQXBsb3Jpcy5CYXNlLk9iamVjdHMuVmFyaWFibGUDAAAAASYDAADoAgAAAQAAAAAAAAABJwMAAOgCAAAAAAAAAAAAAAEoAwAA6AIAAAAAAAAAAAAAASkDAADoAgAAAAAAAAAAAAAPuQIAAAEAAAAIJgAAAAG6AgAAeAAAAAoKAAAAAAAAAAANAAAAAAAFuwIAABpBcGxvcmlzLkJhc2UuT2JqZWN0cy5Db2xvcgcAAAASRGF0YU9iamVjdCttUGFyZW50FURhdGFPYmplY3QrbUNvbnRhaW5lcgVtVHlwZQRtUkdCEG1UaGVtZUNvbG9ySW5kZXgMbUF1dG9VcGRhdGVkCW1Nb2RpZmllZAQCAAAAAAAfQXBsb3Jpcy5CYXNlLk9iamVjdHMuTGluZUZvcm1hdAMAAAAICAgBAQMAAAAJ8QEAAAoBAAAAAAAAAP////8AAQ+8AgAAAQAAAAirAwAAAb0CAAB4AAAACgoAAAAAAAAAAA0AAAAAAAG+AgAAeAAAAAoKAAAAAAAAAAANAAAAAAEHvwIAAAABAAAABAAAAAQdQXBsb3Jpcy5CYXNlLk9iamVjdHMuVmFyaWFibGUDAAAAASoDAADoAgAAAQAAAAAAAAABKwMAAOgCAAAAAAAAAAAAAAEsAwAA6AIAAAAAAAAAAAAAAS0DAADoAgAAAAAAAAAAAAAPwAIAAAEAAAAIIwAAAAHBAgAAeAAAAAoKAAAAAAAAAAANAAAAAAAFwgIAABpBcGxvcmlzLkJhc2UuT2JqZWN0cy5Db2xvcgcAAAASRGF0YU9iamVjdCttUGFyZW50FURhdGFPYmplY3QrbUNvbnRhaW5lcgVtVHlwZQRtUkdCEG1UaGVtZUNvbG9ySW5kZXgMbUF1dG9VcGRhdGVkCW1Nb2RpZmllZAQCAAAAAAAfQXBsb3Jpcy5CYXNlLk9iamVjdHMuTGluZUZvcm1hdAMAAAAICAgBAQMAAAAJAAIAAAoBAAAAAAAAAP////8AAQ/DAgAAAQAAAAioAwAAAcQCAAB4AAAACgoAAAAAAAAAAA0AAAAAAAHFAgAAeAAAAAoKAAAAAAAAAAANAAAAAAEHxgIAAAABAAAABAAAAAQdQXBsb3Jpcy5CYXNlLk9iamVjdHMuVmFyaWFibGUDAAAAAS4DAADoAgAAAQAAAAAAAAABLwMAAOgCAAAAAAAAAAAAAAEwAwAA6AIAAAAAAAAAAAAAATEDAADoAgAAAAAAAAAAAAAPxwIAAAEAAAAIKwAAAAHIAgAAeAAAAAoKAAAAAAAAAAANAAAAAAAFyQIAABpBcGxvcmlzLkJhc2UuT2JqZWN0cy5Db2xvcgcAAAASRGF0YU9iamVjdCttUGFyZW50FURhdGFPYmplY3QrbUNvbnRhaW5lcgVtVHlwZQRtUkdCEG1UaGVtZUNvbG9ySW5kZXgMbUF1dG9VcGRhdGVkCW1Nb2RpZmllZAQCAAAAAAAfQXBsb3Jpcy5CYXNlLk9iamVjdHMuTGluZUZvcm1hdAMAAAAICAgBAQMAAAAJDwIAAAoBAAAAAAAAAP////8AAQ/KAgAAAQAAAAiqAwAAAcsCAAB4AAAACgoAAAAAAAAAAA0AAAAAAAHMAgAAeAAAAAoKAAAAAAAAAAANAAAAAAEHzQIAAAABAAAABAAAAAQdQXBsb3Jpcy5CYXNlLk9iamVjdHMuVmFyaWFibGUDAAAAATIDAADoAgAAAQAAAAAAAAABMwMAAOgCAAAAAAAAAAAAAAE0AwAA6AIAAAAAAAAAAAAAATUDAADoAgAAAAAAAAAAAAAPzgIAAAEAAAAIKgAAAAHPAgAAeAAAAAoKAAAAAAAAAAANAAAAAAAF0AIAABpBcGxvcmlzLkJhc2UuT2JqZWN0cy5Db2xvcgcAAAASRGF0YU9iamVjdCttUGFyZW50FURhdGFPYmplY3QrbUNvbnRhaW5lcgVtVHlwZQRtUkdCEG1UaGVtZUNvbG9ySW5kZXgMbUF1dG9VcGRhdGVkCW1Nb2RpZmllZAQCAAAAAAAfQXBsb3Jpcy5CYXNlLk9iamVjdHMuTGluZUZvcm1hdAMAAAAICAgBAQMAAAAJHgIAAAoBAAAAAAAAAP////8AAQ/RAgAAAQAAAAinAwAAAdICAAB4AAAACgoAAAAAAAAAAA0AAAAAAAHTAgAAeAAAAAoKAAAAAAAAAAANAAAAAAEH1AIAAAABAAAABAAAAAQdQXBsb3Jpcy5CYXNlLk9iamVjdHMuVmFyaWFibGUDAAAAATYDAADoAgAAAQAAAAAAAAABNwMAAOgCAAAAAAAAAAAAAAE4AwAA6AIAAAAAAAAAAAAAATkDAADoAgAAAAAAAAAAAAAP1QIAAAEAAAAIJwAAAAHWAgAAeAAAAAoKAAAAAAAAAAANAAAAAAAF1wIAABpBcGxvcmlzLkJhc2UuT2JqZWN0cy5Db2xvcgcAAAASRGF0YU9iamVjdCttUGFyZW50FURhdGFPYmplY3QrbUNvbnRhaW5lcgVtVHlwZQRtUkdCEG1UaGVtZUNvbG9ySW5kZXgMbUF1dG9VcGRhdGVkCW1Nb2RpZmllZAQCAAAAAAAfQXBsb3Jpcy5CYXNlLk9iamVjdHMuTGluZUZvcm1hdAMAAAAICAgBAQMAAAAJLQIAAAoBAAAAAAAAAP////8AAQ/YAgAAAQAAAAitAwAAAdkCAAB4AAAACgoAAAAAAAAAAA0AAAAAAAHaAgAAeAAAAAoKAAAAAAAAAAANAAAAAAEH2wIAAAABAAAABAAAAAQdQXBsb3Jpcy5CYXNlLk9iamVjdHMuVmFyaWFibGUDAAAAAToDAADoAgAAAQAAAAAAAAABOwMAAOgCAAAAAAAAAAAAAAE8AwAA6AIAAAAAAAAAAAAAAT0DAADoAgAAAAAAAAAAAAAP3AIAAAEAAAAIKQAAAAHdAgAAeAAAAAoKAAAAAAAAAAANAAAAAAAF3gIAABpBcGxvcmlzLkJhc2UuT2JqZWN0cy5Db2xvcgcAAAASRGF0YU9iamVjdCttUGFyZW50FURhdGFPYmplY3QrbUNvbnRhaW5lcgVtVHlwZQRtUkdCEG1UaGVtZUNvbG9ySW5kZXgMbUF1dG9VcGRhdGVkCW1Nb2RpZmllZAQCAAAAAAAfQXBsb3Jpcy5CYXNlLk9iamVjdHMuTGluZUZvcm1hdAMAAAAICAgBAQMAAAAJPAIAAAoBAAAAAAAAAP////8AAQ/fAgAAAQAAAAisAwAAAeACAAB4AAAACgoAAAAAAAAAAA0AAAAAAAHhAgAAeAAAAAoKAAAAAAAAAAANAAAAAAEH4gIAAAABAAAABAAAAAQdQXBsb3Jpcy5CYXNlLk9iamVjdHMuVmFyaWFibGUDAAAAAT4DAADoAgAAAQAAAAAAAAABPwMAAOgCAAAAAAAAAAAAAAFAAwAA6AIAAAAAAAAAAAAAAUEDAADoAgAAAAAAAAAAAAAP4wIAAAEAAAAIKAAAAAXkAg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UIDAAAJQwMAAAoJRAMAAAoJCQEAAAgG2/l+arx0wz8KAAAAAAlFAwAACUYDAAAAAAAAAAlHAwAACQkBAAAJAQAAAAlIAwAAAeUCAADkAgAACUkDAAAJSgMAAAoJSwMAAAoJCQEAAAgGSOF6FK5HwT8KAQAAAAlMAwAACU0DAAAAAAAAAAlOAwAACQkBAAAJAQAAAAlPAwAAAeYCAADkAgAACVADAAAJUQMAAAoJUgMAAAoJCQEAAAgG8tJNYhBYuT8KAgAAAAlTAwAACVQDAAAAAAAAAAlVAwAACQkBAAAJAQAAAAlWAwAAAecCAADkAgAACVcDAAAJWAMAAAoJWQMAAAoJCQEAAAgG001iEFg5tD8KAwAAAAlaAwAACVsDAAAAAAAAAAlcAwAACQkBAAAJAQAAAAldAwAAAewCAADkAgAACV4DAAAJXwMAAAoJYAMAAAoJCgEAAAgGxSCwcmiR1T8KAAAAAAlhAwAACWIDAAAAAAAAAAljAwAACQoBAAAJAQAAAAlkAwAAAe0CAADkAgAACWUDAAAJZgMAAAoJZwMAAAoJCgEAAAgGbef7qfHSzT8KAQAAAAloAwAACWkDAAAAAAAAAAlqAwAACQoBAAAJAQAAAAlrAwAAAe4CAADkAgAACWwDAAAJbQMAAAoJbgMAAAoJCgEAAAgGRrbz/dR4yT8KAgAAAAlvAwAACXADAAAAAAAAAAlxAwAACQoBAAAJAQAAAAlyAwAAAe8CAADkAgAACXMDAAAJdAMAAAoJdQMAAAoJCgEAAAgGWDm0yHa+zz8KAwAAAAl2AwAACXcDAAAAAAAAAAl4AwAACQoBAAAJAQAAAAl5AwAAAfQCAAB4AAAACgoAAAAAAAAAAA0AAAAAAAH1AgAAeAAAAAoKAAAAAAAAAAANAAAAAAEH9gIAAAABAAAABAAAAAQdQXBsb3Jpcy5CYXNlLk9iamVjdHMuVmFyaWFibGUDAAAAAXoDAADoAgAAAQAAAAAAAAABewMAAOgCAAAAAAAAAAAAAAF8AwAA6AIAAAAAAAAAAAAAAX0DAADoAgAAAAAAAAAAAAAP9wIAAAEAAAAINAMAAAH8AgAAeAAAAAoKAAAAAAAAAAANAAAAAAAB/QIAAHgAAAAKCgAAAAAAAAAADQAAAAABB/4CAAAAAQAAAAQAAAAEHUFwbG9yaXMuQmFzZS5PYmplY3RzLlZhcmlhYmxlAwAAAAF+AwAA6AIAAAEAAAAAAAAAAX8DAADoAgAAAAAAAAAAAAABgAMAAOgCAAAAAAAAAAAAAAGBAwAA6AIAAAAAAAAAAAAAD/8CAAABAAAACDIDAAABBAMAAHgAAAAKCgAAAAAAAAAADQAAAAAAAQUDAAB4AAAACgoAAAAAAAAAAA0AAAAAAQcGAwAAAAEAAAAEAAAABB1BcGxvcmlzLkJhc2UuT2JqZWN0cy5WYXJpYWJsZQMAAAABggMAAOgCAAABAAAAAAAAAAGDAwAA6AIAAAAAAAAAAAAAAYQDAADoAgAAAAAAAAAAAAABhQMAAOgCAAAAAAAAAAAAAA8HAwAAAQAAAAg1AwAAAQwDAAB4AAAACgoAAAAAAAAAAA0AAAAAAAENAwAAeAAAAAoKAAAAAAAAAAANAAAAAAEHDgMAAAABAAAABAAAAAQdQXBsb3Jpcy5CYXNlLk9iamVjdHMuVmFyaWFibGUDAAAAAYYDAADoAgAAAQAAAAAAAAABhwMAAOgCAAAAAAAAAAAAAAGIAwAA6AIAAAAAAAAAAAAAAYkDAADoAgAAAAAAAAAAAAAPDwMAAAEAAAAIowMAAAEUAwAAeAAAAAoKAAAAAAAAAAANAAAAAAABFQMAAHgAAAAKCgEAAAAAAAAA/////wABBxYDAAAAAQAAAAQAAAAEHUFwbG9yaXMuQmFzZS5PYmplY3RzLlZhcmlhYmxlAwAAAAGKAwAA6AIAAAEAAAAAAAAAAYsDAADoAgAAAAAAAAAAAAABjAMAAOgCAAAAAAAAAAAAAAGNAwAA6AIAAAAAAAAAAAAADxcDAAABAAAACDkDAAABGAMAAHgAAAAKCgAAAAD///8ADgAAAAAABRkDAAAaQXBsb3Jpcy5CYXNlLk9iamVjdHMuQ29sb3IHAAAAEkRhdGFPYmplY3QrbVBhcmVudBVEYXRhT2JqZWN0K21Db250YWluZXIFbVR5cGUEbVJHQhBtVGhlbWVDb2xvckluZGV4DG1BdXRvVXBkYXRlZAltTW9kaWZpZWQEAgAAAAAAH0FwbG9yaXMuQmFzZS5PYmplY3RzLkxpbmVGb3JtYXQDAAAACAgIAQEDAAAACZoCAAAKAQAAAAAAAAD/////AAEBGgMAAHgAAAAKCgEAAAAFKW4A/////wAAARsDAAB4AAAACgoBAAAA////AP////8AAA8cAwAAAQAAAAg7AwAAAR0DAAB4AAAACgoAAAAAAAAAAA0AAAAAAAEeAwAAeAAAAAoKAQAAAAAAAAD/////AAEHHwMAAAABAAAABAAAAAQdQXBsb3Jpcy5CYXNlLk9iamVjdHMuVmFyaWFibGUDAAAAAY4DAADoAgAAAQAAAAAAAAABjwMAAOgCAAAAAAAAAAAAAAGQAwAA6AIAAAAAAAAAAAAAAZEDAADoAgAAAAAAAAAAAAAPIAMAAAEAAAAIOAMAAAEhAwAAeAAAAAoKAAAAAP///wAOAAAAAAAFIgMAABpBcGxvcmlzLkJhc2UuT2JqZWN0cy5Db2xvcgcAAAASRGF0YU9iamVjdCttUGFyZW50FURhdGFPYmplY3QrbUNvbnRhaW5lcgVtVHlwZQRtUkdCEG1UaGVtZUNvbG9ySW5kZXgMbUF1dG9VcGRhdGVkCW1Nb2RpZmllZAQCAAAAAAAfQXBsb3Jpcy5CYXNlLk9iamVjdHMuTGluZUZvcm1hdAMAAAAICAgBAQMAAAAJrAIAAAoBAAAAAAAAAP////8AAQEjAwAAeAAAAAoKAQAAAEV11AD/////AAABJAMAAHgAAAAKCgEAAAD///8A/////wAADyUDAAABAAAACDoDAAABQgMAACYBAAAKWAIAAAGSAwAAfgEAAAIAAAABkwMAAH8BAAABAAAAAZQDAAAVAAAA3u1VQiPMVUPY0AtCbJpwQgGVAwAAgQEAAAAAAAAAAKBAAAGWAwAAIQAAACXrjUJw33NDAZcDAACgAAAAAAAAAAAAAAAAAAAAAAmYAwAAAAAAAAmZAwAAAAABmgMAAKkAAAAAAAAAAZsDAAByAAAAAADIQQAAYEEBnAMAABUAAACqqmxCVVVuQwx7vkGqqjpBEoO+PwadAwAAAzE1JQoJngMAAAmKAQAANAMAAP////8BAQoJnwMAAAEACgABQwMAABwAAAABoAMAACEAAADe7UlCX3mKQwGhAwAAIQAAAFvftkIjzFJDCaIDAAAJowMAAAAAAAAKAaQDAAByAAAAAAAAAAAAAAABpQMAAHIAAAAAAAAAAAAAAAAAAAABpgMAABUAAAAAAAAAAAAAAAAAAAAAAAAApAEAAP////8BAQoJpwMAAAEACgAHRAMAAAABAAAAAgAAAAQaQXBsb3Jpcy5CYXNlLlVJLlZpc3VhbExpbmUDAAAACgoHRQMAAAABAAAAAwAAAAQVU3lzdGVtLkRyYXdpbmcuUG9pbnRGBAAAAAGoAwAAIQAAACXrjUJw33NDAakDAAAhAAAA3u09QnDfc0MBqgMAACEAAABb37xCcN9zQwdGAwAAAAEAAAADAAAABBdBcGxvcmlzLkJhc2UuQW5jaG9yTW9kZQMAAAABqwMAAKAAAAAAAAAAAawDAACgAAAAAgAAAAGtAwAAoAAAAAQAAAABRwMAACUAAAAJrgMAAAAAAAAAAAAAAUgDAAAmAAAACa8DAAACAAAABgAAAAFJAwAAJgEAAApYAgAAAbADAAB+AQAAAgAAAAGxAwAAfwEAAAEAAAABsgMAABUAAABqBO5CIzJdQ9jQC0JsAlNCAbMDAACBAQAAAAAAAAAAoEAAAbQDAAAhAAAAUHwIQ3CSd0MBtQMAAKAAAAAAAAAAAAAAAAAAAAAACbYDAAAAAAAACbcDAAAAAAG4AwAAqQAAAAAAAAABuQMAAHIAAAAAAMhBAABgQQG6AwAAFQAAAFVV+EKqqnFDDHu+QaqqOkESg74/BrsDAAADMTQlCgm8AwAACYoBAAA0AwAA/////wEBCgm9AwAAAQAKAAFKAwAAHAAAAAG+AwAAIQAAAGoE6EJfeYpDAb8DAAAhAAAAa/YcQyMyWkMJwAMAAAnBAwAAAAAAAAoBwgMAAHIAAAAAAAAAAAAAAAHDAwAAcgAAAAAAAAAAAAAAAAAAAAHEAwAAFQAAAAAAAAAAAAAAAAAAAAAAAACkAQAA/////wEBCgnFAwAAAQAKAAdLAwAAAAEAAAACAAAABBpBcGxvcmlzLkJhc2UuVUkuVmlzdWFsTGluZQMAAAAKCgdMAwAAAAEAAAADAAAABBVTeXN0ZW0uRHJhd2luZy5Qb2ludEYEAAAAAcYDAAAhAAAAUHwIQ3CSd0MBxwMAACEAAABqBOJCcJJ3QwHIAwAAIQAAAGv2H0NwkndDB00DAAAAAQAAAAMAAAAEF0FwbG9yaXMuQmFzZS5BbmNob3JNb2RlAwAAAAHJAwAAoAAAAAAAAAABygMAAKAAAAACAAAAAcsDAACgAAAABAAAAAFOAwAAJQAAAAmuAwAAAAAAAAAAAAABTwMAACYAAAAJzAMAAAIAAAACAAAAAVADAAAmAQAAClgCAAABzQMAAH4BAAACAAAAAc4DAAB/AQAAAQAAAAHPAwAAFQAAAPGIOEP33GxD2NALQhxXFEIB0AMAAIEBAAAAAAAAAACgQAAB0QMAACEAAAAMA0pD2md/QwHSAwAAoAAAAAAAAAAAAAAAAAAAAAAJ0wMAAAAAAAAJ1AMAAAAAAdUDAACpAAAAAAAAAAHWAwAAcgAAAAAAyEEAAGBBAdcDAAAVAAAAAAA+Q6oqeUMMe75Bqqo6QRKDvj8G2AMAAAMxMCUKCdkDAAAJigEAADQDAAD/////AQEKCdoDAAABAAoAAVEDAAAcAAAAAdsDAAAhAAAA8Yg1Q195ikMB3AMAACEAAAAnfV5D99xpQwndAwAACd4DAAAAAAAACgHfAwAAcgAAAAAAAAAAAAAAAeADAAByAAAAAAAAAAAAAAAAAAAAAeEDAAAVAAAAAAAAAAAAAAAAAAAAAAAAAKQBAAD/////AQEKCeIDAAABAAoAB1IDAAAAAQAAAAIAAAAEGkFwbG9yaXMuQmFzZS5VSS5WaXN1YWxMaW5lAwAAAAoKB1MDAAAAAQAAAAMAAAAEFVN5c3RlbS5EcmF3aW5nLlBvaW50RgQAAAAB4wMAACEAAAAMA0pD2md/QwHkAwAAIQAAAPGIMkPaZ39DAeUDAAAhAAAAJ31hQ9pnf0MHVAMAAAABAAAAAwAAAAQXQXBsb3Jpcy5CYXNlLkFuY2hvck1vZGUDAAAAAeYDAACgAAAAAAAAAAHnAwAAoAAAAAIAAAAB6AMAAKAAAAAEAAAAAVUDAAAlAAAACcoBAAAAAAAAAAAAAAFWAwAAJgAAAAnpAwAAAgAAAAYAAAABVwMAACYBAAAKWAIAAAHqAwAAfgEAAAIAAAAB6wMAAH8BAAABAAAAAewDAAAVAAAArw96QzSRdUPU0AtCUAzjQQHtAwAAgQEAAAAAAAAAAKBAAAHuAwAAIQAAAOXEhUP84IFDAe8DAACgAAAAAAAAAAAAAAAAAAAAAAnwAwAAAAAAAAnxAwAAAAAB8gMAAKkAAAAAAAAAAfMDAAByAAAAAACQQQAAYEEB9AMAABUAAACqKoFDqip+Q2LQj0GqqjpBEoO+Pwb1AwAAAjglCgn2AwAACYoBAAA0AwAA/////wEBCgn3AwAAAQAKAAFYAwAAHAAAAAH4AwAAIQAAAK8Pd0NfeYpDAfkDAAAhAAAA8gGQQzSRckMJ+gMAAAn7AwAAAAAAAAoB/AMAAHIAAAAAAAAAAAAAAAH9AwAAcgAAAAAAAAAAAAAAAAAAAAH+AwAAFQAAAAAAAAAAAAAAAAAAAAAAAACkAQAA/////wEBCgn/AwAAAQAKAAdZAwAAAAEAAAACAAAABBpBcGxvcmlzLkJhc2UuVUkuVmlzdWFsTGluZQMAAAAKCgdaAwAAAAEAAAADAAAABBVTeXN0ZW0uRHJhd2luZy5Qb2ludEYEAAAAAQAEAAAhAAAA5cSFQ/zggUMBAQQAACEAAACvD3RD/OCBQwECBAAAIQAAAPKBkUP84IFDB1sDAAAAAQAAAAMAAAAEF0FwbG9yaXMuQmFzZS5BbmNob3JNb2RlAwAAAAEDBAAAoAAAAAAAAAABBAQAAKAAAAACAAAAAQUEAACgAAAABAAAAAFcAwAAJQAAAAnWAQAAAAAAAAAAAAABXQMAACYAAAAJBgQAAAIAAAACAAAAAV4DAAAmAQAAClgCAAABBwQAAH4BAAACAAAAAQgEAAB/AQAAAQAAAAEJBAAAFQAAAN7tVUKoRIZC2NALQs+pDEMBCgQAAIEBAAAAAAAAAACgQAABCwQAACEAAAAl641CPHcJQwEMBAAAoAAAAAAAAAAAAAAAAAAAAAAJDQQAAAAAAAAJDgQAAAAAAQ8EAACpAAAAAAAAAAEQBAAAcgAAAAAAyEEAAGBBAREEAAAVAAAAqqpsQqqqA0MMe75Bqqo6QRKDvj8GEgQAAAMzNCUKCRMEAAAJigEAADQDAAD/////AQEKCRQEAAABAAoAAV8DAAAcAAAAARUEAAAhAAAA3u1JQiPMUkMBFgQAACEAAABb37ZCqESAQgkXBAAACRgEAAAAAAAACgEZBAAAcgAAAAAAAAAAAAAAARoEAAByAAAAAAAAAAAAAAAAAAAAARsEAAAVAAAAAAAAAAAAAAAAAAAAAAAAAKQBAAD/////AQEKCRwEAAABAAoAB2ADAAAAAQAAAAIAAAAEGkFwbG9yaXMuQmFzZS5VSS5WaXN1YWxMaW5lAwAAAAoKB2EDAAAAAQAAAAMAAAAEFVN5c3RlbS5EcmF3aW5nLlBvaW50RgQAAAABHQQAACEAAAAl641CPHcJQwEeBAAAIQAAAN7tPUI8dwlDAR8EAAAhAAAAW9+8Qjx3CUMHYgMAAAABAAAAAwAAAAQXQXBsb3Jpcy5CYXNlLkFuY2hvck1vZGUDAAAAASAEAACgAAAAAAAAAAEhBAAAoAAAAAIAAAABIgQAAKAAAAAEAAAAAWMDAAAlAAAACSMEAAAAAAAAAAAAAAFkAwAAJgAAAAkkBAAAAgAAAAYAAAABZQMAACYBAAAKWAIAAAElBAAAfgEAAAIAAAABJgQAAH8BAAABAAAAAScEAAAVAAAAagTuQlWW70LY0AtC8c2+QgEoBAAAgQEAAAAAAAAAAKBAAAEpBAAAIQAAAFB8CEOnfidDASoEAACgAAAAAAAAAAAAAAAAAAAAAAkrBAAAAAAAAAksBAAAAAABLQQAAKkAAAAAAAAAAS4EAAByAAAAAADIQQAAYEEBLwQAABUAAABVVfhCqqohQwx7vkGqqjpBEoO+PwYwBAAAAzIzJQoJMQQAAAmKAQAANAMAAP////8BAQoJMgQAAAEACgABZgMAABwAAAABMwQAACEAAABqBOhCIzJaQwE0BAAAIQAAAGv2HENVlulCCTUEAAAJNgQAAAAAAAAKATcEAAByAAAAAAAAAAAAAAABOAQAAHIAAAAAAAAAAAAAAAAAAAABOQQAABUAAAAAAAAAAAAAAAAAAAAAAAAApAEAAP////8BAQoJOgQAAAEACgAHZwMAAAABAAAAAgAAAAQaQXBsb3Jpcy5CYXNlLlVJLlZpc3VhbExpbmUDAAAACgoHaAMAAAABAAAAAwAAAAQVU3lzdGVtLkRyYXdpbmcuUG9pbnRGBAAAAAE7BAAAIQAAAFB8CEOnfidDATwEAAAhAAAAagTiQqd+J0MBPQQAACEAAABr9h9Dp34nQwdpAwAAAAEAAAADAAAABBdBcGxvcmlzLkJhc2UuQW5jaG9yTW9kZQMAAAABPgQAAKAAAAAAAAAAAT8EAACgAAAAAgAAAAFABAAAoAAAAAQAAAABagMAACUAAAAJIwQAAAAAAAAAAAAAAWsDAAAmAAAACUEEAAACAAAABgAAAAFsAwAAJgEAAApYAgAAAUIEAAB+AQAAAgAAAAFDBAAAfwEAAAEAAAABRAQAABUAAADxiDhDAEIWQ9jQC0LuNaFCAUUEAACBAQAAAAAAAAAAoEAAAUYEAAAhAAAADANKQ3yPPkMBRwQAAKAAAAAAAAAAAAAAAAAAAAAACUgEAAAAAAAACUkEAAAAAAFKBAAAqQAAAAAAAAABSwQAAHIAAAAAAMhBAABgQQFMBAAAFQAAAAAAPkMAADlDDHu+QaqqOkESg74/Bk0EAAADMjAlCglOBAAACYoBAAA0AwAA/////wEBCglPBAAAAQAKAAFtAwAAHAAAAAFQBAAAIQAAAPGINUP33GlDAVEEAAAhAAAAJ31eQwBCE0MJUgQAAAlTBAAAAAAAAAoBVAQAAHIAAAAAAAAAAAAAAAFVBAAAcgAAAAAAAAAAAAAAAAAAAAFWBAAAFQAAAAAAAAAAAAAAAAAAAAAAAACkAQAA/////wEBCglXBAAAAQAKAAduAwAAAAEAAAACAAAABBpBcGxvcmlzLkJhc2UuVUkuVmlzdWFsTGluZQMAAAAKCgdvAwAAAAEAAAADAAAABBVTeXN0ZW0uRHJhd2luZy5Qb2ludEYEAAAAAVgEAAAhAAAADANKQ3yPPkMBWQQAACEAAADxiDJDfI8+QwFaBAAAIQAAACd9YUN8jz5DB3ADAAAAAQAAAAMAAAAEF0FwbG9yaXMuQmFzZS5BbmNob3JNb2RlAwAAAAFbBAAAoAAAAAAAAAABXAQAAKAAAAACAAAAAV0EAACgAAAABAAAAAFxAwAAJQAAAAnKAQAAAAAAAAAAAAABcgMAACYAAAAJXgQAAAIAAAAGAAAAAXMDAAAmAQAAClgCAAABXwQAAH4BAAACAAAAAWAEAAB/AQAAAQAAAAFhBAAAFQAAAK8PekMOowlD1NALQkzcy0IBYgQAAIEBAAAAAAAAAACgQAABYwQAACEAAADlxIVDIZo8QwFkBAAAoAAAAAAAAAAAAAAAAAAAAAAJZQQAAAAAAAAJZgQAAAAAAWcEAACpAAAAAAAAAAFoBAAAcgAAAAAAyEEAAGBBAWkEAAAVAAAAVdV/QwCANkMMe75Bqqo6QRKDvj8GagQAAAMyNSUKCWsEAAAJigEAADQDAAD/////AQEKCWwEAAABAAoAAXQDAAAcAAAAAW0EAAAhAAAArw93QzSRckMBbgQAACEAAADyAZBDDqMGQwlvBAAACXAEAAAAAAAACgFxBAAAcgAAAAAAAAAAAAAAAXIEAAByAAAAAAAAAAAAAAAAAAAAAXMEAAAVAAAAAAAAAAAAAAAAAAAAAAAAAKQBAAD/////AQEKCXQEAAABAAoAB3UDAAAAAQAAAAIAAAAEGkFwbG9yaXMuQmFzZS5VSS5WaXN1YWxMaW5lAwAAAAoKB3YDAAAAAQAAAAMAAAAEFVN5c3RlbS5EcmF3aW5nLlBvaW50RgQAAAABdQQAACEAAADlxIVDIZo8QwF2BAAAIQAAAK8PdEMhmjxDAXcEAAAhAAAA8oGRQyGaPEMHdwMAAAABAAAAAwAAAAQXQXBsb3Jpcy5CYXNlLkFuY2hvck1vZGUDAAAAAXgEAACgAAAAAAAAAAF5BAAAoAAAAAIAAAABegQAAKAAAAAEAAAAAXgDAAAlAAAACdYBAAAAAAAAAAAAAAF5AwAAJgAAAAl7BAAAAgAAAAIAAAABmAMAACMAAAAKCgAAAAAAKEEJdgAAAAl3AAAACXwEAAAAAAl9BAAAAZkDAAB4AAAACgoBAAAABSluAP////8AAQGeAwAArQAAAAl+BAAAAQAAAAMAAAABnwMAAHUAAAAJfwQAAAoBogMAAHAAAAAKCgAAAEA/CYAEAAAJgQQAAAEAAAD+////AAAAAAEAAAAAAAAAAAAAAAEAAAAAAAAAAAAAAaMDAABxAAAACgoJggQAAAmDBAAAAQAAAP7///8AAAAA/////wAAAacDAAB1AAAACYQEAAAKB64DAAAAAQAAAAAAAAAEH0FwbG9yaXMuQmFzZS5PYmplY3RzLkRhdGFPYmplY3QDAAAAB68DAAAAAQAAAAQAAAAEHEFwbG9yaXMuQmFzZS5VSS5WaXN1YWxPYmplY3QDAAAACUMDAAAJQgMAAAoKAbYDAAAjAAAACgoAAAAAAChBCXYAAAAJdwAAAAmFBAAAAAAJhgQAAAG3AwAAeAAAAAoKAQAAAAUpbgD/////AAEBvAMAAK0AAAAJhwQAAAEAAAADAAAAAb0DAAB1AAAACYgEAAAKAcADAABwAAAACgoAAABAPwmJBAAACYoEAAABAAAA/v///wAAAAABAAAAAAAAAAAAAAABAAAAAAAAAAAAAAHBAwAAcQAAAAoKCYsEAAAJjAQAAAEAAAD+////AAAAAP////8AAAHFAwAAdQAAAAmNBAAACgfMAwAAAAEAAAAEAAAABBxBcGxvcmlzLkJhc2UuVUkuVmlzdWFsT2JqZWN0AwAAAAlKAwAACUkDAAAKCgHTAwAAIwAAAAoKAAAAAAAoQQl2AAAACXcAAAAJjgQAAAAACY8EAAAB1AMAAHgAAAAKCgEAAAAFKW4A/////wABAdkDAACtAAAACZAEAAABAAAAAwAAAAHaAwAAdQAAAAmRBAAACgHdAwAAcAAAAAoKAAAAQD8JkgQAAAmTBAAAAQAAAP7///8AAAAAAQAAAAAAAAAAAAAAAQAAAAAAAAAAAAAB3gMAAHEAAAAKCgmUBAAACZUEAAABAAAA/v///wAAAAD/////AAAB4gMAAHUAAAAJlgQAAAoH6QMAAAABAAAABAAAAAQcQXBsb3Jpcy5CYXNlLlVJLlZpc3VhbE9iamVjdAMAAAAJUQMAAAlQAwAACgoB8AMAACMAAAAKCgAAAAAAKEEJdgAAAAl3AAAACZcEAAAAAAmYBAAAAfEDAAB4AAAACgoBAAAABSluAP////8AAQH2AwAArQAAAAmZBAAAAQAAAAMAAAAB9wMAAHUAAAAJmgQAAAoB+gMAAHAAAAAKCgAAAEA/CZsEAAAJnAQAAAEAAAD+////AAAAAAEAAAAAAAAAAAAAAAEAAAAAAAAAAAAAAfsDAABxAAAACgoJnQQAAAmeBAAAAQAAAP7///8AAAAA/////wAAAf8DAAB1AAAACZ8EAAAKBwYEAAAAAQAAAAQAAAAEHEFwbG9yaXMuQmFzZS5VSS5WaXN1YWxPYmplY3QDAAAACVgDAAAJVwMAAAoKAQ0EAAAjAAAACgoAAAAAAChBCXYAAAAJdwAAAAmgBAAAAAAJoQQAAAEOBAAAeAAAAAoKAQAAAEV11AD/////AAEBEwQAAK0AAAAJogQAAAEAAAADAAAAARQEAAB1AAAACaMEAAAKARcEAABwAAAACgoAAABAPwmkBAAACaUEAAABAAAA/v///wAAAAABAAAAAAAAAAAAAAABAAAAAAAAAAAAAAEYBAAAcQAAAAoKCaYEAAAJpwQAAAEAAAD+////AAAAAP////8BAAEcBAAAdQAAAAmoBAAACgcjBAAAAAEAAAAAAAAABB9BcGxvcmlzLkJhc2UuT2JqZWN0cy5EYXRhT2JqZWN0AwAAAAckBAAAAAEAAAAEAAAABBxBcGxvcmlzLkJhc2UuVUkuVmlzdWFsT2JqZWN0AwAAAAlfAwAACV4DAAAKCgErBAAAIwAAAAoKAAAAAAAoQQl2AAAACXcAAAAJqQQAAAAACaoEAAABLAQAAHgAAAAKCgEAAABFddQA/////wABATEEAACtAAAACasEAAABAAAAAwAAAAEyBAAAdQAAAAmsBAAACgE1BAAAcAAAAAoKAAAAQD8JrQQAAAmuBAAAAQAAAP7///8AAAAAAQAAAAAAAAAAAAAAAQAAAAAAAAAAAAABNgQAAHEAAAAKCgmvBAAACbAEAAABAAAA/v///wAAAAD/////AQABOgQAAHUAAAAJsQQAAAoHQQQAAAABAAAABAAAAAQcQXBsb3Jpcy5CYXNlLlVJLlZpc3VhbE9iamVjdAMAAAAJZgMAAAllAwAACgoBSAQAACMAAAAKCgAAAAAAKEEJdgAAAAl3AAAACbIEAAAAAAmzBAAAAUkEAAB4AAAACgoBAAAARXXUAP////8AAQFOBAAArQAAAAm0BAAAAQAAAAMAAAABTwQAAHUAAAAJtQQAAAoBUgQAAHAAAAAKCgAAAEA/CbYEAAAJtwQAAAEAAAD+////AAAAAAEAAAAAAAAAAAAAAAEAAAAAAAAAAAAAAVMEAABxAAAACgoJuAQAAAm5BAAAAQAAAP7///8AAAAA/////wEAAVcEAAB1AAAACboEAAAKB14EAAAAAQAAAAQAAAAEHEFwbG9yaXMuQmFzZS5VSS5WaXN1YWxPYmplY3QDAAAACW0DAAAJbAMAAAoKAWUEAAAjAAAACgoAAAAAAChBCXYAAAAJdwAAAAm7BAAAAAAJvAQAAAFmBAAAeAAAAAoKAQAAAEV11AD/////AAEBawQAAK0AAAAJvQQAAAEAAAADAAAAAWwEAAB1AAAACb4EAAAKAW8EAABwAAAACgoAAABAPwm/BAAACcAEAAABAAAA/v///wAAAAABAAAAAAAAAAAAAAABAAAAAAAAAAAAAAFwBAAAcQAAAAoKCcEEAAAJwgQAAAEAAAD+////AAAAAP////8BAAF0BAAAdQAAAAnDBAAACgd7BAAAAAEAAAAEAAAABBxBcGxvcmlzLkJhc2UuVUkuVmlzdWFsT2JqZWN0AwAAAAl0AwAACXMDAAAKCgF8BAAAeAAAAAoKAAAAAP///wAOAAAAAAABfQQAAHgAAAAKCgAAAAD///8ADgAAAAABB34EAAAAAQAAAAQAAAAEHUFwbG9yaXMuQmFzZS5PYmplY3RzLlZhcmlhYmxlAwAAAAHEBAAA6AIAAAEAAAAAAAAAAcUEAADoAgAAAAAAAAAAAAABxgQAAOgCAAAAAAAAAAAAAAHHBAAA6AIAAAAAAAAAAAAAD38EAAABAAAACGcDAAAFgAQAABpBcGxvcmlzLkJhc2UuT2JqZWN0cy5Db2xvcgcAAAASRGF0YU9iamVjdCttUGFyZW50FURhdGFPYmplY3QrbUNvbnRhaW5lcgVtVHlwZQRtUkdCEG1UaGVtZUNvbG9ySW5kZXgMbUF1dG9VcGRhdGVkCW1Nb2RpZmllZAQCAAAAAAAfQXBsb3Jpcy5CYXNlLk9iamVjdHMuTGluZUZvcm1hdAMAAAAICAgBAQMAAAAJogMAAAoAAAAA////AA4AAAAAAAWBBAAAGkFwbG9yaXMuQmFzZS5PYmplY3RzLkNvbG9yBwAAABJEYXRhT2JqZWN0K21QYXJlbnQVRGF0YU9iamVjdCttQ29udGFpbmVyBW1UeXBlBG1SR0IQbVRoZW1lQ29sb3JJbmRleAxtQXV0b1VwZGF0ZWQJbU1vZGlmaWVkBAIAAAAAAB9BcGxvcmlzLkJhc2UuT2JqZWN0cy5MaW5lRm9ybWF0AwAAAAgICAEBAwAAAAmiAwAACgEAAAAAAAAA/////wABAYIEAAB4AAAACgoBAAAABSluAP////8AAAGDBAAAeAAAAAoKAQAAAP///wD/////AAAPhAQAAAEAAAAIWgMAAAGFBAAAeAAAAAoKAAAAAP///wAOAAAAAAABhgQAAHgAAAAKCgAAAAD///8ADgAAAAABB4cEAAAAAQAAAAQAAAAEHUFwbG9yaXMuQmFzZS5PYmplY3RzLlZhcmlhYmxlAwAAAAHIBAAA6AIAAAEAAAAAAAAAAckEAADoAgAAAAAAAAAAAAABygQAAOgCAAAAAAAAAAAAAAHLBAAA6AIAAAAAAAAAAAAAD4gEAAABAAAACHACAAAFiQQAABpBcGxvcmlzLkJhc2UuT2JqZWN0cy5Db2xvcgcAAAASRGF0YU9iamVjdCttUGFyZW50FURhdGFPYmplY3QrbUNvbnRhaW5lcgVtVHlwZQRtUkdCEG1UaGVtZUNvbG9ySW5kZXgMbUF1dG9VcGRhdGVkCW1Nb2RpZmllZAQCAAAAAAAfQXBsb3Jpcy5CYXNlLk9iamVjdHMuTGluZUZvcm1hdAMAAAAICAgBAQMAAAAJwAMAAAoAAAAA////AA4AAAAAAAWKBAAAGkFwbG9yaXMuQmFzZS5PYmplY3RzLkNvbG9yBwAAABJEYXRhT2JqZWN0K21QYXJlbnQVRGF0YU9iamVjdCttQ29udGFpbmVyBW1UeXBlBG1SR0IQbVRoZW1lQ29sb3JJbmRleAxtQXV0b1VwZGF0ZWQJbU1vZGlmaWVkBAIAAAAAAB9BcGxvcmlzLkJhc2UuT2JqZWN0cy5MaW5lRm9ybWF0AwAAAAgICAEBAwAAAAnAAwAACgEAAAAAAAAA/////wABAYsEAAB4AAAACgoBAAAABSluAP////8AAAGMBAAAeAAAAAoKAQAAAP///wD/////AAAPjQQAAAEAAAAIWQIAAAGOBAAAeAAAAAoKAAAAAP///wAOAAAAAAABjwQAAHgAAAAKCgAAAAD///8ADgAAAAABB5AEAAAAAQAAAAQAAAAEHUFwbG9yaXMuQmFzZS5PYmplY3RzLlZhcmlhYmxlAwAAAAHMBAAA6AIAAAEAAAAAAAAAAc0EAADoAgAAAAAAAAAAAAABzgQAAOgCAAAAAAAAAAAAAAHPBAAA6AIAAAAAAAAAAAAAD5EEAAABAAAACGoDAAAFkgQAABpBcGxvcmlzLkJhc2UuT2JqZWN0cy5Db2xvcgcAAAASRGF0YU9iamVjdCttUGFyZW50FURhdGFPYmplY3QrbUNvbnRhaW5lcgVtVHlwZQRtUkdCEG1UaGVtZUNvbG9ySW5kZXgMbUF1dG9VcGRhdGVkCW1Nb2RpZmllZAQCAAAAAAAfQXBsb3Jpcy5CYXNlLk9iamVjdHMuTGluZUZvcm1hdAMAAAAICAgBAQMAAAAJ3QMAAAoAAAAA////AA4AAAAAAAWTBAAAGkFwbG9yaXMuQmFzZS5PYmplY3RzLkNvbG9yBwAAABJEYXRhT2JqZWN0K21QYXJlbnQVRGF0YU9iamVjdCttQ29udGFpbmVyBW1UeXBlBG1SR0IQbVRoZW1lQ29sb3JJbmRleAxtQXV0b1VwZGF0ZWQJbU1vZGlmaWVkBAIAAAAAAB9BcGxvcmlzLkJhc2UuT2JqZWN0cy5MaW5lRm9ybWF0AwAAAAgICAEBAwAAAAndAwAACgEAAAAAAAAA/////wABAZQEAAB4AAAACgoBAAAABSluAP////8AAAGVBAAAeAAAAAoKAQAAAP///wD/////AAAPlgQAAAEAAAAIWAMAAAGXBAAAeAAAAAoKAAAAAP///wAOAAAAAAABmAQAAHgAAAAKCgAAAAD///8ADgAAAAABB5kEAAAAAQAAAAQAAAAEHUFwbG9yaXMuQmFzZS5PYmplY3RzLlZhcmlhYmxlAwAAAAHQBAAA6AIAAAEAAAAAAAAAAdEEAADoAgAAAAAAAAAAAAAB0gQAAOgCAAAAAAAAAAAAAAHTBAAA6AIAAAAAAAAAAAAAD5oEAAABAAAACKQDAAAFmwQAABpBcGxvcmlzLkJhc2UuT2JqZWN0cy5Db2xvcgcAAAASRGF0YU9iamVjdCttUGFyZW50FURhdGFPYmplY3QrbUNvbnRhaW5lcgVtVHlwZQRtUkdCEG1UaGVtZUNvbG9ySW5kZXgMbUF1dG9VcGRhdGVkCW1Nb2RpZmllZAQCAAAAAAAfQXBsb3Jpcy5CYXNlLk9iamVjdHMuTGluZUZvcm1hdAMAAAAICAgBAQMAAAAJ+gMAAAoAAAAA////AA4AAAAAAAWcBAAAGkFwbG9yaXMuQmFzZS5PYmplY3RzLkNvbG9yBwAAABJEYXRhT2JqZWN0K21QYXJlbnQVRGF0YU9iamVjdCttQ29udGFpbmVyBW1UeXBlBG1SR0IQbVRoZW1lQ29sb3JJbmRleAxtQXV0b1VwZGF0ZWQJbU1vZGlmaWVkBAIAAAAAAB9BcGxvcmlzLkJhc2UuT2JqZWN0cy5MaW5lRm9ybWF0AwAAAAgICAEBAwAAAAn6AwAACgEAAAAAAAAA/////wABAZ0EAAB4AAAACgoBAAAABSluAP////8AAAGeBAAAeAAAAAoKAQAAAP///wD/////AAAPnwQAAAEAAAAIkwMAAAGgBAAAeAAAAAoKAAAAAP///wAOAAAAAAABoQQAAHgAAAAKCgAAAAD///8ADgAAAAABB6IEAAAAAQAAAAQAAAAEHUFwbG9yaXMuQmFzZS5PYmplY3RzLlZhcmlhYmxlAwAAAAHUBAAA6AIAAAEAAAAAAAAAAdUEAADoAgAAAAAAAAAAAAAB1gQAAOgCAAAAAAAAAAAAAAHXBAAA6AIAAAAAAAAAAAAAD6MEAAABAAAACGYDAAAFpAQAABpBcGxvcmlzLkJhc2UuT2JqZWN0cy5Db2xvcgcAAAASRGF0YU9iamVjdCttUGFyZW50FURhdGFPYmplY3QrbUNvbnRhaW5lcgVtVHlwZQRtUkdCEG1UaGVtZUNvbG9ySW5kZXgMbUF1dG9VcGRhdGVkCW1Nb2RpZmllZAQCAAAAAAAfQXBsb3Jpcy5CYXNlLk9iamVjdHMuTGluZUZvcm1hdAMAAAAICAgBAQMAAAAJFwQAAAoAAAAA////AA4AAAAAAAWlBAAAGkFwbG9yaXMuQmFzZS5PYmplY3RzLkNvbG9yBwAAABJEYXRhT2JqZWN0K21QYXJlbnQVRGF0YU9iamVjdCttQ29udGFpbmVyBW1UeXBlBG1SR0IQbVRoZW1lQ29sb3JJbmRleAxtQXV0b1VwZGF0ZWQJbU1vZGlmaWVkBAIAAAAAAB9BcGxvcmlzLkJhc2UuT2JqZWN0cy5MaW5lRm9ybWF0AwAAAAgICAEBAwAAAAkXBAAACgEAAAAAAAAA/////wABAaYEAAB4AAAACgoBAAAARXXUAP////8AAAGnBAAAeAAAAAoKAQAAAP///wD/////AAAPqAQAAAEAAAAIWwMAAAGpBAAAeAAAAAoKAAAAAP///wAOAAAAAAABqgQAAHgAAAAKCgAAAAD///8ADgAAAAABB6sEAAAAAQAAAAQAAAAEHUFwbG9yaXMuQmFzZS5PYmplY3RzLlZhcmlhYmxlAwAAAAHYBAAA6AIAAAEAAAAAAAAAAdkEAADoAgAAAAAAAAAAAAAB2gQAAOgCAAAAAAAAAAAAAAHbBAAA6AIAAAAAAAAAAAAAD6wEAAABAAAACGgDAAAFrQQAABpBcGxvcmlzLkJhc2UuT2JqZWN0cy5Db2xvcgcAAAASRGF0YU9iamVjdCttUGFyZW50FURhdGFPYmplY3QrbUNvbnRhaW5lcgVtVHlwZQRtUkdCEG1UaGVtZUNvbG9ySW5kZXgMbUF1dG9VcGRhdGVkCW1Nb2RpZmllZAQCAAAAAAAfQXBsb3Jpcy5CYXNlLk9iamVjdHMuTGluZUZvcm1hdAMAAAAICAgBAQMAAAAJNQQAAAoAAAAA////AA4AAAAAAAWuBAAAGkFwbG9yaXMuQmFzZS5PYmplY3RzLkNvbG9yBwAAABJEYXRhT2JqZWN0K21QYXJlbnQVRGF0YU9iamVjdCttQ29udGFpbmVyBW1UeXBlBG1SR0IQbVRoZW1lQ29sb3JJbmRleAxtQXV0b1VwZGF0ZWQJbU1vZGlmaWVkBAIAAAAAAB9BcGxvcmlzLkJhc2UuT2JqZWN0cy5MaW5lRm9ybWF0AwAAAAgICAEBAwAAAAk1BAAACgEAAAAAAAAA/////wABAa8EAAB4AAAACgoBAAAARXXUAP////8AAAGwBAAAeAAAAAoKAQAAAP///wD/////AAAPsQQAAAEAAAAIXAMAAAGyBAAAeAAAAAoKAAAAAP///wAOAAAAAAABswQAAHgAAAAKCgAAAAD///8ADgAAAAABB7QEAAAAAQAAAAQAAAAEHUFwbG9yaXMuQmFzZS5PYmplY3RzLlZhcmlhYmxlAwAAAAHcBAAA6AIAAAEAAAAAAAAAAd0EAADoAgAAAAAAAAAAAAAB3gQAAOgCAAAAAAAAAAAAAAHfBAAA6AIAAAAAAAAAAAAAD7UEAAABAAAACGkDAAAFtgQAABpBcGxvcmlzLkJhc2UuT2JqZWN0cy5Db2xvcgcAAAASRGF0YU9iamVjdCttUGFyZW50FURhdGFPYmplY3QrbUNvbnRhaW5lcgVtVHlwZQRtUkdCEG1UaGVtZUNvbG9ySW5kZXgMbUF1dG9VcGRhdGVkCW1Nb2RpZmllZAQCAAAAAAAfQXBsb3Jpcy5CYXNlLk9iamVjdHMuTGluZUZvcm1hdAMAAAAICAgBAQMAAAAJUgQAAAoAAAAA////AA4AAAAAAAW3BAAAGkFwbG9yaXMuQmFzZS5PYmplY3RzLkNvbG9yBwAAABJEYXRhT2JqZWN0K21QYXJlbnQVRGF0YU9iamVjdCttQ29udGFpbmVyBW1UeXBlBG1SR0IQbVRoZW1lQ29sb3JJbmRleAxtQXV0b1VwZGF0ZWQJbU1vZGlmaWVkBAIAAAAAAB9BcGxvcmlzLkJhc2UuT2JqZWN0cy5MaW5lRm9ybWF0AwAAAAgICAEBAwAAAAlSBAAACgEAAAAAAAAA/////wABAbgEAAB4AAAACgoBAAAARXXUAP////8AAAG5BAAAeAAAAAoKAQAAAP///wD/////AAAPugQAAAEAAAAIWQMAAAG7BAAAeAAAAAoKAAAAAP///wAOAAAAAAABvAQAAHgAAAAKCgAAAAD///8ADgAAAAABB70EAAAAAQAAAAQAAAAEHUFwbG9yaXMuQmFzZS5PYmplY3RzLlZhcmlhYmxlAwAAAAHgBAAA6AIAAAEAAAAAAAAAAeEEAADoAgAAAAAAAAAAAAAB4gQAAOgCAAAAAAAAAAAAAAHjBAAA6AIAAAAAAAAAAAAAD74EAAABAAAACKIDAAAFvwQAABpBcGxvcmlzLkJhc2UuT2JqZWN0cy5Db2xvcgcAAAASRGF0YU9iamVjdCttUGFyZW50FURhdGFPYmplY3QrbUNvbnRhaW5lcgVtVHlwZQRtUkdCEG1UaGVtZUNvbG9ySW5kZXgMbUF1dG9VcGRhdGVkCW1Nb2RpZmllZAQCAAAAAAAfQXBsb3Jpcy5CYXNlLk9iamVjdHMuTGluZUZvcm1hdAMAAAAICAgBAQMAAAAJbwQAAAoAAAAA////AA4AAAAAAAXABAAAGkFwbG9yaXMuQmFzZS5PYmplY3RzLkNvbG9yBwAAABJEYXRhT2JqZWN0K21QYXJlbnQVRGF0YU9iamVjdCttQ29udGFpbmVyBW1UeXBlBG1SR0IQbVRoZW1lQ29sb3JJbmRleAxtQXV0b1VwZGF0ZWQJbU1vZGlmaWVkBAIAAAAAAB9BcGxvcmlzLkJhc2UuT2JqZWN0cy5MaW5lRm9ybWF0AwAAAAgICAEBAwAAAAlvBAAACgEAAAAAAAAA/////wABAcEEAAB4AAAACgoBAAAARXXUAP////8AAAHCBAAAeAAAAAoKAQAAAP///wD/////AAAPwwQAAAEAAAAIkgMAAAs="/>
</p:tagLst>
</file>

<file path=ppt/tags/tag938.xml><?xml version="1.0" encoding="utf-8"?>
<p:tagLst xmlns:a="http://schemas.openxmlformats.org/drawingml/2006/main" xmlns:r="http://schemas.openxmlformats.org/officeDocument/2006/relationships" xmlns:p="http://schemas.openxmlformats.org/presentationml/2006/main">
  <p:tag name="APLORISTAG" val="M4RvBrLxyRrRJbWwc.914"/>
</p:tagLst>
</file>

<file path=ppt/tags/tag939.xml><?xml version="1.0" encoding="utf-8"?>
<p:tagLst xmlns:a="http://schemas.openxmlformats.org/drawingml/2006/main" xmlns:r="http://schemas.openxmlformats.org/officeDocument/2006/relationships" xmlns:p="http://schemas.openxmlformats.org/presentationml/2006/main">
  <p:tag name="APLORISTAG" val="M4RvBrLxyRrRJbWwc.601"/>
</p:tagLst>
</file>

<file path=ppt/tags/tag94.xml><?xml version="1.0" encoding="utf-8"?>
<p:tagLst xmlns:a="http://schemas.openxmlformats.org/drawingml/2006/main" xmlns:r="http://schemas.openxmlformats.org/officeDocument/2006/relationships" xmlns:p="http://schemas.openxmlformats.org/presentationml/2006/main">
  <p:tag name="APLORISTAG" val="MMq8K+TY0y1GzdU7X.35"/>
</p:tagLst>
</file>

<file path=ppt/tags/tag940.xml><?xml version="1.0" encoding="utf-8"?>
<p:tagLst xmlns:a="http://schemas.openxmlformats.org/drawingml/2006/main" xmlns:r="http://schemas.openxmlformats.org/officeDocument/2006/relationships" xmlns:p="http://schemas.openxmlformats.org/presentationml/2006/main">
  <p:tag name="APLORISTAG" val="M4RvBrLxyRrRJbWwc.915"/>
</p:tagLst>
</file>

<file path=ppt/tags/tag941.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kUAAAAAAAFFQAAABlTeXN0ZW0uRHJhd2luZy5SZWN0YW5nbGVGBAAAAAF4AXkFd2lkdGgGaGVpZ2h0AAAAAAsLCwsEAAAA//9/////f////3////9//wEWAAAAFQAAAP//f////3////9/////f/8AAAAAAAUXAAAALEFwbG9yaXMuQ2hhcnQuQXhpc0JyZWFrK0F4aXNCcmVha0Rpc3BsYXlNb2RlAQAAAAd2YWx1ZV9fAAgCAAAAAQAAAAEBAQoKCRgAAAAKCgAAAAAACRkAAAAKCRoAAAAAAAAACgUbAAAAGUFwbG9yaXMuQ2hhcnQuT3JpZW50YXRpb24BAAAAB3ZhbHVlX18ACAIAAAABAAAACRwAAAABHQAAABUAAAC0axhCzHd1QXkNg0NLeIhDAAQeAAAAC1N5c3RlbS5HdWlkCwAAAAJfYQJfYgJfYwJfZAJfZQJfZgJfZwJfaAJfaQJfagJfawAAAAAAAAAAAAAACAcHAgICAgICAgIAAAAAAAAAAAAAAAAAAAAAAAoKCR8AAAAACgoKAQAAAAAAAAD/////AAEBIAAAABUAAAAAACBBAAAgQcBliUNddKVD+yq8Q+s2H0PwiptDJR6yQwUhAAAAFVN5c3RlbS5EcmF3aW5nLlBvaW50RgIAAAABeAF5AAALCwQAAADNYxdEvPTGQwYiAAAAEDhXdEQrM21IUFZhdzgzRTAAAAAACgoJIwAAAAkkAAAAAAoJJQAAAAoJAQAAAAkm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C4wLjE0ODYsIEN1bHR1cmU9bmV1dHJhbCwgUHVibGljS2V5VG9rZW49MTZmYzEzYTIyNmMwZTk1MV1dAwAAAJsBQXBsb3Jpcy5CYXNlLk9iamVjdHMuRGF0YU9iamVjdENvbGxlY3Rpb25gMVtbQXBsb3Jpcy5DaGFydC5BeGlzQnJlYWssIEFwbG9yaXMuQ2hhcnQsIFZlcnNpb249NC4wLjAuMTQ4Ni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wLjAuMTQ4Ni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UnAAAAFkFwbG9yaXMuQ2hhcnQuQXhpc1R5cGUBAAAAB3ZhbHVlX18ACAIAAAABAAAAmpkZPwAAAAoJAQAAAAkoAAAACSkAAAABAAAAAAAAAAABAAAAAAAA8D8BmpmZmZmZuT8AAAAgQQABCSoAAAAKCSsAAAAJLAAAAAktAAAAAS4AAAAhAAAAtGsYQgkkkEMBLwAAACEAAADwGpZDCSSQQwkwAAAACTEAAAAJMgAAAAkzAAAAAAAAAAAAAAAAAAAACTQAAAAAAAAAAAAJNQAAAAkBAAAACQEAAAAJNgAAAAEHAAAABgAAAAkBAAAAATcAAAAnAAAAAAAAAM3MTD8AAAAIAQAJAQAAAAk4AAAACTkAAAABAAAAAAAAAAABMzMzMzMz4z8BmpmZmZmZuT8AAAAgQQABCToAAAAKCTsAAAAJPAAAAAk9AAAAAT4AAAAhAAAAtGsYQgkkkEMBPwAAACEAAAC0axhCzHd1QQlAAAAACUEAAAAJQgAAAAlDAAAAAAAAAAAAAAAAAAAACUQAAAAAAAAAAAAJRQAAAAkBAAAACQEAAAAJRgAAAAQIAAAAqAFTeXN0ZW0uQ29sbGVjdGlvbnMuR2VuZXJpYy5MaXN0YDFbW0FwbG9yaXMuQ2hhcnQuQ29sdW1uT3JpZW50ZWRDaGFydCtVbnVzZWRTZXJpZXMsIEFwbG9yaXMuQ2hhcnQsIFZlcnNpb249NC4wLjAuMTQ4NiwgQ3VsdHVyZT1uZXV0cmFsLCBQdWJsaWNLZXlUb2tlbj0xNmZjMTNhMjI2YzBlOTUxXV0DAAAABl9pdGVtcwVfc2l6ZQhfdmVyc2lvbgQAADBBcGxvcmlzLkNoYXJ0LkNvbHVtbk9yaWVudGVkQ2hhcnQrVW51c2VkU2VyaWVzW10CAAAACAgJRwAAAAAAAAAAAAAABQkAAAChAUFwbG9yaXMuQmFzZS5PYmplY3RzLkRhdGFPYmplY3RDb2xsZWN0aW9uYDFbW0FwbG9yaXMuQ2hhcnQuQ2hhcnR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wLjAuMTQ4NiwgQ3VsdHVyZT1uZXV0cmFsLCBQdWJsaWNLZXlUb2tlbj0xNmZjMTNhMjI2YzBlOTUxXV0DAAAAlwFTeXN0ZW0uQ29sbGVjdGlvbnMuR2VuZXJpYy5MaXN0YDFbW0FwbG9yaXMuQ2hhcnQuQ2hhcnREYXRhU2VyaWVz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gAAAAJSQAAAAkBAAAACQEAAAAJSgAAAAUKAAAApgFBcGxvcmlzLkJhc2UuT2JqZWN0cy5EYXRhT2JqZWN0Q29sbGVjdGlvbmAxW1tBcGxvcmlzLkNoYXJ0LkFubm90YXRpb25EYXRhU2VyaWVzLCBBcGxvcmlzLkNoYXJ0LCBWZXJzaW9uPTQuMC4wLjE0ODY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AuMC4xNDg2LCBDdWx0dXJlPW5ldXRyYWwsIFB1YmxpY0tleVRva2VuPTE2ZmMxM2EyMjZjMGU5NTFdXQMAAACcAVN5c3RlbS5Db2xsZWN0aW9ucy5HZW5lcmljLkxpc3RgMVtbQXBsb3Jpcy5DaGFydC5Bbm5vdGF0aW9u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LAAAACUwAAAAJAQAAAAkBAAAACU0AAAAFCwAAAKEBQXBsb3Jpcy5CYXNlLk9iamVjdHMuRGF0YU9iamVjdENvbGxlY3Rpb25gMVtbQXBsb3Jpcy5DaGFydC5Bbm5vdGF0aW9u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AuMC4xNDg2LCBDdWx0dXJlPW5ldXRyYWwsIFB1YmxpY0tleVRva2VuPTE2ZmMxM2EyMjZjMGU5NTFdXQMAAACXAVN5c3RlbS5Db2xsZWN0aW9ucy5HZW5lcmljLkxpc3RgMVtbQXBsb3Jpcy5DaGFydC5Bbm5vdGF0aW9uR3JvdXA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gAAAAlPAAAACQEAAAAJAQAAAAlQAAAABQwAAACgAUFwbG9yaXMuQmFzZS5PYmplY3RzLkRhdGFPYmplY3RDb2xsZWN0aW9uYDFbW0FwbG9yaXMuQ2hhcnQuQ2hhcnREYXRhR3JvdXAsIEFwbG9yaXMuQ2hhcnQsIFZlcnNpb249NC4wLjAuMTQ4Ni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C4wLjE0ODYsIEN1bHR1cmU9bmV1dHJhbCwgUHVibGljS2V5VG9rZW49MTZmYzEzYTIyNmMwZTk1MV1dAwAAAJYBU3lzdGVtLkNvbGxlY3Rpb25zLkdlbmVyaWMuTGlzdGAxW1tBcGxvcmlzLkNoYXJ0LkNoYXJ0RGF0YU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EAAAAJUgAAAAkBAAAACQEAAAAJUwAAAAUNAAAAmgFBcGxvcmlzLkJhc2UuT2JqZWN0cy5EYXRhT2JqZWN0Q29sbGVjdGlvbmAxW1tBcGxvcmlzLkNoYXJ0LkRlbHRhQmFy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AuMC4xNDg2LCBDdWx0dXJlPW5ldXRyYWwsIFB1YmxpY0tleVRva2VuPTE2ZmMxM2EyMjZjMGU5NTFdXQMAAACQAVN5c3RlbS5Db2xsZWN0aW9ucy5HZW5lcmljLkxpc3RgMVtbQXBsb3Jpcy5DaGFydC5EZWx0YUJh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UAAAACVUAAAAJAQAAAAkBAAAACVYAAAAFDgAAAJ0BQXBsb3Jpcy5CYXNlLk9iamVjdHMuRGF0YU9iamVjdENvbGxlY3Rpb25gMVtbQXBsb3Jpcy5DaGFydC5EZWx0YUJyaWRnZSwgQXBsb3Jpcy5DaGFydCwgVmVyc2lvbj00LjAuMC4xNDg2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wLjAuMTQ4NiwgQ3VsdHVyZT1uZXV0cmFsLCBQdWJsaWNLZXlUb2tlbj0xNmZjMTNhMjI2YzBlOTUxXV0DAAAAkwFTeXN0ZW0uQ29sbGVjdGlvbnMuR2VuZXJpYy5MaXN0YDFbW0FwbG9yaXMuQ2hhcnQuRGVsdGFCcmlkZ2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wAAAAlYAAAACQEAAAAJAQAAAAlZAAAABQ8AAACdAUFwbG9yaXMuQmFzZS5PYmplY3RzLkRhdGFPYmplY3RDb2xsZWN0aW9uYDFbW0FwbG9yaXMuQ2hhcnQuR3Jvd3RoQXJyb3c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C4wLjE0ODYsIEN1bHR1cmU9bmV1dHJhbCwgUHVibGljS2V5VG9rZW49MTZmYzEzYTIyNmMwZTk1MV1dAwAAAJMBU3lzdGVtLkNvbGxlY3Rpb25zLkdlbmVyaWMuTGlzdGAxW1tBcGxvcmlzLkNoYXJ0Lkdyb3d0aEFycm93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oAAAAJWwAAAAkBAAAACQEAAAAJXAAAAAUQAAAApAFBcGxvcmlzLkJhc2UuT2JqZWN0cy5EYXRhT2JqZWN0Q29sbGVjdGlvbmAxW1tBcGxvcmlzLkNoYXJ0LldhdGVyZmFsb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C4wLjE0ODYsIEN1bHR1cmU9bmV1dHJhbCwgUHVibGljS2V5VG9rZW49MTZmYzEzYTIyNmMwZTk1MV1dAwAAAJoBU3lzdGVtLkNvbGxlY3Rpb25zLkdlbmVyaWMuTGlzdGAxW1tBcGxvcmlzLkNoYXJ0LldhdGVyZmFsbENvbm5lY3Rvci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dAAAACV4AAAAJAQAAAAkBAAAACV8AAAAFEQAAAKIBQXBsb3Jpcy5CYXNlLk9iamVjdHMuRGF0YU9iamVjdENvbGxlY3Rpb25gMVtbQXBsb3Jpcy5DaGFydC5FbGVtZW50Q29ubmVjdG9y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C4wLjE0ODYsIEN1bHR1cmU9bmV1dHJhbCwgUHVibGljS2V5VG9rZW49MTZmYzEzYTIyNmMwZTk1MV1dAwAAAJgBU3lzdGVtLkNvbGxlY3Rpb25zLkdlbmVyaWMuTGlzdGAxW1tBcGxvcmlzLkNoYXJ0LkVsZW1lbnR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YAAAAAlhAAAACQEAAAAJAQAAAAliAAAABRQAAAAiQXBsb3Jpcy5DaGFydC5Db2x1bW5PcmllbnRlZExlZ2VuZAsAAAAUbUNvbHVtbk9yaWVudGVkQ2hhcnQPbUxlZ2VuZEVsZW1lbnRzDUxlZ2VuZCttQ2hhcnQZTGVnZW5kK21BdXRvbWF0aWNPcmRlcmluZxJMZWdlbmQrbUxlZ2VuZEFyZWERTGVnZW5kK21SZWN0YW5nbGUPTGVnZW5kK21Db2x1bW5zGERhdGFPYmplY3QrbUNoaWxkT2JqZWN0cxJEYXRhT2JqZWN0K21QYXJlbnQVRGF0YU9iamVjdCttQ29udGFpbmVyGURhdGFPYmplY3QrbVZpc3VhbE9iamVjdHMEBAQABAQAAwQEAyFBcGxvcmlzLkNoYXJ0LkNvbHVtbk9yaWVudGVkQ2hhcnQCAAAArQFBcGxvcmlzLkJhc2UuT2JqZWN0cy5EYXRhT2JqZWN0Q29sbGVjdGlvbmAxW1tBcGxvcmlzLkNoYXJ0LkNvbHVtbk9yaWVudGVkTGVnZW5kRWxlbWVudCwgQXBsb3Jpcy5DaGFydCwgVmVyc2lvbj00LjAuMC4xNDg2LCBDdWx0dXJlPW5ldXRyYWwsIFB1YmxpY0tleVRva2VuPTE2ZmMxM2EyMjZjMGU5NTFdXQMAAAATQXBsb3Jpcy5DaGFydC5DaGFydAIAAAABGVN5c3RlbS5EcmF3aW5nLlJlY3RhbmdsZUYEAAAAGkFwbG9yaXMuQmFzZS5VSS5WaXN1YWxSZWN0AwAAAAi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CWMAAAAJAQAAAAEBZAAAABUAAADToY1Br72aQy26VEOwAxFCCWUAAAABAAAACWYAAAAJAQAAAAkBAAAACWcAAAAFG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oAAAAAS4DAAAABmkAAAABLAZqAAAAAS0GawAAAAErAQAAAAAKCgZsAAAACE0vZC95eXl5AAAAAAoAAAAAAAAAAAcZAAAAAAEAAAABAAAABBhBcGxvcmlzLkNoYXJ0LkF4aXNOdW1iZXICAAAABW0AAAAYQXBsb3Jpcy5DaGFydC5BeGlzTnVtYmVyAQAAAAd2YWx1ZV9fAAgCAAAAAAAAAA8aAAAABAAAAAgBAAAAAgAAAAMAAAAEAAAABRwAAAAaQXBsb3Jpcy5CYXNlLlVJLlZpc3VhbFJlY3QUAAAAC21TdGFydFBvaW50CW1FbmRQb2ludAttTGluZUZvcm1hdAttRmlsbEZvcm1hdAltUm90YXRpb24SbVJlY3RhbmdsZVByb3ZpZGVyDG1QYWludE9mZnNldBJtUGFpbnRTaXplT3ZlcnJpZGUObUV4dHJhUm90YXRpb24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BAAEBAQABAAAAAAHAgAAAwAVU3lzdGVtLkRyYXdpbmcuUG9pbnRGBAAAABVTeXN0ZW0uRHJhd2luZy5Qb2ludEYEAAAAH0FwbG9yaXMuQmFzZS5PYmplY3RzLkxpbmVGb3JtYXQDAAAAH0FwbG9yaXMuQmFzZS5PYmplY3RzLkZpbGxGb3JtYXQDAAAACypBcGxvcmlzLkJhc2UuVUkuSVJlY3RhbmdsZVBvc2l0aW9uUHJvdmlkZXIDAAAAFFN5c3RlbS5EcmF3aW5nLlNpemVGBAAAABRTeXN0ZW0uRHJhd2luZy5TaXplRgQAAAALGVN5c3RlbS5EcmF3aW5nLlJlY3RhbmdsZUYEAAAACAgBAQgBAQ9TeXN0ZW0uSW50UHRyW10BAwAAAAFuAAAAIQAAALRrGELMd3VBAW8AAAAhAAAA8BqWQwkkkEMJcAAAAAlxAAAAAAAAAAoFcgAAABRTeXN0ZW0uRHJhd2luZy5TaXplRgIAAAAFd2lkdGgGaGVpZ2h0AAALCwQAAAAAAAAAAAAAAAFzAAAAcgAAAAAAAAAAAAAAAAAAAAF0AAAAFQAAAAAAAAAAAAAAAAAAAAAAAAAUAAAA/////wEBCgl1AAAAAQAKAA8fAAAAVSwAAAJQSwMEFAAGAAgAAAAhAJJXjTV5AQAAcAUAABMACAJbQ29udGVudF9UeXBlc10ueG1s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KxUS07DMBDdI3GHyFuUuGWBEGraBYUlVKIcwNiTJqpjWx73d3smbkFQhYSq3cRK7PebeGY02dY6WYPHypqcDbMBS8BIqyqzyNn7/Dm9ZwkGYZTQ1kDOdoBsMr6+Gs13DjAhtMGclSG4B85RllALzKwDQzuF9bUI9OoX3Am5FAvgt4PBHZfWBDAhDQ0HG4+mUIiVDsnTlj7vnRCcJY/7c41UzoRzupIikFHe7PJW3LoTtzbqyFxqi6KSoKxc1WQpI/zUiw3F/0PAg8YOZy0Kh+gZIaN7LCuHN4cIr1R7XylIZsKHF1FTUL7VfGP98sPaZdZdhxa1ozzoPAiFJUCodRbXrBaV+Yd+PIw8LsMLG2nyReIeH4EuFPD4PN9CpOkRxLDTgBdOuyftUy6FB/UWPN29ixv4yd3jQ9q66QQ8v96/794Xb5c8teHMW4c0ITyc/hO+Oq1Bp46IwIcKOnvtW5HGy+mCR80GzfxSoFq0eZyX408AAAD//wMAUEsDBBQABgAIAAAAIQBQfE7B9g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JLPSgMxEIfvgu8Q5t7NtoKINNuLCL2J1AcYk9k/7G4mJNO6fXuDoLiw1h6TzHzzzY9sd9M4qBPF1LE3sC5KUOQtu843Bt4Oz6sHUEnQOxzYk4EzJdhVtzfbVxpQclNqu5BUpvhkoBUJj1on29KIqeBAPr/UHEeUfIyNDmh7bEhvyvJex98MqGZMtXcG4t6tQR3OIU/+n8113Vl6YnscycvCCD2vyGSMDYmBadAfHPt35r7IwqCXXTbXu/y9px5J0KGgthxpFWJOKUqXc/3RcWxf8nX6qrgkdHe90Hz1pXBoEvKO3GUlDOHbSM/+QPUJAAD//wMAUEsDBBQABgAIAAAAIQCMlsVu8wAAALoC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s9qwzAMxu+DvYPRfXHSjTFGnV7GoNctewBjK3FoYhtL+5O3n8mgTaF0l1wMn4S/7yeh7e5nHMQXJuqDV1AVJQj0Jtjedwo+mte7JxDE2ls9BI8KJiTY1bc32zccNOdP5PpIIrt4UuCY47OUZByOmooQ0edOG9KoOcvUyajNQXcoN2X5KNPSA+ozT7G3CtLe3oNoppiT//cObdsbfAnmc0TPFyIk8TTkAUSjU4es4E8XmRHk5fiHVeOdTmjfOeXtLimW5Wsw1Zow3yEdyCHyaR3HEsm5U12D2awJw/lg8AQySzm/RwZ5dnH1LwAAAP//AwBQSwMEFAAGAAgAAAAhADKkRevAAQAAzwIAAA8AAAB4bC93b3JrYm9vay54bWyMUkuPnDAMvlfqf4hyn0kIMLsaAavpPNSRqmoP7e45DWGINg+UhMKq6n+vgdKHeunJ+WzH9vfZxcNoNPoqfVDOljjZUoykFa5W9lbiz58um3uMQuS25tpZWeJXGfBD9fZNMTj/8sW5FwQFbChxG2O3JySIVhoetq6TFiKN84ZHgP5GQuclr0MrZTSaMEp3xHBl8VJh7/+nhmsaJeTJid5IG5ciXmoeYfzQqi7gqmiUlk8LI8S77iM3MPeoMdI8xHOtoqxLnAN0g/zL4fvuXa80RNmO0gyT6hfLR494H93RGSARwqMSsYdHiemUNenwpOQQfn+YIBqfla3dUOL0joKwrytklAEc5uCzqmMLHZNkSll876W6tRHWwdJsbkD+6DALCJ1mi+zM7tBp51U48chhXZPCV2CRYOT3Ch7+WifTnGT9K7gWQGkyc2JGKYVs4azovQdljxD5SU6O8UOIVQEW9V6V+NtdztJzfko3LL+km0N+pptkl7LNLruwPDsyluXs+7pWM/6zV6OEd8E1cSucIctK4RQEkaOQ82XcL5dRFWbcH7xoryd00fwGerOZB8wCbNbJyHqL1Q8AAAD//wMAUEsDBBQABgAIAAAAIQCjg4AQ6QAAAFoBAAAUAAAAeGwvc2hhcmVkU3RyaW5ncy54bWxkkFFLAzEQhN8F/0MICPpgcwoWkVxKKeiTILT+gCXZ3gVyu2eyV71/b6SIcD7OfOzsMHbzNSR1wlwiU6vvVo1WSJ5DpK7V74fn20etigAFSEzY6hmL3rjLC1uKqHpLpdW9yPhkTPE9DlBWPCJVcuQ8gFSZO1PGjBBKjyhDMvdNszYDRNLK80TS6rVWE8WPCXe/2tkSnRW3x4ReajlrxFnzY57BS+ZPUq8cMINgmpd8G05AHsPSf0MeEy7dA/qeOHH3L+f8Zx87isfogSTN6hpEJYS6wENzpbraRPqbv0hTt3HfAAAA//8DAFBLAwQUAAYACAAAACEA52V1uNYAAAC4AQAAIwAAAHhsL3dvcmtzaGVldHMvX3JlbHMvc2hlZXQxLnhtbC5yZWxzrJDJagMxDEDvhf6D0T3WTA6hlHhyCYVcQ/oBwtYsdLxguWny93UohQwEeulR29OTtruLn9WZs0wxGGh1A4qDjW4Kg4H309vqBZQUCo7mGNjAlQV23fPT9sgzlTok45REVUoQA2Mp6RVR7MieRMfEoVb6mD2VGuYBE9kPGhjXTbPBfM+AbsFUB2cgH1wL6nRNdfPf7Nj3k+V9tJ+eQ3mwAs9+3mf6qsdVKuWBiwGt0f3k5K7e6toL+Nhp/Z9ONvqbriyMfpOtrv+7aeDi3903AAAA//8DAFBLAwQUAAYACAAAACEA+2KlbZQGAACnGwAAEwAAAHhsL3RoZW1lL3RoZW1lMS54bWzsWU9v2zYUvw/YdyB0b20nthsHdYrYsZutTRvEboceaZmWWFOiQNJJfRva44ABw7phlwG77TBsK9ACu3SfJluHrQP6FfZISrIYy0vSBhvW1YdEIn98/9/jI3X12oOIoUMiJOVx26tdrnqIxD4f0zhoe3eG/UsbHpIKx2PMeEza3pxI79rW++9dxZsqJBFBsD6Wm7jthUolm5WK9GEYy8s8ITHMTbiIsIJXEVTGAh8B3YhV1qrVZiXCNPZQjCMge3syoT5BQ03S28qI9xi8xkrqAZ+JgSZNnBUGO57WNELOZZcJdIhZ2wM+Y340JA+UhxiWCibaXtX8vMrW1QreTBcxtWJtYV3f/NJ16YLxdM3wFMEoZ1rr11tXdnL6BsDUMq7X63V7tZyeAWDfB02tLEWa9f5GrZPRLIDs4zLtbrVRrbv4Av31JZlbnU6n0UplsUQNyD7Wl/Ab1WZ9e83BG5DFN5bw9c52t9t08AZk8c0lfP9Kq1l38QYUMhpPl9Daof1+Sj2HTDjbLYVvAHyjmsIXKIiGPLo0iwmP1apYi/B9LvoA0ECGFY2Rmidkgn2I4i6ORoJizQBvElyYsUO+XBrSvJD0BU1U2/swwZARC3qvnn//6vlT9Or5k+OHz44f/nT86NHxwx8tLWfhLo6D4sKX337259cfoz+efvPy8RfleFnE//rDJ7/8/Hk5EDJoIdGLL5/89uzJi68+/f27xyXwbYFHRfiQRkSiW+QIHfAIdDOGcSUnI3G+FcMQU2cFDoF2CemeCh3grTlmZbgOcY13V0DxKANen913ZB2EYqZoCecbYeQA9zhnHS5KDXBD8ypYeDiLg3LmYlbEHWB8WMa7i2PHtb1ZAlUzC0rH9t2QOGLuMxwrHJCYKKTn+JSQEu3uUerYdY/6gks+UegeRR1MS00ypCMnkBaLdmkEfpmX6Qyudmyzdxd1OCvTeoccukhICMxKhB8S5pjxOp4pHJWRHOKIFQ1+E6uwTMjBXPhFXE8q8HRAGEe9MZGybM1tAfoWnH4DQ70qdfsem0cuUig6LaN5E3NeRO7waTfEUVKGHdA4LGI/kFMIUYz2uSqD73E3Q/Q7+AHHK919lxLH3acXgjs0cERaBIiemYkSX14n3InfwZxNMDFVBkq6U6kjGv9d2WYU6rbl8K5st71t2MTKkmf3RLFehfsPlugdPIv3CWTF8hb1rkK/q9DeW1+hV+XyxdflRSmGKq0bEttrm847Wtl4TyhjAzVn5KY0vbeEDWjch0G9zhw6SX4QS0J41JkMDBxcILBZgwRXH1EVDkKcQN9e8zSRQKakA4kSLuG8aIZLaWs89P7KnjYb+hxiK4fEao+P7fC6Hs6OGzkZI1VgzrQZo3VN4KzM1q+kREG312FW00KdmVvNiGaKosMtV1mb2JzLweS5ajCYWxM6GwT9EFi5Ccd+zRrOO5iRsba79VHmFuOFi3SRDPGYpD7Sei/7qGaclMXKkiJaDxsM+ux4itUK3Fqa7BtwO4uTiuzqK9hl3nsTL2URvPASUDuZjiwuJieL0VHbazXWGh7ycdL2JnBUhscoAa9L3UxiFsB9k6+EDftTk9lk+cKbrUwxNwlqcPth7b6ksFMHEiHVDpahDQ0zlYYAizUnK/9aA8x6UQqUVKOzSbG+AcHwr0kBdnRdSyYT4quiswsj2nb2NS2lfKaIGITjIzRiM3GAwf06VEGfMZVw42Eqgn6B6zltbTPlFuc06YqXYgZnxzFLQpyWW52iWSZbuClIuQzmrSAe6FYqu1Hu/KqYlL8gVYph/D9TRe8ncAWxPtYe8OF2WGCkM6XtcaFCDlUoCanfF9A4mNoB0QJXvDANQQV31Oa/IIf6v805S8OkNZwk1QENkKCwH6lQELIPZclE3ynEauneZUmylJCJqIK4MrFij8ghYUNdA5t6b/dQCKFuqklaBgzuZPy572kGjQLd5BTzzalk+d5rc+Cf7nxsMoNSbh02DU1m/1zEvD1Y7Kp2vVme7b1FRfTEos2qZ1kBzApbQStN+9cU4Zxbra1YSxqvNTLhwIvLGsNg3hAlcJGE9B/Y/6jwmf3goTfUIT+A2org+4UmBmEDUX3JNh5IF0g7OILGyQ7aYNKkrGnT1klbLdusL7jTzfmeMLaW7Cz+Pqex8+bMZefk4kUaO7WwY2s7ttLU4NmTKQpDk+wgYxxjvpQVP2bx0X1w9A58NpgxJU0wwacqgaGHHpg8gOS3HM3Srb8AAAD//wMAUEsDBBQABgAIAAAAIQCHpWqtAAgAAMN8AAANAAAAeGwvc3R5bGVzLnhtbOxd3W+jRhB/r9T/ASH1MeHDYENk+9QkdXvS9XRSUqmv2MY2Oj4swHfOVf3fO7sLxmwcE7yTXitNHmzAM7Ozv50PYDez43f7JNa+hHkRZelEt65NXQvTRbaM0vVE/+NxduXpWlEG6TKIszSc6E9hob+b/vjDuCif4vBhE4alBiLSYqJvynJ7YxjFYhMmQXGdbcMUfllleRKUcJqvjWKbh8GyYExJbNimOTSSIEp1IeEmWbxGSBLkn3fbq0WWbIMymkdxVD5xWbqWLG7er9MsD+YxqLq3nGBRy+Ynz8Qn0SLPimxVXoM4I1utokX4XEvf8A2QNB2nu2SWlIW2yHZpCWgdLmnil/dLuDh0dE10+i5bghrmtfmTbkzHRsU9Ha+ytBEyBA2Zojef0+xrOmM/CcmMajouvmlfghiuWEzGIouzXCsBYBDMr6RBEgqKuyCO5nnEyFZBEsVP4rLNLvAxqeiSCBDiCokWxOecUVVt+exX0VSULsN9CN3ypNYeg02WBIzwWWPGsdxa5lvrvzvS/1RbJlMVC6yuxiSs1EbmgCAfSTEs+Xo+0Wczk/+1e/ZrFMfaQ5AW7HI1FPyrgKGC3w7Wa4P1sgvTMfhRGebpjHFWx49PW7CwFFxeiOF0HdTrPHiybPeIweANTsfzLF9CiDn2G3FpOo7DVQmK5tF6w77LbAuf86wswR+n42UUrLM0iOHQqDmqA+jOIozjBxaG/lw1sl0H+rVfHXkkhDRmkcw52SF0pToUEsUJtNBi8hsm+0UmLdhu46cZCOeixRnIb85uec+b85/jaJ0m4THDpzwrw0XJ4y+30pYeR8q/rIesPDFBmK7Huxr6i9AbdAz9x10yD/MZT3HNIDNHas4wTYClltP2K0zx39aH8IGQcsb7CB/CRyXkk/2Q/ZD9vF0+Jf8i/yL/Iv+CByb+8Eb3z/R8ce5+np6/zucLwofwUcmnZD9kP2Q/b3c/Rv5F/kX+Rf71vZ53KP5Q/KH4Q/GH4o9Yj0Dvn8/HQ8KH8FHJF2Q/ZD9kP293v3HRoipiUlmSRugRetVK1goISnKU5FSSHEUUlYhC3kfep+J9ZD9kP2Q/b/eIQv5F/kX+Rf71vaYcKP5Q/KH4Q/GH4o+Y8qQlIOfjIeFD+KjkC7Ifsh+yn7e73yD/Iv8i/yL/+l738xR/KP78H+OPcVytS9TuOirbNbqoaJe2X52u3gXO2V3y68BdlfHiVZt46bZWBa6qoF9XAbFKmnXyP8nrq6JU2OGsalG0fzSorLBgUFcK0zZZHn2DKWpWBnABpcNCUb1vv5JKlv0XFdW+5sH2MdxDgTSOrPFMa5Wh6gAOte160NolAuqrWAPbjVdrlN2X64EJ16j16691XbasltDHPFlB0TJanDBYHgXA74+K90ml+w5hQmPVGqHKYRbH2ddwqf0GJQnzOEo/Q8FM7vYWmM58F8VllLIoABX7NtFyGbIypux/+HsIghUwOIIgOeMIgqqgOIKgfCuKIBsLbBsLbBsLbBsLbBsL7AEW2AMssAdYYA+wwB5gge1gge1gge1gge1gge1gge1ige1igQ31YnEipIsFtosF9hAL7CEW2Kw2Nko6GmKBPcQCe4QF9ggL7BEW2D6sYUAZNR/uV1EEWSaWSpaJp9MIrXdwL4uDE5RCx5KEhriFhriFhriFhriNhriNhjgUZUeyAhsNcRsN8QEa4gM0xAdoiA/QEB+gIe6gIe6gIe6gIe6gIe6gIe6iIe72Q/zZW5d2l+Du6exLl2fsUkLqz99Wvz9/20z687eNoz+/In5SeundvpRU+vMr4iclkP7tK+InJYve7Uspoj+/In5SOujfviJ+Uujv3b4U8PvzK+InBff+7SviJwXy3u1L4bs/vyJ+rmL8cxXxG7YTYe/+DxXzx1ARv6EifkNF/EaK+I0U8fPbbzd6j5/ffqnRm98yFRWwTGUN2u+uLugCsBy9HugvQJo5u0CAKoiWKoiWKoiWKojSjFh/EKWZsAsEqIIozXxdoIEqiNJMV38NpBmuCwSogijNaF2ggSqI0gxWfw2kmasLBKiCKM1UXaCBKojSzFR/DaQZqS4BH9mmcXG9lqE9ecD3FJPXL3wKc7b6p+Zo53G+66LMwbdotRxn5A0s27Yc5iti6cSryFmqF+Ri58l6t8VqYYYsnWVmQe6cWn4hkQ9ZABfkw9eQMy8T5N5ryEcH8sEryEfs9a+QPjpH7vme63uOyd6nVuRnkazobfbQXdGf7WxNzx4SKvrX6GN7jT5n0ankO2w6t5Iv9np9YWhr+tGB3jtpmvXYVvSu2dCfXIoj07OHWqGPd9bUQP4IwPTYXJug97vw5PTewTT9LnwYvW8e5FtweGIt0VEHOAOb0qgU6howTs/SXkXfNQCcnr3cFPSW2YXoyLVciz2mCAbvrAMwRBk9jGtN34koo2czeZX8zg4Avc3uOCv6s9Gh0sduPMzrBJTJZylQyPc7B4zRu43+XR7M8LEbi/M6LYjRNx7pi3WPh9gMS9+W+2a/Wq5tyTasfmA72R4Ww0F/luEq2MXl4+HHid4c/x4uo10CAb2i+hR9yUouYqI3xx/YtroQacGEYQ3mhwI2lIZvbZdHE/2vX25H/v0vM/vKM2+9K2cQule+e3t/5Tp3t/f3M9+0zbu/AVa2u/cN7FGtsHs23+Ublqtazk0Rwx7bedXZSvmH5tpEPzoR6jPtDVBbfPJOGNwB+e7j038AAAD//wMAUEsDBBQABgAIAAAAIQAW+JWCWQMAAJ0HAAAYAAAAeGwvd29ya3NoZWV0cy9zaGVldDEueG1sjFVRb9owEH6ftP9g+R3iBEgIIlQFVK1Sp1Xr1j0bx4DVJM5sU2DT/vvONskIbFN5CI7vy3ffne/O05tDWaBXrrSQVYbDPsGIV0zmotpk+OuXu94YI21oldNCVjzDR67xzez9u+leqhe95dwgYKh0hrfG1JMg0GzLS6r7suYVWNZSldTAq9oEulac5u6jsggiQuKgpKLCnmGi3sIh12vB+FKyXckr40kUL6gB/Xorat2wHfI38eWK7iHWRs+ZxKW3tHzh8EpfKZiSWq5Nn8ky8NKuo0yDtBNnya6I/pKskqqXXd0D4hqCW4lCmKMLF6OSTe43lVR0VcCJHMIhZWcq6TX923UC02yaC8itLQik+DrDt+FkOcDBbOpO7lnwvT5bI0NXT7zgzPAcCggjWxgrKV8s8B62CDBqB7CMlBnxyhe8KDI8H0JtfXc+YAkOgtbD+brxdudK6VGhFdV8IYtvIjdbcAklm/M13RXmz+a4Px5EZBBGo9b4We4/cLHZGvgEHLu0TfLjkmsGlWR1ggImC3AHT1QK2w+QbHrwYXlvUdyP4yGJLbE2R3sAAFpxbe6EZcaI7bSRZSPuROrpohPdALLk6c51nuiizieg1CuIB2NY//uz0CXQ63dpXFJDZ1Ml9wgaAXTpmto2DSdAY5MQjeFgmDXeWqvDwLaG3dcZmQavcAbshJh7BOhvEVEXsfAIiKxFDLqIpUdA3lrEsEUEoLMVC27+I9ZaMwxBtDSjlsaFM/eI2AfSD0dx177o2iMSkvNf2EUvu+iQpK29IxoivxQdjtoMW2tX9IWbuUc0ogfJpegL+4ik579xK8qlAPrV+mvYonF4Dk6TFu1D8H3nC6amG/6Rqo2oNCr4GpJM+glGyneOWxtZu104ypU0UOzN2xbGO4eCIn3wv5bSNC/QWZb3iZtdjaQS0HBuYme4lsooKgzUJOz/kGAolrWAXEXpMI2TKIX8w/1kBLs2AG3BN5QdT7MaqYnIM6zuc9cN/GAetJlN4R/tFHD+hM4lUTIIe7fxnPRG9hHFCeklSRTOkwVJY0J+NbO0hMa/uNT+OkhLygJ+YNxdaWM/6mfT8jB5fHhGH2UOIwJG1KeKP0IK3PrbEwTjlnbogTz/dGKD9mKd/QYAAP//AwBQSwMEFAAGAAgAAAAhAOI7wbybAgAADgcAABsAAAB4bC9kcmF3aW5ncy92bWxEcmF3aW5nMS52bWzsVU1v2zAMve9XCOohlwT+aJe1qh2g6NDbNmDdx7FQbCVWK4mGzThuf/0o2UmTFRuK7bDLDMWRSIrke3yAs94aRj/Xii7nm8aJtqiUle3M6qKBFlY4K8CKzhr+ZgyE3wXCaqULJYa//ZX+FVdUX6jnIpbaqRBrEUVWFt+suQ19fW00X7xhGYi2krUy8hE2yDqhesy5KjV6r3fr0sr6yMFKiTLnCY98gugowyLrhoT4WCumy5zf9TE9d5jGKWcFQFO2+knlPE3mcTwNb84oR011fQxVrSVWObfxNDZjxBB39I57NbRIBbGBB8XuQbsWHw0ltxpVE/pj1JDPx9aNLLVyGODCQ87Rly3AOVWg7zbnDe1GUAco9pAO4bRJnL7lbLh3coRxaGFSQ6tRgxNy2YLZoLokZFY2a+1mRq1QzM9rvBwNCLVITs/IsNUlViJJ/b5Sel2hSGPaP820K1UvEp+m061eaqPxUVS6LJW7tC3Mto2sZ6G6QH9xwlbamAIMNDk/WdGjEo+ZWFJooSTEcoOwY9EH04AoOn0O9yP2FBJrJWwZuIG3ZVtsGkXTHfjak/wToQ6c2k8BSVpL6NnIj++41J5yImkmDQrfzMTXY1mpu12cv0ZuvXbC0zZZZBF5Q1tRJ8ak4diLa+Mn/J7kyT4t7yn1lzDXj4CDVljWiw/Qqe8aq2tlTBvgeestafKl9coVFTShJRZP2fx8yt6FlUzZaTpldE5Os6gXB4GU7IqA3BCbixtpWhX8O0tA14vPsF0k3uE3o+2aVGLdIvbmce+596c9LIrNCHXQ8C91Of87XSbz5FiY6V6WFxcHqvRRO1Wm/1X5b1RJQqRF2iQ10jojefrDH4syqO+lKINWXyfKiD6Cix8AAAD//wMAUEsDBBQABgAIAAAAIQBReULlNQEAABI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V9LwzAUxd8Fv0PJe5umZTpC24HKEHEgWFF8C8ndGmz+kES7fXuzbtbJfLycc3+cc2+12Ko++QLnpdE1IlmOEtDcCKk3NXppl+kcJT4wLVhvNNRoBx4tmsuLilvKjYMnZyy4IMEnkaQ95bZGXQiWYux5B4r5LDp0FNfGKRbi6DbYMv7BNoCLPL/CCgITLDC8B6Z2IqIjUvAJaT9dPwIEx9CDAh08JhnBv94ATvl/F0blxKlk2NnY6Rj3lC34QZzcWy8n4zAM2VCOMWJ+gt9Wj89j1VTq/a04oKYSnHIHLBjXVPh0iIfrmQ+reOO1BHGzax6MZqFjOrk3LgJA6gqfuyJxLEDVcTOJmeihwY/0Wt7etUvUFDmZpaRIybwl15SUdFa+71P8BcRgZ19svgEAAP//AwBQSwMEFAAGAAgAAAAhAHT+6QQPAQAAIgIAABAAAAB4bC9jb21tZW50czEueG1svFDLTsMwELwj8Q/W3qmTHFBBsSs4FCFxQKJ8gIk3jSU/Iq9bpXw9W9Jw4MQJybI849mZ0babKXhxxEwuRQX1qgKBsUvWxb2C9932Zg2CionW+BRRwQkJNvr6qu1SCBgLCTaIpGAoZbyXkroBg6FVGjHyT59yMIVh3ksaMxpLA2IJXjZVdSuDcRF0aw5lSJmWh9St/KEuOS+Oil5CRcZewWMNYpY9WwUV+xScWJT5vPL1wT70KY7GK7gDBl3yKQsXLU7IE+v6TOZtimUW7cyQgjmTvQnOn2a2ORPy27Hop5wOo7BIXXZj4Z1RKzlScpyc0+Wl8K+yD83/l33D7JD+2HbpPS96QaS/AAAA//8DAFBLAwQUAAYACAAAACEA9KEv8YoBAAAN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P4zAQhu8r7X+IfKdOWYRWlWOEYFccFm2lFjgbZ9JYuLblGaKWX7+TRKXpwonbfLx+5/HY6mq39UUHGV0MlZjPSlFAsLF2YVOJh/Xvs5+iQDKhNj4GqMQeUFzp79/UMscEmRxgwRYBK9ESpYWUaFvYGpxxO3CniXlriNO8kbFpnIXbaF+3EEiel+WlhB1BqKE+S++GYnRcdPRV0zrang8f1/vEwFpdp+SdNcS31PfO5oixoeLeWBcoYlv82lnwSk5lijlXYF+zo70ulZymamWNhxseoRvjEZQ8FtQdmH59S+MyatXRogNLMRfo3niB56J4Ngg9WCU6k50JxIC9bEyG2CekrJ9ifsEWgFBJFozFIZxqp7G70PNBwMGpsDcYQbhxirh25AH/NkuT6RPi+ZR4YBh5R5zr5GN2eGvIfIAc7s3j/hvwx4UXfEjryIfgsMDTolq1JkPNOz/0jwV1x7vLvje5aU3YQH3QfGz0D/84/m49v5iVP0p+yUlNyeM/1v8AAAD//wMAUEsBAi0AFAAGAAgAAAAhAJJXjTV5AQAAcAUAABMAAAAAAAAAAAAAAAAAAAAAAFtDb250ZW50X1R5cGVzXS54bWxQSwECLQAUAAYACAAAACEAUHxOwfYAAABMAgAACwAAAAAAAAAAAAAAAACyAwAAX3JlbHMvLnJlbHNQSwECLQAUAAYACAAAACEAjJbFbvMAAAC6AgAAGgAAAAAAAAAAAAAAAADZBgAAeGwvX3JlbHMvd29ya2Jvb2sueG1sLnJlbHNQSwECLQAUAAYACAAAACEAMqRF68ABAADPAgAADwAAAAAAAAAAAAAAAAAMCQAAeGwvd29ya2Jvb2sueG1sUEsBAi0AFAAGAAgAAAAhAKODgBDpAAAAWgEAABQAAAAAAAAAAAAAAAAA+QoAAHhsL3NoYXJlZFN0cmluZ3MueG1sUEsBAi0AFAAGAAgAAAAhAOdldbjWAAAAuAEAACMAAAAAAAAAAAAAAAAAFAwAAHhsL3dvcmtzaGVldHMvX3JlbHMvc2hlZXQxLnhtbC5yZWxzUEsBAi0AFAAGAAgAAAAhAPtipW2UBgAApxsAABMAAAAAAAAAAAAAAAAAKw0AAHhsL3RoZW1lL3RoZW1lMS54bWxQSwECLQAUAAYACAAAACEAh6VqrQAIAADDfAAADQAAAAAAAAAAAAAAAADwEwAAeGwvc3R5bGVzLnhtbFBLAQItABQABgAIAAAAIQAW+JWCWQMAAJ0HAAAYAAAAAAAAAAAAAAAAABscAAB4bC93b3Jrc2hlZXRzL3NoZWV0MS54bWxQSwECLQAUAAYACAAAACEA4jvBvJsCAAAOBwAAGwAAAAAAAAAAAAAAAACqHwAAeGwvZHJhd2luZ3Mvdm1sRHJhd2luZzEudm1sUEsBAi0AFAAGAAgAAAAhAFF5QuU1AQAAEgIAABEAAAAAAAAAAAAAAAAAfiIAAGRvY1Byb3BzL2NvcmUueG1sUEsBAi0AFAAGAAgAAAAhAHT+6QQPAQAAIgIAABAAAAAAAAAAAAAAAAAA6iQAAHhsL2NvbW1lbnRzMS54bWxQSwECLQAUAAYACAAAACEA9KEv8YoBAAANAwAAEAAAAAAAAAAAAAAAAAAnJgAAZG9jUHJvcHMvYXBwLnhtbFBLBQYAAAAADQANAFgDAADnKAAAAAAFIwAAAB9BcGxvcmlzLkJhc2UuT2JqZWN0cy5UZXh0Rm9ybWF0DAAAABJEYXRhT2JqZWN0K21QYXJlbnQVRGF0YU9iamVjdCttQ29udGFpbmVyCW1Gb250Qm9sZAttRm9udEl0YWxpYw5tRm9udFVuZGVybGluZQltRm9udFNpemUJbUZvbnROYW1lEG1Gb250RmFyRWFzdE5hbWUKbUZvbnRDb2xvcgltTW9kaWZpZWQSbUF1dG9Db2xvckRpc2FibGVkCm1BdXRvQ29sb3ICAgAAAAABAQQAAAQBAQELGkFwbG9yaXMuQmFzZS5PYmplY3RzLkNvbG9yAwAAAAEBGkFwbG9yaXMuQmFzZS5PYmplY3RzLkNvbG9yAwAAAAMAAAAKCgAAAAAAQEEGdgAAAAVBcmlhbAZ3AAAABittbi1lYQl4AAAAAQAJeQAAAAckAAAAAAEAAAARAAAABBRTeXN0ZW0uRHJhd2luZy5Db2xvcgQAAAAFegAAABRTeXN0ZW0uRHJhd2luZy5Db2xvcgQAAAAFdmFsdWUFc3RhdGUKa25vd25Db2xvcgRuYW1lAAAAAQkHBwQAAAAAAAAAAAAAAAAAAAAKAXsAAAB6AAAAAAAA//////8CAAAACgF8AAAAegAAAP//////////AgAAAAoBfQAAAHoAAABOQSL//////wIAAAAKAX4AAAB6AAAA3tzb//////8CAAAACgF/AAAAegAAAH5pP///////AgAAAAoBgAAAAHoAAACMhHL//////wIAAAAKAYEAAAB6AAAAJSHt//////8CAAAACgGCAAAAegAAADQ7Rv//////AgAAAAoBgwAAAHoAAAB0mMP//////wIAAAAKAYQAAAB6AAAAHpT3//////8CAAAACgGFAAAAegAAAB6U9///////AgAAAAoBhgAAAHoAAAAlIe3//////wIAAAAKAYcAAAB6AAAAAAAA//////8CAAAACgGIAAAAegAAAP//////////AgAAAAoBiQAAAHoAAABOQSL//////wIAAAAKAYoAAAB6AAAA3tzb//////8CAAAACgQlAAAAmAFTeXN0ZW0uQ29sbGVjdGlvbnMuR2VuZXJpYy5MaXN0YDFbW0FwbG9yaXMuQmFzZS5PYmplY3RzLkRhdGFPYmplY3QsIEFwbG9yaXMuQmFzZSwgVmVyc2lvbj00LjAuMC4xNDg2LCBDdWx0dXJlPW5ldXRyYWwsIFB1YmxpY0tleVRva2VuPTE2ZmMxM2EyMjZjMGU5NTFdXQMAAAAGX2l0ZW1zBV9zaXplCF92ZXJzaW9uBAAAIUFwbG9yaXMuQmFzZS5PYmplY3RzLkRhdGFPYmplY3RbXQMAAAAICAmLAAAADQAAABMAAAAEJgAAAJUBU3lzdGVtLkNvbGxlY3Rpb25zLkdlbmVyaWMuTGlzdGAxW1tBcGxvcmlzLkJhc2UuVUkuVmlzdWFsT2JqZWN0LCBBcGxvcmlzLkJhc2UsIFZlcnNpb249NC4wLjAuMTQ4NiwgQ3VsdHVyZT1uZXV0cmFsLCBQdWJsaWNLZXlUb2tlbj0xNmZjMTNhMjI2YzBlOTUxXV0DAAAABl9pdGVtcwVfc2l6ZQhfdmVyc2lvbgQAAB5BcGxvcmlzLkJhc2UuVUkuVmlzdWFsT2JqZWN0W10DAAAACAgJjAAAAAEAAAABAAAABSgAAACbAUFwbG9yaXMuQmFzZS5PYmplY3RzLkRhdGFPYmplY3RDb2xsZWN0aW9uYDFbW0FwbG9yaXMuQ2hhcnQuVmFsdWVMaW5l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WYWx1ZUxpbmUsIEFwbG9yaXMuQ2hhcnQsIFZlcnNpb249NC4wLjAuMTQ4NiwgQ3VsdHVyZT1uZXV0cmFsLCBQdWJsaWNLZXlUb2tlbj0xNmZjMTNhMjI2YzBlOTUxXV0DAAAAkQFTeXN0ZW0uQ29sbGVjdGlvbnMuR2VuZXJpYy5MaXN0YDFbW0FwbG9yaXMuQ2hhcnQuVmFsdWVMaW5l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Y0AAAAJjgAAAAkGAAAACQEAAAAJjwAAAAUpAAAAmwFBcGxvcmlzLkJhc2UuT2JqZWN0cy5EYXRhT2JqZWN0Q29sbGVjdGlvbmAxW1tBcGxvcmlzLkNoYXJ0LkF4aXNCcmVhay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QXhpc0JyZWFrLCBBcGxvcmlzLkNoYXJ0LCBWZXJzaW9uPTQuMC4wLjE0ODYsIEN1bHR1cmU9bmV1dHJhbCwgUHVibGljS2V5VG9rZW49MTZmYzEzYTIyNmMwZTk1MV1dAwAAAJEBU3lzdGVtLkNvbGxlY3Rpb25zLkdlbmVyaWMuTGlzdGAxW1tBcGxvcmlzLkNoYXJ0LkF4aXNCcmVh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QAAAACZEAAAAJBgAAAAkBAAAACZIAAAAFK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aAAAAAMAAAAJaQAAAAlqAAAACWsAAAABAAAAAAoKCWwAAAAAAAAACgAAAAAAAAAABS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gAAAADAAAACWkAAAAJagAAAAlrAAAAAQAAAAAKCglsAAAAAAAAAAoAAAAAAAAAAAUs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GAAAACQEAAAAAAAAAAAloAAAAAwAAAAlpAAAACWoAAAAJawAAAAEAAAAACgaTAAAAASUJbAAAAAEAAAAKAAAAAAAAAAAFLQAAAJoBQXBsb3Jpcy5CYXNlLk9iamVjdHMuRGF0YU9iamVjdENvbGxlY3Rpb25gMVtbQXBsb3Jpcy5DaGFydC5UaWNrTWFyaywgQXBsb3Jpcy5DaGFydCwgVmVyc2lvbj00LjAuMC4xNDg2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VGlja01hcmssIEFwbG9yaXMuQ2hhcnQsIFZlcnNpb249NC4wLjAuMTQ4NiwgQ3VsdHVyZT1uZXV0cmFsLCBQdWJsaWNLZXlUb2tlbj0xNmZjMTNhMjI2YzBlOTUxXV0DAAAAkAFTeXN0ZW0uQ29sbGVjdGlvbnMuR2VuZXJpYy5MaXN0YDFbW0FwbG9yaXMuQ2hhcnQuVGlja01hcm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lAAAAAmVAAAACQYAAAAJAQAAAAmWAAAABTAAAAAaQXBsb3Jpcy5CYXNlLlVJLlZpc3VhbExpbmUNAAAAC21TdGFydFBvaW50CW1FbmRQb2ludAttTGluZUZvcm1h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AAAAABwIAAAMAFVN5c3RlbS5EcmF3aW5nLlBvaW50RgQAAAAVU3lzdGVtLkRyYXdpbmcuUG9pbnRGBAAAAB9BcGxvcmlzLkJhc2UuT2JqZWN0cy5MaW5lRm9ybWF0AwAAAAgIAQEIAQEPU3lzdGVtLkludFB0cltdAQMAAAABlwAAACEAAAC0axhCCSSQQwGYAAAAIQAAAPAalkMJJJBDCZkAAAC4AQAA/////wEBCgmaAAAAAQAKAAcxAAAAAAEAAAAFAAAABBVTeXN0ZW0uRHJhd2luZy5Qb2ludEYEAAAAAZsAAAAhAAAA75qXQwkkkEMBnAAAACEAAAC0axhCZxiYQwGdAAAAIQAAAGYoKUNnGJhDAZ4AAAAhAAAA8BqWQ2cYmEMBnwAAACEAAADvmpdDCaSSQwcyAAAAAAEAAAAFAAAABBdBcGxvcmlzLkJhc2UuQW5jaG9yTW9kZQMAAAAFoAAAABdBcGxvcmlzLkJhc2UuQW5jaG9yTW9kZQEAAAAHdmFsdWVfXwAIAwAAAAQAAAABoQAAAKAAAAAFAAAAAaIAAACgAAAAAwAAAAGjAAAAoAAAAAYAAAABpAAAAKAAAAAFAAAADzMAAAAFAAAAAQAAAAABBTQAAAAVQXBsb3Jpcy5CYXNlLlVJLkxhYmVsHAAAAA9tQW5jaG9yUG9zaXRpb24LbUFuY2hvck1vZGUPbUFkZElubmVyTWFyZ2luFm1PZmZzZXREaXJlY3Rpb25BbmNob3IXbU9mZnNldE9ydGhvZ29uYWxBbmNob3ILbVRleHRGb3JtYXQJbVJvdGF0aW9uCm1CYWNrQ29sb3INbVVzZUJhY2tDb2xvcg5tVXNlQmFja2dyb3VuZA5tTGluZUFsaWdubWVudAltVGV4dFNpemUPbUxhYmVsUmVjdGFuZ2xlFW1Jbm5lck1hcmdpbkxlZnRSaWdodAVtVGV4dAptVmFyaWFibGVzDW1WYXJpYWJsZUxpc3QO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AAAAEAAQAAAQEBAABAwMBAAAAAAcCAAADAB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DAAAAAaUAAAAhAAAA75qXQwkkkEMBpgAAAKAAAAAEAAAAAAAAAAAAAAAACacAAAAAAAAACagAAAAAAAWpAAAAKkFwbG9yaXMuQmFzZS5VSS5MYWJlbCtMaW5lQWxpZ25tZW50T3B0aW9ucwEAAAAHdmFsdWVfXwAIAwAAAAAAAAABqgAAAHIAAAAAAAAAAAAAAAGrAAAAFQAAAAAAAAAAAAAAAAAAAAAAAAAAAAAABqwAAAANQ2F0ZWdvcnkgYXhpcwoJrQAAAAmsAAAA5AIAAP////8AAQoJrgAAAAEACgEBNQAAACUAAAAJrwAAAAYAAAAGAAAAATYAAAAmAAAACbAAAAACAAAAAgAAAAE4AAAAKAAAAAoJsQAAAAmyAAAACQcAAAAJAQAAAAmzAAAAATkAAAApAAAACgm0AAAACbUAAAAJBwAAAAkBAAAACbYAAAAFO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aAAAAAMAAAAJaQAAAAlqAAAACWsAAAABAAAAAAoGtwAAAAElCWwAAAAAAAAACgAAAAAAAAAABT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gAAAADAAAACWkAAAAJagAAAAlrAAAAAQAAAAAKBrgAAAABJQlsAAAAAAAAAAoAAAAAAAAAAAU8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BAAAAAQloAAAAAwAAAAlpAAAACWoAAAAJawAAAAEAAAAACgmTAAAACWwAAAABAAAACgAAAAAAAAAAAT0AAAAtAAAACgm5AAAACboAAAAJBwAAAAkBAAAACbsAAAABQAAAADAAAAABvAAAACEAAAC0axhCCSSQQwG9AAAAIQAAALRrGELMd3VBCb4AAAC4AQAA/////wEBCgm/AAAAAQAKAAdBAAAAAAEAAAAFAAAABBVTeXN0ZW0uRHJhd2luZy5Qb2ludEYEAAAAAcAAAAAhAAAAtGsYQvoxHkEBwQAAACEAAADKUiNBCSSQQwHCAAAAIQAAAMpSI0HHzxdDAcMAAAAhAAAAylIjQcx3dUEBxAAAACEAAADKUiNB+jEeQQdCAAAAAAEAAAAFAAAABBdBcGxvcmlzLkJhc2UuQW5jaG9yTW9kZQMAAAABxQAAAKAAAAABAAAAAcYAAACgAAAACAAAAAHHAAAAoAAAAAIAAAAByAAAAKAAAAAGAAAAAckAAACgAAAABwAAAA9DAAAABQAAAAEAAAAAAQFEAAAANAAAAAHKAAAAIQAAALRrGEL6MR5BAcsAAACgAAAAAQAAAAAAAAAAAAAAAAnMAAAAAAAAAAnNAAAAAAABzgAAAKkAAAAAAAAAAc8AAAByAAAAAAAAAAAAAAAB0AAAABUAAAAAAAAAAAAAAAAAAAAAAAAAAAAAAAbRAAAAClZhbHVlIGF4aXMKCdIAAAAJ0QAAAOQCAAD/////AAEKCdMAAAABAAoBAUUAAAAlAAAACdQAAAAIAAAACAAAAAFGAAAAJgAAAAnVAAAAAgAAAAIAAAAHRwAAAAABAAAAAAAAAAQuQXBsb3Jpcy5DaGFydC5Db2x1bW5PcmllbnRlZENoYXJ0K1VudXNlZFNlcmllcwIAAAAESA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1gAAAAIAAACBAQAAAUkAAAAlAAAACdcAAAACAAAAmAAAAAFKAAAAJgAAAAnYAAAAAAAAAAAAAAAESw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dkAAAAAAAAAAAAAAAFMAAAAJQAAAAnaAAAAAAAAAAAAAAABTQAAACYAAAAJ2AAAAAAAAAAAAAAABE4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dsAAAAAAAAAAAAAAAFPAAAAJQAAAAnaAAAAAAAAAAAAAAABUAAAACYAAAAJ2AAAAAAAAAAAAAAABFE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cAAAAAwAAAC0AAAABUgAAACUAAAAJ3QAAAAMAAAAdAAAAAVMAAAAmAAAACdgAAAAAAAAAAAAAAARU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3gAAAAAAAAAAAAAAAVUAAAAlAAAACdoAAAAAAAAAAAAAAAFWAAAAJgAAAAnYAAAAAAAAAAAAAAAEVw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d8AAAAAAAAAAAAAAAFYAAAAJQAAAAnaAAAAAAAAAAAAAAABWQAAACYAAAAJ2AAAAAAAAAAAAAAABFo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gAAAAAAAAAAAAAAABWwAAACUAAAAJ2gAAAAAAAAAAAAAAAVwAAAAmAAAACdgAAAAAAAAAAAAAAARd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hAAAAAAAAAAAAAAABXgAAACUAAAAJ2gAAAAAAAAAAAAAAAV8AAAAmAAAACdgAAAAAAAAAAAAAAARg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eIAAAAAAAAAAAAAAAFhAAAAJQAAAAnaAAAAAAAAAAAAAAABYgAAACYAAAAJ2AAAAAAAAAAAAAAABWMAAACtAUFwbG9yaXMuQmFzZS5PYmplY3RzLkRhdGFPYmplY3RDb2xsZWN0aW9uYDFbW0FwbG9yaXMuQ2hhcnQuQ29sdW1uT3JpZW50ZWRMZWdlbmR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qwFBcGxvcmlzLkJhc2UuT2JqZWN0cy5Tb3J0YWJsZUNvbGxlY3Rpb25gMVtbQXBsb3Jpcy5DaGFydC5Db2x1bW5PcmllbnRlZExlZ2VuZEVsZW1lbnQsIEFwbG9yaXMuQ2hhcnQsIFZlcnNpb249NC4wLjAuMTQ4NiwgQ3VsdHVyZT1uZXV0cmFsLCBQdWJsaWNLZXlUb2tlbj0xNmZjMTNhMjI2YzBlOTUxXV0DAAAAowFTeXN0ZW0uQ29sbGVjdGlvbnMuR2VuZXJpYy5MaXN0YDFbW0FwbG9yaXMuQ2hhcnQuQ29sdW1uT3JpZW50ZWRMZWdlbmR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eMAAAAJ5AAAAAkUAAAACQEAAAAJ5QAAAAFlAAAAHAAAAAHmAAAAIQAAANOhjUGvvZpDAecAAAAhAAAAZ25mQyXerEMJ6AAAAAnpAAAAAAAAAAoB6gAAAHIAAAAAAAAAAAAAAAHrAAAAcgAAAAAAAAAAAAAAAAAAAAHsAAAAFQAAAAAAAAAAAAAAAAAAAAAAAACkAQAA/////wEBCgntAAAAAQAKAAFmAAAAJQAAAAnuAAAAAQAAAAEAAAABZwAAACYAAAAJ7wAAAAEAAAABAAAABXAAAAAfQXBsb3Jpcy5CYXNlLk9iamVjdHMuTGluZUZvcm1hdBEAAAASRGF0YU9iamVjdCttUGFyZW50FURhdGFPYmplY3QrbUNvbnRhaW5lcgptVW5kZWZpbmVkB21XZWlnaHQKbUZvcmVDb2xvcgptQmFja0NvbG9yCm1EYXNoU3R5bGUIbVBhdHRlcm4VbUJlZ2luQXJyb3dIZWFkTGVuZ3RoFG1CZWdpbkFycm93SGVhZFN0eWxlFG1CZWdpbkFycm93SGVhZFdpZHRoE21FbmRBcnJvd0hlYWRMZW5ndGgSbUVuZEFycm93SGVhZFN0eWxlEm1FbmRBcnJvd0hlYWRXaWR0aBNtTGluZVdlaWdodEFic29sdXRlFG1EZWZhdWx0U2NoZW1lRm9ybWF0CW1Nb2RpZmllZAICAAAEBAAAAAAAAAAAAAAAAQsaQXBsb3Jpcy5CYXNlLk9iamVjdHMuQ29sb3IDAAAAGkFwbG9yaXMuQmFzZS5PYmplY3RzLkNvbG9yAwAAAAgICAgICAgIAQEBAwAAAAoKAAAAAAAJ8AAAAAnxAAAAAQAAAP7///8BAAAAAQAAAAEAAAABAAAAAQAAAAEAAAAAAAEFcQAAAB9BcGxvcmlzLkJhc2UuT2JqZWN0cy5GaWxsRm9ybWF0CgAAABJEYXRhT2JqZWN0K21QYXJlbnQVRGF0YU9iamVjdCttQ29udGFpbmVyCm1Gb3JlQ29sb3IKbUJhY2tDb2xvcgVtVHlwZQhtUGF0dGVybg1tVHJhbnNwYXJlbmN5CG1WaXNpYmxlFG1EZWZhdWx0U2NoZW1lRm9ybWF0CW1Nb2RpZmllZAICBAQAAAAAAAAaQXBsb3Jpcy5CYXNlLk9iamVjdHMuQ29sb3IDAAAAGkFwbG9yaXMuQmFzZS5PYmplY3RzLkNvbG9yAwAAAAgICwgBAQMAAAAKCgnyAAAACfMAAAABAAAAAAAAAAAAAAAAAAAAAAEFdQAAAB9BcGxvcmlzLkJhc2UuT2JqZWN0cy5QZXJzSWREYXRhAgAAAANtSWQLbUN1c3RvbURhdGEHAggDAAAACfQAAAAKBXgAAAAaQXBsb3Jpcy5CYXNlLk9iamVjdHMuQ29sb3IHAAAAEkRhdGFPYmplY3QrbVBhcmVudBVEYXRhT2JqZWN0K21Db250YWluZXIFbVR5cGUEbVJHQhBtVGhlbWVDb2xvckluZGV4DG1BdXRvVXBkYXRlZAltTW9kaWZpZWQCAgAAAAAACAgIAQEDAAAACgoAAAAAAAAAAA0AAAAAAQF5AAAAeAAAAAoKAQAAAAAAAAD/////AAEHiwAAAAABAAAAEAAAAAQfQXBsb3Jpcy5CYXNlLk9iamVjdHMuRGF0YU9iamVjdAMAAAAJCQAAAAkKAAAACQsAAAAJDAAAAAkQAAAACREAAAAJDQAAAAkOAAAACQ8AAAAJBwAAAAkGAAAACRgAAAAJFAAAAA0DB4wAAAAAAQAAAAQAAAAEHEFwbG9yaXMuQmFzZS5VSS5WaXN1YWxPYmplY3QDAAAACRwAAAANAwSNAAAAkQFTeXN0ZW0uQ29sbGVjdGlvbnMuR2VuZXJpYy5MaXN0YDFbW0FwbG9yaXMuQ2hhcnQuVmFsdWVMaW5lLCBBcGxvcmlzLkNoYXJ0LCBWZXJzaW9uPTQuMC4wLjE0ODYsIEN1bHR1cmU9bmV1dHJhbCwgUHVibGljS2V5VG9rZW49MTZmYzEzYTIyNmMwZTk1MV1dAwAAAAZfaXRlbXMFX3NpemUIX3ZlcnNpb24EAAAZQXBsb3Jpcy5DaGFydC5WYWx1ZUxpbmVbXQIAAAAICAn1AAAAAAAAAAAAAAABjgAAACUAAAAJ2gAAAAAAAAAAAAAAAY8AAAAmAAAACdgAAAAAAAAAAAAAAASQAAAAkQFTeXN0ZW0uQ29sbGVjdGlvbnMuR2VuZXJpYy5MaXN0YDFbW0FwbG9yaXMuQ2hhcnQuQXhpc0JyZWFrLCBBcGxvcmlzLkNoYXJ0LCBWZXJzaW9uPTQuMC4wLjE0ODYsIEN1bHR1cmU9bmV1dHJhbCwgUHVibGljS2V5VG9rZW49MTZmYzEzYTIyNmMwZTk1MV1dAwAAAAZfaXRlbXMFX3NpemUIX3ZlcnNpb24EAAAZQXBsb3Jpcy5DaGFydC5BeGlzQnJlYWtbXQIAAAAICAn2AAAAAAAAAAAAAAABkQAAACUAAAAJ2gAAAAAAAAAAAAAAAZIAAAAmAAAACdgAAAAAAAAAAAAAAASUAAAAkAFTeXN0ZW0uQ29sbGVjdGlvbnMuR2VuZXJpYy5MaXN0YDFbW0FwbG9yaXMuQ2hhcnQuVGlja01hcmssIEFwbG9yaXMuQ2hhcnQsIFZlcnNpb249NC4wLjAuMTQ4NiwgQ3VsdHVyZT1uZXV0cmFsLCBQdWJsaWNLZXlUb2tlbj0xNmZjMTNhMjI2YzBlOTUxXV0DAAAABl9pdGVtcwVfc2l6ZQhfdmVyc2lvbgQAABhBcGxvcmlzLkNoYXJ0LlRpY2tNYXJrW10CAAAACAgJ9wAAAAAAAAAAAAAAAZUAAAAlAAAACdoAAAAAAAAAAAAAAAGWAAAAJgAAAAnYAAAAAAAAAAAAAAABmQAAAHAAAAAKCgAAAEA/CfgAAAAJ+QAAAAEAAAD+////AAAAAAEAAAAAAAAAAAAAAAEAAAAAAAAAAAAAAZoAAAB1AAAACfoAAAAKBac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YAAAAKAAAAAABAQQl2AAAACXcAAAAJ+wAAAAEACfwAAAABqAAAAHgAAAAKCgEAAAAAAAAA/////wABBK0AAACWAVN5c3RlbS5Db2xsZWN0aW9ucy5HZW5lcmljLkxpc3RgMVtbQXBsb3Jpcy5CYXNlLk9iamVjdHMuVmFyaWFibGUsIEFwbG9yaXMuQmFzZSwgVmVyc2lvbj00LjAuMC4xNDg2LCBDdWx0dXJlPW5ldXRyYWwsIFB1YmxpY0tleVRva2VuPTE2ZmMxM2EyMjZjMGU5NTFdXQMAAAAGX2l0ZW1zBV9zaXplCF92ZXJzaW9uBAAAH0FwbG9yaXMuQmFzZS5PYmplY3RzLlZhcmlhYmxlW10DAAAACAgJ/QAAAAAAAAAAAAAAAa4AAAB1AAAACf4AAAAKB68AAAAAAQAAAAgAAAAEH0FwbG9yaXMuQmFzZS5PYmplY3RzLkRhdGFPYmplY3QDAAAACSoAAAAJKwAAAAksAAAACS0AAAAJKAAAAAkpAAAACgoHsAAAAAABAAAABAAAAAQcQXBsb3Jpcy5CYXNlLlVJLlZpc3VhbE9iamVjdAMAAAAJMAAAAAk0AAAACgoBsQAAAI0AAAAJ9QAAAAAAAAAAAAAAAbIAAAAlAAAACdoAAAAAAAAAAAAAAAGzAAAAJgAAAAnYAAAAAAAAAAAAAAABtAAAAJAAAAAJ9gAAAAAAAAAAAAAAAbUAAAAlAAAACdoAAAAAAAAAAAAAAAG2AAAAJgAAAAnYAAAAAAAAAAAAAAABuQAAAJQAAAAJ/wAAAAcAAAAnAAAAAboAAAAlAAAACQABAAAHAAAAJwAAAAG7AAAAJgAAAAnYAAAAAAAAAAAAAAABvgAAAHAAAAAKCgAAAEA/CQEBAAAJAgEAAAEAAAD+////AAAAAAEAAAAAAAAAAAAAAAEAAAAAAAAAAAAAAb8AAAB1AAAACQMBAAAKBcw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JUFwbG9yaXMuQ2hhcnQuQ29sdW1uT3JpZW50ZWRDaGFydEF4aXMCAAAAAQEBCxpBcGxvcmlzLkJhc2UuT2JqZWN0cy5Db2xvcgMAAAABARpBcGxvcmlzLkJhc2UuT2JqZWN0cy5Db2xvcgMAAAADAAAACQcAAAAKAAAAAABAQQl2AAAACXcAAAAJBAEAAAEACQUBAAABzQAAAHgAAAAKCgEAAAAAAAAA/////wABAdIAAACtAAAACf0AAAAAAAAAAAAAAAHTAAAAdQAAAAkGAQAACgfUAAAAAAEAAAAIAAAABB9BcGxvcmlzLkJhc2UuT2JqZWN0cy5EYXRhT2JqZWN0AwAAAAk6AAAACTsAAAAJPAAAAAk9AAAACTgAAAAJOQAAAAkHAQAACQgBAAAH1QAAAAABAAAABAAAAAQcQXBsb3Jpcy5CYXNlLlVJLlZpc3VhbE9iamVjdAMAAAAJQAAAAAlEAAAACgoH1gAAAAABAAAAIAAAAAQdQXBsb3Jpcy5DaGFydC5DaGFydERhdGFTZXJpZXMCAAAACQkBAAAJCgEAAA0eB9cAAAAAAQAAACAAAAAEH0FwbG9yaXMuQmFzZS5PYmplY3RzLkRhdGFPYmplY3QDAAAACQoBAAAJCQEAAA0eB9gAAAAAAQAAAAAAAAAEHEFwbG9yaXMuQmFzZS5VSS5WaXN1YWxPYmplY3QDAAAAB9kAAAAAAQAAAAAAAAAEIkFwbG9yaXMuQ2hhcnQuQW5ub3RhdGlvbkRhdGFTZXJpZXMCAAAAB9oAAAAAAQAAAAAAAAAEH0FwbG9yaXMuQmFzZS5PYmplY3RzLkRhdGFPYmplY3QDAAAAB9sAAAAAAQAAAAAAAAAEHUFwbG9yaXMuQ2hhcnQuQW5ub3RhdGlvbkdyb3VwAgAAAAfcAAAAAAEAAAAQAAAABBxBcGxvcmlzLkNoYXJ0LkNoYXJ0RGF0YUdyb3VwAgAAAAkLAQAACQwBAAAJDQEAAA0NB90AAAAAAQAAABAAAAAEH0FwbG9yaXMuQmFzZS5PYmplY3RzLkRhdGFPYmplY3QDAAAACQwBAAAJCwEAAAkNAQAADQ0H3gAAAAABAAAAAAAAAAQWQXBsb3Jpcy5DaGFydC5EZWx0YUJhcgIAAAAH3wAAAAABAAAAAAAAAAQZQXBsb3Jpcy5DaGFydC5EZWx0YUJyaWRnZQIAAAAH4AAAAAABAAAAAAAAAAQZQXBsb3Jpcy5DaGFydC5Hcm93dGhBcnJvdwIAAAAH4QAAAAABAAAAAAAAAAQgQXBsb3Jpcy5DaGFydC5XYXRlcmZhbGxDb25uZWN0b3ICAAAAB+IAAAAAAQAAAAAAAAAEHkFwbG9yaXMuQ2hhcnQuRWxlbWVudENvbm5lY3RvcgIAAAAE4wAAAKMBU3lzdGVtLkNvbGxlY3Rpb25zLkdlbmVyaWMuTGlzdGAxW1tBcGxvcmlzLkNoYXJ0LkNvbHVtbk9yaWVudGVkTGVnZW5kRWxlbWVudCwgQXBsb3Jpcy5DaGFydCwgVmVyc2lvbj00LjAuMC4xNDg2LCBDdWx0dXJlPW5ldXRyYWwsIFB1YmxpY0tleVRva2VuPTE2ZmMxM2EyMjZjMGU5NTFdXQMAAAAGX2l0ZW1zBV9zaXplCF92ZXJzaW9uBAAAK0FwbG9yaXMuQ2hhcnQuQ29sdW1uT3JpZW50ZWRMZWdlbmRFbGVtZW50W10CAAAACAgJDgEAAAIAAAAsAAAAAeQAAAAlAAAACQ8BAAACAAAAAgAAAAHlAAAAJgAAAAkQAQAAAAAAAAAAAAAB6AAAAHAAAAAKCgAAAAAACREBAAAJEgEAAAEAAAD+////AQAAAAEAAAABAAAAAQAAAAEAAAABAAAAAAABAekAAABxAAAACgoJEwEAAAkUAQAAAQAAAAAAAAAAAAAAAAAAAAABAe0AAAB1AAAACRUBAAAKB+4AAAAAAQAAAAQAAAAEH0FwbG9yaXMuQmFzZS5PYmplY3RzLkRhdGFPYmplY3QDAAAACWMAAAANAwfvAAAAAAEAAAAEAAAABBxBcGxvcmlzLkJhc2UuVUkuVmlzdWFsT2JqZWN0AwAAAAllAAAADQMB8AAAAHgAAAAKCgAAAAAAAAAADQAAAAABAfEAAAB4AAAACgoBAAAAAAAAAP////8AAQHyAAAAeAAAAAoKAQAAAP///wD/////AAEB8wAAAHgAAAAKCgEAAAAAAAAA/////wABD/QAAAABAAAACAAAAAAH9QAAAAABAAAAAAAAAAQXQXBsb3Jpcy5DaGFydC5WYWx1ZUxpbmUCAAAAB/YAAAAAAQAAAAAAAAAEF0FwbG9yaXMuQ2hhcnQuQXhpc0JyZWFrAgAAAAf3AAAAAAEAAAAAAAAABBZBcGxvcmlzLkNoYXJ0LlRpY2tNYXJrAgAAAAX4AAAAGkFwbG9yaXMuQmFzZS5PYmplY3RzLkNvbG9yBwAAABJEYXRhT2JqZWN0K21QYXJlbnQVRGF0YU9iamVjdCttQ29udGFpbmVyBW1UeXBlBG1SR0IQbVRoZW1lQ29sb3JJbmRleAxtQXV0b1VwZGF0ZWQJbU1vZGlmaWVkBAIAAAAAAB9BcGxvcmlzLkJhc2UuT2JqZWN0cy5MaW5lRm9ybWF0AwAAAAgICAEBAwAAAAmZAAAACgAAAAAAAAAADQAAAAAABfkAAAAaQXBsb3Jpcy5CYXNlLk9iamVjdHMuQ29sb3IHAAAAEkRhdGFPYmplY3QrbVBhcmVudBVEYXRhT2JqZWN0K21Db250YWluZXIFbVR5cGUEbVJHQhBtVGhlbWVDb2xvckluZGV4DG1BdXRvVXBkYXRlZAltTW9kaWZpZWQEAgAAAAAAH0FwbG9yaXMuQmFzZS5PYmplY3RzLkxpbmVGb3JtYXQDAAAACAgIAQEDAAAACZkAAAAKAQAAAAAAAAD/////AAEP+gAAAAEAAAAIbAMAAAH7AAAAeAAAAAoKAAAAAAAAAAANAAAAAAEB/AAAAHgAAAAKCgEAAAAAAAAA/////wABB/0AAAAAAQAAAAAAAAAEHUFwbG9yaXMuQmFzZS5PYmplY3RzLlZhcmlhYmxlAwAAAA/+AAAAAQAAAAgAAAAAB/8AAAAAAQAAABAAAAAEFkFwbG9yaXMuQ2hhcnQuVGlja01hcmsCAAAACRYBAAAJFwEAAAkYAQAACRkBAAAJGgEAAAkbAQAACRwBAAANCQcAAQAAAAEAAAAQAAAABB9BcGxvcmlzLkJhc2UuT2JqZWN0cy5EYXRhT2JqZWN0AwAAAAkWAQAACRcBAAAJGAEAAAkZAQAACRoBAAAJGwEAAAkcAQAADQkFAQEAABpBcGxvcmlzLkJhc2UuT2JqZWN0cy5Db2xvcgcAAAASRGF0YU9iamVjdCttUGFyZW50FURhdGFPYmplY3QrbUNvbnRhaW5lcgVtVHlwZQRtUkdCEG1UaGVtZUNvbG9ySW5kZXgMbUF1dG9VcGRhdGVkCW1Nb2RpZmllZAQCAAAAAAAfQXBsb3Jpcy5CYXNlLk9iamVjdHMuTGluZUZvcm1hdAMAAAAICAgBAQMAAAAJvgAAAAoAAAAAAAAAAA0AAAAAAAUCAQAAGkFwbG9yaXMuQmFzZS5PYmplY3RzLkNvbG9yBwAAABJEYXRhT2JqZWN0K21QYXJlbnQVRGF0YU9iamVjdCttQ29udGFpbmVyBW1UeXBlBG1SR0IQbVRoZW1lQ29sb3JJbmRleAxtQXV0b1VwZGF0ZWQJbU1vZGlmaWVkBAIAAAAAAB9BcGxvcmlzLkJhc2UuT2JqZWN0cy5MaW5lRm9ybWF0AwAAAAgICAEBAwAAAAm+AAAACgEAAAAAAAAA/////wABDwMBAAABAAAACGsDAAABBAEAAHgAAAAKCgAAAAAAAAAADQAAAAABAQUBAAB4AAAACgoBAAAAAAAAAP////8AAQ8GAQAAAQAAAAgAAAAABQcB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gAAAADAAAACWkAAAAJagAAAAlrAAAAAQAAAAAKCZMAAAAJbAAAAAEAAAAKAAAAAAAAAAAFCA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wAAAAkBAAAAAAAAAAAGHQEAAAEuAwAAAAYeAQAAASwGHwEAAAEtBiABAAABKwEAAAAACgoGIQEAAAhNL2QveXl5eQAAAAAKAAAAAAAAAAAFCQE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AuMC4xNDg2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ASIBAAATAAAAAAAAAAIAAAD/////CQcAAAAJIwEAAAYkAQAAKUdyb3duIFNpZ25pZmljYW50bHkgKGF0IGxlYXN0IDUwJSBncm93dGgpCgoAAAAAAAAAAAAAAAAKCgAJJQEAAAkmAQAACScBAAAAAAAAAAAAAAAAAAAAAAAAAAAJKAEAAAkBAAAACQEAAAAJKQEAAAEKAQAACQEAAAkBAAAAASoBAAATAAAAAAAAAAMAAAD/////CQcAAAAJKwEAAAYsAQAAEEdyb3duIE1vZGVyYXRlbHkKCgAAAAAAAAAAAAAAAAoKAAktAQAACS4BAAAJLwEAAAAAAAAAAQAAAAAAAAAAAAAAAAkwAQAACQEAAAAJAQAAAAkxAQAABQsB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GMgEAAAhBZHZhbmNlZAAFMwEAAB5BcGxvcmlzLkNoYXJ0LkNoYXJ0R3JvdXBBbmNob3IBAAAAB3ZhbHVlX18ACAIAAAAAAAAACgAAAAABAAAAAQAAAAk0AQAACTUBAAAJNgEAAAoJBwAAAAk3AQAACQEAAAAJAQAAAAk4AQAAAQwBAAALAQAACQEAAAAGOQEAAAZQZW9wbGUAAToBAAAzAQAAAAAAAAoAAAAAAQAAAAEAAAAJOwEAAAk8AQAACT0BAAAKCQcAAAAJPgEAAAkBAAAACQEAAAAJPwEAAAENAQAACwEAAAkBAAAABkABAAAKVGVjaG5vbG9neQABQQEAADMBAAAAAAAACgAAAAABAAAAAQAAAAlCAQAACUMBAAAJRAEAAAoJBwAAAAlFAQAACQEAAAAJAQAAAAlGAQAABw4BAAAAAQAAAAQAAAAEKUFwbG9yaXMuQ2hhcnQuQ29sdW1uT3JpZW50ZWRMZWdlbmRFbGVtZW50AgAAAAlHAQAACUgBAAAKCgcPAQAAAAEAAAAEAAAABB9BcGxvcmlzLkJhc2UuT2JqZWN0cy5EYXRhT2JqZWN0AwAAAAlHAQAACUgBAAAKCgcQAQAAAAEAAAAAAAAABBxBcGxvcmlzLkJhc2UuVUkuVmlzdWFsT2JqZWN0AwAAAAERAQAAeAAAAAoKAAAAAAAAAAANAAAAAAEBEgEAAHgAAAAKCgEAAAAAAAAA/////wABARMBAAB4AAAACgoBAAAA////AP////8AAQEUAQAAeAAAAAoKAQAAAAAAAAD/////AAEPFQEAAAEAAAAIAAAAAAUWAQAAFkFwbG9yaXMuQ2hhcnQuVGlja01hcmsNAAAAC21WaXN1YWxMaW5lCW1HcmlkTGluZQZtTGFiZWwFbUF4aXMIbVZpc2libGUJbVBvc2l0aW9uC21TdGFydFBvaW50CW1FbmRQb2ludAxtSGFzR3JpZExpbmUYRGF0YU9iamVjdCttQ2hpbGRPYmplY3RzEkRhdGFPYmplY3QrbVBhcmVudBVEYXRhT2JqZWN0K21Db250YWluZXIZRGF0YU9iamVjdCttVmlzdWFsT2JqZWN0cwQEBAQAAAQEAAMEBAMaQXBsb3Jpcy5CYXNlLlVJLlZpc3VhbExpbmUDAAAAGkFwbG9yaXMuQmFzZS5VSS5WaXN1YWxMaW5lAwAAABVBcGxvcmlzLkJhc2UuVUkuTGFiZWwDAAAAEkFwbG9yaXMuQ2hhcnQuQXhpcwIAAAABBhVTeXN0ZW0uRHJhd2luZy5Qb2ludEYEAAAAFVN5c3RlbS5EcmF3aW5nLlBvaW50RgQAAAA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SQEAAAoJSgEAAAkHAAAAAQAAAAAAAAAAAUsBAAAhAAAAtGsYQgkkkEMBTAEAACEAAAC0awhCCSSQQwAJTQEAAAkHAAAACQEAAAAJTgEAAAEXAQAAFgEAAAlPAQAACglQAQAACQcAAAABmpmZmZmZuT8BUQEAACEAAAC0axhCpMpyQwFSAQAAIQAAALRrCEKkynJDAAlTAQAACQcAAAAJAQAAAAlUAQAAARgBAAAWAQAACVUBAAAKCVYBAAAJBwAAAAGamZmZmZnJPwFXAQAAIQAAALRrGEI2TUVDAVgBAAAhAAAAtGsIQjZNRUMACVkBAAAJBwAAAAkBAAAACVoBAAABGQEAABYBAAAJWwEAAAoJXAEAAAkHAAAAATMzMzMzM9M/AV0BAAAhAAAAtGsYQsfPF0MBXgEAACEAAAC0awhCx88XQwAJXwEAAAkHAAAACQEAAAAJYAEAAAEaAQAAFgEAAAlhAQAACgliAQAACQcAAAABmpmZmZmZ2T8BYwEAACEAAAC0axhCsqTUQgFkAQAAIQAAALRrCEKypNRCAAllAQAACQcAAAAJAQAAAAlmAQAAARsBAAAWAQAACWcBAAAKCWgBAAAJBwAAAAEAAAAAAADgPwFpAQAAIQAAALRrGEKsU3NCAWoBAAAhAAAAtGsIQqxTc0IACWsBAAAJBwAAAAkBAAAACWwBAAABHAEAABYBAAAJbQEAAAoJbgEAAAkHAAAAATMzMzMzM+M/AW8BAAAhAAAAtGsYQsx3dUEBcAEAACEAAAC0awhCzHd1QQAJcQEAAAkHAAAACQEAAAAJcgEAAAUjAQAAogFBcGxvcmlzLkJhc2UuT2JqZWN0cy5EYXRhT2JqZWN0Q29sbGVjdGlvbmAxW1tBcGxvcmlzLkNoYXJ0LkNoYXJ0RGF0YU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wLjAuMTQ4NiwgQ3VsdHVyZT1uZXV0cmFsLCBQdWJsaWNLZXlUb2tlbj0xNmZjMTNhMjI2YzBlOTUxXV0DAAAAmAFTeXN0ZW0uQ29sbGVjdGlvbnMuR2VuZXJpYy5MaXN0YDFbW0FwbG9yaXMuQ2hhcnQuQ2hhcnREYXRh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zAQAACXQBAAAJCQEAAAkBAAAACXUBAAAFJQEAABxBcGxvcmlzLkNoYXJ0LkNvbm5lY3RlZExhYmVsJA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CAAAAClgCAAAFdgEAACtBcGxvcmlzLkNoYXJ0LkNvbm5lY3RlZExhYmVsK2VDb25uZWN0b3JNb2RlAQAAAAd2YWx1ZV9fAAgCAAAAAQAAAAV3AQAANkFwbG9yaXMuQ2hhcnQuQ29ubmVjdGVkTGFiZWwrZUFuZ2xlZENvbm5lY3RvckRpcmVjdGlvbgEAAAAHdmFsdWVfXwAIAgAAAAAAAAABeAEAABUAAAA+OWhDjbJxQ9BrQkIUVi5CBXkBAAAtQXBsb3Jpcy5DaGFydC5Db25uZWN0ZWRMYWJlbCtlVGFyZ2V0QXJlYVNoYXBlAQAAAAd2YWx1ZV9fAAgCAAAAAAAAAAAAEEEBAXoBAAAhAAAAGWqQQ6i+g0MBewEAAKAAAAAEAAAAAAAAAAAAAAAACXwBAAAAAAAACX0BAAAAAAF+AQAAqQAAAAAAAAABfwEAAHIAAAAAAAxCAABgQQGAAQAAFQAAAAAAAAAAAAAAAAAAAAAAAABeutk/CSQBAAAKCYEBAAAGggEAAAAgAwAA/////wABCgmDAQAAAQAKAQcmAQAAAAEAAAACAAAABBVTeXN0ZW0uRHJhd2luZy5Qb2ludEYEAAAAAYQBAAAhAAAAGWqQQ6i+g0MBhQEAACEAAAC0awRCosx8QwcnAQAAAAEAAAACAAAABBdBcGxvcmlzLkJhc2UuQW5jaG9yTW9kZQMAAAABhgEAAKAAAAAEAAAAAYcBAACgAAAAAgAAAAEoAQAAJQAAAAmIAQAAAQAAAAEAAAABKQEAACYAAAAJiQEAAAEAAAABAAAAASsBAAAjAQAACgmKAQAACYsBAAAJCgEAAAkBAAAACYwBAAABLQEAACUBAAAKWAIAAAGNAQAAdgEAAAEAAAABjgEAAHcBAAAAAAAAAY8BAAAVAAAAPjloQ+DU4kLQa0JCOpD0QgGQAQAAeQEAAAAAAAAAABBBAQGRAQAAIQAAABlqkEN+ji5DAZIBAACgAAAABAAAAAAAAAAAAAAAAAmTAQAAAAAAAAmUAQAAAAABlQEAAKkAAAAAAAAAAZYBAAByAAAAAAAoQgAAYEEBlwEAABUAAAAAAAAAAAAAAAAAAAAAAAAAXrrZPwksAQAACgmYAQAACYIBAAAgAwAA/////wABCgmZAQAAAQAKAQcuAQAAAAEAAAACAAAABBVTeXN0ZW0uRHJhd2luZy5Qb2ludEYEAAAAAZoBAAAhAAAAGWqQQ36OLkMBmwEAACEAAAC0awRCyssDQwcvAQAAAAEAAAACAAAABBdBcGxvcmlzLkJhc2UuQW5jaG9yTW9kZQMAAAABnAEAAKAAAAAEAAAAAZ0BAACgAAAAAgAAAAEwAQAAJQAAAAmeAQAAAQAAAAEAAAABMQEAACYAAAAJnwEAAAEAAAABAAAADzQBAAABAAAACAAAAAAHNQEAAAABAAAAAQAAAAQVQXBsb3Jpcy5CYXNlLlVJLkxhYmVsAwAAAAmgAQAAATYBAAA0AAAAAaEBAAAhAAAALJSjQgmkkkMBogEAAKAAAAADAAAAAAAAAAAAAAAACaMBAAAAAAAACaQBAAAAAAGlAQAAqQAAAAAAAAABpgEAAHIAAAAAAExCAABAQQGnAQAAFQAAAEUXZUJ00ZJDjlxFQqOLLkESg74/CTIBAAAKCagBAAAJggEAACADAAD/////AQEKCakBAAABAAoBATcBAAAlAAAACaoBAAAAAAAAAAAAAAE4AQAAJgAAAAmrAQAAAgAAAAQAAAAPOwEAAAEAAAAIAAAAAAc8AQAAAAEAAAABAAAABBVBcGxvcmlzLkJhc2UuVUkuTGFiZWwDAAAACawBAAABPQEAADQAAAABrQEAACEAAABnKClDCaSSQwGuAQAAoAAAAAMAAAAAAAAAAAAAAAAJrwEAAAAAAAAJsAEAAAAAAbEBAACpAAAAAAAAAAGyAQAAcgAAAAAADEIAAEBBAbMBAAAVAAAAdNEXQ3TRkkMDLgtCo4suQRKDvj8JOQEAAAoJtAEAAAmCAQAAIAMAAP////8BAQoJtQEAAAEACgEBPgEAACUAAAAJtgEAAAAAAAAAAAAAAT8BAAAmAAAACbcBAAACAAAABAAAAA9CAQAAAQAAAAgAAAAAB0MBAAAAAQAAAAEAAAAEFUFwbG9yaXMuQmFzZS5VSS5MYWJlbAMAAAAJuAEAAAFEAQAANAAAAAG5AQAAIQAAAFxDgEMJpJJDAboBAACgAAAAAwAAAAAAAAAAAAAAAAm7AQAAAAAAAAm8AQAAAAABvQEAAKkAAAAAAAAAAb4BAAByAAAAAABsQgAAQEEBvwEAABUAAACLLmRDdNGSQ9RzYkKjiy5BEoO+PwlAAQAACgnAAQAACYIBAAAgAwAA/////wEBCgnBAQAAAQAKAQFFAQAAJQAAAAnCAQAAAAAAAAAAAAABRgEAACYAAAAJwwEAAAIAAAACAAAABUcBAAApQXBsb3Jpcy5DaGFydC5Db2x1bW5PcmllbnRlZExlZ2VuZEVsZW1lbnQNAAAAB21MZWdlbmQLbURhdGFTZXJpZXMUTGVnZW5kRWxlbWVudCttTGFiZWwYTGVnZW5kRWxlbWVudCttUmVjdGFuZ2xlE0xlZ2VuZEVsZW1lbnQrbUxpbmUVTGVnZW5kRWxlbWVudCttQ2lyY2xlFUxlZ2VuZEVsZW1lbnQrbU1hcmtlchRMZWdlbmRFbGVtZW50K21JbmRleB1MZWdlbmRFbGVtZW50K21MYWJlbFBvc2l0aW9ucxhEYXRhT2JqZWN0K21DaGlsZE9iamVjdHMSRGF0YU9iamVjdCttUGFyZW50FURhdGFPYmplY3QrbUNvbnRhaW5lchlEYXRhT2JqZWN0K21WaXN1YWxPYmplY3RzBAQEBAQEBAAEAwQEAyJBcGxvcmlzLkNoYXJ0LkNvbHVtbk9yaWVudGVkTGVnZW5kAgAAAB1BcGxvcmlzLkNoYXJ0LkNoYXJ0RGF0YVNlcmllcwIAAAAVQXBsb3Jpcy5CYXNlLlVJLkxhYmVsAwAAABpBcGxvcmlzLkJhc2UuVUkuVmlzdWFsUmVjdAMAAAAaQXBsb3Jpcy5CYXNlLlVJLlZpc3VhbExpbmUDAAAAHUFwbG9yaXMuQmFzZS5VSS5WaXN1YWxFbGxpcHNlAwAAABpBcGxvcmlzLkNoYXJ0LlZpc3VhbE1hcmtlcgIAAAAIF1N5c3RlbS5EcmF3aW5nLlBvaW50RltdBA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RQAAAAJCQEAAAnEAQAACcUBAAAKCgoAAAAACgnGAQAACRQAAAAJAQAAAAnHAQAAAUgBAABHAQAACRQAAAAJCgEAAAnIAQAACckBAAAKCgoBAAAACgnKAQAACRQAAAAJAQAAAAnLAQAAAUkBAAAwAAAAAcwBAAAhAAAAtGsYQgkkkEMBzQEAACEAAAC0awhCCSSQQwnOAQAAzAEAAP////8BAQoJzwEAAAEACgABSgEAADQAAAAB0AEAACEAAAC0awJCCSSQQwHRAQAAoAAAAAIAAAAAAAAAAAAAAAAJ0gEAAAAAAAAJ0wEAAAAAAdQBAACpAAAAAAAAAAHVAQAAcgAAAAAAgEEAAEBBAdYBAAAVAAAAuuiCQRddjUN6LYxBo4suQRKDvj8G1wEAAAIwJQoJ2AEAAAmCAQAA0AIAAP////8BAQoJ2QEAAAEACgABTQEAACUAAAAJ2gAAAAAAAAAAAAAAAU4BAAAmAAAACdoBAAACAAAAAgAAAAFPAQAAMAAAAAHbAQAAIQAAALRrGEKkynJDAdwBAAAhAAAAtGsIQqTKckMJ3QEAAMwBAAD/////AQEKCd4BAAABAAoAAVABAAA0AAAAAd8BAAAhAAAAtGsCQqTKckMB4AEAAKAAAAACAAAAAAAAAAAAAAAACeEBAAAAAAAACeIBAAAAAAHjAQAAqQAAAAAAAAAB5AEAAHIAAAAAALhBAABAQQHlAQAAFQAAAAAAIEHRRW1DNBa/QaOLLkESg74/BuYBAAADMTAlCgnnAQAACYIBAADQAgAA/////wEBCgnoAQAAAQAKAAFTAQAAJQAAAAnaAAAAAAAAAAAAAAABVAEAACYAAAAJ6QEAAAIAAAACAAAAAVUBAAAwAAAAAeoBAAAhAAAAtGsYQjZNRUMB6wEAACEAAAC0awhCNk1FQwnsAQAAzAEAAP////8BAQoJ7QEAAAEACgABVgEAADQAAAAB7gEAACEAAAC0awJCNk1FQwHvAQAAoAAAAAIAAAAAAAAAAAAAAAAJ8AEAAAAAAAAJ8QEAAAAAAfIBAACpAAAAAAAAAAHzAQAAcgAAAAAAuEEAAEBBAfQBAAAVAAAAAAAgQXTRP0M0Fr9Bo4suQRKDvj8G9QEAAAMyMCUKCfYBAAAJggEAANACAAD/////AQEKCfcBAAABAAoAAVkBAAAlAAAACdoAAAAAAAAAAAAAAAFaAQAAJgAAAAn4AQAAAgAAAAIAAAABWwEAADAAAAAB+QEAACEAAAC0axhCx88XQwH6AQAAIQAAALRrCELHzxdDCfsBAADMAQAA/////wEBCgn8AQAAAQAKAAFcAQAANAAAAAH9AQAAIQAAALRrAkLHzxdDAf4BAACgAAAAAgAAAAAAAAAAAAAAAAn/AQAAAAAAAAkAAgAAAAABAQIAAKkAAAAAAAAAAQICAAByAAAAAAC4QQAAQEEBAwIAABUAAAAAACBBF10SQzQWv0Gjiy5BEoO+PwYEAgAAAzMwJQoJBQIAAAmCAQAA0AIAAP////8BAQoJBgIAAAEACgABXwEAACUAAAAJ2gAAAAAAAAAAAAAAAWABAAAmAAAACQcCAAACAAAAAgAAAAFhAQAAMAAAAAEIAgAAIQAAALRrGEKypNRCAQkCAAAhAAAAtGsIQrKk1EIJCgIAAMwBAAD/////AQEKCQsCAAABAAoAAWIBAAA0AAAAAQwCAAAhAAAAtGsCQrKk1EIBDQIAAKAAAAACAAAAAAAAAAAAAAAACQ4CAAAAAAAACQ8CAAAAAAEQAgAAqQAAAAAAAAABEQIAAHIAAAAAALhBAABAQQESAgAAFQAAAAAAIEF00clCNBa/QaOLLkESg74/BhMCAAADNDAlCgkUAgAACYIBAADQAgAA/////wEBCgkVAgAAAQAKAAFlAQAAJQAAAAnaAAAAAAAAAAAAAAABZgEAACYAAAAJFgIAAAIAAAACAAAAAWcBAAAwAAAAARcCAAAhAAAAtGsYQqxTc0IBGAIAACEAAAC0awhCrFNzQgkZAgAAzAEAAP////8BAQoJGgIAAAEACgABaAEAADQAAAABGwIAACEAAAC0awJCrFNzQgEcAgAAoAAAAAIAAAAAAAAAAAAAAAAJHQIAAAAAAAAJHgIAAAAAAR8CAACpAAAAAAAAAAEgAgAAcgAAAAAAuEEAAEBBASECAAAVAAAAAAAgQXTRXUI0Fr9Bo4suQRKDvj8GIgIAAAM1MCUKCSMCAAAJggEAANACAAD/////AQEKCSQCAAABAAoAAWsBAAAlAAAACdoAAAAAAAAAAAAAAAFsAQAAJgAAAAklAgAAAgAAAAIAAAABbQEAADAAAAABJgIAACEAAAC0axhCzHd1QQEnAgAAIQAAALRrCELMd3VBCSgCAADMAQAA/////wEBCgkpAgAAAQAKAAFuAQAANAAAAAEqAgAAIQAAALRrAkLMd3VBASsCAACgAAAAAgAAAAAAAAAAAAAAAAksAgAAAAAAAAktAgAAAAABLgIAAKkAAAAAAAAAAS8CAAByAAAAAAC4QQAAQEEBMAIAABUAAAAAACBBAAAgQTQWv0Gjiy5BEoO+PwYxAgAAAzYwJQoJMgIAAAmCAQAA0AIAAP////8BAQoJMwIAAAEACgABcQEAACUAAAAJ2gAAAAAAAAAAAAAAAXIBAAAmAAAACTQCAAACAAAAAgAAAARzAQAAmAFTeXN0ZW0uQ29sbGVjdGlvbnMuR2VuZXJpYy5MaXN0YDFbW0FwbG9yaXMuQ2hhcnQuQ2hhcnREYXRhRWxlbWVudCwgQXBsb3Jpcy5DaGFydCwgVmVyc2lvbj00LjAuMC4xNDg2LCBDdWx0dXJlPW5ldXRyYWwsIFB1YmxpY0tleVRva2VuPTE2ZmMxM2EyMjZjMGU5NTFdXQMAAAAGX2l0ZW1zBV9zaXplCF92ZXJzaW9uBAAAIEFwbG9yaXMuQ2hhcnQuQ2hhcnREYXRhRWxlbWVudFtdAgAAAAgICTUCAAADAAAAEQAAAAF0AQAAJQAAAAk2AgAAAwAAABEAAAABdQEAACYAAAAJNwIAAAAAAAAAAAAABXw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JAQAACgAAAAAAQEEJdgAAAAl3AAAACTgCAAABAAk5AgAAAX0BAAB4AAAACgoAAAAA////AA4AAAAAAQGBAQAArQAAAAk6AgAAAQAAAAEAAAABgwEAAHUAAAAJOwIAAAoHiAEAAAABAAAABAAAAAQfQXBsb3Jpcy5CYXNlLk9iamVjdHMuRGF0YU9iamVjdAMAAAAJIwEAAA0DB4kBAAAAAQAAAAQAAAAEHEFwbG9yaXMuQmFzZS5VSS5WaXN1YWxPYmplY3QDAAAACSUBAAANAwGKAQAAcwEAAAk8AgAAAwAAABEAAAABiwEAACUAAAAJPQIAAAMAAAARAAAAAYwBAAAmAAAACT4CAAAAAAAAAAAAAAWT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CgEAAAoAAAAAAEBBCXYAAAAJdwAAAAk/AgAAAQAJQAIAAAGUAQAAeAAAAAoKAAAAAP///wAOAAAAAAEBmAEAAK0AAAAJQQIAAAEAAAABAAAAAZkBAAB1AAAACUICAAAKB54BAAAAAQAAAAQAAAAEH0FwbG9yaXMuQmFzZS5PYmplY3RzLkRhdGFPYmplY3QDAAAACSsBAAANAwefAQAAAAEAAAAEAAAABBxBcGxvcmlzLkJhc2UuVUkuVmlzdWFsT2JqZWN0AwAAAAktAQAADQMBoAEAADQAAAABQwIAACEAAAAslKNChRktQgFEAgAAoAAAAAEAAAAAAAAAAAAAAAAJRQIAAAAAAAAJRgIAAAAAAUcCAACpAAAAAAAAAAFIAgAAcgAAAAAAuEEAAEBBAUkCAAAVAAAAAACMQrroAkI0Fr9Bo4suQRKDvj8GSgIAAAM1MyUKCUsCAAAJggEAADQDAAD/////AQEKCUwCAAABAAoAAaMBAAAjAAAACgoAAAAAAChBCXYAAAAJdwAAAAlNAgAAAAAJTgIAAAGkAQAAeAAAAAoKAAAAAP///wAOAAAAAAEBqAEAAK0AAAAJTwIAAAEAAAABAAAAAakBAAB1AAAACVACAAAKB6oBAAAAAQAAAAAAAAAEH0FwbG9yaXMuQmFzZS5PYmplY3RzLkRhdGFPYmplY3QDAAAAB6sBAAAAAQAAAAQAAAAEHEFwbG9yaXMuQmFzZS5VSS5WaXN1YWxPYmplY3QDAAAACTYBAAAJoAEAAAoKAawBAAA0AAAAAVECAAAhAAAAZygpQy21CEIBUgIAAKAAAAABAAAAAAAAAAAAAAAACVMCAAAAAAAACVQCAAAAAAFVAgAAqQAAAAAAAAABVgIAAHIAAAAAALhBAABAQQFXAgAAFQAAANFFHUNGF71BNBa/QaOLLkESg74/BlgCAAADNTUlCglZAgAACYIBAAA0AwAA/////wEBCglaAgAAAQAKAAGvAQAAIwAAAAoKAAAAAAAoQQl2AAAACXcAAAAJWwIAAAAACVwCAAABsAEAAHgAAAAKCgAAAAD///8ADgAAAAABAbQBAACtAAAACV0CAAABAAAAAQAAAAG1AQAAdQAAAAleAgAACge2AQAAAAEAAAAAAAAABB9BcGxvcmlzLkJhc2UuT2JqZWN0cy5EYXRhT2JqZWN0AwAAAAe3AQAAAAEAAAAEAAAABBxBcGxvcmlzLkJhc2UuVUkuVmlzdWFsT2JqZWN0AwAAAAk9AQAACawBAAAKCgG4AQAANAAAAAFfAgAAIQAAAFxDgEPg1NZCAWACAACgAAAAAQAAAAAAAAAAAAAAAAlhAgAAAAAAAAliAgAAAAABYwIAAKkAAAAAAAAAAWQCAAByAAAAAAC4QQAAQEEBZQIAABUAAACji3RDLrrAQjQWv0Gjiy5BEoO+PwZmAgAAAzM5JQoJZwIAAAmCAQAANAMAAP////8BAQoJaAIAAAEACgABuwEAACMAAAAKCgAAAAAAKEEJdgAAAAl3AAAACWkCAAAAAAlqAgAAAbwBAAB4AAAACgoAAAAA////AA4AAAAAAQHAAQAArQAAAAlrAgAAAQAAAAEAAAABwQEAAHUAAAAJbAIAAAoHwgEAAAABAAAAAAAAAAQfQXBsb3Jpcy5CYXNlLk9iamVjdHMuRGF0YU9iamVjdAMAAAAHwwEAAAABAAAABAAAAAQcQXBsb3Jpcy5CYXNlLlVJLlZpc3VhbE9iamVjdAMAAAAJRAEAAAm4AQAACgoBxAEAADQAAAABbQIAACEAAABazhRCrz2dQwFuAgAAoAAAAAUAAAAAAAAAAAAAAAAJbwIAAAAAAAAJcAIAAAAAAXECAACpAAAAAAAAAAFyAgAAcgAAAAAAU0MAAEBBAXMCAAAVAAAAdNENQtFFnUOBy0JDo4suQRKDvj8JJAEAAAoJdAIAAAmCAQAAhAMAAP////8BAQoJdQIAAAEACgABxQEAABwAAAABdgIAACEAAADTobVBrz2dQwF3AgAAIQAAAFrOCEJd/aJDCXgCAAAJeQIAAAAAAAAKAXoCAAByAAAAAAAAAAAAAAABewIAAHIAAAAAAAAAAAAAAAAAAAABfAIAABUAAAAAAAAAAAAAAAAAAAAAAAAAmAMAAP////8BAQoJfQIAAAEACgABxgEAACUAAAAJwgEAAAAAAAAAAAAAAccBAAAmAAAACX4CAAACAAAAAgAAAAHIAQAANAAAAAF/AgAAIQAAAFrOFELI6aRDAYACAACgAAAABQAAAAAAAAAAAAAAAAmBAgAAAAAAAAmCAgAAAAABgwIAAKkAAAAAAAAAAYQCAAByAAAAAAC8QgAAQEEBhQIAABUAAAB00Q1CAAClQ9LcsEKjiy5BEoO+PwksAQAACgmGAgAACYIBAACEAwAA/////wEBCgmHAgAAAQAKAAHJAQAAHAAAAAGIAgAAIQAAANOhtUHI6aRDAYkCAAAhAAAAWs4IQnapqkMJigIAAAmLAgAAAAAAAAoBjAIAAHIAAAAAAAAAAAAAAAGNAgAAcgAAAAAAAAAAAAAAAAAAAAGOAgAAFQAAAAAAAAAAAAAAAAAAAAAAAACYAwAA/////wEBCgmPAgAAAQAKAAHKAQAAJQAAAAnCAQAAAAAAAAAAAAABywEAACYAAAAJkAIAAAIAAAACAAAAAc4BAABwAAAACgoAAABAPwmRAgAACZICAAABAAAA/v///wAAAAABAAAAAAAAAAAAAAABAAAAAAAAAAAAAAHPAQAAdQAAAAmTAgAACgHSAQAAIwAAAAoKAAAAAAAoQQl2AAAACXcAAAAJlAIAAAAACZUCAAAB0wEAAHgAAAAKCgAAAAD///8ADgAAAAABAdgBAACtAAAACZYCAAABAAAAAQAAAAHZAQAAdQAAAAmXAgAACgfaAQAAAAEAAAAEAAAABBxBcGxvcmlzLkJhc2UuVUkuVmlzdWFsT2JqZWN0AwAAAAlJAQAACUoBAAAKCgHdAQAAcAAAAAoKAAAAQD8JmAIAAAmZAgAAAQAAAP7///8AAAAAAQAAAAAAAAAAAAAAAQAAAAAAAAAAAAAB3gEAAHUAAAAJmgIAAAoB4QEAACMAAAAKCgAAAAAAKEEJdgAAAAl3AAAACZsCAAAAAAmcAgAAAeIBAAB4AAAACgoAAAAA////AA4AAAAAAQHnAQAArQAAAAmdAgAAAQAAAAMAAAAB6AEAAHUAAAAJngIAAAoH6QEAAAABAAAABAAAAAQcQXBsb3Jpcy5CYXNlLlVJLlZpc3VhbE9iamVjdAMAAAAJTwEAAAlQAQAACgoB7AEAAHAAAAAKCgAAAEA/CZ8CAAAJoAIAAAEAAAD+////AAAAAAEAAAAAAAAAAAAAAAEAAAAAAAAAAAAAAe0BAAB1AAAACaECAAAKAfABAAAjAAAACgoAAAAAAChBCXYAAAAJdwAAAAmiAgAAAAAJowIAAAHxAQAAeAAAAAoKAAAAAP///wAOAAAAAAEB9gEAAK0AAAAJpAIAAAEAAAADAAAAAfcBAAB1AAAACaUCAAAKB/gBAAAAAQAAAAQAAAAEHEFwbG9yaXMuQmFzZS5VSS5WaXN1YWxPYmplY3QDAAAACVUBAAAJVgEAAAoKAfsBAABwAAAACgoAAABAPwmmAgAACacCAAABAAAA/v///wAAAAABAAAAAAAAAAAAAAABAAAAAAAAAAAAAAH8AQAAdQAAAAmoAgAACgH/AQAAIwAAAAoKAAAAAAAoQQl2AAAACXcAAAAJqQIAAAAACaoCAAABAAIAAHgAAAAKCgAAAAD///8ADgAAAAABAQUCAACtAAAACasCAAABAAAAAwAAAAEGAgAAdQAAAAmsAgAACgcHAgAAAAEAAAAEAAAABBxBcGxvcmlzLkJhc2UuVUkuVmlzdWFsT2JqZWN0AwAAAAlbAQAACVwBAAAKCgEKAgAAcAAAAAoKAAAAQD8JrQIAAAmuAgAAAQAAAP7///8AAAAAAQAAAAAAAAAAAAAAAQAAAAAAAAAAAAABCwIAAHUAAAAJrwIAAAoBDgIAACMAAAAKCgAAAAAAKEEJdgAAAAl3AAAACbACAAAAAAmxAgAAAQ8CAAB4AAAACgoAAAAA////AA4AAAAAAQEUAgAArQAAAAmyAgAAAQAAAAMAAAABFQIAAHUAAAAJswIAAAoHFgIAAAABAAAABAAAAAQcQXBsb3Jpcy5CYXNlLlVJLlZpc3VhbE9iamVjdAMAAAAJYQEAAAliAQAACgoBGQIAAHAAAAAKCgAAAEA/CbQCAAAJtQIAAAEAAAD+////AAAAAAEAAAAAAAAAAAAAAAEAAAAAAAAAAAAAARoCAAB1AAAACbYCAAAKAR0CAAAjAAAACgoAAAAAAChBCXYAAAAJdwAAAAm3AgAAAAAJuAIAAAEeAgAAeAAAAAoKAAAAAP///wAOAAAAAAEBIwIAAK0AAAAJuQIAAAEAAAADAAAAASQCAAB1AAAACboCAAAKByUCAAAAAQAAAAQAAAAEHEFwbG9yaXMuQmFzZS5VSS5WaXN1YWxPYmplY3QDAAAACWcBAAAJaAEAAAoKASgCAABwAAAACgoAAABAPwm7AgAACbwCAAABAAAA/v///wAAAAABAAAAAAAAAAAAAAABAAAAAAAAAAAAAAEpAgAAdQAAAAm9AgAACgEsAgAAIwAAAAoKAAAAAAAoQQl2AAAACXcAAAAJvgIAAAAACb8CAAABLQIAAHgAAAAKCgAAAAD///8ADgAAAAABATICAACtAAAACcACAAABAAAAAwAAAAEzAgAAdQAAAAnBAgAACgc0AgAAAAEAAAAEAAAABBxBcGxvcmlzLkJhc2UuVUkuVmlzdWFsT2JqZWN0AwAAAAltAQAACW4BAAAKCgc1AgAAAAEAAAAQAAAABB5BcGxvcmlzLkNoYXJ0LkNoYXJ0RGF0YUVsZW1lbnQCAAAACcICAAAJwwIAAAnEAgAADQ0HNgIAAAABAAAAEAAAAAQfQXBsb3Jpcy5CYXNlLk9iamVjdHMuRGF0YU9iamVjdAMAAAAJwgIAAAnDAgAACcQCAAANDQc3AgAAAAEAAAAAAAAABBxBcGxvcmlzLkJhc2UuVUkuVmlzdWFsT2JqZWN0AwAAAAE4AgAAeAAAAAoKAAAAAAAAAAANAAAAAAEBOQIAAHgAAAAKCgEAAAAAAAAA/////wABBzoCAAAAAQAAAAQAAAAEHUFwbG9yaXMuQmFzZS5PYmplY3RzLlZhcmlhYmxlAwAAAAXFAgAAHUFwbG9yaXMuQmFzZS5PYmplY3RzLlZhcmlhYmxlAgAAAAZOdW1iZXIIUG9zaXRpb24AAAgIAwAAAAEAAAAAAAAAAcYCAADFAgAAAAAAAAAAAAABxwIAAMUCAAAAAAAAAAAAAAHIAgAAxQIAAAAAAAAAAAAADzsCAAABAAAACAAAAAAHPAIAAAABAAAAEAAAAAQeQXBsb3Jpcy5DaGFydC5DaGFydERhdGFFbGVtZW50AgAAAAnJAgAACcoCAAAJywIAAA0NBz0CAAAAAQAAABAAAAAEH0FwbG9yaXMuQmFzZS5PYmplY3RzLkRhdGFPYmplY3QDAAAACckCAAAJygIAAAnLAgAADQ0HPgIAAAABAAAAAAAAAAQcQXBsb3Jpcy5CYXNlLlVJLlZpc3VhbE9iamVjdAMAAAABPwIAAHgAAAAKCgAAAAAAAAAADQAAAAABAUACAAB4AAAACgoBAAAAAAAAAP////8AAQdBAgAAAAEAAAAEAAAABB1BcGxvcmlzLkJhc2UuT2JqZWN0cy5WYXJpYWJsZQMAAAABzAIAAMUCAAABAAAAAAAAAAHNAgAAxQIAAAAAAAAAAAAAAc4CAADFAgAAAAAAAAAAAAABzwIAAMUCAAAAAAAAAAAAAA9CAgAAAQAAAAgAAAAABUU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EFwbG9yaXMuQ2hhcnQuQ2hhcnREYXRhR3JvdXACAAAAAQEBCxpBcGxvcmlzLkJhc2UuT2JqZWN0cy5Db2xvcgMAAAABARpBcGxvcmlzLkJhc2UuT2JqZWN0cy5Db2xvcgMAAAADAAAACQsBAAAKAAAAAAAoQQl2AAAACXcAAAAJ0AIAAAAACdECAAABRgIAAHgAAAAKCgAAAAD///8ADgAAAAABAUsCAACtAAAACdICAAABAAAAAwAAAAFMAgAAdQAAAAnTAgAACgFNAgAAeAAAAAoKAAAAAAAAAAANAAAAAAABTgIAAHgAAAAKCgAAAAAAAAAADQAAAAABB08CAAAAAQAAAAQAAAAEHUFwbG9yaXMuQmFzZS5PYmplY3RzLlZhcmlhYmxlAwAAAAHUAgAAxQIAAAEAAAAAAAAAAdUCAADFAgAAAAAAAAAAAAAB1gIAAMUCAAAAAAAAAAAAAAHXAgAAxQIAAAAAAAAAAAAAD1ACAAABAAAACE0BAAAFUwI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cQXBsb3Jpcy5DaGFydC5DaGFydERhdGFHcm91cAIAAAABAQELGkFwbG9yaXMuQmFzZS5PYmplY3RzLkNvbG9yAwAAAAEBGkFwbG9yaXMuQmFzZS5PYmplY3RzLkNvbG9yAwAAAAMAAAAJDAEAAAoAAAAAAChBCXYAAAAJdwAAAAnYAgAAAAAJ2QIAAAFUAgAAeAAAAAoKAAAAAP///wAOAAAAAAEBWQIAAK0AAAAJ2gIAAAEAAAADAAAAAVoCAAB1AAAACdsCAAAKAVsCAAB4AAAACgoAAAAAAAAAAA0AAAAAAAFcAgAAeAAAAAoKAAAAAAAAAAANAAAAAAEHXQIAAAABAAAABAAAAAQdQXBsb3Jpcy5CYXNlLk9iamVjdHMuVmFyaWFibGUDAAAAAdwCAADFAgAAAQAAAAAAAAAB3QIAAMUCAAAAAAAAAAAAAAHeAgAAxQIAAAAAAAAAAAAAAd8CAADFAgAAAAAAAAAAAAAPXgIAAAEAAAAIxQAAAAFhAgAAIwAAAAoKAAAAAAAoQQl2AAAACXcAAAAJ4AIAAAAACeECAAABYgIAAHgAAAAKCgAAAAD///8ADgAAAAABAWcCAACtAAAACeICAAABAAAAAwAAAAFoAgAAdQAAAAnjAgAACgFpAgAAeAAAAAoKAAAAAAAAAAANAAAAAAABagIAAHgAAAAKCgAAAAAAAAAADQAAAAABB2sCAAAAAQAAAAQAAAAEHUFwbG9yaXMuQmFzZS5PYmplY3RzLlZhcmlhYmxlAwAAAAHkAgAAxQIAAAEAAAAAAAAAAeUCAADFAgAAAAAAAAAAAAAB5gIAAMUCAAAAAAAAAAAAAAHnAgAAxQIAAAAAAAAAAAAAD2wCAAABAAAACC8DAAABbwIAACMAAAAKCgAAAAAAKEEJdgAAAAl3AAAACegCAAAAAAnpAgAAAXACAAB4AAAACgoBAAAAAAAAAP////8AAQF0AgAArQAAAAnqAgAAAQAAAAEAAAABdQIAAHUAAAAJ6wIAAAoBeAIAAHAAAAAKCgAAAEA/CewCAAAJ7QIAAAEAAAD+////AAAAAAEAAAAAAAAAAAAAAAEAAAAAAAAAAAAAAXkCAABxAAAACgoJ7gIAAAnvAgAAAQAAAP7///8AAAAA/////wEAAX0CAAB1AAAACfACAAAKB34CAAAAAQAAAAQAAAAEHEFwbG9yaXMuQmFzZS5VSS5WaXN1YWxPYmplY3QDAAAACcQBAAAJxQEAAAoKAYECAAAjAAAACgoAAAAAAChBCXYAAAAJdwAAAAnxAgAAAAAJ8gIAAAGCAgAAeAAAAAoKAQAAAAAAAAD/////AAEBhgIAAK0AAAAJ8wIAAAEAAAABAAAAAYcCAAB1AAAACfQCAAAKAYoCAABwAAAACgoAAABAPwn1AgAACfYCAAABAAAA/v///wAAAAABAAAAAAAAAAAAAAABAAAAAAAAAAAAAAGLAgAAcQAAAAoKCfcCAAAJ+AIAAAEAAAD+////AAAAAP////8BAAGPAgAAdQAAAAn5AgAACgeQAgAAAAEAAAAEAAAABBxBcGxvcmlzLkJhc2UuVUkuVmlzdWFsT2JqZWN0AwAAAAnIAQAACckBAAAKCgGRAgAAeAAAAAoKAAAAAAAAAAANAAAAAAAFkgIAABpBcGxvcmlzLkJhc2UuT2JqZWN0cy5Db2xvcgcAAAASRGF0YU9iamVjdCttUGFyZW50FURhdGFPYmplY3QrbUNvbnRhaW5lcgVtVHlwZQRtUkdCEG1UaGVtZUNvbG9ySW5kZXgMbUF1dG9VcGRhdGVkCW1Nb2RpZmllZAQCAAAAAAAfQXBsb3Jpcy5CYXNlLk9iamVjdHMuTGluZUZvcm1hdAMAAAAICAgBAQMAAAAJzgEAAAoBAAAAAAAAAP////8AAQ+TAgAAAQAAAAhyAwAAAZQCAAB4AAAACgoAAAAAAAAAAA0AAAAAAAGVAgAAeAAAAAoKAAAAAAAAAAANAAAAAAEHlgIAAAABAAAABAAAAAQdQXBsb3Jpcy5CYXNlLk9iamVjdHMuVmFyaWFibGUDAAAAAfoCAADFAgAAAQAAAAAAAAAB+wIAAMUCAAAAAAAAAAAAAAH8AgAAxQIAAAAAAAAAAAAAAf0CAADFAgAAAAAAAAAAAAAPlwIAAAEAAAAIJgAAAAGYAgAAeAAAAAoKAAAAAAAAAAANAAAAAAAFmQIAABpBcGxvcmlzLkJhc2UuT2JqZWN0cy5Db2xvcgcAAAASRGF0YU9iamVjdCttUGFyZW50FURhdGFPYmplY3QrbUNvbnRhaW5lcgVtVHlwZQRtUkdCEG1UaGVtZUNvbG9ySW5kZXgMbUF1dG9VcGRhdGVkCW1Nb2RpZmllZAQCAAAAAAAfQXBsb3Jpcy5CYXNlLk9iamVjdHMuTGluZUZvcm1hdAMAAAAICAgBAQMAAAAJ3QEAAAoBAAAAAAAAAP////8AAQ+aAgAAAQAAAAhuAwAAAZsCAAB4AAAACgoAAAAAAAAAAA0AAAAAAAGcAgAAeAAAAAoKAAAAAAAAAAANAAAAAAEHnQIAAAABAAAABAAAAAQdQXBsb3Jpcy5CYXNlLk9iamVjdHMuVmFyaWFibGUDAAAAAf4CAADFAgAAAQAAAAAAAAAB/wIAAMUCAAAAAAAAAAAAAAEAAwAAxQIAAAAAAAAAAAAAAQEDAADFAgAAAAAAAAAAAAAPngIAAAEAAAAIIwAAAAGfAgAAeAAAAAoKAAAAAAAAAAANAAAAAAAFoAIAABpBcGxvcmlzLkJhc2UuT2JqZWN0cy5Db2xvcgcAAAASRGF0YU9iamVjdCttUGFyZW50FURhdGFPYmplY3QrbUNvbnRhaW5lcgVtVHlwZQRtUkdCEG1UaGVtZUNvbG9ySW5kZXgMbUF1dG9VcGRhdGVkCW1Nb2RpZmllZAQCAAAAAAAfQXBsb3Jpcy5CYXNlLk9iamVjdHMuTGluZUZvcm1hdAMAAAAICAgBAQMAAAAJ7AEAAAoBAAAAAAAAAP////8AAQ+hAgAAAQAAAAhvAwAAAaICAAB4AAAACgoAAAAAAAAAAA0AAAAAAAGjAgAAeAAAAAoKAAAAAAAAAAANAAAAAAEHpAIAAAABAAAABAAAAAQdQXBsb3Jpcy5CYXNlLk9iamVjdHMuVmFyaWFibGUDAAAAAQIDAADFAgAAAQAAAAAAAAABAwMAAMUCAAAAAAAAAAAAAAEEAwAAxQIAAAAAAAAAAAAAAQUDAADFAgAAAAAAAAAAAAAPpQIAAAEAAAAIKwAAAAGmAgAAeAAAAAoKAAAAAAAAAAANAAAAAAAFpwIAABpBcGxvcmlzLkJhc2UuT2JqZWN0cy5Db2xvcgcAAAASRGF0YU9iamVjdCttUGFyZW50FURhdGFPYmplY3QrbUNvbnRhaW5lcgVtVHlwZQRtUkdCEG1UaGVtZUNvbG9ySW5kZXgMbUF1dG9VcGRhdGVkCW1Nb2RpZmllZAQCAAAAAAAfQXBsb3Jpcy5CYXNlLk9iamVjdHMuTGluZUZvcm1hdAMAAAAICAgBAQMAAAAJ+wEAAAoBAAAAAAAAAP////8AAQ+oAgAAAQAAAAhwAwAAAakCAAB4AAAACgoAAAAAAAAAAA0AAAAAAAGqAgAAeAAAAAoKAAAAAAAAAAANAAAAAAEHqwIAAAABAAAABAAAAAQdQXBsb3Jpcy5CYXNlLk9iamVjdHMuVmFyaWFibGUDAAAAAQYDAADFAgAAAQAAAAAAAAABBwMAAMUCAAAAAAAAAAAAAAEIAwAAxQIAAAAAAAAAAAAAAQkDAADFAgAAAAAAAAAAAAAPrAIAAAEAAAAIKgAAAAGtAgAAeAAAAAoKAAAAAAAAAAANAAAAAAAFrgIAABpBcGxvcmlzLkJhc2UuT2JqZWN0cy5Db2xvcgcAAAASRGF0YU9iamVjdCttUGFyZW50FURhdGFPYmplY3QrbUNvbnRhaW5lcgVtVHlwZQRtUkdCEG1UaGVtZUNvbG9ySW5kZXgMbUF1dG9VcGRhdGVkCW1Nb2RpZmllZAQCAAAAAAAfQXBsb3Jpcy5CYXNlLk9iamVjdHMuTGluZUZvcm1hdAMAAAAICAgBAQMAAAAJCgIAAAoBAAAAAAAAAP////8AAQ+vAgAAAQAAAAhtAwAAAbACAAB4AAAACgoAAAAAAAAAAA0AAAAAAAGxAgAAeAAAAAoKAAAAAAAAAAANAAAAAAEHsgIAAAABAAAABAAAAAQdQXBsb3Jpcy5CYXNlLk9iamVjdHMuVmFyaWFibGUDAAAAAQoDAADFAgAAAQAAAAAAAAABCwMAAMUCAAAAAAAAAAAAAAEMAwAAxQIAAAAAAAAAAAAAAQ0DAADFAgAAAAAAAAAAAAAPswIAAAEAAAAIJwAAAAG0AgAAeAAAAAoKAAAAAAAAAAANAAAAAAAFtQIAABpBcGxvcmlzLkJhc2UuT2JqZWN0cy5Db2xvcgcAAAASRGF0YU9iamVjdCttUGFyZW50FURhdGFPYmplY3QrbUNvbnRhaW5lcgVtVHlwZQRtUkdCEG1UaGVtZUNvbG9ySW5kZXgMbUF1dG9VcGRhdGVkCW1Nb2RpZmllZAQCAAAAAAAfQXBsb3Jpcy5CYXNlLk9iamVjdHMuTGluZUZvcm1hdAMAAAAICAgBAQMAAAAJGQIAAAoBAAAAAAAAAP////8AAQ+2AgAAAQAAAAhzAwAAAbcCAAB4AAAACgoAAAAAAAAAAA0AAAAAAAG4AgAAeAAAAAoKAAAAAAAAAAANAAAAAAEHuQIAAAABAAAABAAAAAQdQXBsb3Jpcy5CYXNlLk9iamVjdHMuVmFyaWFibGUDAAAAAQ4DAADFAgAAAQAAAAAAAAABDwMAAMUCAAAAAAAAAAAAAAEQAwAAxQIAAAAAAAAAAAAAAREDAADFAgAAAAAAAAAAAAAPugIAAAEAAAAIKQAAAAG7AgAAeAAAAAoKAAAAAAAAAAANAAAAAAAFvAIAABpBcGxvcmlzLkJhc2UuT2JqZWN0cy5Db2xvcgcAAAASRGF0YU9iamVjdCttUGFyZW50FURhdGFPYmplY3QrbUNvbnRhaW5lcgVtVHlwZQRtUkdCEG1UaGVtZUNvbG9ySW5kZXgMbUF1dG9VcGRhdGVkCW1Nb2RpZmllZAQCAAAAAAAfQXBsb3Jpcy5CYXNlLk9iamVjdHMuTGluZUZvcm1hdAMAAAAICAgBAQMAAAAJKAIAAAoBAAAAAAAAAP////8AAQ+9AgAAAQAAAAhxAwAAAb4CAAB4AAAACgoAAAAAAAAAAA0AAAAAAAG/AgAAeAAAAAoKAAAAAAAAAAANAAAAAAEHwAIAAAABAAAABAAAAAQdQXBsb3Jpcy5CYXNlLk9iamVjdHMuVmFyaWFibGUDAAAAARIDAADFAgAAAQAAAAAAAAABEwMAAMUCAAAAAAAAAAAAAAEUAwAAxQIAAAAAAAAAAAAAARUDAADFAgAAAAAAAAAAAAAPwQIAAAEAAAAIKAAAAAXCAgAAHkFwbG9yaXMuQ2hhcnQuQ2hhcnREYXRhRWxlbWVudBEAAAAGbUxhYmVsCm1SZWN0YW5nbGUFbUxpbmUObUNyb3NzYmFyTGluZXMHbU1hcmtlcgdtU2VyaWVzBm1WYWx1ZQdtVmFsdWUyC21Hcm91cEluZGV4D21MYWJlbFBvc2l0aW9ucxFtTGFiZWxBbmNob3JNb2Rlcw5tTGFiZWxQb3NpdGlvbiBtU2VsZlRyaWdnZXJlZE1hcmtlckZvcm1hdFVwZGF0ZRhEYXRhT2JqZWN0K21DaGlsZE9iamVjdHMSRGF0YU9iamVjdCttUGFyZW50FURhdGFPYmplY3QrbUNvbnRhaW5lchlEYXRhT2JqZWN0K21WaXN1YWxPYmplY3RzBAQEBAQEAgIABAQAAAMEBAMcQXBsb3Jpcy5DaGFydC5Db25uZWN0ZWRMYWJlbAIAAAAaQXBsb3Jpcy5CYXNlLlVJLlZpc3VhbFJlY3QDAAAAGkFwbG9yaXMuQmFzZS5VSS5WaXN1YWxMaW5lAwAAABxBcGxvcmlzLkJhc2UuVUkuVmlzdWFsTGluZVtdAwAAABpBcGxvcmlzLkNoYXJ0LlZpc3VhbE1hcmtlcgIAAAAdQXBsb3Jpcy5DaGFydC5DaGFydERhdGFTZXJpZXMCAAAACBdTeXN0ZW0uRHJhd2luZy5Qb2ludEZbXQQAAAAZQXBsb3Jpcy5CYXNlLkFuY2hvck1vZGVbXQMAAAAI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RYDAAAJFwMAAAoJGAMAAAoJCQEAAAgGK4cW2c73wz8KAAAAAAkZAwAACRoDAAAAAAAAAAkbAwAACQkBAAAJAQAAAAkcAwAAAcMCAADCAgAACR0DAAAJHgMAAAoJHwMAAAoJCQEAAAgG7nw/NV66yT8KAQAAAAkgAwAACSEDAAAAAAAAAAkiAwAACQkBAAAJAQAAAAkjAwAAAcQCAADCAgAACSQDAAAJJQMAAAoJJgMAAAoJCQEAAAgGgZVDi2znuz8KAgAAAAknAwAACSgDAAAAAAAAAAkpAwAACQkBAAAJAQAAAAkqAwAAAckCAADCAgAACSsDAAAJLAMAAAoJLQMAAAoJCgEAAAgGqvHSTWIQ2D8KAAAAAAkuAwAACS8DAAAAAAAAAAkwAwAACQoBAAAJAQAAAAkxAwAAAcoCAADCAgAACTIDAAAJMwMAAAoJNAMAAAoJCgEAAAgGEFg5tMh21j8KAQAAAAk1AwAACTYDAAAAAAAAAAk3AwAACQoBAAAJAQAAAAk4AwAAAcsCAADCAgAACTkDAAAJOgMAAAoJOwMAAAoJCgEAAAgGPzVeukkM0j8KAgAAAAk8AwAACT0DAAAAAAAAAAk+AwAACQoBAAAJAQAAAAk/AwAAAdACAAB4AAAACgoAAAAAAAAAAA0AAAAAAAHRAgAAeAAAAAoKAAAAAAAAAAANAAAAAAEH0gIAAAABAAAABAAAAAQdQXBsb3Jpcy5CYXNlLk9iamVjdHMuVmFyaWFibGUDAAAAAUADAADFAgAAAQAAAAAAAAABQQMAAMUCAAAAAAAAAAAAAAFCAwAAxQIAAAAAAAAAAAAAAUMDAADFAgAAAAAAAAAAAAAP0wIAAAEAAAAINAMAAAHYAgAAeAAAAAoKAAAAAAAAAAANAAAAAAAB2QIAAHgAAAAKCgAAAAAAAAAADQAAAAABB9oCAAAAAQAAAAQAAAAEHUFwbG9yaXMuQmFzZS5PYmplY3RzLlZhcmlhYmxlAwAAAAFEAwAAxQIAAAEAAAAAAAAAAUUDAADFAgAAAAAAAAAAAAABRgMAAMUCAAAAAAAAAAAAAAFHAwAAxQIAAAAAAAAAAAAAD9sCAAABAAAACDIDAAAB4AIAAHgAAAAKCgAAAAAAAAAADQAAAAAAAeECAAB4AAAACgoAAAAAAAAAAA0AAAAAAQfiAgAAAAEAAAAEAAAABB1BcGxvcmlzLkJhc2UuT2JqZWN0cy5WYXJpYWJsZQMAAAABSAMAAMUCAAABAAAAAAAAAAFJAwAAxQIAAAAAAAAAAAAAAUoDAADFAgAAAAAAAAAAAAABSwMAAMUCAAAAAAAAAAAAAA/jAgAAAQAAAAg1AwAAAegCAAB4AAAACgoAAAAAAAAAAA0AAAAAAAHpAgAAeAAAAAoKAQAAAAAAAAD/////AAEH6gIAAAABAAAABAAAAAQdQXBsb3Jpcy5CYXNlLk9iamVjdHMuVmFyaWFibGUDAAAAAUwDAADFAgAAAQAAAAAAAAABTQMAAMUCAAAAAAAAAAAAAAFOAwAAxQIAAAAAAAAAAAAAAU8DAADFAgAAAAAAAAAAAAAP6wIAAAEAAAAIOQMAAAHsAgAAeAAAAAoKAAAAAP///wAOAAAAAAAF7QIAABpBcGxvcmlzLkJhc2UuT2JqZWN0cy5Db2xvcgcAAAASRGF0YU9iamVjdCttUGFyZW50FURhdGFPYmplY3QrbUNvbnRhaW5lcgVtVHlwZQRtUkdCEG1UaGVtZUNvbG9ySW5kZXgMbUF1dG9VcGRhdGVkCW1Nb2RpZmllZAQCAAAAAAAfQXBsb3Jpcy5CYXNlLk9iamVjdHMuTGluZUZvcm1hdAMAAAAICAgBAQMAAAAJeAIAAAoBAAAAAAAAAP////8AAQHuAgAAeAAAAAoKAQAAAAUpbgD/////AAAB7wIAAHgAAAAKCgEAAAD///8A/////wAAD/ACAAABAAAACDsDAAAB8QIAAHgAAAAKCgAAAAAAAAAADQAAAAAAAfICAAB4AAAACgoBAAAAAAAAAP////8AAQfzAgAAAAEAAAAEAAAABB1BcGxvcmlzLkJhc2UuT2JqZWN0cy5WYXJpYWJsZQMAAAABUAMAAMUCAAABAAAAAAAAAAFRAwAAxQIAAAAAAAAAAAAAAVIDAADFAgAAAAAAAAAAAAABUwMAAMUCAAAAAAAAAAAAAA/0AgAAAQAAAAg4AwAAAfUCAAB4AAAACgoAAAAA////AA4AAAAAAAX2AgAAGkFwbG9yaXMuQmFzZS5PYmplY3RzLkNvbG9yBwAAABJEYXRhT2JqZWN0K21QYXJlbnQVRGF0YU9iamVjdCttQ29udGFpbmVyBW1UeXBlBG1SR0IQbVRoZW1lQ29sb3JJbmRleAxtQXV0b1VwZGF0ZWQJbU1vZGlmaWVkBAIAAAAAAB9BcGxvcmlzLkJhc2UuT2JqZWN0cy5MaW5lRm9ybWF0AwAAAAgICAEBAwAAAAmKAgAACgEAAAAAAAAA/////wABAfcCAAB4AAAACgoBAAAARXXUAP////8AAAH4AgAAeAAAAAoKAQAAAP///wD/////AAAP+QIAAAEAAAAIOgMAAAEWAwAAJQEAAApYAgAAAVQDAAB2AQAAAgAAAAFVAwAAdwEAAAEAAAABVgMAABUAAABy8mVCM1FcQ8xrQkK+7YFCAVcDAAB5AQAAAAAAAAAAoEAAAVgDAAAhAAAALJSjQqLMfEMBWQMAAKAAAAAAAAAAAAAAAAAAAAAACVoDAAAAAAAACVsDAAAAAAFcAwAAqQAAAAAAAAABXQMAAHIAAAAAALhBAABAQQFeAwAAFQAAAAAAjELRRXdDNBa/QaOLLkESg74/Bl8DAAADMTYlCglgAwAACYIBAAA0AwAA/////wEBCglhAwAAAQAKAAEXAwAAHAAAAAFiAwAAIQAAAHLyWUIJJJBDAWMDAAAhAAAAHy/aQjNRWUMJZAMAAAllAwAAAAAAAAoBZgMAAHIAAAAAAAAAAAAAAAFnAwAAcgAAAAAAAAAAAAAAAAAAAAFoAwAAFQAAAAAAAAAAAAAAAAAAAAAAAACkAQAA/////wEBCglpAwAAAQAKAAcYAwAAAAEAAAACAAAABBpBcGxvcmlzLkJhc2UuVUkuVmlzdWFsTGluZQMAAAAKCgcZAwAAAAEAAAADAAAABBVTeXN0ZW0uRHJhd2luZy5Qb2ludEYEAAAAAWoDAAAhAAAALJSjQqLMfEMBawMAACEAAABy8k1Cosx8QwFsAwAAIQAAAB8v4EKizHxDBxoDAAAAAQAAAAMAAAAEF0FwbG9yaXMuQmFzZS5BbmNob3JNb2RlAwAAAAFtAwAAoAAAAAAAAAABbgMAAKAAAAACAAAAAW8DAACgAAAABAAAAAEbAwAAJQAAAAlwAwAAAAAAAAAAAAABHAMAACYAAAAJcQMAAAIAAAAGAAAAAR0DAAAlAQAAClgCAAABcgMAAHYBAAACAAAAAXMDAAB3AQAAAQAAAAF0AwAAFQAAAO7aEEPB2EdDyGtCQqLeqkIBdQMAAHkBAAAAAAAAAACgQAABdgMAACEAAABnKClDapByQwF3AwAAoAAAAAAAAAAAAAAAAAAAAAAJeAMAAAAAAAAJeQMAAAAAAXoDAACpAAAAAAAAAAF7AwAAcgAAAAAAuEEAAEBBAXwDAAAVAAAA0UUdQ9FFbUM0Fr9Bo4suQRKDvj8GfQMAAAMyMCUKCX4DAAAJggEAADQDAAD/////AQEKCX8DAAABAAoAAR4DAAAcAAAAAYADAAAhAAAA7toNQwkkkEMBgQMAACEAAADgdURDwdhEQwmCAwAACYMDAAAAAAAACgGEAwAAcgAAAAAAAAAAAAAAAYUDAAByAAAAAAAAAAAAAAAAAAAAAYYDAAAVAAAAAAAAAAAAAAAAAAAAAAAAAKQBAAD/////AQEKCYcDAAABAAoABx8DAAAAAQAAAAIAAAAEGkFwbG9yaXMuQmFzZS5VSS5WaXN1YWxMaW5lAwAAAAoKByADAAAAAQAAAAMAAAAEFVN5c3RlbS5EcmF3aW5nLlBvaW50RgQAAAABiAMAACEAAABnKClDapByQwGJAwAAIQAAAO7aCkNqkHJDAYoDAAAhAAAA4HVHQ2qQckMHIQMAAAABAAAAAwAAAAQXQXBsb3Jpcy5CYXNlLkFuY2hvck1vZGUDAAAAAYsDAACgAAAAAAAAAAGMAwAAoAAAAAIAAAABjQMAAKAAAAAEAAAAASIDAAAlAAAACXADAAAAAAAAAAAAAAEjAwAAJgAAAAmOAwAAAgAAAAIAAAABJAMAACUBAAAKWAIAAAGPAwAAdgEAAAIAAAABkAMAAHcBAAABAAAAAZEDAAAVAAAAPjloQ42ycUPQa0JCFFYuQgGSAwAAeQEAAAAAAAAAAKBAAAGTAwAAIQAAAFxDgEOovoNDAZQDAACgAAAAAAAAAAAAAAAAAAAAAAmVAwAAAAAAAAmWAwAAAAABlwMAAKkAAAAAAAAAAZgDAAByAAAAAAC4QQAAQEEBmQMAABUAAACji3RDRheBQzQWv0Gjiy5BEoO+PwaaAwAAAzExJQoJmwMAAAmCAQAANAMAAP////8BAQoJnAMAAAEACgABJQMAABwAAAABnQMAACEAAAA+OWVDCSSQQwGeAwAAIQAAABnqjUONsm5DCZ8DAAAJoAMAAAAAAAAKAaEDAAByAAAAAAAAAAAAAAABogMAAHIAAAAAAAAAAAAAAAAAAAABowMAABUAAAAAAAAAAAAAAAAAAAAAAAAApAEAAP////8BAQoJpAMAAAEACgAHJgMAAAABAAAAAgAAAAQaQXBsb3Jpcy5CYXNlLlVJLlZpc3VhbExpbmUDAAAACgoHJwMAAAABAAAAAwAAAAQVU3lzdGVtLkRyYXdpbmcuUG9pbnRGBAAAAAGlAwAAIQAAAFxDgEOovoNDAaYDAAAhAAAAPjliQ6i+g0MBpwMAACEAAAAZao9DqL6DQwcoAwAAAAEAAAADAAAABBdBcGxvcmlzLkJhc2UuQW5jaG9yTW9kZQMAAAABqAMAAKAAAAAAAAAAAakDAACgAAAAAgAAAAGqAwAAoAAAAAQAAAABKQMAACUAAAAJwgEAAAAAAAAAAAAAASoDAAAmAAAACasDAAACAAAABgAAAAErAwAAJQEAAApYAgAAAawDAAB2AQAAAgAAAAGtAwAAdwEAAAEAAAABrgMAABUAAABy8mVChRlFQsxrQkLSCiVDAa8DAAB5AQAAAAAAAAAAoEAAAbADAAAhAAAALJSjQsrLA0MBsQMAAKAAAAAAAAAAAAAAAAAAAAAACbIDAAAAAAAACbMDAAAAAAG0AwAAqQAAAAAAAAABtQMAAHIAAAAAALhBAABAQQG2AwAAFQAAAAAAjEIuuvxCNBa/QaOLLkESg74/BrcDAAADMzglCgm4AwAACYIBAAA0AwAA/////wEBCgm5AwAAAQAKAAEsAwAAHAAAAAG6AwAAIQAAAHLyWUIzUVlDAbsDAAAhAAAAHy/aQoUZOUIJvAMAAAm9AwAAAAAAAAoBvgMAAHIAAAAAAAAAAAAAAAG/AwAAcgAAAAAAAAAAAAAAAAAAAAHAAwAAFQAAAAAAAAAAAAAAAAAAAAAAAACkAQAA/////wEBCgnBAwAAAQAKAActAwAAAAEAAAACAAAABBpBcGxvcmlzLkJhc2UuVUkuVmlzdWFsTGluZQMAAAAKCgcuAwAAAAEAAAADAAAABBVTeXN0ZW0uRHJhd2luZy5Qb2ludEYEAAAAAcIDAAAhAAAALJSjQsrLA0MBwwMAACEAAABy8k1CyssDQwHEAwAAIQAAAB8v4ELKywNDBy8DAAAAAQAAAAMAAAAEF0FwbG9yaXMuQmFzZS5BbmNob3JNb2RlAwAAAAHFAwAAoAAAAAAAAAABxgMAAKAAAAACAAAAAccDAACgAAAABAAAAAEwAwAAJQAAAAnIAwAAAAAAAAAAAAABMQMAACYAAAAJyQMAAAIAAAAGAAAAATIDAAAlAQAAClgCAAABygMAAHYBAAACAAAAAcsDAAB3AQAAAQAAAAHMAwAAFQAAAO7aEEMttSBCyGtCQnarGUMBzQMAAHkBAAAAAAAAAACgQAABzgMAACEAAABnKClDDAbqQgHPAwAAoAAAAAAAAAAAAAAAAAAAAAAJ0AMAAAAAAAAJ0QMAAAAAAdIDAACpAAAAAAAAAAHTAwAAcgAAAAAAuEEAAEBBAdQDAAAVAAAA0UUdQ+ii30I0Fr9Bo4suQRKDvj8G1QMAAAMzNSUKCdYDAAAJggEAADQDAAD/////AQEKCdcDAAABAAoAATMDAAAcAAAAAdgDAAAhAAAA7toNQ8HYREMB2QMAACEAAADgdURDLbUUQgnaAwAACdsDAAAAAAAACgHcAwAAcgAAAAAAAAAAAAAAAd0DAAByAAAAAAAAAAAAAAAAAAAAAd4DAAAVAAAAAAAAAAAAAAAAAAAAAAAAAKQBAAD/////AQEKCd8DAAABAAoABzQDAAAAAQAAAAIAAAAEGkFwbG9yaXMuQmFzZS5VSS5WaXN1YWxMaW5lAwAAAAoKBzUDAAAAAQAAAAMAAAAEFVN5c3RlbS5EcmF3aW5nLlBvaW50RgQAAAAB4AMAACEAAABnKClDDAbqQgHhAwAAIQAAAO7aCkMMBupCAeIDAAAhAAAA4HVHQwwG6kIHNgMAAAABAAAAAwAAAAQXQXBsb3Jpcy5CYXNlLkFuY2hvck1vZGUDAAAAAeMDAACgAAAAAAAAAAHkAwAAoAAAAAIAAAAB5QMAAKAAAAAEAAAAATcDAAAlAAAACcgDAAAAAAAAAAAAAAE4AwAAJgAAAAnmAwAAAgAAAAYAAAABOQMAACUBAAAKWAIAAAHnAwAAdgEAAAIAAAAB6AMAAHcBAAABAAAAAekDAAAVAAAAPjloQ+DU4kLQa0JCOpD0QgHqAwAAeQEAAAAAAAAAAKBAAAHrAwAAIQAAAFxDgEN+ji5DAewDAACgAAAAAAAAAAAAAAAAAAAAAAntAwAAAAAAAAnuAwAAAAAB7wMAAKkAAAAAAAAAAfADAAByAAAAAAC4QQAAQEEB8QMAABUAAACji3RDRhcpQzQWv0Gjiy5BEoO+PwbyAwAAAzI4JQoJ8wMAAAmCAQAANAMAAP////8BAQoJ9AMAAAEACgABOgMAABwAAAAB9QMAACEAAAA+OWVDjbJuQwH2AwAAIQAAABnqjUPg1NxCCfcDAAAJ+AMAAAAAAAAKAfkDAAByAAAAAAAAAAAAAAAB+gMAAHIAAAAAAAAAAAAAAAAAAAAB+wMAABUAAAAAAAAAAAAAAAAAAAAAAAAApAEAAP////8BAQoJ/AMAAAEACgAHOwMAAAABAAAAAgAAAAQaQXBsb3Jpcy5CYXNlLlVJLlZpc3VhbExpbmUDAAAACgoHPAMAAAABAAAAAwAAAAQVU3lzdGVtLkRyYXdpbmcuUG9pbnRGBAAAAAH9AwAAIQAAAFxDgEN+ji5DAf4DAAAhAAAAPjliQ36OLkMB/wMAACEAAAAZao9Dfo4uQwc9AwAAAAEAAAADAAAABBdBcGxvcmlzLkJhc2UuQW5jaG9yTW9kZQMAAAABAAQAAKAAAAAAAAAAAQEEAACgAAAAAgAAAAECBAAAoAAAAAQAAAABPgMAACUAAAAJwgEAAAAAAAAAAAAAAT8DAAAmAAAACQMEAAACAAAABgAAAAFaAwAAIwAAAAoKAAAAAAAoQQl2AAAACXcAAAAJBAQAAAAACQUEAAABWwMAAHgAAAAKCgEAAAAFKW4A/////wABAWADAACtAAAACQYEAAABAAAAAwAAAAFhAwAAdQAAAAkHBAAACgFkAwAAcAAAAAoKAAAAQD8JCAQAAAkJBAAAAQAAAP7///8AAAAAAQAAAAAAAAAAAAAAAQAAAAAAAAAAAAABZQMAAHEAAAAKCgkKBAAACQsEAAABAAAA/v///wAAAAD/////AAABaQMAAHUAAAAJDAQAAAoHcAMAAAABAAAAAAAAAAQfQXBsb3Jpcy5CYXNlLk9iamVjdHMuRGF0YU9iamVjdAMAAAAHcQMAAAABAAAABAAAAAQcQXBsb3Jpcy5CYXNlLlVJLlZpc3VhbE9iamVjdAMAAAAJFwMAAAkWAwAACgoBeAMAACMAAAAKCgAAAAAAKEEJdgAAAAl3AAAACQ0EAAAAAAkOBAAAAXkDAAB4AAAACgoBAAAABSluAP////8AAQF+AwAArQAAAAkPBAAAAQAAAAMAAAABfwMAAHUAAAAJEAQAAAoBggMAAHAAAAAKCgAAAEA/CREEAAAJEgQAAAEAAAD+////AAAAAAEAAAAAAAAAAAAAAAEAAAAAAAAAAAAAAYMDAABxAAAACgoJEwQAAAkUBAAAAQAAAP7///8AAAAA/////wAAAYcDAAB1AAAACRUEAAAKB44DAAAAAQAAAAQAAAAEHEFwbG9yaXMuQmFzZS5VSS5WaXN1YWxPYmplY3QDAAAACR4DAAAJHQMAAAoKAZUDAAAjAAAACgoAAAAAAChBCXYAAAAJdwAAAAkWBAAAAAAJFwQAAAGWAwAAeAAAAAoKAQAAAAUpbgD/////AAEBmwMAAK0AAAAJGAQAAAEAAAADAAAAAZwDAAB1AAAACRkEAAAKAZ8DAABwAAAACgoAAABAPwkaBAAACRsEAAABAAAA/v///wAAAAABAAAAAAAAAAAAAAABAAAAAAAAAAAAAAGgAwAAcQAAAAoKCRwEAAAJHQQAAAEAAAD+////AAAAAP////8AAAGkAwAAdQAAAAkeBAAACgerAwAAAAEAAAAEAAAABBxBcGxvcmlzLkJhc2UuVUkuVmlzdWFsT2JqZWN0AwAAAAklAwAACSQDAAAKCgGyAwAAIwAAAAoKAAAAAAAoQQl2AAAACXcAAAAJHwQAAAAACSAEAAABswMAAHgAAAAKCgEAAABFddQA/////wABAbgDAACtAAAACSEEAAABAAAAAwAAAAG5AwAAdQAAAAkiBAAACgG8AwAAcAAAAAoKAAAAQD8JIwQAAAkkBAAAAQAAAP7///8AAAAAAQAAAAAAAAAAAAAAAQAAAAAAAAAAAAABvQMAAHEAAAAKCgklBAAACSYEAAABAAAA/v///wAAAAD/////AQABwQMAAHUAAAAJJwQAAAoHyAMAAAABAAAAAAAAAAQfQXBsb3Jpcy5CYXNlLk9iamVjdHMuRGF0YU9iamVjdAMAAAAHyQMAAAABAAAABAAAAAQcQXBsb3Jpcy5CYXNlLlVJLlZpc3VhbE9iamVjdAMAAAAJLAMAAAkrAwAACgoB0AMAACMAAAAKCgAAAAAAKEEJdgAAAAl3AAAACSgEAAAAAAkpBAAAAdEDAAB4AAAACgoBAAAARXXUAP////8AAQHWAwAArQAAAAkqBAAAAQAAAAMAAAAB1wMAAHUAAAAJKwQAAAoB2gMAAHAAAAAKCgAAAEA/CSwEAAAJLQQAAAEAAAD+////AAAAAAEAAAAAAAAAAAAAAAEAAAAAAAAAAAAAAdsDAABxAAAACgoJLgQAAAkvBAAAAQAAAP7///8AAAAA/////wEAAd8DAAB1AAAACTAEAAAKB+YDAAAAAQAAAAQAAAAEHEFwbG9yaXMuQmFzZS5VSS5WaXN1YWxPYmplY3QDAAAACTMDAAAJMgMAAAoKAe0DAAAjAAAACgoAAAAAAChBCXYAAAAJdwAAAAkxBAAAAAAJMgQAAAHuAwAAeAAAAAoKAQAAAEV11AD/////AAEB8wMAAK0AAAAJMwQAAAEAAAADAAAAAfQDAAB1AAAACTQEAAAKAfcDAABwAAAACgoAAABAPwk1BAAACTYEAAABAAAA/v///wAAAAABAAAAAAAAAAAAAAABAAAAAAAAAAAAAAH4AwAAcQAAAAoKCTcEAAAJOAQAAAEAAAD+////AAAAAP////8BAAH8AwAAdQAAAAk5BAAACgcDBAAAAAEAAAAEAAAABBxBcGxvcmlzLkJhc2UuVUkuVmlzdWFsT2JqZWN0AwAAAAk6AwAACTkDAAAKCgEEBAAAeAAAAAoKAAAAAP///wAOAAAAAAABBQQAAHgAAAAKCgAAAAD///8ADgAAAAABBwYEAAAAAQAAAAQAAAAEHUFwbG9yaXMuQmFzZS5PYmplY3RzLlZhcmlhYmxlAwAAAAE6BAAAxQIAAAEAAAAAAAAAATsEAADFAgAAAAAAAAAAAAABPAQAAMUCAAAAAAAAAAAAAAE9BAAAxQIAAAAAAAAAAAAADwcEAAABAAAACGcDAAAFCAQAABpBcGxvcmlzLkJhc2UuT2JqZWN0cy5Db2xvcgcAAAASRGF0YU9iamVjdCttUGFyZW50FURhdGFPYmplY3QrbUNvbnRhaW5lcgVtVHlwZQRtUkdCEG1UaGVtZUNvbG9ySW5kZXgMbUF1dG9VcGRhdGVkCW1Nb2RpZmllZAQCAAAAAAAfQXBsb3Jpcy5CYXNlLk9iamVjdHMuTGluZUZvcm1hdAMAAAAICAgBAQMAAAAJZAMAAAoAAAAA////AA4AAAAAAAUJBAAAGkFwbG9yaXMuQmFzZS5PYmplY3RzLkNvbG9yBwAAABJEYXRhT2JqZWN0K21QYXJlbnQVRGF0YU9iamVjdCttQ29udGFpbmVyBW1UeXBlBG1SR0IQbVRoZW1lQ29sb3JJbmRleAxtQXV0b1VwZGF0ZWQJbU1vZGlmaWVkBAIAAAAAAB9BcGxvcmlzLkJhc2UuT2JqZWN0cy5MaW5lRm9ybWF0AwAAAAgICAEBAwAAAAlkAwAACgEAAAAAAAAA/////wABAQoEAAB4AAAACgoBAAAABSluAP////8AAAELBAAAeAAAAAoKAQAAAP///wD/////AAAPDAQAAAEAAAAIWgMAAAENBAAAeAAAAAoKAAAAAP///wAOAAAAAAABDgQAAHgAAAAKCgAAAAD///8ADgAAAAABBw8EAAAAAQAAAAQAAAAEHUFwbG9yaXMuQmFzZS5PYmplY3RzLlZhcmlhYmxlAwAAAAE+BAAAxQIAAAEAAAAAAAAAAT8EAADFAgAAAAAAAAAAAAABQAQAAMUCAAAAAAAAAAAAAAFBBAAAxQIAAAAAAAAAAAAADxAEAAABAAAACHACAAAFEQQAABpBcGxvcmlzLkJhc2UuT2JqZWN0cy5Db2xvcgcAAAASRGF0YU9iamVjdCttUGFyZW50FURhdGFPYmplY3QrbUNvbnRhaW5lcgVtVHlwZQRtUkdCEG1UaGVtZUNvbG9ySW5kZXgMbUF1dG9VcGRhdGVkCW1Nb2RpZmllZAQCAAAAAAAfQXBsb3Jpcy5CYXNlLk9iamVjdHMuTGluZUZvcm1hdAMAAAAICAgBAQMAAAAJggMAAAoAAAAA////AA4AAAAAAAUSBAAAGkFwbG9yaXMuQmFzZS5PYmplY3RzLkNvbG9yBwAAABJEYXRhT2JqZWN0K21QYXJlbnQVRGF0YU9iamVjdCttQ29udGFpbmVyBW1UeXBlBG1SR0IQbVRoZW1lQ29sb3JJbmRleAxtQXV0b1VwZGF0ZWQJbU1vZGlmaWVkBAIAAAAAAB9BcGxvcmlzLkJhc2UuT2JqZWN0cy5MaW5lRm9ybWF0AwAAAAgICAEBAwAAAAmCAwAACgEAAAAAAAAA/////wABARMEAAB4AAAACgoBAAAABSluAP////8AAAEUBAAAeAAAAAoKAQAAAP///wD/////AAAPFQQAAAEAAAAIWQIAAAEWBAAAeAAAAAoKAAAAAP///wAOAAAAAAABFwQAAHgAAAAKCgAAAAD///8ADgAAAAABBxgEAAAAAQAAAAQAAAAEHUFwbG9yaXMuQmFzZS5PYmplY3RzLlZhcmlhYmxlAwAAAAFCBAAAxQIAAAEAAAAAAAAAAUMEAADFAgAAAAAAAAAAAAABRAQAAMUCAAAAAAAAAAAAAAFFBAAAxQIAAAAAAAAAAAAADxkEAAABAAAACGoDAAAFGgQAABpBcGxvcmlzLkJhc2UuT2JqZWN0cy5Db2xvcgcAAAASRGF0YU9iamVjdCttUGFyZW50FURhdGFPYmplY3QrbUNvbnRhaW5lcgVtVHlwZQRtUkdCEG1UaGVtZUNvbG9ySW5kZXgMbUF1dG9VcGRhdGVkCW1Nb2RpZmllZAQCAAAAAAAfQXBsb3Jpcy5CYXNlLk9iamVjdHMuTGluZUZvcm1hdAMAAAAICAgBAQMAAAAJnwMAAAoAAAAA////AA4AAAAAAAUbBAAAGkFwbG9yaXMuQmFzZS5PYmplY3RzLkNvbG9yBwAAABJEYXRhT2JqZWN0K21QYXJlbnQVRGF0YU9iamVjdCttQ29udGFpbmVyBW1UeXBlBG1SR0IQbVRoZW1lQ29sb3JJbmRleAxtQXV0b1VwZGF0ZWQJbU1vZGlmaWVkBAIAAAAAAB9BcGxvcmlzLkJhc2UuT2JqZWN0cy5MaW5lRm9ybWF0AwAAAAgICAEBAwAAAAmfAwAACgEAAAAAAAAA/////wABARwEAAB4AAAACgoBAAAABSluAP////8AAAEdBAAAeAAAAAoKAQAAAP///wD/////AAAPHgQAAAEAAAAIWAMAAAEfBAAAeAAAAAoKAAAAAP///wAOAAAAAAABIAQAAHgAAAAKCgAAAAD///8ADgAAAAABByEEAAAAAQAAAAQAAAAEHUFwbG9yaXMuQmFzZS5PYmplY3RzLlZhcmlhYmxlAwAAAAFGBAAAxQIAAAEAAAAAAAAAAUcEAADFAgAAAAAAAAAAAAABSAQAAMUCAAAAAAAAAAAAAAFJBAAAxQIAAAAAAAAAAAAADyIEAAABAAAACGYDAAAFIwQAABpBcGxvcmlzLkJhc2UuT2JqZWN0cy5Db2xvcgcAAAASRGF0YU9iamVjdCttUGFyZW50FURhdGFPYmplY3QrbUNvbnRhaW5lcgVtVHlwZQRtUkdCEG1UaGVtZUNvbG9ySW5kZXgMbUF1dG9VcGRhdGVkCW1Nb2RpZmllZAQCAAAAAAAfQXBsb3Jpcy5CYXNlLk9iamVjdHMuTGluZUZvcm1hdAMAAAAICAgBAQMAAAAJvAMAAAoAAAAA////AA4AAAAAAAUkBAAAGkFwbG9yaXMuQmFzZS5PYmplY3RzLkNvbG9yBwAAABJEYXRhT2JqZWN0K21QYXJlbnQVRGF0YU9iamVjdCttQ29udGFpbmVyBW1UeXBlBG1SR0IQbVRoZW1lQ29sb3JJbmRleAxtQXV0b1VwZGF0ZWQJbU1vZGlmaWVkBAIAAAAAAB9BcGxvcmlzLkJhc2UuT2JqZWN0cy5MaW5lRm9ybWF0AwAAAAgICAEBAwAAAAm8AwAACgEAAAAAAAAA/////wABASUEAAB4AAAACgoBAAAARXXUAP////8AAAEmBAAAeAAAAAoKAQAAAP///wD/////AAAPJwQAAAEAAAAIWwMAAAEoBAAAeAAAAAoKAAAAAP///wAOAAAAAAABKQQAAHgAAAAKCgAAAAD///8ADgAAAAABByoEAAAAAQAAAAQAAAAEHUFwbG9yaXMuQmFzZS5PYmplY3RzLlZhcmlhYmxlAwAAAAFKBAAAxQIAAAEAAAAAAAAAAUsEAADFAgAAAAAAAAAAAAABTAQAAMUCAAAAAAAAAAAAAAFNBAAAxQIAAAAAAAAAAAAADysEAAABAAAACGgDAAAFLAQAABpBcGxvcmlzLkJhc2UuT2JqZWN0cy5Db2xvcgcAAAASRGF0YU9iamVjdCttUGFyZW50FURhdGFPYmplY3QrbUNvbnRhaW5lcgVtVHlwZQRtUkdCEG1UaGVtZUNvbG9ySW5kZXgMbUF1dG9VcGRhdGVkCW1Nb2RpZmllZAQCAAAAAAAfQXBsb3Jpcy5CYXNlLk9iamVjdHMuTGluZUZvcm1hdAMAAAAICAgBAQMAAAAJ2gMAAAoAAAAA////AA4AAAAAAAUtBAAAGkFwbG9yaXMuQmFzZS5PYmplY3RzLkNvbG9yBwAAABJEYXRhT2JqZWN0K21QYXJlbnQVRGF0YU9iamVjdCttQ29udGFpbmVyBW1UeXBlBG1SR0IQbVRoZW1lQ29sb3JJbmRleAxtQXV0b1VwZGF0ZWQJbU1vZGlmaWVkBAIAAAAAAB9BcGxvcmlzLkJhc2UuT2JqZWN0cy5MaW5lRm9ybWF0AwAAAAgICAEBAwAAAAnaAwAACgEAAAAAAAAA/////wABAS4EAAB4AAAACgoBAAAARXXUAP////8AAAEvBAAAeAAAAAoKAQAAAP///wD/////AAAPMAQAAAEAAAAIXAMAAAExBAAAeAAAAAoKAAAAAP///wAOAAAAAAABMgQAAHgAAAAKCgAAAAD///8ADgAAAAABBzMEAAAAAQAAAAQAAAAEHUFwbG9yaXMuQmFzZS5PYmplY3RzLlZhcmlhYmxlAwAAAAFOBAAAxQIAAAEAAAAAAAAAAU8EAADFAgAAAAAAAAAAAAABUAQAAMUCAAAAAAAAAAAAAAFRBAAAxQIAAAAAAAAAAAAADzQEAAABAAAACGkDAAAFNQQAABpBcGxvcmlzLkJhc2UuT2JqZWN0cy5Db2xvcgcAAAASRGF0YU9iamVjdCttUGFyZW50FURhdGFPYmplY3QrbUNvbnRhaW5lcgVtVHlwZQRtUkdCEG1UaGVtZUNvbG9ySW5kZXgMbUF1dG9VcGRhdGVkCW1Nb2RpZmllZAQCAAAAAAAfQXBsb3Jpcy5CYXNlLk9iamVjdHMuTGluZUZvcm1hdAMAAAAICAgBAQMAAAAJ9wMAAAoAAAAA////AA4AAAAAAAU2BAAAGkFwbG9yaXMuQmFzZS5PYmplY3RzLkNvbG9yBwAAABJEYXRhT2JqZWN0K21QYXJlbnQVRGF0YU9iamVjdCttQ29udGFpbmVyBW1UeXBlBG1SR0IQbVRoZW1lQ29sb3JJbmRleAxtQXV0b1VwZGF0ZWQJbU1vZGlmaWVkBAIAAAAAAB9BcGxvcmlzLkJhc2UuT2JqZWN0cy5MaW5lRm9ybWF0AwAAAAgICAEBAwAAAAn3AwAACgEAAAAAAAAA/////wABATcEAAB4AAAACgoBAAAARXXUAP////8AAAE4BAAAeAAAAAoKAQAAAP///wD/////AAAPOQQAAAEAAAAIWQMAAAs="/>
  <p:tag name="APLORISTAG" val="M4RvBrLxyRrRJbWwc.856"/>
</p:tagLst>
</file>

<file path=ppt/tags/tag942.xml><?xml version="1.0" encoding="utf-8"?>
<p:tagLst xmlns:a="http://schemas.openxmlformats.org/drawingml/2006/main" xmlns:r="http://schemas.openxmlformats.org/officeDocument/2006/relationships" xmlns:p="http://schemas.openxmlformats.org/presentationml/2006/main">
  <p:tag name="APLORISTAG" val="M4RvBrLxyRrRJbWwc.857"/>
</p:tagLst>
</file>

<file path=ppt/tags/tag943.xml><?xml version="1.0" encoding="utf-8"?>
<p:tagLst xmlns:a="http://schemas.openxmlformats.org/drawingml/2006/main" xmlns:r="http://schemas.openxmlformats.org/officeDocument/2006/relationships" xmlns:p="http://schemas.openxmlformats.org/presentationml/2006/main">
  <p:tag name="APLORISTAG" val="M4RvBrLxyRrRJbWwc.860"/>
</p:tagLst>
</file>

<file path=ppt/tags/tag944.xml><?xml version="1.0" encoding="utf-8"?>
<p:tagLst xmlns:a="http://schemas.openxmlformats.org/drawingml/2006/main" xmlns:r="http://schemas.openxmlformats.org/officeDocument/2006/relationships" xmlns:p="http://schemas.openxmlformats.org/presentationml/2006/main">
  <p:tag name="APLORISTAG" val="M4RvBrLxyRrRJbWwc.859"/>
</p:tagLst>
</file>

<file path=ppt/tags/tag945.xml><?xml version="1.0" encoding="utf-8"?>
<p:tagLst xmlns:a="http://schemas.openxmlformats.org/drawingml/2006/main" xmlns:r="http://schemas.openxmlformats.org/officeDocument/2006/relationships" xmlns:p="http://schemas.openxmlformats.org/presentationml/2006/main">
  <p:tag name="APLORISTAG" val="M4RvBrLxyRrRJbWwc.933"/>
</p:tagLst>
</file>

<file path=ppt/tags/tag946.xml><?xml version="1.0" encoding="utf-8"?>
<p:tagLst xmlns:a="http://schemas.openxmlformats.org/drawingml/2006/main" xmlns:r="http://schemas.openxmlformats.org/officeDocument/2006/relationships" xmlns:p="http://schemas.openxmlformats.org/presentationml/2006/main">
  <p:tag name="APLORISTAG" val="M4RvBrLxyRrRJbWwc.934"/>
</p:tagLst>
</file>

<file path=ppt/tags/tag947.xml><?xml version="1.0" encoding="utf-8"?>
<p:tagLst xmlns:a="http://schemas.openxmlformats.org/drawingml/2006/main" xmlns:r="http://schemas.openxmlformats.org/officeDocument/2006/relationships" xmlns:p="http://schemas.openxmlformats.org/presentationml/2006/main">
  <p:tag name="APLORISTAG" val="M4RvBrLxyRrRJbWwc.935"/>
</p:tagLst>
</file>

<file path=ppt/tags/tag948.xml><?xml version="1.0" encoding="utf-8"?>
<p:tagLst xmlns:a="http://schemas.openxmlformats.org/drawingml/2006/main" xmlns:r="http://schemas.openxmlformats.org/officeDocument/2006/relationships" xmlns:p="http://schemas.openxmlformats.org/presentationml/2006/main">
  <p:tag name="APLORISTAG" val="M4RvBrLxyRrRJbWwc.936"/>
</p:tagLst>
</file>

<file path=ppt/tags/tag949.xml><?xml version="1.0" encoding="utf-8"?>
<p:tagLst xmlns:a="http://schemas.openxmlformats.org/drawingml/2006/main" xmlns:r="http://schemas.openxmlformats.org/officeDocument/2006/relationships" xmlns:p="http://schemas.openxmlformats.org/presentationml/2006/main">
  <p:tag name="APLORISTAG" val="M4RvBrLxyRrRJbWwc.937"/>
</p:tagLst>
</file>

<file path=ppt/tags/tag95.xml><?xml version="1.0" encoding="utf-8"?>
<p:tagLst xmlns:a="http://schemas.openxmlformats.org/drawingml/2006/main" xmlns:r="http://schemas.openxmlformats.org/officeDocument/2006/relationships" xmlns:p="http://schemas.openxmlformats.org/presentationml/2006/main">
  <p:tag name="APLORISTAG" val="MMq8K+TY0y1GzdU7X.42"/>
</p:tagLst>
</file>

<file path=ppt/tags/tag950.xml><?xml version="1.0" encoding="utf-8"?>
<p:tagLst xmlns:a="http://schemas.openxmlformats.org/drawingml/2006/main" xmlns:r="http://schemas.openxmlformats.org/officeDocument/2006/relationships" xmlns:p="http://schemas.openxmlformats.org/presentationml/2006/main">
  <p:tag name="APLORISTAG" val="M4RvBrLxyRrRJbWwc.938"/>
</p:tagLst>
</file>

<file path=ppt/tags/tag951.xml><?xml version="1.0" encoding="utf-8"?>
<p:tagLst xmlns:a="http://schemas.openxmlformats.org/drawingml/2006/main" xmlns:r="http://schemas.openxmlformats.org/officeDocument/2006/relationships" xmlns:p="http://schemas.openxmlformats.org/presentationml/2006/main">
  <p:tag name="APLORISTAG" val="M4RvBrLxyRrRJbWwc.939"/>
</p:tagLst>
</file>

<file path=ppt/tags/tag952.xml><?xml version="1.0" encoding="utf-8"?>
<p:tagLst xmlns:a="http://schemas.openxmlformats.org/drawingml/2006/main" xmlns:r="http://schemas.openxmlformats.org/officeDocument/2006/relationships" xmlns:p="http://schemas.openxmlformats.org/presentationml/2006/main">
  <p:tag name="APLORISTAG" val="M4RvBrLxyRrRJbWwc.940"/>
</p:tagLst>
</file>

<file path=ppt/tags/tag953.xml><?xml version="1.0" encoding="utf-8"?>
<p:tagLst xmlns:a="http://schemas.openxmlformats.org/drawingml/2006/main" xmlns:r="http://schemas.openxmlformats.org/officeDocument/2006/relationships" xmlns:p="http://schemas.openxmlformats.org/presentationml/2006/main">
  <p:tag name="APLORISTAG" val="M4RvBrLxyRrRJbWwc.941"/>
</p:tagLst>
</file>

<file path=ppt/tags/tag954.xml><?xml version="1.0" encoding="utf-8"?>
<p:tagLst xmlns:a="http://schemas.openxmlformats.org/drawingml/2006/main" xmlns:r="http://schemas.openxmlformats.org/officeDocument/2006/relationships" xmlns:p="http://schemas.openxmlformats.org/presentationml/2006/main">
  <p:tag name="APLORISTAG" val="M4RvBrLxyRrRJbWwc.38"/>
</p:tagLst>
</file>

<file path=ppt/tags/tag955.xml><?xml version="1.0" encoding="utf-8"?>
<p:tagLst xmlns:a="http://schemas.openxmlformats.org/drawingml/2006/main" xmlns:r="http://schemas.openxmlformats.org/officeDocument/2006/relationships" xmlns:p="http://schemas.openxmlformats.org/presentationml/2006/main">
  <p:tag name="APLORISTAG" val="M4RvBrLxyRrRJbWwc.40"/>
</p:tagLst>
</file>

<file path=ppt/tags/tag956.xml><?xml version="1.0" encoding="utf-8"?>
<p:tagLst xmlns:a="http://schemas.openxmlformats.org/drawingml/2006/main" xmlns:r="http://schemas.openxmlformats.org/officeDocument/2006/relationships" xmlns:p="http://schemas.openxmlformats.org/presentationml/2006/main">
  <p:tag name="APLORISTAG" val="M4RvBrLxyRrRJbWwc.43"/>
</p:tagLst>
</file>

<file path=ppt/tags/tag957.xml><?xml version="1.0" encoding="utf-8"?>
<p:tagLst xmlns:a="http://schemas.openxmlformats.org/drawingml/2006/main" xmlns:r="http://schemas.openxmlformats.org/officeDocument/2006/relationships" xmlns:p="http://schemas.openxmlformats.org/presentationml/2006/main">
  <p:tag name="APLORISTAG" val="M4RvBrLxyRrRJbWwc.42"/>
</p:tagLst>
</file>

<file path=ppt/tags/tag958.xml><?xml version="1.0" encoding="utf-8"?>
<p:tagLst xmlns:a="http://schemas.openxmlformats.org/drawingml/2006/main" xmlns:r="http://schemas.openxmlformats.org/officeDocument/2006/relationships" xmlns:p="http://schemas.openxmlformats.org/presentationml/2006/main">
  <p:tag name="APLORISTAG" val="M4RvBrLxyRrRJbWwc.41"/>
</p:tagLst>
</file>

<file path=ppt/tags/tag959.xml><?xml version="1.0" encoding="utf-8"?>
<p:tagLst xmlns:a="http://schemas.openxmlformats.org/drawingml/2006/main" xmlns:r="http://schemas.openxmlformats.org/officeDocument/2006/relationships" xmlns:p="http://schemas.openxmlformats.org/presentationml/2006/main">
  <p:tag name="APLORISTAG" val="M4RvBrLxyRrRJbWwc.39"/>
</p:tagLst>
</file>

<file path=ppt/tags/tag96.xml><?xml version="1.0" encoding="utf-8"?>
<p:tagLst xmlns:a="http://schemas.openxmlformats.org/drawingml/2006/main" xmlns:r="http://schemas.openxmlformats.org/officeDocument/2006/relationships" xmlns:p="http://schemas.openxmlformats.org/presentationml/2006/main">
  <p:tag name="APLORISTAG" val="MMq8K+TY0y1GzdU7X.39"/>
</p:tagLst>
</file>

<file path=ppt/tags/tag960.xml><?xml version="1.0" encoding="utf-8"?>
<p:tagLst xmlns:a="http://schemas.openxmlformats.org/drawingml/2006/main" xmlns:r="http://schemas.openxmlformats.org/officeDocument/2006/relationships" xmlns:p="http://schemas.openxmlformats.org/presentationml/2006/main">
  <p:tag name="APLORISTAG" val="M4RvBrLxyRrRJbWwc.35"/>
</p:tagLst>
</file>

<file path=ppt/tags/tag961.xml><?xml version="1.0" encoding="utf-8"?>
<p:tagLst xmlns:a="http://schemas.openxmlformats.org/drawingml/2006/main" xmlns:r="http://schemas.openxmlformats.org/officeDocument/2006/relationships" xmlns:p="http://schemas.openxmlformats.org/presentationml/2006/main">
  <p:tag name="APLORISTAG" val="M4RvBrLxyRrRJbWwc.333"/>
</p:tagLst>
</file>

<file path=ppt/tags/tag962.xml><?xml version="1.0" encoding="utf-8"?>
<p:tagLst xmlns:a="http://schemas.openxmlformats.org/drawingml/2006/main" xmlns:r="http://schemas.openxmlformats.org/officeDocument/2006/relationships" xmlns:p="http://schemas.openxmlformats.org/presentationml/2006/main">
  <p:tag name="APLORISTAG" val="M4RvBrLxyRrRJbWwc.197"/>
</p:tagLst>
</file>

<file path=ppt/tags/tag963.xml><?xml version="1.0" encoding="utf-8"?>
<p:tagLst xmlns:a="http://schemas.openxmlformats.org/drawingml/2006/main" xmlns:r="http://schemas.openxmlformats.org/officeDocument/2006/relationships" xmlns:p="http://schemas.openxmlformats.org/presentationml/2006/main">
  <p:tag name="APLORISTAG" val="M4RvBrLxyRrRJbWwc.815"/>
</p:tagLst>
</file>

<file path=ppt/tags/tag964.xml><?xml version="1.0" encoding="utf-8"?>
<p:tagLst xmlns:a="http://schemas.openxmlformats.org/drawingml/2006/main" xmlns:r="http://schemas.openxmlformats.org/officeDocument/2006/relationships" xmlns:p="http://schemas.openxmlformats.org/presentationml/2006/main">
  <p:tag name="APLORISTAG" val="M4RvBrLxyRrRJbWwc.929"/>
</p:tagLst>
</file>

<file path=ppt/tags/tag965.xml><?xml version="1.0" encoding="utf-8"?>
<p:tagLst xmlns:a="http://schemas.openxmlformats.org/drawingml/2006/main" xmlns:r="http://schemas.openxmlformats.org/officeDocument/2006/relationships" xmlns:p="http://schemas.openxmlformats.org/presentationml/2006/main">
  <p:tag name="APLORISTAG" val="M4RvBrLxyRrRJbWwc.930"/>
</p:tagLst>
</file>

<file path=ppt/tags/tag966.xml><?xml version="1.0" encoding="utf-8"?>
<p:tagLst xmlns:a="http://schemas.openxmlformats.org/drawingml/2006/main" xmlns:r="http://schemas.openxmlformats.org/officeDocument/2006/relationships" xmlns:p="http://schemas.openxmlformats.org/presentationml/2006/main">
  <p:tag name="APLORISTAG" val="M4RvBrLxyRrRJbWwc.871"/>
</p:tagLst>
</file>

<file path=ppt/tags/tag967.xml><?xml version="1.0" encoding="utf-8"?>
<p:tagLst xmlns:a="http://schemas.openxmlformats.org/drawingml/2006/main" xmlns:r="http://schemas.openxmlformats.org/officeDocument/2006/relationships" xmlns:p="http://schemas.openxmlformats.org/presentationml/2006/main">
  <p:tag name="APLORISTAG" val="M4RvBrLxyRrRJbWwc.624"/>
</p:tagLst>
</file>

<file path=ppt/tags/tag968.xml><?xml version="1.0" encoding="utf-8"?>
<p:tagLst xmlns:a="http://schemas.openxmlformats.org/drawingml/2006/main" xmlns:r="http://schemas.openxmlformats.org/officeDocument/2006/relationships" xmlns:p="http://schemas.openxmlformats.org/presentationml/2006/main">
  <p:tag name="APLORISTAG" val="M4RvBrLxyRrRJbWwc.870"/>
</p:tagLst>
</file>

<file path=ppt/tags/tag969.xml><?xml version="1.0" encoding="utf-8"?>
<p:tagLst xmlns:a="http://schemas.openxmlformats.org/drawingml/2006/main" xmlns:r="http://schemas.openxmlformats.org/officeDocument/2006/relationships" xmlns:p="http://schemas.openxmlformats.org/presentationml/2006/main">
  <p:tag name="APLORISTAG" val="M4RvBrLxyRrRJbWwc.872"/>
</p:tagLst>
</file>

<file path=ppt/tags/tag97.xml><?xml version="1.0" encoding="utf-8"?>
<p:tagLst xmlns:a="http://schemas.openxmlformats.org/drawingml/2006/main" xmlns:r="http://schemas.openxmlformats.org/officeDocument/2006/relationships" xmlns:p="http://schemas.openxmlformats.org/presentationml/2006/main">
  <p:tag name="APLORISTAG" val="MMq8K+TY0y1GzdU7X.36"/>
</p:tagLst>
</file>

<file path=ppt/tags/tag970.xml><?xml version="1.0" encoding="utf-8"?>
<p:tagLst xmlns:a="http://schemas.openxmlformats.org/drawingml/2006/main" xmlns:r="http://schemas.openxmlformats.org/officeDocument/2006/relationships" xmlns:p="http://schemas.openxmlformats.org/presentationml/2006/main">
  <p:tag name="APLORISTAG" val="M4RvBrLxyRrRJbWwc.873"/>
</p:tagLst>
</file>

<file path=ppt/tags/tag971.xml><?xml version="1.0" encoding="utf-8"?>
<p:tagLst xmlns:a="http://schemas.openxmlformats.org/drawingml/2006/main" xmlns:r="http://schemas.openxmlformats.org/officeDocument/2006/relationships" xmlns:p="http://schemas.openxmlformats.org/presentationml/2006/main">
  <p:tag name="APLORISTAG" val="M4RvBrLxyRrRJbWwc.820"/>
</p:tagLst>
</file>

<file path=ppt/tags/tag972.xml><?xml version="1.0" encoding="utf-8"?>
<p:tagLst xmlns:a="http://schemas.openxmlformats.org/drawingml/2006/main" xmlns:r="http://schemas.openxmlformats.org/officeDocument/2006/relationships" xmlns:p="http://schemas.openxmlformats.org/presentationml/2006/main">
  <p:tag name="APLORISTAG" val="M4RvBrLxyRrRJbWwc.821"/>
</p:tagLst>
</file>

<file path=ppt/tags/tag973.xml><?xml version="1.0" encoding="utf-8"?>
<p:tagLst xmlns:a="http://schemas.openxmlformats.org/drawingml/2006/main" xmlns:r="http://schemas.openxmlformats.org/officeDocument/2006/relationships" xmlns:p="http://schemas.openxmlformats.org/presentationml/2006/main">
  <p:tag name="APLORISTAG" val="M4RvBrLxyRrRJbWwc.931"/>
</p:tagLst>
</file>

<file path=ppt/tags/tag974.xml><?xml version="1.0" encoding="utf-8"?>
<p:tagLst xmlns:a="http://schemas.openxmlformats.org/drawingml/2006/main" xmlns:r="http://schemas.openxmlformats.org/officeDocument/2006/relationships" xmlns:p="http://schemas.openxmlformats.org/presentationml/2006/main">
  <p:tag name="APLORISTAG" val="M4RvBrLxyRrRJbWwc.874"/>
</p:tagLst>
</file>

<file path=ppt/tags/tag975.xml><?xml version="1.0" encoding="utf-8"?>
<p:tagLst xmlns:a="http://schemas.openxmlformats.org/drawingml/2006/main" xmlns:r="http://schemas.openxmlformats.org/officeDocument/2006/relationships" xmlns:p="http://schemas.openxmlformats.org/presentationml/2006/main">
  <p:tag name="APLORISTAG" val="M4RvBrLxyRrRJbWwc.932"/>
</p:tagLst>
</file>

<file path=ppt/tags/tag976.xml><?xml version="1.0" encoding="utf-8"?>
<p:tagLst xmlns:a="http://schemas.openxmlformats.org/drawingml/2006/main" xmlns:r="http://schemas.openxmlformats.org/officeDocument/2006/relationships" xmlns:p="http://schemas.openxmlformats.org/presentationml/2006/main">
  <p:tag name="APLORISTAG" val="M4RvBrLxyRrRJbWwc.818"/>
</p:tagLst>
</file>

<file path=ppt/tags/tag977.xml><?xml version="1.0" encoding="utf-8"?>
<p:tagLst xmlns:a="http://schemas.openxmlformats.org/drawingml/2006/main" xmlns:r="http://schemas.openxmlformats.org/officeDocument/2006/relationships" xmlns:p="http://schemas.openxmlformats.org/presentationml/2006/main">
  <p:tag name="APLORISTAG" val="M4RvBrLxyRrRJbWwc.824"/>
</p:tagLst>
</file>

<file path=ppt/tags/tag978.xml><?xml version="1.0" encoding="utf-8"?>
<p:tagLst xmlns:a="http://schemas.openxmlformats.org/drawingml/2006/main" xmlns:r="http://schemas.openxmlformats.org/officeDocument/2006/relationships" xmlns:p="http://schemas.openxmlformats.org/presentationml/2006/main">
  <p:tag name="APLORISTAG" val="M4RvBrLxyRrRJbWwc.825"/>
</p:tagLst>
</file>

<file path=ppt/tags/tag979.xml><?xml version="1.0" encoding="utf-8"?>
<p:tagLst xmlns:a="http://schemas.openxmlformats.org/drawingml/2006/main" xmlns:r="http://schemas.openxmlformats.org/officeDocument/2006/relationships" xmlns:p="http://schemas.openxmlformats.org/presentationml/2006/main">
  <p:tag name="APLORISTAG" val="M4RvBrLxyRrRJbWwc.826"/>
</p:tagLst>
</file>

<file path=ppt/tags/tag98.xml><?xml version="1.0" encoding="utf-8"?>
<p:tagLst xmlns:a="http://schemas.openxmlformats.org/drawingml/2006/main" xmlns:r="http://schemas.openxmlformats.org/officeDocument/2006/relationships" xmlns:p="http://schemas.openxmlformats.org/presentationml/2006/main">
  <p:tag name="APLORISTAG" val="MMq8K+TY0y1GzdU7X.40"/>
</p:tagLst>
</file>

<file path=ppt/tags/tag980.xml><?xml version="1.0" encoding="utf-8"?>
<p:tagLst xmlns:a="http://schemas.openxmlformats.org/drawingml/2006/main" xmlns:r="http://schemas.openxmlformats.org/officeDocument/2006/relationships" xmlns:p="http://schemas.openxmlformats.org/presentationml/2006/main">
  <p:tag name="APLORISTAG" val="M4RvBrLxyRrRJbWwc.827"/>
</p:tagLst>
</file>

<file path=ppt/tags/tag981.xml><?xml version="1.0" encoding="utf-8"?>
<p:tagLst xmlns:a="http://schemas.openxmlformats.org/drawingml/2006/main" xmlns:r="http://schemas.openxmlformats.org/officeDocument/2006/relationships" xmlns:p="http://schemas.openxmlformats.org/presentationml/2006/main">
  <p:tag name="APLORISTAG" val="MFNMiJ7Tp18tdIikC"/>
</p:tagLst>
</file>

<file path=ppt/tags/tag982.xml><?xml version="1.0" encoding="utf-8"?>
<p:tagLst xmlns:a="http://schemas.openxmlformats.org/drawingml/2006/main" xmlns:r="http://schemas.openxmlformats.org/officeDocument/2006/relationships" xmlns:p="http://schemas.openxmlformats.org/presentationml/2006/main">
  <p:tag name="APLORISTAG" val="MFNMiJ7Tp18tdIikC.272"/>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IAAAAABRMAAAAYQXBsb3Jpcy5DaGFydC5TZXJpZXNUeXBlAQAAAAd2YWx1ZV9fAAgCAAAAAAAAAAkUAAAAAAEFFQAAABlTeXN0ZW0uRHJhd2luZy5SZWN0YW5nbGVGBAAAAAF4AXkFd2lkdGgGaGVpZ2h0AAAAAAsLCwsEAAAA//9/////f////3////9//wEWAAAAFQAAAP//f////3////9/////f/8AAAAAAAUXAAAALEFwbG9yaXMuQ2hhcnQuQXhpc0JyZWFrK0F4aXNCcmVha0Rpc3BsYXlNb2RlAQAAAAd2YWx1ZV9fAAgCAAAAAQAAAAEBAQoKCRgAAAAKCgAAAAAACRkAAAAKCRoAAAAEAAAACRsAAAAFHAAAABlBcGxvcmlzLkNoYXJ0Lk9yaWVudGF0aW9uAQAAAAd2YWx1ZV9fAAgCAAAAAQAAAAkdAAAAAR4AAAAVAAAAuk4YQjTsw0H08hJEviWcQwAEHwAAAAtTeXN0ZW0uR3VpZAsAAAACX2ECX2ICX2MCX2QCX2UCX2YCX2cCX2gCX2kCX2oCX2sAAAAAAAAAAAAAAAgHBwICAgICAgICAAAAAAAAAAAAAAAAAAAAAAAKCgkgAAAAAAoKCgEAAAAAAAAA/////wAAASEAAAAVAAAAVZX5Q1VVfUHEnvdCVFWAQoQgBELX5gZD4C8fRKqqtUMFIgAAABVTeXN0ZW0uRHJhd2luZy5Qb2ludEYCAAAAAXgBeQAACwsEAAAAQ420QtXYJ0MGIwAAABBGTk1pSjdUcDE4dGRJaWtDAAAAAAoKCSQAAAAJJQAAAAAKCSYAAAAKCQEAAAAJJwAAAAUGAAAAJUFwbG9yaXMuQ2hhcnQuQ29sdW1uT3JpZW50ZWRDaGFydEF4aXMqAAAABm1DaGFydAltQXhpc1R5cGURbVJlbGF0aXZlR2FwV2lkdGgNbUlzU2Vjb25kQXhpcxttT3RoZXJBeGlzQ3Jvc3Nlc0F0Q2F0ZWdvcnkXbUNhdGVnb3J5V2lkdGhUaWNrTWFya3MRbVNob3dMYWJlbERlZmF1bHQLQXhpcyttQ2hhcnQQQXhpcyttVmFsdWVMaW5lcxBBeGlzK21BeGlzQnJlYWtzEkF4aXMrbU1pblZhbHVlQXV0bw5BeGlzK21NaW5WYWx1ZRJBeGlzK21NYXhWYWx1ZUF1dG8OQXhpcyttTWF4VmFsdWUaQXhpcyttTWFpblRpY2tEaXN0YW5jZUF1dG8WQXhpcyttTWFpblRpY2tEaXN0YW5jZQ1BeGlzK21Mb2dBeGlzDUF4aXMrbUxvZ0Jhc2UYQXhpcyttSHVuZGVydFBlcmNlbnRBeGlzDUF4aXMrbVZpc2libGUdQXhpcyttVGlja21hcmtOdW1iZXJGb3JtYXRBYnMhQXhpcyttVGlja21hcmtOdW1iZXJGb3JtYXRQZXJjZW50GUF4aXMrbURhdGFOdW1iZXJGb3JtYXRBYnMdQXhpcyttRGF0YU51bWJlckZvcm1hdFBlcmNlbnQPQXhpcyttVGlja01hcmtzEEF4aXMrbVN0YXJ0UG9pbnQOQXhpcyttRW5kUG9pbnQQQXhpcyttVmlzdWFsTGluZRRBeGlzK21MYWJlbFBvc2l0aW9ucxZBeGlzK21MYWJlbEFuY2hvck1vZGVzGUF4aXMrbUxhYmVsQWRkSW5uZXJNYXJnaW4TQXhpcyttTGFiZWxQb3NpdGlvbhdBeGlzK21NYWduaXR1ZGVBYnNvbHV0ZRZBeGlzK21NYWduaXR1ZGVQZXJjZW50C0F4aXMrbUxhYmVsH0F4aXMrbVRpY2tNYXJrRXZlbnRTdXNwZW5kTGV2ZWwZQXhpcyttVGlja01hcmtRdWV1ZWRFdmVudCRBeGlzK21UaWNrTWFya1F1ZXVlZEV2ZW50c2l6ZUNoYW5nZWQYRGF0YU9iamVjdCttQ2hpbGRPYmplY3RzEkRhdGFPYmplY3QrbVBhcmVudBVEYXRhT2JqZWN0K21Db250YWluZXIZRGF0YU9iamVjdCttVmlzdWFsT2JqZWN0cwQEAAAAAAMEBAQAAAAAAAAAAAAABAQEBAQEBAQEBAcAAAAEAAAAAwQEAyFBcGxvcmlzLkNoYXJ0LkNvbHVtbk9yaWVudGVkQ2hhcnQCAAAAFkFwbG9yaXMuQ2hhcnQuQXhpc1R5cGUCAAAACwEBAXBTeXN0ZW0uTnVsbGFibGVgMVtbU3lzdGVtLkJvb2xlYW4sIG1zY29ybGliLCBWZXJzaW9uPTIuMC4wLjAsIEN1bHR1cmU9bmV1dHJhbCwgUHVibGljS2V5VG9rZW49Yjc3YTVjNTYxOTM0ZTA4OV1dE0FwbG9yaXMuQ2hhcnQuQ2hhcnQCAAAAmwFBcGxvcmlzLkJhc2UuT2JqZWN0cy5EYXRhT2JqZWN0Q29sbGVjdGlvbmAxW1tBcGxvcmlzLkNoYXJ0LlZhbHVlTGluZSwgQXBsb3Jpcy5DaGFydCwgVmVyc2lvbj00LjAuMC4xNDg2LCBDdWx0dXJlPW5ldXRyYWwsIFB1YmxpY0tleVRva2VuPTE2ZmMxM2EyMjZjMGU5NTFdXQMAAACbAUFwbG9yaXMuQmFzZS5PYmplY3RzLkRhdGFPYmplY3RDb2xsZWN0aW9uYDFbW0FwbG9yaXMuQ2hhcnQuQXhpc0JyZWFrLCBBcGxvcmlzLkNoYXJ0LCBWZXJzaW9uPTQuMC4wLjE0ODYsIEN1bHR1cmU9bmV1dHJhbCwgUHVibGljS2V5VG9rZW49MTZmYzEzYTIyNmMwZTk1MV1dAwAAAAEGAQYBBgELAQEaQXBsb3Jpcy5DaGFydC5OdW1iZXJGb3JtYXQCAAAAGkFwbG9yaXMuQ2hhcnQuTnVtYmVyRm9ybWF0AgAAABpBcGxvcmlzLkNoYXJ0Lk51bWJlckZvcm1hdAIAAAAaQXBsb3Jpcy5DaGFydC5OdW1iZXJGb3JtYXQCAAAAmgFBcGxvcmlzLkJhc2UuT2JqZWN0cy5EYXRhT2JqZWN0Q29sbGVjdGlvbmAxW1tBcGxvcmlzLkNoYXJ0LlRpY2tNYXJrLCBBcGxvcmlzLkNoYXJ0LCBWZXJzaW9uPTQuMC4wLjE0ODYsIEN1bHR1cmU9bmV1dHJhbCwgUHVibGljS2V5VG9rZW49MTZmYzEzYTIyNmMwZTk1MV1dAwAAABVTeXN0ZW0uRHJhd2luZy5Qb2ludEYEAAAAFVN5c3RlbS5EcmF3aW5nLlBvaW50RgQAAAAaQXBsb3Jpcy5CYXNlLlVJLlZpc3VhbExpbmUDAAAAF1N5c3RlbS5EcmF3aW5nLlBvaW50RltdBAAAABlBcGxvcmlzLkJhc2UuQW5jaG9yTW9kZVtdAwAAAAEICAgVQXBsb3Jpcy5CYXNlLlVJLkxhYmVsAwAAAAgB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FKAAAABZBcGxvcmlzLkNoYXJ0LkF4aXNUeXBlAQAAAAd2YWx1ZV9fAAgCAAAAAQAAAJqZGT8AAAAKCQEAAAAJKQAAAAkqAAAAAQAAAAAAAAAAAQAAAAAAAPA/AZqZmZmZmbk/AAAAIEEAAQkrAAAACgksAAAACS0AAAAJLgAAAAEvAAAAIgAAALpOGEKBZKhDATAAAAAiAAAA4HccRIFkqEMJMQAAAAkyAAAACTMAAAAJNAAAAAAAAAAAAAAAAAAAAAk1AAAAAAAAAAAACTYAAAAJAQAAAAkBAAAACTcAAAABBwAAAAYAAAAJAQAAAAE4AAAAKAAAAAAAAADNzEw/AAAACAEACQEAAAAJOQAAAAk6AAAAAQAAAAAAAAAAAZqZmZmZmek/AJqZmZmZmck/AAAAIEEAAQk7AAAACgk8AAAACT0AAAAJPgAAAAE/AAAAIgAAALpOGEKBZKhDAUAAAAAiAAAAuk4YQjTsw0EJQQAAAAlCAAAACUMAAAAJRAAAAAAAAAAAAAAAAAAAAAlFAAAAAAAAAAAACUYAAAAJAQAAAAkBAAAACUcAAAAECAAAAKgBU3lzdGVtLkNvbGxlY3Rpb25zLkdlbmVyaWMuTGlzdGAxW1tBcGxvcmlzLkNoYXJ0LkNvbHVtbk9yaWVudGVkQ2hhcnQrVW51c2VkU2VyaWVzLCBBcGxvcmlzLkNoYXJ0LCBWZXJzaW9uPTQuMC4wLjE0ODYsIEN1bHR1cmU9bmV1dHJhbCwgUHVibGljS2V5VG9rZW49MTZmYzEzYTIyNmMwZTk1MV1dAwAAAAZfaXRlbXMFX3NpemUIX3ZlcnNpb24EAAAwQXBsb3Jpcy5DaGFydC5Db2x1bW5PcmllbnRlZENoYXJ0K1VudXNlZFNlcmllc1tdAgAAAAgICUgAAAAAAAAADwAAAAUJAAAAoQFBcGxvcmlzLkJhc2UuT2JqZWN0cy5EYXRhT2JqZWN0Q29sbGVjdGlvbmAxW1tBcGxvcmlzLkNoYXJ0LkNoYXJ0RGF0YVNlcmllcy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2hhcnREYXRhU2VyaWVzLCBBcGxvcmlzLkNoYXJ0LCBWZXJzaW9uPTQuMC4wLjE0ODYsIEN1bHR1cmU9bmV1dHJhbCwgUHVibGljS2V5VG9rZW49MTZmYzEzYTIyNmMwZTk1MV1dAwAAAJcBU3lzdGVtLkNvbGxlY3Rpb25zLkdlbmVyaWMuTGlzdGAxW1tBcGxvcmlzLkNoYXJ0LkNoYXJ0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JAAAACUoAAAAJAQAAAAkBAAAACUsAAAAFCgAAAKYBQXBsb3Jpcy5CYXNlLk9iamVjdHMuRGF0YU9iamVjdENvbGxlY3Rpb25gMVtbQXBsb3Jpcy5DaGFydC5Bbm5vdGF0aW9uRGF0YVNlcmllcywgQXBsb3Jpcy5DaGFydCwgVmVyc2lvbj00LjAuMC4xNDg2LCBDdWx0dXJlPW5ldXRyYWwsIFB1YmxpY0tleVRva2VuPTE2ZmMxM2EyMjZjMGU5NTFdXQYAAAALbUNvbGxlY3Rpb24FbUxpc3QYRGF0YU9iamVjdCttQ2hpbGRPYmplY3RzEkRhdGFPYmplY3QrbVBhcmVudBVEYXRhT2JqZWN0K21Db250YWluZXIZRGF0YU9iamVjdCttVmlzdWFsT2JqZWN0cwQDAwQEA6QBQXBsb3Jpcy5CYXNlLk9iamVjdHMuU29ydGFibGVDb2xsZWN0aW9uYDFbW0FwbG9yaXMuQ2hhcnQuQW5ub3RhdGlvbkRhdGFTZXJpZXMsIEFwbG9yaXMuQ2hhcnQsIFZlcnNpb249NC4wLjAuMTQ4NiwgQ3VsdHVyZT1uZXV0cmFsLCBQdWJsaWNLZXlUb2tlbj0xNmZjMTNhMjI2YzBlOTUxXV0DAAAAnAFTeXN0ZW0uQ29sbGVjdGlvbnMuR2VuZXJpYy5MaXN0YDFbW0FwbG9yaXMuQ2hhcnQuQW5ub3RhdGlvbkRhdGFTZXJpZXM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AAAAAlNAAAACQEAAAAJAQAAAAlOAAAABQsAAAChAUFwbG9yaXMuQmFzZS5PYmplY3RzLkRhdGFPYmplY3RDb2xsZWN0aW9uYDFbW0FwbG9yaXMuQ2hhcnQuQW5ub3RhdGlvbkdyb3Vw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Bbm5vdGF0aW9uR3JvdXAsIEFwbG9yaXMuQ2hhcnQsIFZlcnNpb249NC4wLjAuMTQ4NiwgQ3VsdHVyZT1uZXV0cmFsLCBQdWJsaWNLZXlUb2tlbj0xNmZjMTNhMjI2YzBlOTUxXV0DAAAAlwFTeXN0ZW0uQ29sbGVjdGlvbnMuR2VuZXJpYy5MaXN0YDFbW0FwbG9yaXMuQ2hhcnQuQW5ub3RhdGlvbk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8AAAAJUAAAAAkBAAAACQEAAAAJUQAAAAUMAAAAoAFBcGxvcmlzLkJhc2UuT2JqZWN0cy5EYXRhT2JqZWN0Q29sbGVjdGlvbmAxW1tBcGxvcmlzLkNoYXJ0LkNoYXJ0RGF0YUdyb3VwLCBBcGxvcmlzLkNoYXJ0LCBWZXJzaW9uPTQuMC4wLjE0ODYsIEN1bHR1cmU9bmV1dHJhbCwgUHVibGljS2V5VG9rZW49MTZmYzEzYTIyNmMwZTk1MV1dBgAAAAttQ29sbGVjdGlvbgVtTGlzdBhEYXRhT2JqZWN0K21DaGlsZE9iamVjdHMSRGF0YU9iamVjdCttUGFyZW50FURhdGFPYmplY3QrbUNvbnRhaW5lchlEYXRhT2JqZWN0K21WaXN1YWxPYmplY3RzBAMDBAQDngFBcGxvcmlzLkJhc2UuT2JqZWN0cy5Tb3J0YWJsZUNvbGxlY3Rpb25gMVtbQXBsb3Jpcy5DaGFydC5DaGFydERhdGFHcm91cCwgQXBsb3Jpcy5DaGFydCwgVmVyc2lvbj00LjAuMC4xNDg2LCBDdWx0dXJlPW5ldXRyYWwsIFB1YmxpY0tleVRva2VuPTE2ZmMxM2EyMjZjMGU5NTFdXQMAAACWAVN5c3RlbS5Db2xsZWN0aW9ucy5HZW5lcmljLkxpc3RgMVtbQXBsb3Jpcy5DaGFydC5DaGFydERhdGFHcm91c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SAAAACVMAAAAJAQAAAAkBAAAACVQAAAAFDQAAAJoBQXBsb3Jpcy5CYXNlLk9iamVjdHMuRGF0YU9iamVjdENvbGxlY3Rpb25gMVtbQXBsb3Jpcy5DaGFydC5EZWx0YUJhciwgQXBsb3Jpcy5DaGFydCwgVmVyc2lvbj00LjAuMC4xNDg2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RGVsdGFCYXIsIEFwbG9yaXMuQ2hhcnQsIFZlcnNpb249NC4wLjAuMTQ4NiwgQ3VsdHVyZT1uZXV0cmFsLCBQdWJsaWNLZXlUb2tlbj0xNmZjMTNhMjI2YzBlOTUxXV0DAAAAkAFTeXN0ZW0uQ29sbGVjdGlvbnMuR2VuZXJpYy5MaXN0YDFbW0FwbG9yaXMuQ2hhcnQuRGVsdGFCYX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QAAAAlWAAAACQEAAAAJAQAAAAlXAAAABQ4AAACdAUFwbG9yaXMuQmFzZS5PYmplY3RzLkRhdGFPYmplY3RDb2xsZWN0aW9uYDFbW0FwbG9yaXMuQ2hhcnQuRGVsdGFCcmlkZ2U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RlbHRhQnJpZGdlLCBBcGxvcmlzLkNoYXJ0LCBWZXJzaW9uPTQuMC4wLjE0ODYsIEN1bHR1cmU9bmV1dHJhbCwgUHVibGljS2V5VG9rZW49MTZmYzEzYTIyNmMwZTk1MV1dAwAAAJMBU3lzdGVtLkNvbGxlY3Rpb25zLkdlbmVyaWMuTGlzdGAxW1tBcGxvcmlzLkNoYXJ0LkRlbHRhQnJpZGdl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gAAAAJWQAAAAkBAAAACQEAAAAJWgAAAAUPAAAAnQFBcGxvcmlzLkJhc2UuT2JqZWN0cy5EYXRhT2JqZWN0Q29sbGVjdGlvbmAxW1tBcGxvcmlzLkNoYXJ0Lkdyb3d0aEFycm93LCBBcGxvcmlzLkNoYXJ0LCBWZXJzaW9uPTQuMC4wLjE0ODY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Hcm93dGhBcnJvdywgQXBsb3Jpcy5DaGFydCwgVmVyc2lvbj00LjAuMC4xNDg2LCBDdWx0dXJlPW5ldXRyYWwsIFB1YmxpY0tleVRva2VuPTE2ZmMxM2EyMjZjMGU5NTFdXQMAAACTAVN5c3RlbS5Db2xsZWN0aW9ucy5HZW5lcmljLkxpc3RgMVtbQXBsb3Jpcy5DaGFydC5Hcm93dGhBcnJvd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bAAAACVwAAAAJAQAAAAkBAAAACV0AAAAFEAAAAKQBQXBsb3Jpcy5CYXNlLk9iamVjdHMuRGF0YU9iamVjdENvbGxlY3Rpb25gMVtbQXBsb3Jpcy5DaGFydC5XYXRlcmZhbGxDb25uZWN0b3IsIEFwbG9yaXMuQ2hhcnQsIFZlcnNpb249NC4wLjAuMTQ4NiwgQ3VsdHVyZT1uZXV0cmFsLCBQdWJsaWNLZXlUb2tlbj0xNmZjMTNhMjI2YzBlOTUxXV0GAAAAC21Db2xsZWN0aW9uBW1MaXN0GERhdGFPYmplY3QrbUNoaWxkT2JqZWN0cxJEYXRhT2JqZWN0K21QYXJlbnQVRGF0YU9iamVjdCttQ29udGFpbmVyGURhdGFPYmplY3QrbVZpc3VhbE9iamVjdHMEAwMEBAOiAUFwbG9yaXMuQmFzZS5PYmplY3RzLlNvcnRhYmxlQ29sbGVjdGlvbmAxW1tBcGxvcmlzLkNoYXJ0LldhdGVyZmFsbENvbm5lY3RvciwgQXBsb3Jpcy5DaGFydCwgVmVyc2lvbj00LjAuMC4xNDg2LCBDdWx0dXJlPW5ldXRyYWwsIFB1YmxpY0tleVRva2VuPTE2ZmMxM2EyMjZjMGU5NTFdXQMAAACaAVN5c3RlbS5Db2xsZWN0aW9ucy5HZW5lcmljLkxpc3RgMVtbQXBsb3Jpcy5DaGFydC5XYXRlcmZhbGx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XgAAAAlfAAAACQEAAAAJAQAAAAlgAAAABREAAACiAUFwbG9yaXMuQmFzZS5PYmplY3RzLkRhdGFPYmplY3RDb2xsZWN0aW9uYDFbW0FwbG9yaXMuQ2hhcnQuRWxlbWVud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RWxlbWVudENvbm5lY3RvciwgQXBsb3Jpcy5DaGFydCwgVmVyc2lvbj00LjAuMC4xNDg2LCBDdWx0dXJlPW5ldXRyYWwsIFB1YmxpY0tleVRva2VuPTE2ZmMxM2EyMjZjMGU5NTFdXQMAAACYAVN5c3RlbS5Db2xsZWN0aW9ucy5HZW5lcmljLkxpc3RgMVtbQXBsb3Jpcy5DaGFydC5FbGVtZW50Q29ubmVjdG9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WEAAAAJYgAAAAkBAAAACQEAAAAJYwAAAAUUAAAAIkFwbG9yaXMuQ2hhcnQuQ29sdW1uT3JpZW50ZWRMZWdlbmQLAAAAFG1Db2x1bW5PcmllbnRlZENoYXJ0D21MZWdlbmRFbGVtZW50cw1MZWdlbmQrbUNoYXJ0GUxlZ2VuZCttQXV0b21hdGljT3JkZXJpbmcSTGVnZW5kK21MZWdlbmRBcmVhEUxlZ2VuZCttUmVjdGFuZ2xlD0xlZ2VuZCttQ29sdW1ucxhEYXRhT2JqZWN0K21DaGlsZE9iamVjdHMSRGF0YU9iamVjdCttUGFyZW50FURhdGFPYmplY3QrbUNvbnRhaW5lchlEYXRhT2JqZWN0K21WaXN1YWxPYmplY3RzBAQEAAQEAAMEBAMhQXBsb3Jpcy5DaGFydC5Db2x1bW5PcmllbnRlZENoYXJ0AgAAAK0BQXBsb3Jpcy5CYXNlLk9iamVjdHMuRGF0YU9iamVjdENvbGxlY3Rpb25gMVtbQXBsb3Jpcy5DaGFydC5Db2x1bW5PcmllbnRlZExlZ2VuZEVsZW1lbnQsIEFwbG9yaXMuQ2hhcnQsIFZlcnNpb249NC4wLjAuMTQ4NiwgQ3VsdHVyZT1uZXV0cmFsLCBQdWJsaWNLZXlUb2tlbj0xNmZjMTNhMjI2YzBlOTUxXV0DAAAAE0FwbG9yaXMuQ2hhcnQuQ2hhcnQCAAAAARlTeXN0ZW0uRHJhd2luZy5SZWN0YW5nbGVGBAAAABpBcGxvcmlzLkJhc2UuVUkuVmlzdWFsUmVjdAMAAAAI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lkAAAACQEAAAABAWUAAAAVAAAAkavwQ/v/J0H8/59CRheVQglmAAAAAQAAAAlnAAAACQEAAAAJAQAAAAloAAAABRg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FBcGxvcmlzLkNoYXJ0LkNvbHVtbk9yaWVudGVkQ2hhcnQCAAAAIUFwbG9yaXMuQ2hhcnQuQ29sdW1uT3JpZW50ZWRDaGFydAIAAAAIAQgIAQgICAIAAAAJAQAAAAkBAAAAAAAAAAAGaQAAAAEuAwAAAAZqAAAAASwGawAAAAEtBmwAAAABKwEAAAAACgoGbQAAAAhNL2QveXl5eQAAAAAKAAAAAAAAAAAHGQAAAAABAAAABAAAAAQYQXBsb3Jpcy5DaGFydC5BeGlzTnVtYmVyAgAAAAVuAAAAGEFwbG9yaXMuQ2hhcnQuQXhpc051bWJlcgEAAAAHdmFsdWVfXwAIAgAAAAAAAAABbwAAAG4AAAAAAAAAAXAAAABuAAAAAAAAAAFxAAAAbgAAAAAAAAAPGgAAAAMAAAAIAQAAAAIAAAADAAAABRsAAAAwQXBsb3Jpcy5DaGFydC5Db2x1bW5PcmllbnRlZENoYXJ0K0N1c3RvbVN0YWNraW5nAgAAAA9CYXJXaWR0aEZhY3RvcnMKR2Fwc0JlZm9yZQcHCwgCAAAACXIAAAAJcwAAAAUd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dAAAACIAAAC6ThhCNOzDQQF1AAAAIgAAAOB3HESBZKhDCXYAAAAJdwAAAAAAAAAKBXgAAAAUU3lzdGVtLkRyYXdpbmcuU2l6ZUYCAAAABXdpZHRoBmhlaWdodAAACwsEAAAAAAAAAAAAAAABeQAAAHgAAAAAAAAAAAAAAAAAAAABegAAABUAAAAAAAAAAAAAAAAAAAAAAAAAFAAAAP////8BAQoJewAAAAEACgAPIAAAAO0zAAACUEsDBBQABgAIAAAAIQBJEqz3jAEAAHg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d1OwjAUvjfxHZbemq3AhTGGwQXopZKID1DbA1vo2qan/L29ZwOMkrlJWOLNmq39/s52zobjXaGjDXjMrUlZP+mxCIy0KjfLlL3Pn+MHFmEQRgltDaRsD8jGo9ub4XzvACNCG0xZFoJ75BxlBoXAxDowtLOwvhCBbv2SOyFXYgl80Ovdc2lNABPiUHKw0XAKC7HWIXra0eODE4KzaHI4V0qlTDincykCGeXlLq/FbRpxG6POzMV2scglKCvXBVlKCD/1YkvxfxHwoLHBWY3CMXpCyMo9ZrnDu2OEV6q9zxVEM+HDiygoKN9pvrV+9WHtKmmuQ43aWR50HoTCDCAUOqnWpBC5+YN+dRh5tfQ7NlLmq4gv9DH4Jx+BPmzg1fX6UlQ0LcEx7DVgx2kPpG3KmfCg3oKnHujcwHfuFh/SFmVH4vX1/tkDJ942eaHlJKNO6fgdyBNvkz6No5m3DmlSerjcwGnilOjYERH4kEPjzPlSpDF7ueDZ0IFyjitQNdq8+m+MPgE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ABBmPgJAQAAz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zWrDMBCE74W+g9h7LdttQymRc2gp5NqmDyDktWViS0a7/fHbVyTUcSC4F9PjzqKZj5G03nx3rfjEQI13CrIkBYHO+LJxtYL33cvNAwhi7UrdeocKBiTYFNdX61dsNcdDZJueRHRxpMAy949SkrHYaUp8jy5uKh86zXEMtey12esaZZ6mKxmmHlCceYptqSBsy1sQu6GPyX97+6pqDD5789Gh4wsRkiMXRkMdamQFh/EoZkkEBXmZ4W5JBuKhjSWOEMd5Lv5+0XirA5ZvHOINTymm8hzMakkYo1vzZHXjTnWM0hxEtiTElw97soh8ghglkofN7OvI/xkm/21Gnv3B4gcAAP//AwBQSwMEFAAGAAgAAAAhAHb/IZbPAQAA/QIAAA8AAAB4bC93b3JrYm9vay54bWyMUslu2zAQvRfoPxC8y6QoyQkMSYHrBTVQFAHSJmeGoi0iXASSqhUU/feOpDp10UtOw+G8Wd7MK+8Go9EP6YNytsLpgmIkrXCNsqcKf/+2T24xCpHbhmtnZYVfZcB39ccP5dn5l2fnXhAUsKHCbYzdipAgWml4WLhOWogcnTc8gutPJHRe8ia0UkajCaN0SQxXFs8VVv49NdzxqITcOtEbaeNcxEvNI4wfWtUFXJdHpeXjzAjxrvvKDcw9aIw0D3HXqCibChfgurP858P33adeaYiyJaU5JvUby3uPeB/dxhkgEcK9ErGHR4XpiBr38KjkOfxNGF00PCnbuHOFsxsKi329uIwycM9T8Ek1sYWOaTpC5r/PUp3aCOdgWT41IFcdpgVCp8kiO7Fbd9p5FbY8cjjXuOEDsEgx8isFD39o0nHO65SHEQWINzS7QrMRTaYQdBJcC1jAaKayOaUUMoWzovce7rCByJ9VyCF+CbEuwaLeqwr/vClYtiu2WcKKfZasix1N0mXGkmW+Z0W+YSwv2K+LCMzwnwqMEt4Fd4wL4QyZBQDCEUQOQk46up11VJdmWK29aA9btNf8BNeZecAswOYyGbkot/4NAAD//wMAUEsDBBQABgAIAAAAIQA/g93lKQgAAMt5AAANAAAAeGwvc3R5bGVzLnhtbOyd3W/bNhDA3wfsfxBU7DGRqE8rsF0sybwV6IoCyYC9yrbsCNWHIcmt3WH/+46kZEu2I0vhuWkH9iGV5OPp+OPxSEr2cfh2E0fK5yDLwzQZqeRaV5UgmaXzMFmO1L8eJ1cDVckLP5n7UZoEI3Ub5Orb8c8/DfNiGwUPT0FQKKAiyUfqU1GsbjQtnz0FsZ9fp6sggU8WaRb7BZxmSy1fZYE/z2mhONIMXXe02A8TlWu4iWddlMR+9mm9upql8covwmkYhcWW6VKVeHbzbpmkmT+NwNQNsfxZpZudHKmPw1mW5umiuAZ1WrpYhLPg2EpP8zTQNB4m63gSF7kyS9dJMVLN3SWFf/JuDggdS1V4pe/SOZihX+u/qFpVuCFpNyXfvHnTIuwcC1O1WmnUeLhIk71txICaUwA3n5L0SzKhn4FxYDEVGw/zr8pnP4IrhCqZpVGaKQU0HBjMriR+HHCJOz8Kp1lIxRZ+HEZbftmgF1hbl3JxCOSZRfwO/O+USpX38uin/FZhMg82AeAaHNzt0X9KY58KHt1Mq+utdF7a/nXN/lP30qmpWLDO3eyAlVjL7AiyluTNki2nI3Uy0dm/Zs1+D6NIefCTnF4+2xQvUhQ+w/pFynbVY9Aa1eMVRKreZNJVUYfqdVc2fYbV2T7c1mVZs+bQ9aCtd1HOoDEDLoyHEG+LIEsm1BPK48ftCiJGAkMDdwsmd0Z6mflbYti1Ahq74Xg4TbM5DEVVfKXRil8aD6NgUUCVs3D5RP8v0hX8naZFAXF7PJyH/jJN/AgOtapEeQDVmQVR9ECHq78Xe92GBdo3i1o8hqGPRhgaxOkhVKU85Br5CdyhUcjbF4KI+0whxV+tou0ElDPV/Az0789uWc33579G4TKJg3qBj1laBLOCjdMs6jTsqBn/vB2HxstCMJxX7V02/YvomWea/sM6ngbZhE2F9o08uZgL0CnIaf/lrvit7ZF8IKS09D7JR/IRCfnSf6T/SP+53Hgq+5fsX7J/yf4FCya2eJPzZ7m+aJvPy/VX+3gh+Ug+IuOp9B/pP9J/Ljcfk/1L9i/Zv2T/eq31jow/Mv7I+CPjj4w//PsI8vlzezyUfCQfkfFC+o/0HxH/edGXhr5dIene0r1F3Fv6j/Qf6T+XW47J/iX7l+xfsn+91uMOGX9k/JHxR8YfGX/441b5+qk9Hko+ko/IeCH9R/qP9J/LzTdk/5L96//Uv+SbEp6ToJ6I4LI/RNHqORN4BoVa8gTDeVHuBGWzOJ1EAdYd5zMv7EqX2RTYj+dZco/nEiFQtc/8Cr6ypKmLn9V6Ds1A4VepGJSnNAu/QpoAmjdnBrkZAp7uZrM4yAlRpgA6l0qirBA5+Zui6ipPGrE7Kyv9KoaeXh1eyLSaS9DER92akSXYEDCIJhlhaUmOmrRmjothTpXvozJW2OdqBqLw+oEMPMyrQByWKot3v84wmj/pq9qlrfuhI2oYDnnXunl9F8OF3etypvFZcMUbnWmtX9BUPcJx5EUGsriifMn81WOwgRxAbNTS2oIMiq2dWr1TzCMU4+uwKwfab09PoKUhn2IRzug0AfJUqT+I6Z1BN2JBZ0ftEqbwYgFNaVk2QftMjaVg5EMFPWz1cWJANzjx++8qeF1qsLhQZSqzv8uWqcXts7Hn5RXpHiHPd+Lvatb/fFT//sw8j7aPM1RdtBlLujc0zCZbR2ZIAnomTOwsOLkcOZ6t0qd1ZfK588ov7OttgwB7JgBPAWoJFQ/SKe4eGig0IypkEk2jKP0SzJU/IE1kFoXJJ0hKy54B0AnFdB1GRZjQRwIwijyF83lAUxDTBVgPRfBsCEcRNAOOIlhy4CiCJQCKIjps4SjCgg3JN5EswoJtYME2sWCbWLBNLNgmFmwTC7aFBdvCgm1hwbawYFtYsG0s2DYWbBsLto0F28aC7WDBdrBg07z2KKMIfTyHowgLtosF28WC7cJTZhRGLkytUBRBon4kRfBtUxyLYMGOowgL9gALtocF28OC7WHB9rBge1iwiY5Fm+hYuImOxZvoWMCJjkacrnNRui4haMQJGnGCRpygETf6cTpasDcNgYG3db1+VPygwfuXb5rfv3yzcfuXbzZp//KC/Ixmh+l9/4Pm719ekJ8hyM8Q5GcK8jMF/c8U5GcK8jMF+VmC/CxBfpYgP0uQnyXIzxbkZwvyswX52YL8bEF+jiA/R5CfI8jPEeTnCPJzBfm5zTV77/HDhRK1CV/v8oPmCr1/+ebCvH/55sOP/uUF+Q3gjiL8PEF+niA/T5CfJ8jPE+RHdEGARBckSHRBhEQXZEh0UYgHb/169yJCd7UU6QaEiEIkohCJKESjH4MPdNOxqHrv2vRitifV4bvWj0FG3wJXJZoDB9u177AE2wqWWJY7MIlhEIu+ueKveTuJuzA2c3G+E2W1W1/5EvlQOw0lXNw69ar4QNyhDcbFnS7i9B0XFx90EafjIhc3O4i7dD3Pxd028YE3cA3DHNBZWyneqr6U92iQKuVb2VTydFZdyre1lK0bA9tyCYthXJ5+FerEe/oS/q6AA85eFeBfetz5DnyNYL7Z78fI1BV0494HulPj7osFUKN5sPDXUfG4+3Ck7o//DObhOgaHK6U+hp/TgqkYqfvj93TbSPAEMBm+gPk+hw1w4X9lnYUj9Z/fbl3v/reJcTXQbwdXlhnYV559e39lW3e39/cTTzf0u3+hHnSX4xvYU1dgF2G22zH8WoBYN3kEew1nZWVL4x/210Zq7YSbT63XwGz+l1VCY8DZLszj/wAAAP//AwBQSwMEFAAGAAgAAAAhAOdldbjWAAAAuAEAACMAAAB4bC93b3Jrc2hlZXRzL19yZWxzL3NoZWV0MS54bWwucmVsc6yQyWoDMQxA74X+g9E91kwOoZR4cgmFXEP6AcLWLHS8YLlp8vd1KIUMBHrpUdvTk7a7i5/VmbNMMRhodQOKg41uCoOB99Pb6gWUFAqO5hjYwJUFdt3z0/bIM5U6JOOURFVKEANjKekVUezInkTHxKFW+pg9lRrmARPZDxoY102zwXzPgG7BVAdnIB9cC+p0TXXz3+zY95PlfbSfnkN5sALPft5n+qrHVSrlgYsBrdH95OSu3uraC/jYaf2fTjb6m64sjH6Tra7/u2ng4t/dNwAAAP//AwBQSwMEFAAGAAgAAAAhABNQVm3mBAAARxAAABgAAAB4bC93b3Jrc2hlZXRzL3NoZWV0Mi54bWyMWN1vo0YQf6/U/wHx1D7EsBiDbdk+BVDUky5q1OvdPWO8tlGAdYEkjk793zv7AewOtpuXGM9vmPnNx854s/p0LgvrldZNzqq1TSaubdEqY7u8Oqztb38/3M1tq2nTapcWrKJr+5029qfNr7+s3lj93BwpbS2wUDVr+9i2p6XjNNmRlmkzYSdaAbJndZm28LU+OM2ppulOvFQWjue6gVOmeWVLC8v6IzbYfp9nNGHZS0mrVhqpaZG2wL855qems1ZmHzFXpvXzy+kuY+UJTGzzIm/fhVHbKrPl50PF6nRbQNxn4qdZZ1t8GZkv86xmDdu3EzDnSKLjmBfOwgFLm9Uuhwh42q2a7tf2PVkmHrGdzUok6HtO3xrt2eL53jL2zIHPu7XtgomGFjTjkVspfLzSmBbF2n5YQMn+EUbhEQw6vUX9ubP+ICr0VFvbtKExK37ku/YIrQCdsKP79KVo/2Jvf9D8cGxB6kMOeCqWu/eENhnUgFPpWCdpm25WNXuzoJgEaJxS3hpk6QPbjAvvuRQkHn9HSCIlmdoW2GpA8XXjrZxX4JoplbhX6V5KpGQmwgN/vVPvolMuNZ0qCYTTO50ipxdUfFMlkSrBiAXEooVu8cx58z4FHAU2M833zDQcKZVAUwlMlfj/VRKpEo7oQdQava4yXIpoEdNnpFRCUaTpbGHCsQHPXVTFRMEE3t6LtB/Tmu5s2f+Jv0x44+aitb9+e/wt8pex//vK2fOOICQYyDh6xSGNWjA41xxFQYUm60ipqKBwmg2UTHEHKHgUk4wD2hWoh27v0WAO1cXMfa/vEo4i5vPejjw5SkUy9zzELTZgP0BwouBb1IP54NKgHt6kzlFEHbVKpFQU9cGLCCw20Bk6mIlCbxGfX2kWvs2GmYSbhaOINxlqJ3OudCTxAKGxgRIPM1fwLeZkPrxkpJwfjuvUOYqpDzmQ1JWOpE4QGhuohyoijibYv8V8OtTYIM43ica8GzdCvLbn2iLgimtbzCvZB0pnkCRKIveaPgaA2kUvclHoXqRksBmLV3W/iS4xY+ETf6hCH4tcBLoXKdG9YEkCS7CP1/TCB/cFL2rk67tTieCj32MEzd2Y9ErD+pSi8f7kC/6SazW7dddKBB+966F1Vf0u6OAxJDyu7fES5QtSo4IPq4BRy+M12unAqOs54gH/AZ1E6YhqmpXiQ/RCpdRshQh6v+i8RUTpyOM4m46qZuCBN5wukduke5//ELy1HwkflwPFURrVNNWp4g0pTECq1dBDWY5NmLgITzpcMb22Dgmfjoiotg8FjOqNplTU6UiiUzKqtTGfpyHKedK9L5le3X7kwizWmV4Yxqh6kTDRp3SKUhabsI/iSDpY8ry27Dxz8OLKCxgldLTuOiWZ0QUiEpvwHDVO0sGq8tdWG9x7RpXXfi8LGBPFx6lTkkQ9vJhNmKBy8JuX2J+S6GiTyRuUvN2c0gN9TOtDXjVWQfdwvt1JCKenljck+aVlJyBsW1vWtqwUj0e4+1K4AbkTUN4z1nZfYCjTc/ulacWn9VLDT+Cfge+6Xjgld/dB5N7N+B8vCN27MPRIFMbuInDdf7v7aHn+2GW0TDOHnjMqLt9zefnerMrz8unLd+uR7eCeCy3zZ0WfIEbx/ONrlvLrr7jiwbvAkf8VZJ3+XwCb/wAAAP//AwBQSwMEFAAGAAgAAAAhAPtipW2UBgAApxsAABMAAAB4bC90aGVtZS90aGVtZTEueG1s7FlPb9s2FL8P2HcgdG9tJ7YbB3WK2LGbrU0bxG6HHmmZllhTokDSSX0b2uOAAcO6YZcBu+0wbCvQArt0nyZbh60D+hX2SEqyGMtL0gYb1tWHRCJ/fP/f4yN19dqDiKFDIiTlcdurXa56iMQ+H9M4aHt3hv1LGx6SCsdjzHhM2t6cSO/a1vvvXcWbKiQRQbA+lpu47YVKJZuVivRhGMvLPCExzE24iLCCVxFUxgIfAd2IVdaq1WYlwjT2UIwjIHt7MqE+QUNN0tvKiPcYvMZK6gGfiYEmTZwVBjue1jRCzmWXCXSIWdsDPmN+NCQPlIcYlgom2l7V/LzK1tUK3kwXMbVibWFd3/zSdemC8XTN8BTBKGda69dbV3Zy+gbA1DKu1+t1e7WcngFg3wdNrSxFmvX+Rq2T0SyA7OMy7W61Ua27+AL99SWZW51Op9FKZbFEDcg+1pfwG9VmfXvNwRuQxTeW8PXOdrfbdPAGZPHNJXz/SqtZd/EGFDIaT5fQ2qH9fko9h0w42y2FbwB8o5rCFyiIhjy6NIsJj9WqWIvwfS76ANBAhhWNkZonZIJ9iOIujkaCYs0AbxJcmLFDvlwa0ryQ9AVNVNv7MMGQEQt6r55//+r5U/Tq+ZPjh8+OH/50/OjR8cMfLS1n4S6Og+LCl99+9ufXH6M/nn7z8vEX5XhZxP/6wye//Px5ORAyaCHRiy+f/PbsyYuvPv39u8cl8G2BR0X4kEZEolvkCB3wCHQzhnElJyNxvhXDEFNnBQ6Bdgnpngod4K05ZmW4DnGNd1dA8SgDXp/dd2QdhGKmaAnnG2HkAPc4Zx0uSg1wQ/MqWHg4i4Ny5mJWxB1gfFjGu4tjx7W9WQJVMwtKx/bdkDhi7jMcKxyQmCik5/iUkBLt7lHq2HWP+oJLPlHoHkUdTEtNMqQjJ5AWi3ZpBH6Zl+kMrnZss3cXdTgr03qHHLpISAjMSoQfEuaY8TqeKRyVkRziiBUNfhOrsEzIwVz4RVxPKvB0QBhHvTGRsmzNbQH6Fpx+A0O9KnX7HptHLlIoOi2jeRNzXkTu8Gk3xFFShh3QOCxiP5BTCFGM9rkqg+9xN0P0O/gBxyvdfZcSx92nF4I7NHBEWgSInpmJEl9eJ9yJ38GcTTAxVQZKulOpIxr/XdlmFOq25fCubLe9bdjEypJn90SxXoX7D5boHTyL9wlkxfIW9a5Cv6vQ3ltfoVfl8sXX5UUphiqtGxLba5vOO1rZeE8oYwM1Z+SmNL23hA1o3IdBvc4cOkl+EEtCeNSZDAwcXCCwWYMEVx9RFQ5CnEDfXvM0kUCmpAOJEi7hvGiGS2lrPPT+yp42G/ocYiuHxGqPj+3wuh7Ojhs5GSNVYM60GaN1TeCszNavpERBt9dhVtNCnZlbzYhmiqLDLVdZm9icy8HkuWowmFsTOhsE/RBYuQnHfs0azjuYkbG2u/VR5hbjhYt0kQzxmKQ+0nov+6hmnJTFypIiWg8bDPrseIrVCtxamuwbcDuLk4rs6ivYZd57Ey9lEbzwElA7mY4sLiYni9FR22s11hoe8nHS9iZwVIbHKAGvS91MYhbAfZOvhA37U5PZZPnCm61MMTcJanD7Ye2+pLBTBxIh1Q6WoQ0NM5WGAIs1Jyv/WgPMelEKlFSjs0mxvgHB8K9JAXZ0XUsmE+KrorMLI9p29jUtpXymiBiE4yM0YjNxgMH9OlRBnzGVcONhKoJ+ges5bW0z5RbnNOmKl2IGZ8cxS0KclludolkmW7gpSLkM5q0gHuhWKrtR7vyqmJS/IFWKYfw/U0XvJ3AFsT7WHvDhdlhgpDOl7XGhQg5VKAmp3xfQOJjaAdECV7wwDUEFd9TmvyCH+r/NOUvDpDWcJNUBDZCgsB+pUBCyD2XJRN8pxGrp3mVJspSQiaiCuDKxYo/IIWFDXQObem/3UAihbqpJWgYM7mT8ue9pBo0C3eQU882pZPnea3Pgn+58bDKDUm4dNg1NZv9cxLw9WOyqdr1Znu29RUX0xKLNqmdZAcwKW0ErTfvXFOGcW62tWEsarzUy4cCLyxrDYN4QJXCRhPQf2P+o8Jn94KE31CE/gNqK4PuFJgZhA1F9yTYeSBdIOziCxskO2mDSpKxp09ZJWy3brC+40835njC2luws/j6nsfPmzGXn5OJFGju1sGNrO7bS1ODZkykKQ5PsIGMcY76UFT9m8dF9cPQOfDaYMSVNMMGnKoGhhx6YPIDktxzN0q2/AAAA//8DAFBLAwQUAAYACAAAACEAiEolte0DAABACQAAGAAAAHhsL3dvcmtzaGVldHMvc2hlZXQxLnhtbIxWXW+jOBR9X2n/A+K9YAwYiJKMmqTVVprRVtPdmWcHnMQqYNZ2mmRX+9/nGgcISWfUPBDje3zuuR+2mX46VqXzxqTiop65gYdch9W5KHi9nbl///V4l7qO0rQuaClqNnNPTLmf5r//Nj0I+ap2jGkHGGo1c3daNxPfV/mOVVR5omE1WDZCVlTDq9z6qpGMFu2iqvQxQsSvKK9dyzCRH+EQmw3P2Urk+4rV2pJIVlIN+tWON6pjOxYf4iskPUCsnZ4LiStr6fmC6EZfxXMplNhoLxeVb6XdRpn52SjOKr8heidZFZWv++YOiBsIbs1Lrk9tuK5T5ZOnbS0kXZdQkWMQ0fxCJb2l/7hOYJpPCw65NQ3hSLaZuffB5CF2/fm0rdw3zg7qYuxoun5hJcs1K6CBXMc0xlqIVwN8gikEjKoFGEaaa/7GlqwsZ+4DBrj6p3VixuDC731cjjt/j20zPUtnTRVbivI7L/QOnELTFmxD96UeJlMvDTEKAxz3xq/i8Afj252GJRFkzCRuUpxWTOXQS0YpKMhFCe7g6VTc7AhINz3awKw3TDxCIkQMsdInUwIArZnSj9wwu06+V1pUnbgzqaXDZzr4P1i6S51nunC0JDwvgf/zEhx7wZUCMH5QAQTeBgTqf64AjxSQLgckTGH5z5fZEtoMtoVcUU3nUykODmxGU+yGmqMimIB3UwacQnPkxnhvrDAB/DCvYPptjqb+G7RBfoYszhBY20OCcIxZvoeJeowPUno9UINrPUHc6zFW0AOtNTiLe6JW88Jigsyq9ZIkDaMAOg7hJMqgRGP48gpOgjRDJE2CgKA4RVEwhq8sPGpLYVL0cDExCgSK/4tAjBUCgcQMgZCxq4XFBKYakHaPYIzjLCMRSZIsw1E2hi+v4CbWlKQYBWGEMYqHNI1kQml/IdNYQSbEOMhMxn4XFjPIhAwSkmQ4CQOEUnyd7yt4bKIKEcqSDMVZnA5JGMk023po0649zSzIg8gHeemVPIsJuyQmBF3+hqy0zbMco2MMIVz8cM9txdmD0e6nhm7ZFyq3vFZOyTYgCHmJ60h7tLVjLZp2FpyshYbTqHvbwQ3MoJmQB6FshNDdCxx9hveF6X3jCMnhRGwv1ZnbCKkl5Rq2LMz/K8BQrho+cyOcRRlJcAZFg08IzfNbA9CWbEvz0/k6deSEFzNXPhXtYcGO+rPS8yn8O3sJnP/BwQbbJwzu7skC3cXmgUmC7pIEB4tkiTLI6v/ddVfByXz13fHuXVfR3GfHnLVfHam9jefT6jh5/vzN+SIKOMNho/9Zs2dIQTv+/gLBtENzK4E8+2zF+v23z/wHAAAA//8DAFBLAwQUAAYACAAAACEAjNkOU2EBAAAjAwAAFAAAAHhsL3NoYXJlZFN0cmluZ3MueG1sjFLRSsNAEHwX/Iflnq1pFUQliUixIpQiWBEfj2SbHF52Y3YT7d97bRUlbdXHnd3Z25m5+Oq98tBhI44pMaPjoQGkjHNHRWIe55PBuQFRS7n1TJiYJYq5Sg8PYhGFwCVJTKlaX0aRZCVWVo65RgqdBTeV1VA2RSR1gzaXElErH50Mh2dRZR0ZyLglTczpyEBL7rXF8QYYXZg0FpfGmk6xQw+8gDvq2HdYIWkcaRpHq/5mZs5qfR+8zmyOlcvA5p2TIAgEZaUTBnDL1odSNcB93oz7yDNKH3oUXN00x6wk9lws+wNrIX3wyeW48QJawSOw3gcLGvxzTsGjDY6HDP5FIKbBrsVTVznFPOzxy9UJ/YdnDLpX0m+Gjm2D2EDtLdEOT9d+P+z2+5N6v4d689q6ug43z2znCqvcbIUx5TeYtOi3GuMSsxe4ocLRdoRfXnxnCCHVn9uj8MnTDwAAAP//AwBQSwMEFAAGAAgAAAAhAMswNldeAgAAeQQAABsAAAB4bC9kcmF3aW5ncy92bWxEcmF3aW5nMS52bWyMVE1v2zAMve9XCOohlxj+KLoCqm2g6NDbNmDdx7FQLCVWK4mGxThOf/0o202bDRhmxIpEPpF8j4TL0VlGrw9iqPi+9yI0rXYyJM40PQTYYtKAE4Oz/MMChH8BYbs1jRbz3+nK+B9X9NjotySOymkRO5GmTjY/nX2Y6vrRG15/YCWI0MpOW3mEPbJB6BErrpXB6I1uo5zszhxMSZQVz3kaA6RnEepymAPisdPMqIo/jhk9j1hkBWcNQK+CedEVL/KPWbaeVs4oRkd5I4aydhLbirtsndkFMePO1mzUc4mUEHt41uwJjA94tBTcGdT9VB+jgmI8tuulMtrjRBeeK44xbQPe6wZjtRXvabeQesfiROk9nZBnxTVn872LM45zCasOgkEDXshNALtHfUPMnOx3xidWb1Hk11cd3iwWhE5cXtL5YBS2Is8z2rfa7FoURU77l8R4pUeRxzCDCWZjrMGjaI1S2t+4AMmhl10yZRcYL67Y1ljbgIW+4hdbenQeOZNKGh0oYiz3CK8qRjA1iNDFGzy2OEpIqik4MPCzbpvQ7HtN3Z31Oon8h6AevD51AWm0NjCyRZ9YsTJRchIpkRZFLGYV87FSmeEVF6+R2+y8iLKt6jIl71RWOogl6HQcxZ2NHf5E48m+bp4o9Pepr18A51lh5Sg+w6B/GWzvtLVhohetDzSTf1tvfdNCP5XE8jXLr+hdM1qLNbuml355XqajeAekYLdE5J7UrO+lDXryv1omdqP4Boe6iI64WWx3NCXO11k0L/uofTydaBG2JNbTDJMQ9L2pfwMAAP//AwBQSwMEFAAGAAgAAAAhAJfUepI1AQAAEg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X0vDMBTF3wW/Q8l7m2YdY4S2A5Uh4kBwovgWkrs22PwhiXb79mbdrJX5eDnn/jjn3nK1V13yBc5LoytEshwloLkRUjcVetmu0yVKfGBasM5oqNABPFrV11clt5QbB0/OWHBBgk8iSXvKbYXaECzF2PMWFPNZdOgo7oxTLMTRNdgy/sEawLM8X2AFgQkWGD4CUzsS0Rkp+Ii0n64bAIJj6ECBDh6TjOBfbwCn/L8LgzJxKhkONnY6x52yBT+Jo3vv5Wjs+z7riyFGzE/w2+bxeaiaSn28FQdUl4JT7oAF4+oST4d4uI75sIk33kkQN4f6wWgWWqaTe+MiAKQu8aUrEocCVJ03k5iJnhr8SK/F7d12jepZThZpPk/zxZYUtJhTsnw/pvgLiMEuvlh/AwAA//8DAFBLAwQUAAYACAAAACEAAH9xp/8AAAB0AQAAEAAAAHhsL2NvbW1lbnRzMS54bWxUkM1qwzAQhO+FvoPYe7NOCiUtlkIuKYUeekgfQLXXsUA/RqsEp0/fdR0XCkJoPo1mFtW7MXh1ocwuRQ3rVQWKYpNaF08aPo+Hhy0oLja21qdIGq7EsDP3d3WTQqBYWElAZA19KcMLIjc9BcurNFCUmy7lYIvIfEIeMtmWe6ISPG6q6gmDdRFMbc+lT5mXA5oa/9Ct591xMUupytRp2D+Cmm1vrYZKcgqNYsqyPmT7khz+VhfrNTyDiCb5lJWLLY0kL7brCeZDimU2HW2fgp1gZ4Pz15luJoC/icW85nQeVEvcZDcU+TOuUSpR6nBux9vAAv6Nvig2PwAAAP//AwBQSwMEFAAGAAgAAAAhALJgHaCNAQAAKA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JBT+MwEIXvSPyHyHfqtKAVqhwjBKw4LKJSC5wHZ9JYuLblGaJ2fz1Oo9J097DS3mbmPT1/HlvdbDeu6DCRDb4S00kpCvQm1NavK/Gy+nlxLQpi8DW44LESOyRxo8/P1CKFiIktUpEjPFWiZY5zKcm0uAGaZNlnpQlpA5zbtJahaazB+2A+N+hZzsryh8Qto6+xvojfgWJInHf8v6F1MD0fva52MQNrdRujswY431I/WZMChYaLJzDWc6C2eNgadEqObSpzLtF8Jss7XSo5btXSgMO7fIRuwBEqeRyoR4R+fQuwibTqeN6h4ZAKsr/zAmeieAfCHqwSHSQLnjNgbxuafe0icdJvIX1Qi8ikZDYMw3059o5re6Vne0MuTo19wACShVPElWWH9NwsIPG/iPcMA++AcxtdSJbugWEM+Y277PmnY+mE5I+zf1n/QS9xFXIeHnZ7OlTLFhLW+TkO+nGgHvNak+tD7lrwa6wPnr+F/k+8Dh9fT68m5WWZH3k0U/L4xfUXAAAA//8DAFBLAwQUAAYACAAAACEAuja/96cAAAD+AAAAEAAAAHhsL2NhbGNDaGFpbi54bWxczk0KwjAQhuG94B3C7DW1aP2haReKJ9ADhHRsCsmkZILo7Q2CFbqcZ+DjrduXd+KJkYdACjbrAgSSCd1AvYL77bo6gOCkqdMuECp4I0PbLBe10c6crR5I5AViBTal8SQlG4te8zqMSPnzCNHrlM/YSx4j6o4tYvJOlkVRSZ8HoKmNiAouRxCDghKEyyUgf5wLvjzBfg7VHHZz2P5BTuXNBwAA//8DAFBLAQItABQABgAIAAAAIQBJEqz3jAEAAHgGAAATAAAAAAAAAAAAAAAAAAAAAABbQ29udGVudF9UeXBlc10ueG1sUEsBAi0AFAAGAAgAAAAhAFB8TsH2AAAATAIAAAsAAAAAAAAAAAAAAAAAxQMAAF9yZWxzLy5yZWxzUEsBAi0AFAAGAAgAAAAhAABBmPgJAQAAzAMAABoAAAAAAAAAAAAAAAAA7AYAAHhsL19yZWxzL3dvcmtib29rLnhtbC5yZWxzUEsBAi0AFAAGAAgAAAAhAHb/IZbPAQAA/QIAAA8AAAAAAAAAAAAAAAAANQkAAHhsL3dvcmtib29rLnhtbFBLAQItABQABgAIAAAAIQA/g93lKQgAAMt5AAANAAAAAAAAAAAAAAAAADELAAB4bC9zdHlsZXMueG1sUEsBAi0AFAAGAAgAAAAhAOdldbjWAAAAuAEAACMAAAAAAAAAAAAAAAAAhRMAAHhsL3dvcmtzaGVldHMvX3JlbHMvc2hlZXQxLnhtbC5yZWxzUEsBAi0AFAAGAAgAAAAhABNQVm3mBAAARxAAABgAAAAAAAAAAAAAAAAAnBQAAHhsL3dvcmtzaGVldHMvc2hlZXQyLnhtbFBLAQItABQABgAIAAAAIQD7YqVtlAYAAKcbAAATAAAAAAAAAAAAAAAAALgZAAB4bC90aGVtZS90aGVtZTEueG1sUEsBAi0AFAAGAAgAAAAhAIhKJbXtAwAAQAkAABgAAAAAAAAAAAAAAAAAfSAAAHhsL3dvcmtzaGVldHMvc2hlZXQxLnhtbFBLAQItABQABgAIAAAAIQCM2Q5TYQEAACMDAAAUAAAAAAAAAAAAAAAAAKAkAAB4bC9zaGFyZWRTdHJpbmdzLnhtbFBLAQItABQABgAIAAAAIQDLMDZXXgIAAHkEAAAbAAAAAAAAAAAAAAAAADMmAAB4bC9kcmF3aW5ncy92bWxEcmF3aW5nMS52bWxQSwECLQAUAAYACAAAACEAl9R6kjUBAAASAgAAEQAAAAAAAAAAAAAAAADKKAAAZG9jUHJvcHMvY29yZS54bWxQSwECLQAUAAYACAAAACEAAH9xp/8AAAB0AQAAEAAAAAAAAAAAAAAAAAA2KwAAeGwvY29tbWVudHMxLnhtbFBLAQItABQABgAIAAAAIQCyYB2gjQEAACgDAAAQAAAAAAAAAAAAAAAAAGMsAABkb2NQcm9wcy9hcHAueG1sUEsBAi0AFAAGAAgAAAAhALo2v/enAAAA/gAAABAAAAAAAAAAAAAAAAAAJi8AAHhsL2NhbGNDaGFpbi54bWxQSwUGAAAAAA8ADwDcAwAA+y8AAAAABSQAAAAfQXBsb3Jpcy5CYXNlLk9iamVjdHMuVGV4dEZvcm1hdAwAAAASRGF0YU9iamVjdCttUGFyZW50FURhdGFPYmplY3QrbUNvbnRhaW5lcgltRm9udEJvbGQLbUZvbnRJdGFsaWMObUZvbnRVbmRlcmxpbmUJbUZvbnRTaXplCW1Gb250TmFtZRBtRm9udEZhckVhc3ROYW1lCm1Gb250Q29sb3IJbU1vZGlmaWVkEm1BdXRvQ29sb3JEaXNhYmxlZAptQXV0b0NvbG9yAgIAAAAAAQEEAAAEAQEBCxpBcGxvcmlzLkJhc2UuT2JqZWN0cy5Db2xvcgMAAAABARpBcGxvcmlzLkJhc2UuT2JqZWN0cy5Db2xvcgMAAAADAAAACgoAAAAAAEBBBnwAAAAFQXJpYWwGfQAAAAYrbW4tZWEJfgAAAAEACX8AAAAHJQAAAAABAAAAEQAAAAQUU3lzdGVtLkRyYXdpbmcuQ29sb3IEAAAABYAAAAAUU3lzdGVtLkRyYXdpbmcuQ29sb3IEAAAABXZhbHVlBXN0YXRlCmtub3duQ29sb3IEbmFtZQAAAAEJBwcEAAAAAAAAAAAAAAAAAAAACgGBAAAAgAAAAAAAAP//////AgAAAAoBggAAAIAAAAD//////////wIAAAAKAYMAAACAAAAATkEi//////8CAAAACgGEAAAAgAAAAN7c2///////AgAAAAoBhQAAAIAAAAB+aT///////wIAAAAKAYYAAACAAAAAjIRy//////8CAAAACgGHAAAAgAAAACUh7f//////AgAAAAoBiAAAAIAAAAA0O0b//////wIAAAAKAYkAAACAAAAAdJjD//////8CAAAACgGKAAAAgAAAAB6U9///////AgAAAAoBiwAAAIAAAAAelPf//////wIAAAAKAYwAAACAAAAAJSHt//////8CAAAACgGNAAAAgAAAAAAAAP//////AgAAAAoBjgAAAIAAAAD//////////wIAAAAKAY8AAACAAAAATkEi//////8CAAAACgGQAAAAgAAAAN7c2///////AgAAAAoEJgAAAJgBU3lzdGVtLkNvbGxlY3Rpb25zLkdlbmVyaWMuTGlzdGAxW1tBcGxvcmlzLkJhc2UuT2JqZWN0cy5EYXRhT2JqZWN0LCBBcGxvcmlzLkJhc2UsIFZlcnNpb249NC4wLjAuMTQ4NiwgQ3VsdHVyZT1uZXV0cmFsLCBQdWJsaWNLZXlUb2tlbj0xNmZjMTNhMjI2YzBlOTUxXV0DAAAABl9pdGVtcwVfc2l6ZQhfdmVyc2lvbgQAACFBcGxvcmlzLkJhc2UuT2JqZWN0cy5EYXRhT2JqZWN0W10DAAAACAgJkQAAAA0AAAAXAAAABCcAAACVAVN5c3RlbS5Db2xsZWN0aW9ucy5HZW5lcmljLkxpc3RgMVtbQXBsb3Jpcy5CYXNlLlVJLlZpc3VhbE9iamVjdCwgQXBsb3Jpcy5CYXNlLCBWZXJzaW9uPTQuMC4wLjE0ODYsIEN1bHR1cmU9bmV1dHJhbCwgUHVibGljS2V5VG9rZW49MTZmYzEzYTIyNmMwZTk1MV1dAwAAAAZfaXRlbXMFX3NpemUIX3ZlcnNpb24EAAAeQXBsb3Jpcy5CYXNlLlVJLlZpc3VhbE9iamVjdFtdAwAAAAgICZIAAAABAAAAAQAAAAUpAAAAmwFBcGxvcmlzLkJhc2UuT2JqZWN0cy5EYXRhT2JqZWN0Q29sbGVjdGlvbmAxW1tBcGxvcmlzLkNoYXJ0LlZhbHVlTGluZS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VmFsdWVMaW5lLCBBcGxvcmlzLkNoYXJ0LCBWZXJzaW9uPTQuMC4wLjE0ODYsIEN1bHR1cmU9bmV1dHJhbCwgUHVibGljS2V5VG9rZW49MTZmYzEzYTIyNmMwZTk1MV1dAwAAAJEBU3lzdGVtLkNvbGxlY3Rpb25zLkdlbmVyaWMuTGlzdGAxW1tBcGxvcmlzLkNoYXJ0LlZhbHVlTGluZS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TAAAACZQAAAAJBgAAAAkBAAAACZUAAAAFKgAAAJsBQXBsb3Jpcy5CYXNlLk9iamVjdHMuRGF0YU9iamVjdENvbGxlY3Rpb25gMVtbQXBsb3Jpcy5DaGFydC5BeGlzQnJlYWs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kF4aXNCcmVhaywgQXBsb3Jpcy5DaGFydCwgVmVyc2lvbj00LjAuMC4xNDg2LCBDdWx0dXJlPW5ldXRyYWwsIFB1YmxpY0tleVRva2VuPTE2ZmMxM2EyMjZjMGU5NTFdXQMAAACRAVN5c3RlbS5Db2xsZWN0aW9ucy5HZW5lcmljLkxpc3RgMVtbQXBsb3Jpcy5DaGFydC5BeGlzQnJlYW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lgAAAAmXAAAACQYAAAAJAQAAAAmYAAAABS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kAAAADAAAACWoAAAAJawAAAAlsAAAAAQAAAAAKCgltAAAAAAAAAAoAAAAAAAAAAAUs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pAAAAAwAAAAlqAAAACWsAAAAJbAAAAAEAAAAACgoJbQAAAAAAAAAKAAAAAAAAAAAFL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gAAAAkBAAAAAAAAAAAJaQAAAAMAAAAJagAAAAlrAAAACWwAAAABAAAAAAoGmQAAAAElCW0AAAABAAAACgAAAAAAAAAABS4AAACaAUFwbG9yaXMuQmFzZS5PYmplY3RzLkRhdGFPYmplY3RDb2xsZWN0aW9uYDFbW0FwbG9yaXMuQ2hhcnQuVGlja01hcmssIEFwbG9yaXMuQ2hhcnQsIFZlcnNpb249NC4wLjAuMTQ4Ni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lRpY2tNYXJrLCBBcGxvcmlzLkNoYXJ0LCBWZXJzaW9uPTQuMC4wLjE0ODYsIEN1bHR1cmU9bmV1dHJhbCwgUHVibGljS2V5VG9rZW49MTZmYzEzYTIyNmMwZTk1MV1dAwAAAJABU3lzdGVtLkNvbGxlY3Rpb25zLkdlbmVyaWMuTGlzdGAxW1tBcGxvcmlzLkNoYXJ0LlRpY2tNYXJ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oAAAAJmwAAAAkGAAAACQEAAAAJnAAAAAUxAAAAGkFwbG9yaXMuQmFzZS5VSS5WaXN1YWxMaW5lDQAAAAttU3RhcnRQb2ludAltRW5kUG9pbnQLbUxpbmVGb3JtYX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AAAAAAcCAAADABVTeXN0ZW0uRHJhd2luZy5Qb2ludEYEAAAAFVN5c3RlbS5EcmF3aW5nLlBvaW50RgQAAAAfQXBsb3Jpcy5CYXNlLk9iamVjdHMuTGluZUZvcm1hdAMAAAAICAEBCAEBD1N5c3RlbS5JbnRQdHJbXQEDAAAAAZ0AAAAiAAAAuk4YQoFkqEMBngAAACIAAADgdxxEgWSoQwmfAAAAuAEAAP////8BAQoJoAAAAAEACgAHMgAAAAABAAAABQAAAAQVU3lzdGVtLkRyYXdpbmcuUG9pbnRGBAAAAAGhAAAAIgAAAOA3HUSBZKhDAaIAAAAiAAAAuk4YQte5sEMBowAAACIAAADM/KVD17mwQwGkAAAAIgAAAOB3HETXubBDAaUAAAAiAAAA4DcdRIHkqkMHMwAAAAABAAAABQAAAAQXQXBsb3Jpcy5CYXNlLkFuY2hvck1vZGUDAAAABaYAAAAXQXBsb3Jpcy5CYXNlLkFuY2hvck1vZGUBAAAAB3ZhbHVlX18ACAMAAAAEAAAAAacAAACmAAAABQAAAAGoAAAApgAAAAMAAAABqQAAAKYAAAAGAAAAAaoAAACmAAAABQAAAA80AAAABQAAAAEAAAAAAQU1AAAAFUFwbG9yaXMuQmFzZS5VSS5MYWJlbBwAAAAPbUFuY2hvclBvc2l0aW9uC21BbmNob3JNb2RlD21BZGRJbm5lck1hcmdpbhZtT2Zmc2V0RGlyZWN0aW9uQW5jaG9yF21PZmZzZXRPcnRob2dvbmFsQW5jaG9yC21UZXh0Rm9ybWF0CW1Sb3RhdGlvbgptQmFja0NvbG9yDW1Vc2VCYWNrQ29sb3IObVVzZUJhY2tncm91bmQObUxpbmVBbGlnbm1lbnQJbVRleHRTaXplD21MYWJlbFJlY3RhbmdsZRVtSW5uZXJNYXJnaW5MZWZ0UmlnaHQFbVRleHQKbVZhcmlhYmxlcw1tVmFyaWFibGVMaXN0Dm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AAAABAAEAAAEBAQAAQMDAQAAAAAHAgAAAwA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wAAAAGrAAAAIgAAAOA3HUSBZKhDAawAAACmAAAABAAAAAAAAAAAAAAAAAmtAAAAAAAAAAmuAAAAAAAFrwAAACpBcGxvcmlzLkJhc2UuVUkuTGFiZWwrTGluZUFsaWdubWVudE9wdGlvbnMBAAAAB3ZhbHVlX18ACAMAAAAAAAAAAbAAAAB4AAAAAAAAAAAAAAABsQAAABUAAAAAAAAAAAAAAAAAAAAAAAAAAAAAAAayAAAADUNhdGVnb3J5IGF4aXMKCbMAAAAJsgAAAOQCAAD/////AAEKCbQAAAABAAoAATYAAAAmAAAACbUAAAAGAAAABgAAAAE3AAAAJwAAAAm2AAAAAgAAAAIAAAABOQAAACkAAAAKCbcAAAAJuAAAAAkHAAAACQEAAAAJuQAAAAE6AAAAKgAAAAoJugAAAAm7AAAACQcAAAAJAQAAAAm8AAAABTs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kAAAADAAAACWoAAAAJawAAAAlsAAAAAQAAAAAKBr0AAAABJQltAAAAAAAAAAoAAAAAAAAAAAU8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pAAAAAwAAAAlqAAAACWsAAAAJbAAAAAEAAAAACgm9AAAACW0AAAAAAAAACgAAAAAAAAAABT0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EAAAABCWkAAAADAAAACWoAAAAJawAAAAlsAAAAAQAAAAAKCZkAAAAJbQAAAAEAAAAKAAAAAAAAAAABPgAAAC4AAAAKCb4AAAAJvwAAAAkHAAAACQEAAAAJwAAAAAFBAAAAMQAAAAHBAAAAIgAAALpOGEKBZKhDAcIAAAAiAAAAuk4YQjTsw0EJwwAAALgBAAD/////AQEKCcQAAAABAAoAB0IAAAAAAQAAAAUAAAAEFVN5c3RlbS5EcmF3aW5nLlBvaW50RgQAAAABxQAAACIAAAC6ThhCikGVQQHGAAAAIgAAADIVJEGBZKhDAccAAAAiAAAAMhUkQUSjNEMByAAAACIAAAAyFSRBNOzDQQHJAAAAIgAAADIVJEGKQZVBB0MAAAAAAQAAAAUAAAAEF0FwbG9yaXMuQmFzZS5BbmNob3JNb2RlAwAAAAHKAAAApgAAAAEAAAABywAAAKYAAAAIAAAAAcwAAACmAAAAAgAAAAHNAAAApgAAAAYAAAABzgAAAKYAAAAHAAAAD0QAAAAFAAAAAQAAAAABAUUAAAA1AAAAAc8AAAAiAAAAuk4YQopBlUEB0AAAAKYAAAABAAAAAAAAAAAAAAAACdEAAAAAAAAACdIAAAAAAAHTAAAArwAAAAAAAAAB1AAAAHgAAAAAADBBAABgQQHVAAAAFQAAAAAAAAAAAAAAAAAAAAAAAABeutk/BtYAAAABJQoJ1wAAAAnWAAAA5AIAAP////8AAQoJ2AAAAAEACgABRgAAACYAAAAJ2QAAAAgAAAAIAAAAAUcAAAAnAAAACdoAAAACAAAAAgAAAAdIAAAAAAEAAAAEAAAABC5BcGxvcmlzLkNoYXJ0LkNvbHVtbk9yaWVudGVkQ2hhcnQrVW51c2VkU2VyaWVzAgAAAAXbAAAALkFwbG9yaXMuQ2hhcnQuQ29sdW1uT3JpZW50ZWRDaGFydCtVbnVzZWRTZXJpZXMDAAAACEV4Y2VsUm93A1JvdwtEZXNjcmlwdGlvbgAEAggaQXBsb3Jpcy5DaGFydC5EYXRhLkRhdGFSb3cCAAAAAgAAAAAAAAAKCgHcAAAA2wAAAAAAAAAKCgHdAAAA2wAAAAAAAAAKCgHeAAAA2wAAAAAAAAAKCgRJAAAAlwFTeXN0ZW0uQ29sbGVjdGlvbnMuR2VuZXJpYy5MaXN0YDFbW0FwbG9yaXMuQ2hhcnQuQ2hhcnREYXRhU2VyaWVzLCBBcGxvcmlzLkNoYXJ0LCBWZXJzaW9uPTQuMC4wLjE0ODYsIEN1bHR1cmU9bmV1dHJhbCwgUHVibGljS2V5VG9rZW49MTZmYzEzYTIyNmMwZTk1MV1dAwAAAAZfaXRlbXMFX3NpemUIX3ZlcnNpb24EAAAfQXBsb3Jpcy5DaGFydC5DaGFydERhdGFTZXJpZXNbXQIAAAAICAnfAAAABAAAAD4BAAABSgAAACYAAAAJ4AAAAAQAAACKAAAAAUsAAAAnAAAACeEAAAAAAAAAAAAAAARMAAAAnAFTeXN0ZW0uQ29sbGVjdGlvbnMuR2VuZXJpYy5MaXN0YDFbW0FwbG9yaXMuQ2hhcnQuQW5ub3RhdGlvbkRhdGFTZXJpZXMsIEFwbG9yaXMuQ2hhcnQsIFZlcnNpb249NC4wLjAuMTQ4NiwgQ3VsdHVyZT1uZXV0cmFsLCBQdWJsaWNLZXlUb2tlbj0xNmZjMTNhMjI2YzBlOTUxXV0DAAAABl9pdGVtcwVfc2l6ZQhfdmVyc2lvbgQAACRBcGxvcmlzLkNoYXJ0LkFubm90YXRpb25EYXRhU2VyaWVzW10CAAAACAgJ4gAAAAAAAAAAAAAAAU0AAAAmAAAACeMAAAAAAAAAAAAAAAFOAAAAJwAAAAnhAAAAAAAAAAAAAAAETwAAAJcBU3lzdGVtLkNvbGxlY3Rpb25zLkdlbmVyaWMuTGlzdGAxW1tBcGxvcmlzLkNoYXJ0LkFubm90YXRpb25Hcm91cCwgQXBsb3Jpcy5DaGFydCwgVmVyc2lvbj00LjAuMC4xNDg2LCBDdWx0dXJlPW5ldXRyYWwsIFB1YmxpY0tleVRva2VuPTE2ZmMxM2EyMjZjMGU5NTFdXQMAAAAGX2l0ZW1zBV9zaXplCF92ZXJzaW9uBAAAH0FwbG9yaXMuQ2hhcnQuQW5ub3RhdGlvbkdyb3VwW10CAAAACAgJ5AAAAAAAAAAAAAAAAVAAAAAmAAAACeMAAAAAAAAAAAAAAAFRAAAAJwAAAAnhAAAAAAAAAAAAAAAEUgAAAJYBU3lzdGVtLkNvbGxlY3Rpb25zLkdlbmVyaWMuTGlzdGAxW1tBcGxvcmlzLkNoYXJ0LkNoYXJ0RGF0YUdyb3VwLCBBcGxvcmlzLkNoYXJ0LCBWZXJzaW9uPTQuMC4wLjE0ODYsIEN1bHR1cmU9bmV1dHJhbCwgUHVibGljS2V5VG9rZW49MTZmYzEzYTIyNmMwZTk1MV1dAwAAAAZfaXRlbXMFX3NpemUIX3ZlcnNpb24EAAAeQXBsb3Jpcy5DaGFydC5DaGFydERhdGFHcm91cFtdAgAAAAgICeUAAAACAAAALgAAAAFTAAAAJgAAAAnmAAAAAgAAABYAAAABVAAAACcAAAAJ4QAAAAAAAAAAAAAABFUAAACQAVN5c3RlbS5Db2xsZWN0aW9ucy5HZW5lcmljLkxpc3RgMVtbQXBsb3Jpcy5DaGFydC5EZWx0YUJhciwgQXBsb3Jpcy5DaGFydCwgVmVyc2lvbj00LjAuMC4xNDg2LCBDdWx0dXJlPW5ldXRyYWwsIFB1YmxpY0tleVRva2VuPTE2ZmMxM2EyMjZjMGU5NTFdXQMAAAAGX2l0ZW1zBV9zaXplCF92ZXJzaW9uBAAAGEFwbG9yaXMuQ2hhcnQuRGVsdGFCYXJbXQIAAAAICAnnAAAAAAAAAAAAAAABVgAAACYAAAAJ4wAAAAAAAAAAAAAAAVcAAAAnAAAACeEAAAAAAAAAAAAAAARYAAAAkwFTeXN0ZW0uQ29sbGVjdGlvbnMuR2VuZXJpYy5MaXN0YDFbW0FwbG9yaXMuQ2hhcnQuRGVsdGFCcmlkZ2UsIEFwbG9yaXMuQ2hhcnQsIFZlcnNpb249NC4wLjAuMTQ4NiwgQ3VsdHVyZT1uZXV0cmFsLCBQdWJsaWNLZXlUb2tlbj0xNmZjMTNhMjI2YzBlOTUxXV0DAAAABl9pdGVtcwVfc2l6ZQhfdmVyc2lvbgQAABtBcGxvcmlzLkNoYXJ0LkRlbHRhQnJpZGdlW10CAAAACAgJ6AAAAAAAAAAAAAAAAVkAAAAmAAAACeMAAAAAAAAAAAAAAAFaAAAAJwAAAAnhAAAAAAAAAAAAAAAEWwAAAJMBU3lzdGVtLkNvbGxlY3Rpb25zLkdlbmVyaWMuTGlzdGAxW1tBcGxvcmlzLkNoYXJ0Lkdyb3d0aEFycm93LCBBcGxvcmlzLkNoYXJ0LCBWZXJzaW9uPTQuMC4wLjE0ODYsIEN1bHR1cmU9bmV1dHJhbCwgUHVibGljS2V5VG9rZW49MTZmYzEzYTIyNmMwZTk1MV1dAwAAAAZfaXRlbXMFX3NpemUIX3ZlcnNpb24EAAAbQXBsb3Jpcy5DaGFydC5Hcm93dGhBcnJvd1tdAgAAAAgICekAAAAAAAAAAAAAAAFcAAAAJgAAAAnjAAAAAAAAAAAAAAABXQAAACcAAAAJ4QAAAAAAAAAAAAAABF4AAACaAVN5c3RlbS5Db2xsZWN0aW9ucy5HZW5lcmljLkxpc3RgMVtbQXBsb3Jpcy5DaGFydC5XYXRlcmZhbGxDb25uZWN0b3IsIEFwbG9yaXMuQ2hhcnQsIFZlcnNpb249NC4wLjAuMTQ4NiwgQ3VsdHVyZT1uZXV0cmFsLCBQdWJsaWNLZXlUb2tlbj0xNmZjMTNhMjI2YzBlOTUxXV0DAAAABl9pdGVtcwVfc2l6ZQhfdmVyc2lvbgQAACJBcGxvcmlzLkNoYXJ0LldhdGVyZmFsbENvbm5lY3RvcltdAgAAAAgICeoAAAAAAAAAAAAAAAFfAAAAJgAAAAnjAAAAAAAAAAAAAAABYAAAACcAAAAJ4QAAAAAAAAAAAAAABGEAAACYAVN5c3RlbS5Db2xsZWN0aW9ucy5HZW5lcmljLkxpc3RgMVtbQXBsb3Jpcy5DaGFydC5FbGVtZW50Q29ubmVjdG9yLCBBcGxvcmlzLkNoYXJ0LCBWZXJzaW9uPTQuMC4wLjE0ODYsIEN1bHR1cmU9bmV1dHJhbCwgUHVibGljS2V5VG9rZW49MTZmYzEzYTIyNmMwZTk1MV1dAwAAAAZfaXRlbXMFX3NpemUIX3ZlcnNpb24EAAAgQXBsb3Jpcy5DaGFydC5FbGVtZW50Q29ubmVjdG9yW10CAAAACAgJ6wAAAAAAAAAAAAAAAWIAAAAmAAAACeMAAAAAAAAAAAAAAAFjAAAAJwAAAAnhAAAAAAAAAAAAAAAFZAAAAK0BQXBsb3Jpcy5CYXNlLk9iamVjdHMuRGF0YU9iamVjdENvbGxlY3Rpb25gMVtbQXBsb3Jpcy5DaGFydC5Db2x1bW5PcmllbnRlZExlZ2VuZE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rAUFwbG9yaXMuQmFzZS5PYmplY3RzLlNvcnRhYmxlQ29sbGVjdGlvbmAxW1tBcGxvcmlzLkNoYXJ0LkNvbHVtbk9yaWVudGVkTGVnZW5kRWxlbWVudCwgQXBsb3Jpcy5DaGFydCwgVmVyc2lvbj00LjAuMC4xNDg2LCBDdWx0dXJlPW5ldXRyYWwsIFB1YmxpY0tleVRva2VuPTE2ZmMxM2EyMjZjMGU5NTFdXQMAAACjAVN5c3RlbS5Db2xsZWN0aW9ucy5HZW5lcmljLkxpc3RgMVtbQXBsb3Jpcy5DaGFydC5Db2x1bW5PcmllbnRlZExlZ2VuZE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7AAAAAntAAAACRQAAAAJAQAAAAnuAAAAAWYAAAAdAAAAAe8AAAAiAAAAkavwQ/v/J0EB8AAAACIAAADIVQxERReqQgnxAAAACfIAAAAAAAAACgHzAAAAeAAAAAAAAAAAAAAAAfQAAAB4AAAAAAAAAAAAAAAAAAAAAfUAAAAVAAAAAAAAAAAAAAAAAAAAAAAAAKQBAAD/////AQEKCfYAAAABAAoAAWcAAAAmAAAACfcAAAABAAAAAQAAAAFoAAAAJwAAAAn4AAAAAQAAAAEAAAAPcgAAAAQAAAALAACAPwAAgD8AAIA/AACAPw9zAAAAAAAAAAgFdg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n5AAAACfoAAAABAAAA/v///wEAAAABAAAAAQAAAAEAAAABAAAAAQAAAAAAAQV3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fsAAAAJ/AAAAAEAAAAAAAAAAAAAAAAAAAAAAQV7AAAAH0FwbG9yaXMuQmFzZS5PYmplY3RzLlBlcnNJZERhdGECAAAAA21JZAttQ3VzdG9tRGF0YQcCCAMAAAAJ/QAAAAoFfgAAABpBcGxvcmlzLkJhc2UuT2JqZWN0cy5Db2xvcgcAAAASRGF0YU9iamVjdCttUGFyZW50FURhdGFPYmplY3QrbUNvbnRhaW5lcgVtVHlwZQRtUkdCEG1UaGVtZUNvbG9ySW5kZXgMbUF1dG9VcGRhdGVkCW1Nb2RpZmllZAICAAAAAAAICAgBAQMAAAAKCgAAAAAAAAAADQAAAAABAX8AAAB+AAAACgoBAAAAAAAAAP////8AAQeRAAAAAAEAAAAQAAAABB9BcGxvcmlzLkJhc2UuT2JqZWN0cy5EYXRhT2JqZWN0AwAAAAkJAAAACQoAAAAJCwAAAAkMAAAACRAAAAAJEQAAAAkNAAAACQ4AAAAJDwAAAAkHAAAACQYAAAAJGAAAAAkUAAAADQMHkgAAAAABAAAABAAAAAQcQXBsb3Jpcy5CYXNlLlVJLlZpc3VhbE9iamVjdAMAAAAJHQAAAA0DBJMAAACRAVN5c3RlbS5Db2xsZWN0aW9ucy5HZW5lcmljLkxpc3RgMVtbQXBsb3Jpcy5DaGFydC5WYWx1ZUxpbmUsIEFwbG9yaXMuQ2hhcnQsIFZlcnNpb249NC4wLjAuMTQ4NiwgQ3VsdHVyZT1uZXV0cmFsLCBQdWJsaWNLZXlUb2tlbj0xNmZjMTNhMjI2YzBlOTUxXV0DAAAABl9pdGVtcwVfc2l6ZQhfdmVyc2lvbgQAABlBcGxvcmlzLkNoYXJ0LlZhbHVlTGluZVtdAgAAAAgICf4AAAAAAAAAAAAAAAGUAAAAJgAAAAnjAAAAAAAAAAAAAAABlQAAACcAAAAJ4QAAAAAAAAAAAAAABJYAAACRAVN5c3RlbS5Db2xsZWN0aW9ucy5HZW5lcmljLkxpc3RgMVtbQXBsb3Jpcy5DaGFydC5BeGlzQnJlYWssIEFwbG9yaXMuQ2hhcnQsIFZlcnNpb249NC4wLjAuMTQ4NiwgQ3VsdHVyZT1uZXV0cmFsLCBQdWJsaWNLZXlUb2tlbj0xNmZjMTNhMjI2YzBlOTUxXV0DAAAABl9pdGVtcwVfc2l6ZQhfdmVyc2lvbgQAABlBcGxvcmlzLkNoYXJ0LkF4aXNCcmVha1tdAgAAAAgICf8AAAAAAAAAAAAAAAGXAAAAJgAAAAnjAAAAAAAAAAAAAAABmAAAACcAAAAJ4QAAAAAAAAAAAAAABJoAAACQAVN5c3RlbS5Db2xsZWN0aW9ucy5HZW5lcmljLkxpc3RgMVtbQXBsb3Jpcy5DaGFydC5UaWNrTWFyaywgQXBsb3Jpcy5DaGFydCwgVmVyc2lvbj00LjAuMC4xNDg2LCBDdWx0dXJlPW5ldXRyYWwsIFB1YmxpY0tleVRva2VuPTE2ZmMxM2EyMjZjMGU5NTFdXQMAAAAGX2l0ZW1zBV9zaXplCF92ZXJzaW9uBAAAGEFwbG9yaXMuQ2hhcnQuVGlja01hcmtbXQIAAAAICAkAAQAAAAAAAAAAAAABmwAAACYAAAAJ4wAAAAAAAAAAAAAAAZwAAAAnAAAACeEAAAAAAAAAAAAAAAGfAAAAdgAAAAoKAAAAQD8JAQEAAAkCAQAAAQAAAP7///8AAAAAAQAAAAAAAAAAAAAAAQAAAAAAAAAAAAABoAAAAHsAAAAJAwEAAAoFrQ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gAAAAoAAAAAAEBBCXwAAAAJfQAAAAkEAQAAAQAJBQEAAAGuAAAAfgAAAAoKAQAAAAAAAAD/////AAEEswAAAJYBU3lzdGVtLkNvbGxlY3Rpb25zLkdlbmVyaWMuTGlzdGAxW1tBcGxvcmlzLkJhc2UuT2JqZWN0cy5WYXJpYWJsZSwgQXBsb3Jpcy5CYXNlLCBWZXJzaW9uPTQuMC4wLjE0ODYsIEN1bHR1cmU9bmV1dHJhbCwgUHVibGljS2V5VG9rZW49MTZmYzEzYTIyNmMwZTk1MV1dAwAAAAZfaXRlbXMFX3NpemUIX3ZlcnNpb24EAAAfQXBsb3Jpcy5CYXNlLk9iamVjdHMuVmFyaWFibGVbXQMAAAAICAkGAQAAAAAAAAAAAAABtAAAAHsAAAAJBwEAAAoHtQAAAAABAAAACAAAAAQfQXBsb3Jpcy5CYXNlLk9iamVjdHMuRGF0YU9iamVjdAMAAAAJKwAAAAksAAAACS0AAAAJLgAAAAkpAAAACSoAAAAKCge2AAAAAAEAAAAEAAAABBxBcGxvcmlzLkJhc2UuVUkuVmlzdWFsT2JqZWN0AwAAAAkxAAAACTUAAAAKCgG3AAAAkwAAAAn+AAAAAAAAAAAAAAABuAAAACYAAAAJ4wAAAAAAAAAAAAAAAbkAAAAnAAAACeEAAAAAAAAAAAAAAAG6AAAAlgAAAAn/AAAAAAAAAAAAAAABuwAAACYAAAAJ4wAAAAAAAAAAAAAAAbwAAAAnAAAACeEAAAAAAAAAAAAAAAG+AAAAmgAAAAkIAQAABQAAAHMAAAABvwAAACYAAAAJCQEAAAUAAABzAAAAAcAAAAAnAAAACeEAAAAAAAAAAAAAAAHDAAAAdgAAAAoKAAAAQD8JCgEAAAkLAQAAAQAAAP7///8AAAAAAQAAAAAAAAAAAAAAAQAAAAAAAAAAAAABxAAAAHsAAAAJDAEAAAoF0Q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wAAAAoAAAAAAEBBCXwAAAAJfQAAAAkNAQAAAQAJDgEAAAHSAAAAfgAAAAoKAAAAAP///wAOAAAAAAEB1wAAALMAAAAJBgEAAAAAAAABAAAAAdgAAAB7AAAACQ8BAAAKB9kAAAAAAQAAAAgAAAAEH0FwbG9yaXMuQmFzZS5PYmplY3RzLkRhdGFPYmplY3QDAAAACTsAAAAJPAAAAAk9AAAACT4AAAAJOQAAAAk6AAAACRABAAAJEQEAAAfaAAAAAAEAAAAEAAAABBxBcGxvcmlzLkJhc2UuVUkuVmlzdWFsT2JqZWN0AwAAAAlBAAAACUUAAAAKCgffAAAAAAEAAAAgAAAABB1BcGxvcmlzLkNoYXJ0LkNoYXJ0RGF0YVNlcmllcwIAAAAJEgEAAAkTAQAACRQBAAAJFQEAAA0cB+AAAAAAAQAAACAAAAAEH0FwbG9yaXMuQmFzZS5PYmplY3RzLkRhdGFPYmplY3QDAAAACRQBAAAJEwEAAAkSAQAACRUBAAANHAfhAAAAAAEAAAAAAAAABBxBcGxvcmlzLkJhc2UuVUkuVmlzdWFsT2JqZWN0AwAAAAfiAAAAAAEAAAAAAAAABCJBcGxvcmlzLkNoYXJ0LkFubm90YXRpb25EYXRhU2VyaWVzAgAAAAfjAAAAAAEAAAAAAAAABB9BcGxvcmlzLkJhc2UuT2JqZWN0cy5EYXRhT2JqZWN0AwAAAAfkAAAAAAEAAAAAAAAABB1BcGxvcmlzLkNoYXJ0LkFubm90YXRpb25Hcm91cAIAAAAH5QAAAAABAAAAEAAAAAQcQXBsb3Jpcy5DaGFydC5DaGFydERhdGFHcm91cAIAAAAJFgEAAAkXAQAADQ4H5gAAAAABAAAAEAAAAAQfQXBsb3Jpcy5CYXNlLk9iamVjdHMuRGF0YU9iamVjdAMAAAAJFwEAAAkWAQAADQ4H5wAAAAABAAAAAAAAAAQWQXBsb3Jpcy5DaGFydC5EZWx0YUJhcgIAAAAH6AAAAAABAAAAAAAAAAQZQXBsb3Jpcy5DaGFydC5EZWx0YUJyaWRnZQIAAAAH6QAAAAABAAAAAAAAAAQZQXBsb3Jpcy5DaGFydC5Hcm93dGhBcnJvdwIAAAAH6gAAAAABAAAAAAAAAAQgQXBsb3Jpcy5DaGFydC5XYXRlcmZhbGxDb25uZWN0b3ICAAAAB+sAAAAAAQAAAAAAAAAEHkFwbG9yaXMuQ2hhcnQuRWxlbWVudENvbm5lY3RvcgIAAAAE7AAAAKMBU3lzdGVtLkNvbGxlY3Rpb25zLkdlbmVyaWMuTGlzdGAxW1tBcGxvcmlzLkNoYXJ0LkNvbHVtbk9yaWVudGVkTGVnZW5kRWxlbWVudCwgQXBsb3Jpcy5DaGFydCwgVmVyc2lvbj00LjAuMC4xNDg2LCBDdWx0dXJlPW5ldXRyYWwsIFB1YmxpY0tleVRva2VuPTE2ZmMxM2EyMjZjMGU5NTFdXQMAAAAGX2l0ZW1zBV9zaXplCF92ZXJzaW9uBAAAK0FwbG9yaXMuQ2hhcnQuQ29sdW1uT3JpZW50ZWRMZWdlbmRFbGVtZW50W10CAAAACAgJGAEAAAQAAAAUAAAAAe0AAAAmAAAACRkBAAAEAAAABAAAAAHuAAAAJwAAAAkaAQAAAAAAAAAAAAAB8QAAAHYAAAAKCgAAAAAACRsBAAAJHAEAAAEAAAD+////AQAAAAEAAAABAAAAAQAAAAEAAAABAAAAAAABAfIAAAB3AAAACgoJHQEAAAkeAQAAAQAAAAAAAAAAAAAAAAAAAAABAfYAAAB7AAAACR8BAAAKB/cAAAAAAQAAAAQAAAAEH0FwbG9yaXMuQmFzZS5PYmplY3RzLkRhdGFPYmplY3QDAAAACWQAAAANAwf4AAAAAAEAAAAEAAAABBxBcGxvcmlzLkJhc2UuVUkuVmlzdWFsT2JqZWN0AwAAAAlmAAAADQMB+QAAAH4AAAAKCgAAAAAAAAAADQAAAAABAfoAAAB+AAAACgoBAAAAAAAAAP////8AAQH7AAAAfgAAAAoKAQAAAP///wD/////AAEB/AAAAH4AAAAKCgEAAAAAAAAA/////wABD/0AAAABAAAACAAAAAAH/gAAAAABAAAAAAAAAAQXQXBsb3Jpcy5DaGFydC5WYWx1ZUxpbmUCAAAAB/8AAAAAAQAAAAAAAAAEF0FwbG9yaXMuQ2hhcnQuQXhpc0JyZWFrAgAAAAcAAQAAAAEAAAAAAAAABBZBcGxvcmlzLkNoYXJ0LlRpY2tNYXJrAgAAAAUBAQAAGkFwbG9yaXMuQmFzZS5PYmplY3RzLkNvbG9yBwAAABJEYXRhT2JqZWN0K21QYXJlbnQVRGF0YU9iamVjdCttQ29udGFpbmVyBW1UeXBlBG1SR0IQbVRoZW1lQ29sb3JJbmRleAxtQXV0b1VwZGF0ZWQJbU1vZGlmaWVkBAIAAAAAAB9BcGxvcmlzLkJhc2UuT2JqZWN0cy5MaW5lRm9ybWF0AwAAAAgICAEBAwAAAAmfAAAACgAAAAAAAAAADQAAAAAABQIBAAAaQXBsb3Jpcy5CYXNlLk9iamVjdHMuQ29sb3IHAAAAEkRhdGFPYmplY3QrbVBhcmVudBVEYXRhT2JqZWN0K21Db250YWluZXIFbVR5cGUEbVJHQhBtVGhlbWVDb2xvckluZGV4DG1BdXRvVXBkYXRlZAltTW9kaWZpZWQEAgAAAAAAH0FwbG9yaXMuQmFzZS5PYmplY3RzLkxpbmVGb3JtYXQDAAAACAgIAQEDAAAACZ8AAAAKAQAAAAAAAAD/////AAEPAwEAAAEAAAAIXAEAAAEEAQAAfgAAAAoKAAAAAAAAAAANAAAAAAEBBQEAAH4AAAAKCgEAAAAAAAAA/////wABBwYBAAAAAQAAAAAAAAAEHUFwbG9yaXMuQmFzZS5PYmplY3RzLlZhcmlhYmxlAwAAAA8HAQAAAQAAAAgAAAAABwgBAAAAAQAAACAAAAAEFkFwbG9yaXMuQ2hhcnQuVGlja01hcmsCAAAACSABAAAJIQEAAAkiAQAACSMBAAAJJAEAAA0bBwkBAAAAAQAAACAAAAAEH0FwbG9yaXMuQmFzZS5PYmplY3RzLkRhdGFPYmplY3QDAAAACSABAAAJIQEAAAkiAQAACSMBAAAJJAEAAA0bBQoBAAAaQXBsb3Jpcy5CYXNlLk9iamVjdHMuQ29sb3IHAAAAEkRhdGFPYmplY3QrbVBhcmVudBVEYXRhT2JqZWN0K21Db250YWluZXIFbVR5cGUEbVJHQhBtVGhlbWVDb2xvckluZGV4DG1BdXRvVXBkYXRlZAltTW9kaWZpZWQEAgAAAAAAH0FwbG9yaXMuQmFzZS5PYmplY3RzLkxpbmVGb3JtYXQDAAAACAgIAQEDAAAACcMAAAAKAAAAAAAAAAANAAAAAAAFCwEAABpBcGxvcmlzLkJhc2UuT2JqZWN0cy5Db2xvcgcAAAASRGF0YU9iamVjdCttUGFyZW50FURhdGFPYmplY3QrbUNvbnRhaW5lcgVtVHlwZQRtUkdCEG1UaGVtZUNvbG9ySW5kZXgMbUF1dG9VcGRhdGVkCW1Nb2RpZmllZAQCAAAAAAAfQXBsb3Jpcy5CYXNlLk9iamVjdHMuTGluZUZvcm1hdAMAAAAICAgBAQMAAAAJwwAAAAoBAAAAAAAAAP////8AAQ8MAQAAAQAAAAhdAQAAAQ0BAAB+AAAACgoAAAAAAAAAAA0AAAAAAQEOAQAAfgAAAAoKAQAAAAAAAAD/////AAEPDwEAAAEAAAAIAAAAAAUQAQ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pAAAAAwAAAAlqAAAACWsAAAAJbAAAAAEAAAAACgmZAAAACW0AAAABAAAACgAAAAAAAAAABREB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cAAAAJAQAAAAAAAAAABiUBAAABLgMAAAAGJgEAAAEsBicBAAABLQYoAQAAASsBAAAAAAoKBikBAAAITS9kL3l5eXkAAAAACgAAAAAAAAAABRIBAAAdQXBsb3Jpcy5DaGFydC5DaGFydERhdGFTZXJpZXMcAAAABm1DaGFydAttU2VyaWVzVHlwZQltRXhjZWxSb3cKbUV4Y2VsUm93MgVtQXhpcw1tRGF0YUVsZW1lbnRzEm1TZXJpZXNEZXNjcmlwdGlvbhNtU2VyaWVzRGVzY3JpcHRpb24yCm1TdGFja2VkT24MbUN1c3RvbVdpZHRoD21DdXN0b21Qb3NpdGlvbg1tQ3VzdG9tWk9yZGVyCW1Qb2x5bGluZQhtUG9seWdvbhRtUmVzdG9yZUxhYmVsVmlzaWJsZQZtTGFiZWwPbUxhYmVsUG9zaXRpb25zEW1MYWJlbEFuY2hvck1vZGVzDm1MYWJlbFBvc2l0aW9uC21TbW9vdGhMaW5lDm1TYW1lVHlwZUluZGV4DG1CYXJQb3NpdGlvbhZtTGVnZW5kVXBkYXRlU3VzcGVuZGVkFG1QZW5kaW5nTGVnZW5kVXBkYXRlGERhdGFPYmplY3QrbUNoaWxkT2JqZWN0cxJEYXRhT2JqZWN0K21QYXJlbnQVRGF0YU9iamVjdCttQ29udGFpbmVyGURhdGFPYmplY3QrbVZpc3VhbE9iamVjdHMEBAAABAQBAQQAAAAEBAAEBAQAAAAAAAADBAQDIUFwbG9yaXMuQ2hhcnQuQ29sdW1uT3JpZW50ZWRDaGFydAIAAAAYQXBsb3Jpcy5DaGFydC5TZXJpZXNUeXBlAgAAAAgIJUFwbG9yaXMuQ2hhcnQuQ29sdW1uT3JpZW50ZWRDaGFydEF4aXMCAAAAogFBcGxvcmlzLkJhc2UuT2JqZWN0cy5EYXRhT2JqZWN0Q29sbGVjdGlvbmAxW1tBcGxvcmlzLkNoYXJ0LkNoYXJ0RGF0YUVsZW1lbnQsIEFwbG9yaXMuQ2hhcnQsIFZlcnNpb249NC4wLjAuMTQ4NiwgQ3VsdHVyZT1uZXV0cmFsLCBQdWJsaWNLZXlUb2tlbj0xNmZjMTNhMjI2YzBlOTUxXV0DAAAAHUFwbG9yaXMuQ2hhcnQuQ2hhcnREYXRhU2VyaWVzAgAAAAsLCB5BcGxvcmlzLkJhc2UuVUkuVmlzdWFsUG9seWxpbmUDAAAAHUFwbG9yaXMuQmFzZS5VSS5WaXN1YWxQb2x5Z29uAwAAAAEcQXBsb3Jpcy5DaGFydC5Db25uZWN0ZWRMYWJlbAIAAAAXU3lzdGVtLkRyYXdpbmcuUG9pbnRGW10EAAAAGUFwbG9yaXMuQmFzZS5BbmNob3JNb2RlW10DAAAACAEICAg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EqAQAAEwAAAAAAAAACAAAA/////wkHAAAACSsBAAAGLAEAABNFcXVpcHBlZCBOYXZpZ2F0b3JzCgoAAIA+AAAAAAAAAAAKCgAJLQEAAAkuAQAACS8BAAAAAAAAAAAAAAAAAAAAAAAAAAAJMAEAAAkBAAAACQEAAAAJMQEAAAETAQAAEgEAAAkBAAAAATIBAAATAAAAAAAAAAMAAAD/////CQcAAAAJMwEAAAY0AQAACUxvdyBGdWVscwoKAACAPgAAgD4AAAAACgoACTUBAAAJNgEAAAk3AQAAAAAAAAABAAAAAQAAAAAAAAAACTgBAAAJAQAAAAkBAAAACTkBAAABFAEAABIBAAAJAQAAAAE6AQAAEwAAAAAAAAAEAAAA/////wkHAAAACTsBAAAGPAEAAA1DaGVjayBFbmdpbmVzCgoAAIA+AAAAPwAAAAAKCgAJPQEAAAk+AQAACT8BAAAAAAAAAAIAAAACAAAAAAAAAAAJQAEAAAkBAAAACQEAAAAJQQEAAAEVAQAAEgEAAAkBAAAAAUIBAAATAAAAAAAAAAUAAAD/////CQcAAAAJQwEAAAZEAQAAGExpbWl0ZWQgVGVjaG5vbG9neSBVc2VycwoKAACAPgAAQD8AAAAACgoACUUBAAAJRgEAAAlHAQAAAAAAAAADAAAAAwAAAAAAAAAACUgBAAAJAQAAAAkBAAAACUkBAAAFFgE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ZKAQAADEdvYWwgU2V0dGluZwAFSwEAAB5BcGxvcmlzLkNoYXJ0LkNoYXJ0R3JvdXBBbmNob3IBAAAAB3ZhbHVlX18ACAIAAAAAAAAACgAAAAAEAAAABAAAAAlMAQAACU0BAAAJTgEAAAoJBwAAAAlPAQAACQEAAAAJAQAAAAlQAQAAARcBAAAWAQAACQEAAAAGUQEAAA9DYXJlZXIgUGxhbm5pbmcAAVIBAABLAQAAAAAAAAoAAAAABAAAAAQAAAAJTAEAAAlTAQAACVQBAAAKCQcAAAAJVQEAAAkBAAAACQEAAAAJVgEAAAcYAQAAAAEAAAAEAAAABClBcGxvcmlzLkNoYXJ0LkNvbHVtbk9yaWVudGVkTGVnZW5kRWxlbWVudAIAAAAJVwEAAAlYAQAACVkBAAAJWgEAAAcZAQAAAAEAAAAEAAAABB9BcGxvcmlzLkJhc2UuT2JqZWN0cy5EYXRhT2JqZWN0AwAAAAlXAQAACVgBAAAJWQEAAAlaAQAABxoBAAAAAQAAAAAAAAAEHEFwbG9yaXMuQmFzZS5VSS5WaXN1YWxPYmplY3QDAAAAARsBAAB+AAAACgoAAAAAAAAAAA0AAAAAAQEcAQAAfgAAAAoKAQAAAAAAAAD/////AAEBHQEAAH4AAAAKCgEAAAD///8A/////wABAR4BAAB+AAAACgoBAAAAAAAAAP////8AAQ8fAQAAAQAAAAgAAAAABSABAAAWQXBsb3Jpcy5DaGFydC5UaWNrTWFyaw0AAAALbVZpc3VhbExpbmUJbUdyaWRMaW5lBm1MYWJlbAVtQXhpcwhtVmlzaWJsZQltUG9zaXRpb24LbVN0YXJ0UG9pbnQJbUVuZFBvaW50DG1IYXNHcmlkTGluZRhEYXRhT2JqZWN0K21DaGlsZE9iamVjdHMSRGF0YU9iamVjdCttUGFyZW50FURhdGFPYmplY3QrbUNvbnRhaW5lchlEYXRhT2JqZWN0K21WaXN1YWxPYmplY3RzBAQEBAAABAQAAwQEAxpBcGxvcmlzLkJhc2UuVUkuVmlzdWFsTGluZQMAAAAaQXBsb3Jpcy5CYXNlLlVJLlZpc3VhbExpbmUDAAAAFUFwbG9yaXMuQmFzZS5VSS5MYWJlbAMAAAASQXBsb3Jpcy5DaGFydC5BeGlzAgAAAAEGFVN5c3RlbS5EcmF3aW5nLlBvaW50RgQAAAAVU3lzdGVtLkRyYXdpbmcuUG9pbnRG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lbAQAACglcAQAACQcAAAABAAAAAAAAAAABXQEAACIAAAC6ThhCgWSoQwFeAQAAIgAAALpOCEKBZKhDAAlfAQAACQcAAAAJAQAAAAlgAQAAASEBAAAgAQAACWEBAAAKCWIBAAAJBwAAAAGamZmZmZnJPwFjAQAAIgAAALpOGEISW4FDAWQBAAAiAAAAuk4IQhJbgUMACWUBAAAJBwAAAAkBAAAACWYBAAABIgEAACABAAAJZwEAAAoJaAEAAAkHAAAAAZqZmZmZmdk/AWkBAAAiAAAAuk4YQkSjNEMBagEAACIAAAC6TghCRKM0QwAJawEAAAkHAAAACQEAAAAJbAEAAAEjAQAAIAEAAAltAQAACgluAQAACQcAAAABMzMzMzMz4z8BbwEAACIAAAC6ThhCyyDNQgFwAQAAIgAAALpOCELLIM1CAAlxAQAACQcAAAAJAQAAAAlyAQAAASQBAAAgAQAACXMBAAAKCXQBAAAJBwAAAAGamZmZmZnpPwF1AQAAIgAAALpOGEI07MNBAXYBAAAiAAAAuk4IQjTsw0EACXcBAAAJBwAAAAkBAAAACXgBAAAFKwEAAKIBQXBsb3Jpcy5CYXNlLk9iamVjdHMuRGF0YU9iamVjdENvbGxlY3Rpb25gMVtbQXBsb3Jpcy5DaGFydC5DaGFydERhdGF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C4wLjE0ODYsIEN1bHR1cmU9bmV1dHJhbCwgUHVibGljS2V5VG9rZW49MTZmYzEzYTIyNmMwZTk1MV1dAwAAAJgBU3lzdGVtLkNvbGxlY3Rpb25zLkdlbmVyaWMuTGlzdGAxW1tBcGxvcmlzLkNoYXJ0LkNoYXJ0RGF0YU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eQEAAAl6AQAACRIBAAAJAQAAAAl7AQAABS0BAAAcQXBsb3Jpcy5DaGFydC5Db25uZWN0ZWRMYWJlbCQAAAAObUNvbm5lY3RvckxpbmUQbVpPcmRlckNvbm5lY3Rvcg5tQ29ubmVjdG9yTW9kZRltQW5nbGVkQ29ubmVjdG9yRGlyZWN0aW9uEG1Db25uZWN0b3JUYXJnZXQZbUNvbm5lY3RvclRhcmdldEFyZWFTaGFwZRptQ29ubmVjdG9yRGlzcGxheVRocmVzaG9sZBNtQ29ubmVjdEFuY2hvclBvaW5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QEAAAABAAE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gAAAApYAgAABXwBAAArQXBsb3Jpcy5DaGFydC5Db25uZWN0ZWRMYWJlbCtlQ29ubmVjdG9yTW9kZQEAAAAHdmFsdWVfXwAIAgAAAAEAAAAFfQEAADZBcGxvcmlzLkNoYXJ0LkNvbm5lY3RlZExhYmVsK2VBbmdsZWRDb25uZWN0b3JEaXJlY3Rpb24BAAAAB3ZhbHVlX18ACAIAAAAAAAAAAX4BAAAVAAAANBKxQ+ZdxEJAkGdCD5prQwV/AQAALUFwbG9yaXMuQ2hhcnQuQ29ubmVjdGVkTGFiZWwrZVRhcmdldEFyZWFTaGFwZQEAAAAHdmFsdWVfXwAIAgAAAAAAAAAAABBBAQGAAQAAIgAAACvtGET6+1dDAYEBAACmAAAABAAAAAAAAAAAAAAAAAmCAQAAAAAAAAmDAQAAAAABhAEAAK8AAAAAAAAAAYUBAAB4AAAAAAAAAAAAAAABhgEAABUAAAAAAAAAAAAAAAAAAAAAAAAAAAAAAAksAQAACgmHAQAABogBAAAAIAMAAP////8AAQoJiQEAAAEACgAHLgEAAAABAAAAAgAAAAQVU3lzdGVtLkRyYXdpbmcuUG9pbnRGBAAAAAGKAQAAIgAAACvtGET6+1dDAYsBAAAiAAAAuk4EQoDdOEMHLwEAAAABAAAAAgAAAAQXQXBsb3Jpcy5CYXNlLkFuY2hvck1vZGUDAAAAAYwBAACmAAAABAAAAAGNAQAApgAAAAIAAAABMAEAACYAAAAJjgEAAAEAAAABAAAAATEBAAAnAAAACY8BAAABAAAAAQAAAAEzAQAAKwEAAAoJkAEAAAmRAQAACRMBAAAJAQAAAAmSAQAAATUBAAAtAQAAClgCAAABkwEAAHwBAAABAAAAAZQBAAB9AQAAAAAAAAGVAQAAFQAAAD0E0UOb2BNDQJBnQmfwOUMBlgEAAH8BAAAAAAAAAAAQQQEBlwEAACIAAAAr7RhEztBwQwGYAQAApgAAAAQAAAAAAAAAAAAAAAAJmQEAAAAAAAAJmgEAAAAAAZsBAACvAAAAAAAAAAGcAQAAeAAAAAAAAAAAAAAAAZ0BAAAVAAAAAAAAAAAAAAAAAAAAAAAAAAAAAAAJNAEAAAoJngEAAAmIAQAAIAMAAP////8AAQoJnwEAAAEACgAHNgEAAAABAAAAAgAAAAQVU3lzdGVtLkRyYXdpbmcuUG9pbnRGBAAAAAGgAQAAIgAAACvtGETO0HBDAaEBAAAiAAAAuk4EQm9UV0MHNwEAAAABAAAAAgAAAAQXQXBsb3Jpcy5CYXNlLkFuY2hvck1vZGUDAAAAAaIBAACmAAAABAAAAAGjAQAApgAAAAIAAAABOAEAACYAAAAJpAEAAAEAAAABAAAAATkBAAAnAAAACaUBAAABAAAAAQAAAAE7AQAAKwEAAAoJpgEAAAmnAQAACRQBAAAJAQAAAAmoAQAAAT0BAAAtAQAAClgCAAABqQEAAHwBAAABAAAAAaoBAAB9AQAAAAAAAAGrAQAAFQAAAEb28EP+6QdDQJBnQgTfRUMBrAEAAH8BAAAAAAAAAAAQQQEBrQEAACIAAAAr7RhEgNlqQwGuAQAApgAAAAQAAAAAAAAAAAAAAAAJrwEAAAAAAAAJsAEAAAAAAbEBAACvAAAAAAAAAAGyAQAAeAAAAAAAAAAAAAAAAbMBAAAVAAAAAAAAAAAAAAAAAAAAAAAAAAAAAAAJPAEAAAoJtAEAAAmIAQAAIAMAAP////8AAQoJtQEAAAEACgAHPgEAAAABAAAAAgAAAAQVU3lzdGVtLkRyYXdpbmcuUG9pbnRGBAAAAAG2AQAAIgAAACvtGESA2WpDAbcBAAAiAAAAuk4EQmSZT0MHPwEAAAABAAAAAgAAAAQXQXBsb3Jpcy5CYXNlLkFuY2hvck1vZGUDAAAAAbgBAACmAAAABAAAAAG5AQAApgAAAAIAAAABQAEAACYAAAAJugEAAAEAAAABAAAAAUEBAAAnAAAACbsBAAABAAAAAQAAAAFDAQAAKwEAAAoJvAEAAAm9AQAACRUBAAAJAQAAAAm+AQAAAUUBAAAtAQAAClgCAAABvwEAAHwBAAABAAAAAcABAAB9AQAAAAAAAAHBAQAAFQAAACd0CEQ2ZwhDQJBnQsxhRUMBwgEAAH8BAAAAAAAAAAAQQQEBwwEAACIAAAAr7RhEHBhrQwHEAQAApgAAAAQAAAAAAAAAAAAAAAAJxQEAAAAAAAAJxgEAAAAAAccBAACvAAAAAAAAAAHIAQAAeAAAAAAAAAAAAAAAAckBAAAVAAAAAAAAAAAAAAAAAAAAAAAAAAAAAAAJRAEAAAoJygEAAAmIAQAAIAMAAP////8AAQoJywEAAAEACgAHRgEAAAABAAAAAgAAAAQVU3lzdGVtLkRyYXdpbmcuUG9pbnRGBAAAAAHMAQAAIgAAACvtGEQcGGtDAc0BAAAiAAAAuk4EQjLXTEMHRwEAAAABAAAAAgAAAAQXQXBsb3Jpcy5CYXNlLkFuY2hvck1vZGUDAAAAAc4BAACmAAAABAAAAAHPAQAApgAAAAIAAAABSAEAACYAAAAJ0AEAAAEAAAABAAAAAUkBAAAnAAAACdEBAAABAAAAAQAAAA9MAQAABAAAAAgAAAAAAQAAAAIAAAADAAAAB00BAAAAAQAAAAQAAAAEFUFwbG9yaXMuQmFzZS5VSS5MYWJlbAMAAAAJ0gEAAAnTAQAACdQBAAAJ1QEAAAFOAQAANQAAAAHWAQAAIgAAAKIGOUOB5KpDAdcBAACmAAAAAwAAAAAAAAAAAAAAAAnYAQAAAAAAAAnZAQAAAAAB2gEAAK8AAAAAAAAAAdsBAAB4AAAAAACKQgAAYEEB3AEAABUAAAAAABtDVdWqQzDocUKqqjpBEoO+PwlKAQAACgndAQAACYgBAAAgAwAA/////wEBCgneAQAAAQAKAAFPAQAAJgAAAAnfAQAAAAAAAAAAAAABUAEAACcAAAAJ4AEAAAUAAAALAAAAB1MBAAAAAQAAAAQAAAAEFUFwbG9yaXMuQmFzZS5VSS5MYWJlbAMAAAAJ4QEAAAniAQAACeMBAAAJ5AEAAAFUAQAANQAAAAHlAQAAIgAAAEV270OB5KpDAeYBAACmAAAAAwAAAAAAAAAAAAAAAAnnAQAAAAAAAAnoAQAAAAAB6QEAAK8AAAAAAAAAAeoBAAB4AAAAAAC2QgAAYEEB6wEAABUAAABVldtDVdWqQ8OenUKqqjpBEoO+PwlRAQAACgnsAQAACYgBAAAgAwAA/////wEBCgntAQAAAQAKAAFVAQAAJgAAAAnjAAAAAAAAAAAAAAABVgEAACcAAAAJ7gEAAAUAAAAPAAAABVcBAAApQXBsb3Jpcy5DaGFydC5Db2x1bW5PcmllbnRlZExlZ2VuZEVsZW1lbnQNAAAAB21MZWdlbmQLbURhdGFTZXJpZXMUTGVnZW5kRWxlbWVudCttTGFiZWwYTGVnZW5kRWxlbWVudCttUmVjdGFuZ2xlE0xlZ2VuZEVsZW1lbnQrbUxpbmUVTGVnZW5kRWxlbWVudCttQ2lyY2xlFUxlZ2VuZEVsZW1lbnQrbU1hcmtlchRMZWdlbmRFbGVtZW50K21JbmRleB1MZWdlbmRFbGVtZW50K21MYWJlbFBvc2l0aW9ucxhEYXRhT2JqZWN0K21DaGlsZE9iamVjdHMSRGF0YU9iamVjdCttUGFyZW50FURhdGFPYmplY3QrbUNvbnRhaW5lchlEYXRhT2JqZWN0K21WaXN1YWxPYmplY3RzBAQEBAQEBAAEAwQEAyJBcGxvcmlzLkNoYXJ0LkNvbHVtbk9yaWVudGVkTGVnZW5kAgAAAB1BcGxvcmlzLkNoYXJ0LkNoYXJ0RGF0YVNlcmllcwIAAAAVQXBsb3Jpcy5CYXNlLlVJLkxhYmVsAwAAABpBcGxvcmlzLkJhc2UuVUkuVmlzdWFsUmVjdAMAAAAaQXBsb3Jpcy5CYXNlLlVJLlZpc3VhbExpbmUDAAAAHUFwbG9yaXMuQmFzZS5VSS5WaXN1YWxFbGxpcHNlAwAAABpBcGxvcmlzLkNoYXJ0LlZpc3VhbE1hcmtlcgIAAAAIF1N5c3RlbS5EcmF3aW5nLlBvaW50RltdBAAAAJ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RQAAAAJEgEAAAnvAQAACfABAAAKCgoAAAAACgnxAQAACRQAAAAJAQAAAAnyAQAAAVgBAABXAQAACRQAAAAJEwEAAAnzAQAACfQBAAAKCgoBAAAACgn1AQAACRQAAAAJAQAAAAn2AQAAAVkBAABXAQAACRQAAAAJFAEAAAn3AQAACfgBAAAKCgoCAAAACgn5AQAACRQAAAAJAQAAAAn6AQAAAVoBAABXAQAACRQAAAAJFQEAAAn7AQAACfwBAAAKCgoDAAAACgn9AQAACRQAAAAJAQAAAAn+AQAAAVsBAAAxAAAAAf8BAAAiAAAAuk4YQoFkqEMBAAIAACIAAAC6TghCgWSoQwkBAgAAzAEAAP////8BAQoJAgIAAAEACgABXAEAADUAAAABAwIAACIAAAC6TgJCgWSoQwEEAgAApgAAAAIAAAAAAAAAAAAAAAAJBQIAAAAAAAAJBgIAAAAAAQcCAACvAAAAAAAAAAEIAgAAeAAAAAAAkEEAAGBBAQkCAAAVAAAAVVV9QapqpUNi0I9Bqqo6QRKDvj8GCgIAAAIwJQoJCwIAAAmIAQAA0AIAAP////8BAQoJDAIAAAEACgABXwEAACYAAAAJ4wAAAAAAAAAAAAAAAWABAAAnAAAACQ0CAAACAAAAAgAAAAFhAQAAMQAAAAEOAgAAIgAAALpOGEISW4FDAQ8CAAAiAAAAuk4IQhJbgUMJEAIAAMwBAAD/////AQEKCRECAAABAAoAAWIBAAA1AAAAARICAAAiAAAAuk4CQhJbgUMBEwIAAKYAAAACAAAAAAAAAAAAAAAACRQCAAAAAAAACRUCAAAAAAEWAgAArwAAAAAAAAABFwIAAHgAAAAAAMhBAABgQQEYAgAAFQAAAAAAIEH/f3xDDHu+QaqqOkESg74/BhkCAAADMjAlCgkaAgAACYgBAADQAgAA/////wEBCgkbAgAAAQAKAAFlAQAAJgAAAAnjAAAAAAAAAAAAAAABZgEAACcAAAAJHAIAAAIAAAACAAAAAWcBAAAxAAAAAR0CAAAiAAAAuk4YQkSjNEMBHgIAACIAAAC6TghCRKM0QwkfAgAAzAEAAP////8BAQoJIAIAAAEACgABaAEAADUAAAABIQIAACIAAAC6TgJCRKM0QwEiAgAApgAAAAIAAAAAAAAAAAAAAAAJIwIAAAAAAAAJJAIAAAAAASUCAACvAAAAAAAAAAEmAgAAeAAAAAAAyEEAAGBBAScCAAAVAAAAAAAgQQAAL0MMe75Bqqo6QRKDvj8GKAIAAAM0MCUKCSkCAAAJiAEAANACAAD/////AQEKCSoCAAABAAoAAWsBAAAmAAAACeMAAAAAAAAAAAAAAAFsAQAAJwAAAAkrAgAAAgAAAAIAAAABbQEAADEAAAABLAIAACIAAAC6ThhCyyDNQgEtAgAAIgAAALpOCELLIM1CCS4CAADMAQAA/////wEBCgkvAgAAAQAKAAFuAQAANQAAAAEwAgAAIgAAALpOAkLLIM1CATECAACmAAAAAgAAAAAAAAAAAAAAAAkyAgAAAAAAAAkzAgAAAAABNAIAAK8AAAAAAAAAATUCAAB4AAAAAADIQQAAYEEBNgIAABUAAAAAACBBVVXBQgx7vkGqqjpBEoO+PwY3AgAAAzYwJQoJOAIAAAmIAQAA0AIAAP////8BAQoJOQIAAAEACgABcQEAACYAAAAJ4wAAAAAAAAAAAAAAAXIBAAAnAAAACToCAAACAAAAAgAAAAFzAQAAMQAAAAE7AgAAIgAAALpOGEI07MNBATwCAAAiAAAAuk4IQjTsw0EJPQIAAMwBAAD/////AQEKCT4CAAABAAoAAXQBAAA1AAAAAT8CAAAiAAAAuk4CQjTsw0EBQAIAAKYAAAACAAAAAAAAAAAAAAAACUECAAAAAAAACUICAAAAAAFDAgAArwAAAAAAAAABRAIAAHgAAAAAAMhBAABgQQFFAgAAFQAAAAAAIEGqqpJBDHu+QaqqOkESg74/BkYCAAADODAlCglHAgAACYgBAADQAgAA/////wEBCglIAgAAAQAKAAF3AQAAJgAAAAlJAgAAAAAAAAAAAAABeAEAACcAAAAJSgIAAAIAAAACAAAABHkBAACYAVN5c3RlbS5Db2xsZWN0aW9ucy5HZW5lcmljLkxpc3RgMVtbQXBsb3Jpcy5DaGFydC5DaGFydERhdGFFbGVtZW50LCBBcGxvcmlzLkNoYXJ0LCBWZXJzaW9uPTQuMC4wLjE0ODYsIEN1bHR1cmU9bmV1dHJhbCwgUHVibGljS2V5VG9rZW49MTZmYzEzYTIyNmMwZTk1MV1dAwAAAAZfaXRlbXMFX3NpemUIX3ZlcnNpb24EAAAgQXBsb3Jpcy5DaGFydC5DaGFydERhdGFFbGVtZW50W10CAAAACAgJSwIAAAIAAAACAAAAAXoBAAAmAAAACUwCAAACAAAAAgAAAAF7AQAAJwAAAAlNAgAAAAAAAAAAAAAFgg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RIBAAAKAAAAAABAQQl8AAAACX0AAAAJTgIAAAEACU8CAAABgwEAAH4AAAAKCgEAAAAAAAAA/////wABAYcBAACzAAAACVACAAABAAAAAQAAAAGJAQAAewAAAAlRAgAACgeOAQAAAAEAAAAEAAAABB9BcGxvcmlzLkJhc2UuT2JqZWN0cy5EYXRhT2JqZWN0AwAAAAkrAQAADQMHjwEAAAABAAAABAAAAAQcQXBsb3Jpcy5CYXNlLlVJLlZpc3VhbE9iamVjdAMAAAAJLQEAAA0DAZABAAB5AQAACVICAAACAAAAFAAAAAGRAQAAJgAAAAlTAgAAAgAAABQAAAABkgEAACcAAAAJVAIAAAAAAAAAAAAABZk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TAQAACgAAAAAAQEEJfAAAAAl9AAAACVUCAAABAAlWAgAAAZoBAAB+AAAACgoBAAAAAAAAAP////8AAQGeAQAAswAAAAlXAgAAAQAAAAEAAAABnwEAAHsAAAAJWAIAAAoHpAEAAAABAAAABAAAAAQfQXBsb3Jpcy5CYXNlLk9iamVjdHMuRGF0YU9iamVjdAMAAAAJMwEAAA0DB6UBAAAAAQAAAAQAAAAEHEFwbG9yaXMuQmFzZS5VSS5WaXN1YWxPYmplY3QDAAAACTUBAAANAwGmAQAAeQEAAAlZAgAAAgAAABQAAAABpwEAACYAAAAJWgIAAAIAAAAUAAAAAagBAAAnAAAACVQCAAAAAAAAAAAAAAWv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FAEAAAoAAAAAAEBBCXwAAAAJfQAAAAlbAgAAAQAJXAIAAAGwAQAAfgAAAAoKAQAAAAAAAAD/////AAEBtAEAALMAAAAJXQIAAAEAAAABAAAAAbUBAAB7AAAACV4CAAAKB7oBAAAAAQAAAAQAAAAEH0FwbG9yaXMuQmFzZS5PYmplY3RzLkRhdGFPYmplY3QDAAAACTsBAAANAwe7AQAAAAEAAAAEAAAABBxBcGxvcmlzLkJhc2UuVUkuVmlzdWFsT2JqZWN0AwAAAAk9AQAADQMBvAEAAHkBAAAJXwIAAAIAAAACAAAAAb0BAAAmAAAACWACAAACAAAAAgAAAAG+AQAAJwAAAAkaAQAAAAAAAAAAAAAFxQ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RUBAAAKAAAAAABAQQl8AAAACX0AAAAJYQIAAAEACWICAAABxgEAAH4AAAAKCgEAAAAAAAAA/////wABAcoBAACzAAAACWMCAAABAAAAAQAAAAHLAQAAewAAAAlkAgAACgfQAQAAAAEAAAAEAAAABB9BcGxvcmlzLkJhc2UuT2JqZWN0cy5EYXRhT2JqZWN0AwAAAAlDAQAADQMH0QEAAAABAAAABAAAAAQcQXBsb3Jpcy5CYXNlLlVJLlZpc3VhbE9iamVjdAMAAAAJRQEAAA0DAdIBAAA1AAAAAWUCAAAiAAAAEmGyQu6P70EBZgIAAKYAAAABAAAAAAAAAAAAAAAACWcCAAAAAAAACWgCAAAAAAFpAgAArwAAAAAAAAABagIAAHgAAAAAAMhBAABgQQFrAgAAFQAAAAAAm0KqqpJBDHu+QaqqOkESg74/BmwCAAADNzglCgltAgAACYgBAAA0AwAA/////wEBCgluAgAAAQAKAAHTAQAANQAAAAFvAgAAIgAAAJoUGUO5v7VCAXACAACmAAAAAQAAAAAAAAAAAAAAAAlxAgAAAAAAAAlyAgAAAAABcwIAAK8AAAAAAAAAAXQCAAB4AAAAAADIQQAAYEEBdQIAABUAAABV1QxDVVWeQgx7vkGqqjpBEoO+PwZ2AgAAAzYyJQoJdwIAAAmIAQAANAMAAP////8BAQoJeAIAAAEACgAB1AEAADUAAAABeQIAACIAAACr+FhDjtOWQgF6AgAApgAAAAEAAAAAAAAAAAAAAAAJewIAAAAAAAAJfAIAAAAAAX0CAACvAAAAAAAAAAF+AgAAeAAAAAAAyEEAAGBBAX8CAAAVAAAA//9MQ1VVfUIMe75Bqqo6QRKDvj8GgAIAAAM2NiUKCYECAAAJiAEAADQDAAD/////AQEKCYICAAABAAoAAdUBAAA1AAAAAYMCAAAiAAAAXm6MQ8XKi0IBhAIAAKYAAAABAAAAAAAAAAAAAAAACYUCAAAAAAAACYYCAAAAAAGHAgAArwAAAAAAAAABiAIAAHgAAAAAAMhBAABgQQGJAgAAFQAAAFWVhkNVVWlCDHu+QaqqOkESg74/BooCAAADNjglCgmLAgAACYgBAAA0AwAA/////wEBCgmMAgAAAQAKAAHYAQAAJAAAAAoKAAAAAAAoQQl8AAAACX0AAAAJjQIAAAAACY4CAAAB2QEAAH4AAAAKCgAAAAD///8ADgAAAAABAd0BAACzAAAACY8CAAABAAAAAQAAAAHeAQAAewAAAAmQAgAACgffAQAAAAEAAAAAAAAABB9BcGxvcmlzLkJhc2UuT2JqZWN0cy5EYXRhT2JqZWN0AwAAAAfgAQAAAAEAAAAIAAAABBxBcGxvcmlzLkJhc2UuVUkuVmlzdWFsT2JqZWN0AwAAAAlOAQAACdIBAAAJ0wEAAAnUAQAACdUBAAANAwHhAQAANQAAAAGRAgAAIgAAADiLv0PmXbhCAZICAACmAAAAAQAAAAAAAAAAAACgQAmTAgAAAAAAAAmUAgAAAAABlQIAAK8AAAAAAAAAAZYCAAB4AAAAAADIQQAAYEEBlwIAABUAAACq6rtDqqqhQgx7vkGqqjpBEoO+PwaYAgAAAzYyJQoJmQIAAAmIAQAANAMAAP////8BAQoJmgIAAAEACgAB4gEAADUAAAABmwIAACIAAABBfd9Dm9gNQwGcAgAApgAAAAEAAAAAAAAAAAAAAAAJnQIAAAAAAAAJngIAAAAAAZ8CAACvAAAAAAAAAAGgAgAAeAAAAAAAyEEAAGBBAaECAAAVAAAA/3/ZQwAAAkMMe75Bqqo6QRKDvj8GogIAAAM0OSUKCaMCAAAJiAEAADQDAAD/////AQEKCaQCAAABAAoAAeMBAAA1AAAAAaUCAAAiAAAASm//Q/7pAUMBpgIAAKYAAAABAAAAAAAAAAAAAAAACacCAAAAAAAACagCAAAAAAGpAgAArwAAAAAAAAABqgIAAHgAAAAAAMhBAABgQQGrAgAAFQAAAFWV+UOqquxCDHu+QaqqOkESg74/BqwCAAADNTIlCgmtAgAACYgBAAA0AwAA/////wEBCgmuAgAAAQAKAAHkAQAANQAAAAGvAgAAIgAAAKmwD0Q2ZwJDAbACAACmAAAAAQAAAAAAAAAAAAAAAAmxAgAAAAAAAAmyAgAAAAABswIAAK8AAAAAAAAAAbQCAAB4AAAAAADIQQAAYEEBtQIAABUAAAAAoAxEqqrsQgx7vkGqqjpBEoO+Pwa2AgAAAzUyJQoJtwIAAAmIAQAANAMAAP////8BAQoJuAIAAAEACgAB5wEAACQAAAAKCgAAAAAAKEEJfAAAAAl9AAAACbkCAAAAAAm6AgAAAegBAAB+AAAACgoAAAAA////AA4AAAAAAQHsAQAAswAAAAm7AgAAAQAAAAEAAAAB7QEAAHsAAAAJvAIAAAoH7gEAAAABAAAACAAAAAQcQXBsb3Jpcy5CYXNlLlVJLlZpc3VhbE9iamVjdAMAAAAJVAEAAAnhAQAACeIBAAAJ4wEAAAnkAQAADQMB7wEAADUAAAABvQIAACIAAAA/a/pD+/93QQG+AgAApgAAAAUAAAAAAAAAAAAAAAAJvwIAAAAAAAAJwAIAAAAAAcECAACvAAAAAAAAAAHCAgAAeAAAAAAA6EIAAGBBAcMCAAAVAAAAVZX5Q1VVfUFtScdCqqo6QRKDvj8JLAEAAAoJxAIAAAmIAQAAhAMAAP////8BAQoJxQIAAAEACgAB8AEAAB0AAAABxgIAACIAAACRK/ND+/93QQHHAgAAIgAAAD/r+EPf+tdBCcgCAAAJyQIAAAAAAAAKAcoCAAB4AAAAAAAAAAAAAAABywIAAHgAAAAAAAAAAAAAAAAAAAABzAIAABUAAAAAAAAAAAAAAAAAAAAAAAAAmAMAAP////8BAQoJzQIAAAEACgAB8QEAACYAAAAJzgIAAAAAAAAAAAAAAfIBAAAnAAAACc8CAAACAAAAAgAAAAHzAQAANQAAAAHQAgAAIgAAAD9r+kNKgQRCAdECAACmAAAABQAAAAAAAAAAAAAAAAnSAgAAAAAAAAnTAgAAAAAB1AIAAK8AAAAAAAAAAdUCAAB4AAAAAABkQgAAYEEB1gIAABUAAABVlflDVVUFQjHoSUKqqjpBEoO+Pwk0AQAACgnXAgAACYgBAACEAwAA/////wEBCgnYAgAAAQAKAAH0AQAAHQAAAAHZAgAAIgAAAJEr80NKgQRCAdoCAAAiAAAAP+v4Q7t+MkIJ2wIAAAncAgAAAAAAAAoB3QIAAHgAAAAAAAAAAAAAAAHeAgAAeAAAAAAAAAAAAAAAAAAAAAHfAgAAFQAAAAAAAAAAAAAAAAAAAAAAAACYAwAA/////wEBCgngAgAAAQAKAAH1AQAAJgAAAAnOAgAAAAAAAAAAAAAB9gEAACcAAAAJ4QIAAAIAAAACAAAAAfcBAAA1AAAAAeICAAAiAAAAP2v6Q5YCS0IB4wIAAKYAAAAFAAAAAAAAAAAAAAAACeQCAAAAAAAACeUCAAAAAAHmAgAArwAAAAAAAAAB5wIAAHgAAAAAAKhCAABgQQHoAgAAFQAAAFWV+UNVVUtCGPSRQqqqOkESg74/CTwBAAAKCekCAAAJiAEAAIQDAAD/////AQEKCeoCAAABAAoAAfgBAAAdAAAAAesCAAAiAAAAkSvzQ5YCS0IB7AIAACIAAAA/6/hDBwB5QgntAgAACe4CAAAAAAAACgHvAgAAeAAAAAAAAAAAAAAAAfACAAB4AAAAAAAAAAAAAAAAAAAAAfECAAAVAAAAAAAAAAAAAAAAAAAAAAAAAJgDAAD/////AQEKCfICAAABAAoAAfkBAAAmAAAACc4CAAAAAAAAAAAAAAH6AQAAJwAAAAnzAgAAAgAAAAIAAAAB+wEAADUAAAAB9AIAACIAAAA/a/pD8cGIQgH1AgAApgAAAAUAAAAAAAAAAAAAAAAJ9gIAAAAAAAAJ9wIAAAAAAfgCAACvAAAAAAAAAAH5AgAAeAAAAAAAEUMAAGBBAfoCAAAVAAAAVZX5Q6qqiELCnvdCqqo6QRKDvj8JRAEAAAoJ+wIAAAmIAQAAhAMAAP////8BAQoJ/AIAAAEACgAB/AEAAB0AAAAB/QIAACIAAACRK/ND8cGIQgH+AgAAIgAAAD/r+EOpwJ9CCf8CAAAJAAMAAAAAAAAKAQEDAAB4AAAAAAAAAAAAAAABAgMAAHgAAAAAAAAAAAAAAAAAAAABAwMAABUAAAAAAAAAAAAAAAAAAAAAAAAAmAMAAP////8BAQoJBAMAAAEACgAB/QEAACYAAAAJzgIAAAAAAAAAAAAAAf4BAAAnAAAACQUDAAACAAAAAgAAAAEBAgAAdgAAAAoKAAAAQD8JBgMAAAkHAwAAAQAAAP7///8AAAAAAQAAAAAAAAAAAAAAAQAAAAAAAAAAAAABAgIAAHsAAAAJCAMAAAoBBQIAACQAAAAKCgAAAAAAKEEJfAAAAAl9AAAACQkDAAAAAAkKAwAAAQYCAAB+AAAACgoAAAAA////AA4AAAAAAQELAgAAswAAAAkLAwAAAQAAAAEAAAABDAIAAHsAAAAJDAMAAAoHDQIAAAABAAAABAAAAAQcQXBsb3Jpcy5CYXNlLlVJLlZpc3VhbE9iamVjdAMAAAAJWwEAAAlcAQAACgoBEAIAAHYAAAAKCgAAAEA/CQ0DAAAJDgMAAAEAAAD+////AAAAAAEAAAAAAAAAAAAAAAEAAAAAAAAAAAAAARECAAB7AAAACQ8DAAAKARQCAAAkAAAACgoAAAAAAChBCXwAAAAJfQAAAAkQAwAAAAAJEQMAAAEVAgAAfgAAAAoKAAAAAP///wAOAAAAAAEBGgIAALMAAAAJEgMAAAEAAAADAAAAARsCAAB7AAAACRMDAAAKBxwCAAAAAQAAAAQAAAAEHEFwbG9yaXMuQmFzZS5VSS5WaXN1YWxPYmplY3QDAAAACWEBAAAJYgEAAAoKAR8CAAB2AAAACgoAAABAPwkUAwAACRUDAAABAAAA/v///wAAAAABAAAAAAAAAAAAAAABAAAAAAAAAAAAAAEgAgAAewAAAAkWAwAACgEjAgAAJAAAAAoKAAAAAAAoQQl8AAAACX0AAAAJFwMAAAAACRgDAAABJAIAAH4AAAAKCgAAAAD///8ADgAAAAABASkCAACzAAAACRkDAAABAAAAAwAAAAEqAgAAewAAAAkaAwAACgcrAgAAAAEAAAAEAAAABBxBcGxvcmlzLkJhc2UuVUkuVmlzdWFsT2JqZWN0AwAAAAlnAQAACWgBAAAKCgEuAgAAdgAAAAoKAAAAQD8JGwMAAAkcAwAAAQAAAP7///8AAAAAAQAAAAAAAAAAAAAAAQAAAAAAAAAAAAABLwIAAHsAAAAJHQMAAAoBMgIAACQAAAAKCgAAAAAAKEEJfAAAAAl9AAAACR4DAAAAAAkfAwAAATMCAAB+AAAACgoAAAAA////AA4AAAAAAQE4AgAAswAAAAkgAwAAAQAAAAMAAAABOQIAAHsAAAAJIQMAAAoHOgIAAAABAAAABAAAAAQcQXBsb3Jpcy5CYXNlLlVJLlZpc3VhbE9iamVjdAMAAAAJbQEAAAluAQAACgoBPQIAAHYAAAAKCgAAAEA/CSIDAAAJIwMAAAEAAAD+////AAAAAAEAAAAAAAAAAAAAAAEAAAAAAAAAAAAAAT4CAAB7AAAACSQDAAAKAUECAAAkAAAACgoAAAAAAChBCXwAAAAJfQAAAAklAwAAAAAJJgMAAAFCAgAAfgAAAAoKAAAAAP///wAOAAAAAAEBRwIAALMAAAAJJwMAAAEAAAADAAAAAUgCAAB7AAAACSgDAAAKB0kCAAAAAQAAAAAAAAAEH0FwbG9yaXMuQmFzZS5PYmplY3RzLkRhdGFPYmplY3QDAAAAB0oCAAAAAQAAAAQAAAAEHEFwbG9yaXMuQmFzZS5VSS5WaXN1YWxPYmplY3QDAAAACXMBAAAJdAEAAAoKB0sCAAAAAQAAAAQAAAAEHkFwbG9yaXMuQ2hhcnQuQ2hhcnREYXRhRWxlbWVudAIAAAAJKQMAAAkqAwAACgoHTAIAAAABAAAABAAAAAQfQXBsb3Jpcy5CYXNlLk9iamVjdHMuRGF0YU9iamVjdAMAAAAJKQMAAAkqAwAACgoHTQIAAAABAAAAAAAAAAQcQXBsb3Jpcy5CYXNlLlVJLlZpc3VhbE9iamVjdAMAAAABTgIAAH4AAAAKCgAAAAAAAAAADQAAAAABAU8CAAB+AAAACgoBAAAAAAAAAP////8AAQdQAgAAAAEAAAAEAAAABB1BcGxvcmlzLkJhc2UuT2JqZWN0cy5WYXJpYWJsZQMAAAAFKwMAAB1BcGxvcmlzLkJhc2UuT2JqZWN0cy5WYXJpYWJsZQIAAAAGTnVtYmVyCFBvc2l0aW9uAAAICAMAAAABAAAAAAAAAAEsAwAAKwMAAAAAAAAAAAAAAS0DAAArAwAAAAAAAAAAAAABLgMAACsDAAAAAAAAAAAAAA9RAgAAAQAAAAgAAAAAB1ICAAAAAQAAABAAAAAEHkFwbG9yaXMuQ2hhcnQuQ2hhcnREYXRhRWxlbWVudAIAAAAJLwMAAAkwAwAADQ4HUwIAAAABAAAAEAAAAAQfQXBsb3Jpcy5CYXNlLk9iamVjdHMuRGF0YU9iamVjdAMAAAAJLwMAAAkwAwAADQ4HVAIAAAABAAAAAAAAAAQcQXBsb3Jpcy5CYXNlLlVJLlZpc3VhbE9iamVjdAMAAAABVQIAAH4AAAAKCgAAAAAAAAAADQAAAAABAVYCAAB+AAAACgoBAAAAAAAAAP////8AAQdXAgAAAAEAAAAEAAAABB1BcGxvcmlzLkJhc2UuT2JqZWN0cy5WYXJpYWJsZQMAAAABMQMAACsDAAABAAAAAAAAAAEyAwAAKwMAAAAAAAAAAAAAATMDAAArAwAAAAAAAAAAAAABNAMAACsDAAAAAAAAAAAAAA9YAgAAAQAAAAgAAAAAB1kCAAAAAQAAABAAAAAEHkFwbG9yaXMuQ2hhcnQuQ2hhcnREYXRhRWxlbWVudAIAAAAJNQMAAAk2AwAADQ4HWgIAAAABAAAAEAAAAAQfQXBsb3Jpcy5CYXNlLk9iamVjdHMuRGF0YU9iamVjdAMAAAAJNQMAAAk2AwAADQ4BWwIAAH4AAAAKCgAAAAAAAAAADQAAAAABAVwCAAB+AAAACgoBAAAAAAAAAP////8AAQddAgAAAAEAAAAEAAAABB1BcGxvcmlzLkJhc2UuT2JqZWN0cy5WYXJpYWJsZQMAAAABNwMAACsDAAABAAAAAAAAAAE4AwAAKwMAAAAAAAAAAAAAATkDAAArAwAAAAAAAAAAAAABOgMAACsDAAAAAAAAAAAAAA9eAgAAAQAAAAgAAAAAB18CAAAAAQAAAAQAAAAEHkFwbG9yaXMuQ2hhcnQuQ2hhcnREYXRhRWxlbWVudAIAAAAJOwMAAAk8AwAACgoHYAIAAAABAAAABAAAAAQfQXBsb3Jpcy5CYXNlLk9iamVjdHMuRGF0YU9iamVjdAMAAAAJOwMAAAk8AwAACgoBYQIAAH4AAAAKCgAAAAAAAAAADQAAAAABAWICAAB+AAAACgoBAAAAAAAAAP////8AAQdjAgAAAAEAAAAEAAAABB1BcGxvcmlzLkJhc2UuT2JqZWN0cy5WYXJpYWJsZQMAAAABPQMAACsDAAABAAAAAAAAAAE+AwAAKwMAAAAAAAAAAAAAAT8DAAArAwAAAAAAAAAAAAABQAMAACsDAAAAAAAAAAAAAA9kAgAAAQAAAAgAAAAAAWcCAAAkAAAACgoAAAAAAChBCXwAAAAJfQAAAAlBAwAAAAAJQgMAAAFoAgAAfgAAAAoKAAAAAP///wAOAAAAAAABbQIAALMAAAAJQwMAAAEAAAABAAAAAW4CAAB7AAAACUQDAAAKAXECAAAkAAAACgoAAAAAAChBCXwAAAAJfQAAAAlFAwAAAAAJRgMAAAFyAgAAfgAAAAoKAAAAAP///wAOAAAAAAEBdwIAALMAAAAJRwMAAAEAAAABAAAAAXgCAAB7AAAACUgDAAAKAXsCAAAkAAAACgoAAAAAAChBCXwAAAAJfQAAAAlJAwAAAAAJSgMAAAF8AgAAfgAAAAoKAAAAAP///wAOAAAAAAABgQIAALMAAAAJSwMAAAEAAAABAAAAAYICAAB7AAAACUwDAAAKAYUCAAAkAAAACgoAAAAAAChBCXwAAAAJfQAAAAlNAwAAAAAJTgMAAAGGAgAAfgAAAAoKAAAAAP///wAOAAAAAAEBiwIAALMAAAAJTwMAAAEAAAABAAAAAYwCAAB7AAAACVADAAAKAY0CAAB+AAAACgoAAAAAAAAAAA0AAAAAAAGOAgAAfgAAAAoKAAAAAAAAAAANAAAAAAEHjwIAAAABAAAABAAAAAQdQXBsb3Jpcy5CYXNlLk9iamVjdHMuVmFyaWFibGUDAAAAAVEDAAArAwAAAQAAAAAAAAABUgMAACsDAAAAAAAAAAAAAAFTAwAAKwMAAAAAAAAAAAAAAVQDAAArAwAAAAAAAAAAAAAPkAIAAAEAAAAIHAEAAAGTAgAAJAAAAAoKAAAAAAAoQQl8AAAACX0AAAAJVQMAAAAACVYDAAABlAIAAH4AAAAKCgAAAAD///8ADgAAAAAAAZkCAACzAAAACVcDAAABAAAAAwAAAAGaAgAAewAAAAlYAwAACgGdAgAAJAAAAAoKAAAAAAAoQQl8AAAACX0AAAAJWQMAAAAACVoDAAABngIAAH4AAAAKCgAAAAD///8ADgAAAAABAaMCAACzAAAACVsDAAABAAAAAwAAAAGkAgAAewAAAAlcAwAACgGnAgAAJAAAAAoKAAAAAAAoQQl8AAAACX0AAAAJXQMAAAAACV4DAAABqAIAAH4AAAAKCgAAAAD///8ADgAAAAAAAa0CAACzAAAACV8DAAABAAAAAwAAAAGuAgAAewAAAAlgAwAACgGxAgAAJAAAAAoKAAAAAAAoQQl8AAAACX0AAAAJYQMAAAAACWIDAAABsgIAAH4AAAAKCgAAAAD///8ADgAAAAABAbcCAACzAAAACWMDAAABAAAAAwAAAAG4AgAAewAAAAlkAwAACgG5AgAAfgAAAAoKAAAAAAAAAAANAAAAAAABugIAAH4AAAAKCgAAAAAAAAAADQAAAAABB7sCAAAAAQAAAAQAAAAEHUFwbG9yaXMuQmFzZS5PYmplY3RzLlZhcmlhYmxlAwAAAAFlAwAAKwMAAAEAAAAAAAAAAWYDAAArAwAAAAAAAAAAAAABZwMAACsDAAAAAAAAAAAAAAFoAwAAKwMAAAAAAAAAAAAAD7wCAAABAAAACB0BAAABvwIAACQAAAAKCgAAAAAAKEEJfAAAAAl9AAAACWkDAAAAAAlqAwAAAcACAAB+AAAACgoBAAAAAAAAAP////8AAQHEAgAAswAAAAlrAwAAAQAAAAEAAAABxQIAAHsAAAAJbAMAAAoByAIAAHYAAAAKCgAAAEA/CW0DAAAJbgMAAAEAAAD+////AAAAAAEAAAAAAAAAAAAAAAEAAAAAAAAAAAAAAckCAAB3AAAACgoJbwMAAAlwAwAAAQAAAP7///8AAAAA/////wEAAc0CAAB7AAAACXEDAAAKB84CAAAAAQAAAAAAAAAEH0FwbG9yaXMuQmFzZS5PYmplY3RzLkRhdGFPYmplY3QDAAAAB88CAAAAAQAAAAQAAAAEHEFwbG9yaXMuQmFzZS5VSS5WaXN1YWxPYmplY3QDAAAACe8BAAAJ8AEAAAoKAdICAAAkAAAACgoAAAAAAChBCXwAAAAJfQAAAAlyAwAAAAAJcwMAAAHTAgAAfgAAAAoKAQAAAAAAAAD/////AAEB1wIAALMAAAAJdAMAAAEAAAABAAAAAdgCAAB7AAAACXUDAAAKAdsCAAB2AAAACgoAAABAPwl2AwAACXcDAAABAAAA/v///wAAAAABAAAAAAAAAAAAAAABAAAAAAAAAAAAAAHcAgAAdwAAAAoKCXgDAAAJeQMAAAEAAAD+////AAAAAP////8BAAHgAgAAewAAAAl6AwAACgfhAgAAAAEAAAAEAAAABBxBcGxvcmlzLkJhc2UuVUkuVmlzdWFsT2JqZWN0AwAAAAnzAQAACfQBAAAKCgHkAgAAJAAAAAoKAAAAAAAoQQl8AAAACX0AAAAJewMAAAAACXwDAAAB5QIAAH4AAAAKCgEAAAAAAAAA/////wABAekCAACzAAAACX0DAAABAAAAAQAAAAHqAgAAewAAAAl+AwAACgHtAgAAdgAAAAoKAAAAQD8JfwMAAAmAAwAAAQAAAP7///8AAAAAAQAAAAAAAAAAAAAAAQAAAAAAAAAAAAAB7gIAAHcAAAAKCgmBAwAACYIDAAABAAAA/v///wAAAAD/////AQAB8gIAAHsAAAAJgwMAAAoH8wIAAAABAAAABAAAAAQcQXBsb3Jpcy5CYXNlLlVJLlZpc3VhbE9iamVjdAMAAAAJ9wEAAAn4AQAACgoB9gIAACQAAAAKCgAAAAAAKEEJfAAAAAl9AAAACYQDAAAAAAmFAwAAAfcCAAB+AAAACgoBAAAAAAAAAP////8AAQH7AgAAswAAAAmGAwAAAQAAAAEAAAAB/AIAAHsAAAAJhwMAAAoB/wIAAHYAAAAKCgAAAEA/CYgDAAAJiQMAAAEAAAD+////AAAAAAEAAAAAAAAAAAAAAAEAAAAAAAAAAAAAAQADAAB3AAAACgoJigMAAAmLAwAAAQAAAP7///8AAAAA/////wEAAQQDAAB7AAAACYwDAAAKBwUDAAAAAQAAAAQAAAAEHEFwbG9yaXMuQmFzZS5VSS5WaXN1YWxPYmplY3QDAAAACfsBAAAJ/AEAAAoKAQYDAAB+AAAACgoAAAAAAAAAAA0AAAAAAAUHAwAAGkFwbG9yaXMuQmFzZS5PYmplY3RzLkNvbG9yBwAAABJEYXRhT2JqZWN0K21QYXJlbnQVRGF0YU9iamVjdCttQ29udGFpbmVyBW1UeXBlBG1SR0IQbVRoZW1lQ29sb3JJbmRleAxtQXV0b1VwZGF0ZWQJbU1vZGlmaWVkBAIAAAAAAB9BcGxvcmlzLkJhc2UuT2JqZWN0cy5MaW5lRm9ybWF0AwAAAAgICAEBAwAAAAkBAgAACgEAAAAAAAAA/////wABDwgDAAABAAAACGEBAAABCQMAAH4AAAAKCgAAAAAAAAAADQAAAAAAAQoDAAB+AAAACgoAAAAAAAAAAA0AAAAAAQcLAwAAAAEAAAAEAAAABB1BcGxvcmlzLkJhc2UuT2JqZWN0cy5WYXJpYWJsZQMAAAABjQMAACsDAAABAAAAAAAAAAGOAwAAKwMAAAAAAAAAAAAAAY8DAAArAwAAAAAAAAAAAAABkAMAACsDAAAAAAAAAAAAAA8MAwAAAQAAAAgmAAAAAQ0DAAB+AAAACgoAAAAAAAAAAA0AAAAAAAUOAwAAGkFwbG9yaXMuQmFzZS5PYmplY3RzLkNvbG9yBwAAABJEYXRhT2JqZWN0K21QYXJlbnQVRGF0YU9iamVjdCttQ29udGFpbmVyBW1UeXBlBG1SR0IQbVRoZW1lQ29sb3JJbmRleAxtQXV0b1VwZGF0ZWQJbU1vZGlmaWVkBAIAAAAAAB9BcGxvcmlzLkJhc2UuT2JqZWN0cy5MaW5lRm9ybWF0AwAAAAgICAEBAwAAAAkQAgAACgEAAAAAAAAA/////wABDw8DAAABAAAACGABAAABEAMAAH4AAAAKCgAAAAAAAAAADQAAAAAAAREDAAB+AAAACgoAAAAAAAAAAA0AAAAAAQcSAwAAAAEAAAAEAAAABB1BcGxvcmlzLkJhc2UuT2JqZWN0cy5WYXJpYWJsZQMAAAABkQMAACsDAAABAAAAAAAAAAGSAwAAKwMAAAAAAAAAAAAAAZMDAAArAwAAAAAAAAAAAAABlAMAACsDAAAAAAAAAAAAAA8TAwAAAQAAAAgjAAAAARQDAAB+AAAACgoAAAAAAAAAAA0AAAAAAAUVAwAAGkFwbG9yaXMuQmFzZS5PYmplY3RzLkNvbG9yBwAAABJEYXRhT2JqZWN0K21QYXJlbnQVRGF0YU9iamVjdCttQ29udGFpbmVyBW1UeXBlBG1SR0IQbVRoZW1lQ29sb3JJbmRleAxtQXV0b1VwZGF0ZWQJbU1vZGlmaWVkBAIAAAAAAB9BcGxvcmlzLkJhc2UuT2JqZWN0cy5MaW5lRm9ybWF0AwAAAAgICAEBAwAAAAkfAgAACgEAAAAAAAAA/////wABDxYDAAABAAAACF4BAAABFwMAAH4AAAAKCgAAAAAAAAAADQAAAAAAARgDAAB+AAAACgoAAAAAAAAAAA0AAAAAAQcZAwAAAAEAAAAEAAAABB1BcGxvcmlzLkJhc2UuT2JqZWN0cy5WYXJpYWJsZQMAAAABlQMAACsDAAABAAAAAAAAAAGWAwAAKwMAAAAAAAAAAAAAAZcDAAArAwAAAAAAAAAAAAABmAMAACsDAAAAAAAAAAAAAA8aAwAAAQAAAAgrAAAAARsDAAB+AAAACgoAAAAAAAAAAA0AAAAAAAUcAwAAGkFwbG9yaXMuQmFzZS5PYmplY3RzLkNvbG9yBwAAABJEYXRhT2JqZWN0K21QYXJlbnQVRGF0YU9iamVjdCttQ29udGFpbmVyBW1UeXBlBG1SR0IQbVRoZW1lQ29sb3JJbmRleAxtQXV0b1VwZGF0ZWQJbU1vZGlmaWVkBAIAAAAAAB9BcGxvcmlzLkJhc2UuT2JqZWN0cy5MaW5lRm9ybWF0AwAAAAgICAEBAwAAAAkuAgAACgEAAAAAAAAA/////wABDx0DAAABAAAACGIBAAABHgMAAH4AAAAKCgAAAAAAAAAADQAAAAAAAR8DAAB+AAAACgoAAAAAAAAAAA0AAAAAAQcgAwAAAAEAAAAEAAAABB1BcGxvcmlzLkJhc2UuT2JqZWN0cy5WYXJpYWJsZQMAAAABmQMAACsDAAABAAAAAAAAAAGaAwAAKwMAAAAAAAAAAAAAAZsDAAArAwAAAAAAAAAAAAABnAMAACsDAAAAAAAAAAAAAA8hAwAAAQAAAAgqAAAAASIDAAB+AAAACgoAAAAAAAAAAA0AAAAAAAUjAwAAGkFwbG9yaXMuQmFzZS5PYmplY3RzLkNvbG9yBwAAABJEYXRhT2JqZWN0K21QYXJlbnQVRGF0YU9iamVjdCttQ29udGFpbmVyBW1UeXBlBG1SR0IQbVRoZW1lQ29sb3JJbmRleAxtQXV0b1VwZGF0ZWQJbU1vZGlmaWVkBAIAAAAAAB9BcGxvcmlzLkJhc2UuT2JqZWN0cy5MaW5lRm9ybWF0AwAAAAgICAEBAwAAAAk9AgAACgEAAAAAAAAA/////wABDyQDAAABAAAACF8BAAABJQMAAH4AAAAKCgAAAAAAAAAADQAAAAAAASYDAAB+AAAACgoAAAAAAAAAAA0AAAAAAQcnAwAAAAEAAAAEAAAABB1BcGxvcmlzLkJhc2UuT2JqZWN0cy5WYXJpYWJsZQMAAAABnQMAACsDAAABAAAAAAAAAAGeAwAAKwMAAAAAAAAAAAAAAZ8DAAArAwAAAAAAAAAAAAABoAMAACsDAAAAAAAAAAAAAA8oAwAAAQAAAAgbAQAABSkDAAAeQXBsb3Jpcy5DaGFydC5DaGFydERhdGFFbGVtZW50EQAAAAZtTGFiZWwKbVJlY3RhbmdsZQVtTGluZQ5tQ3Jvc3NiYXJMaW5lcwdtTWFya2VyB21TZXJpZXMGbVZhbHVlB21WYWx1ZTILbUdyb3VwSW5kZXgPbUxhYmVsUG9zaXRpb25zEW1MYWJlbEFuY2hvck1vZGVzDm1MYWJlbFBvc2l0aW9uIG1TZWxmVHJpZ2dlcmVkTWFya2VyRm9ybWF0VXBkYXRlGERhdGFPYmplY3QrbUNoaWxkT2JqZWN0cxJEYXRhT2JqZWN0K21QYXJlbnQVRGF0YU9iamVjdCttQ29udGFpbmVyGURhdGFPYmplY3QrbVZpc3VhbE9iamVjdHMEBAQEBAQCAgAEBAAAAwQEAxxBcGxvcmlzLkNoYXJ0LkNvbm5lY3RlZExhYmVsAgAAABpBcGxvcmlzLkJhc2UuVUkuVmlzdWFsUmVjdAMAAAAaQXBsb3Jpcy5CYXNlLlVJLlZpc3VhbExpbmUDAAAAHEFwbG9yaXMuQmFzZS5VSS5WaXN1YWxMaW5lW10DAAAAGkFwbG9yaXMuQ2hhcnQuVmlzdWFsTWFya2VyAgAAAB1BcGxvcmlzLkNoYXJ0LkNoYXJ0RGF0YVNlcmllcwIAAAAIF1N5c3RlbS5EcmF3aW5nLlBvaW50RltdBAAAABlBcGxvcmlzLkJhc2UuQW5jaG9yTW9kZVtdAwAAAAg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oQMAAAmiAwAACgmjAwAACgkSAQAACAZg/6OlK+joPwoAAAAACaQDAAAJpQMAAAAAAAAACaYDAAAJEgEAAAkBAAAACacDAAABKgMAACkDAAAJqAMAAAmpAwAACgmqAwAACgkSAQAACAar8FzIFc7jPwoBAAAACasDAAAJrAMAAAAAAAAACa0DAAAJEgEAAAkBAAAACa4DAAABLwMAACkDAAAJrwMAAAmwAwAACgmxAwAACgkTAQAACAby3by6jenjPwoAAAAACbIDAAAJswMAAAAAAAAACbQDAAAJEwEAAAkBAAAACbUDAAABMAMAACkDAAAJtgMAAAm3AwAACgm4AwAACgkTAQAACAYPchb/y3ffPwoBAAAACbkDAAAJugMAAAAAAAAACbsDAAAJEwEAAAkBAAAACbwDAAABNQMAACkDAAAJvQMAAAm+AwAACgm/AwAACgkUAQAACAak0aJEAy7lPwoAAAAACcADAAAJwQMAAAAAAAAACcIDAAAJFAEAAAkBAAAACcMDAAABNgMAACkDAAAJxAMAAAnFAwAACgnGAwAACgkUAQAACAa/OKnxS7bgPwoBAAAACccDAAAJyAMAAAAAAAAACckDAAAJFAEAAAkBAAAACcoDAAABOwMAACkDAAAJywMAAAnMAwAACgnNAwAACgkVAQAACAZvEoPAyqHlPwoAAAAACc4DAAAJzwMAAAAAAAAACdADAAAJFQEAAAkBAAAACdEDAAABPAMAACkDAAAJ0gMAAAnTAwAACgnUAwAACgkVAQAACAZ56SYxCKzgPwoBAAAACdUDAAAJ1gMAAAAAAAAACdcDAAAJFQEAAAkBAAAACdgDAAABQQMAAH4AAAAKCgAAAAAAAAAADQAAAAAAAUIDAAB+AAAACgoAAAAAAAAAAA0AAAAAAQdDAwAAAAEAAAAEAAAABB1BcGxvcmlzLkJhc2UuT2JqZWN0cy5WYXJpYWJsZQMAAAAB2QMAACsDAAABAAAAAAAAAAHaAwAAKwMAAAAAAAAAAAAAAdsDAAArAwAAAAAAAAAAAAAB3AMAACsDAAAAAAAAAAAAAA9EAwAAAQAAAAgfAQAAAUUDAAB+AAAACgoAAAAAAAAAAA0AAAAAAAFGAwAAfgAAAAoKAAAAAAAAAAANAAAAAAEHRwMAAAABAAAABAAAAAQdQXBsb3Jpcy5CYXNlLk9iamVjdHMuVmFyaWFibGUDAAAAAd0DAAArAwAAAQAAAAAAAAAB3gMAACsDAAAAAAAAAAAAAAHfAwAAKwMAAAAAAAAAAAAAAeADAAArAwAAAAAAAAAAAAAPSAMAAAEAAAAIIAEAAAFJAwAAfgAAAAoKAAAAAAAAAAANAAAAAAABSgMAAH4AAAAKCgAAAAAAAAAADQAAAAABB0sDAAAAAQAAAAQAAAAEHUFwbG9yaXMuQmFzZS5PYmplY3RzLlZhcmlhYmxlAwAAAAHhAwAAKwMAAAEAAAAAAAAAAeIDAAArAwAAAAAAAAAAAAAB4wMAACsDAAAAAAAAAAAAAAHkAwAAKwMAAAAAAAAAAAAAD0wDAAABAAAACCEBAAABTQMAAH4AAAAKCgAAAAAAAAAADQAAAAAAAU4DAAB+AAAACgoAAAAAAAAAAA0AAAAAAQdPAwAAAAEAAAAEAAAABB1BcGxvcmlzLkJhc2UuT2JqZWN0cy5WYXJpYWJsZQMAAAAB5QMAACsDAAABAAAAAAAAAAHmAwAAKwMAAAAAAAAAAAAAAecDAAArAwAAAAAAAAAAAAAB6AMAACsDAAAAAAAAAAAAAA9QAwAAAQAAAAhTAQAAAVUDAAB+AAAACgoAAAAAAAAAAA0AAAAAAAFWAwAAfgAAAAoKAAAAAAAAAAANAAAAAAEHVwMAAAABAAAABAAAAAQdQXBsb3Jpcy5CYXNlLk9iamVjdHMuVmFyaWFibGUDAAAAAekDAAArAwAAAQAAAAAAAAAB6gMAACsDAAAAAAAAAAAAAAHrAwAAKwMAAAAAAAAAAAAAAewDAAArAwAAAAAAAAAAAAAPWAMAAAEAAAAIIwEAAAFZAwAAfgAAAAoKAAAAAAAAAAANAAAAAAABWgMAAH4AAAAKCgAAAAAAAAAADQAAAAABB1sDAAAAAQAAAAQAAAAEHUFwbG9yaXMuQmFzZS5PYmplY3RzLlZhcmlhYmxlAwAAAAHtAwAAKwMAAAEAAAAAAAAAAe4DAAArAwAAAAAAAAAAAAAB7wMAACsDAAAAAAAAAAAAAAHwAwAAKwMAAAAAAAAAAAAAD1wDAAABAAAACCQBAAABXQMAAH4AAAAKCgAAAAAAAAAADQAAAAAAAV4DAAB+AAAACgoAAAAAAAAAAA0AAAAAAQdfAwAAAAEAAAAEAAAABB1BcGxvcmlzLkJhc2UuT2JqZWN0cy5WYXJpYWJsZQMAAAAB8QMAACsDAAABAAAAAAAAAAHyAwAAKwMAAAAAAAAAAAAAAfMDAAArAwAAAAAAAAAAAAAB9AMAACsDAAAAAAAAAAAAAA9gAwAAAQAAAAglAQAAAWEDAAB+AAAACgoAAAAAAAAAAA0AAAAAAAFiAwAAfgAAAAoKAAAAAAAAAAANAAAAAAEHYwMAAAABAAAABAAAAAQdQXBsb3Jpcy5CYXNlLk9iamVjdHMuVmFyaWFibGUDAAAAAfUDAAArAwAAAQAAAAAAAAAB9gMAACsDAAAAAAAAAAAAAAH3AwAAKwMAAAAAAAAAAAAAAfgDAAArAwAAAAAAAAAAAAAPZAMAAAEAAAAIUgEAAAFpAwAAfgAAAAoKAAAAAAAAAAANAAAAAAABagMAAH4AAAAKCgEAAAAAAAAA/////wABB2sDAAAAAQAAAAQAAAAEHUFwbG9yaXMuQmFzZS5PYmplY3RzLlZhcmlhYmxlAwAAAAH5AwAAKwMAAAEAAAAAAAAAAfoDAAArAwAAAAAAAAAAAAAB+wMAACsDAAAAAAAAAAAAAAH8AwAAKwMAAAAAAAAAAAAAD2wDAAABAAAACFcBAAABbQMAAH4AAAAKCgAAAAD///8ADgAAAAAABW4DAAAaQXBsb3Jpcy5CYXNlLk9iamVjdHMuQ29sb3IHAAAAEkRhdGFPYmplY3QrbVBhcmVudBVEYXRhT2JqZWN0K21Db250YWluZXIFbVR5cGUEbVJHQhBtVGhlbWVDb2xvckluZGV4DG1BdXRvVXBkYXRlZAltTW9kaWZpZWQEAgAAAAAAH0FwbG9yaXMuQmFzZS5PYmplY3RzLkxpbmVGb3JtYXQDAAAACAgIAQEDAAAACcgCAAAKAQAAAAAAAAD/////AAEBbwMAAH4AAAAKCgAAAAAiQU4ADwAAAAAAAXADAAB+AAAACgoBAAAA////AP////8AAA9xAwAAAQAAAAhaAQAAAXIDAAB+AAAACgoAAAAAAAAAAA0AAAAAAAFzAwAAfgAAAAoKAQAAAAAAAAD/////AAEHdAMAAAABAAAABAAAAAQdQXBsb3Jpcy5CYXNlLk9iamVjdHMuVmFyaWFibGUDAAAAAf0DAAArAwAAAQAAAAAAAAAB/gMAACsDAAAAAAAAAAAAAAH/AwAAKwMAAAAAAAAAAAAAAQAEAAArAwAAAAAAAAAAAAAPdQMAAAEAAAAIVgEAAAF2AwAAfgAAAAoKAAAAAP///wAOAAAAAAAFdwMAABpBcGxvcmlzLkJhc2UuT2JqZWN0cy5Db2xvcgcAAAASRGF0YU9iamVjdCttUGFyZW50FURhdGFPYmplY3QrbUNvbnRhaW5lcgVtVHlwZQRtUkdCEG1UaGVtZUNvbG9ySW5kZXgMbUF1dG9VcGRhdGVkCW1Nb2RpZmllZAQCAAAAAAAfQXBsb3Jpcy5CYXNlLk9iamVjdHMuTGluZUZvcm1hdAMAAAAICAgBAQMAAAAJ2wIAAAoBAAAAAAAAAP////8AAQF4AwAAfgAAAAoKAAAAAD9pfgAFAAAAAAABeQMAAH4AAAAKCgEAAAD///8A/////wAAD3oDAAABAAAACFsBAAABewMAAH4AAAAKCgAAAAAAAAAADQAAAAAAAXwDAAB+AAAACgoBAAAAAAAAAP////8AAQd9AwAAAAEAAAAEAAAABB1BcGxvcmlzLkJhc2UuT2JqZWN0cy5WYXJpYWJsZQMAAAABAQQAACsDAAABAAAAAAAAAAECBAAAKwMAAAAAAAAAAAAAAQMEAAArAwAAAAAAAAAAAAABBAQAACsDAAAAAAAAAAAAAA9+AwAAAQAAAAhVAQAAAX8DAAB+AAAACgoAAAAA////AA4AAAAAAAWAAwAAGkFwbG9yaXMuQmFzZS5PYmplY3RzLkNvbG9yBwAAABJEYXRhT2JqZWN0K21QYXJlbnQVRGF0YU9iamVjdCttQ29udGFpbmVyBW1UeXBlBG1SR0IQbVRoZW1lQ29sb3JJbmRleAxtQXV0b1VwZGF0ZWQJbU1vZGlmaWVkBAIAAAAAAB9BcGxvcmlzLkJhc2UuT2JqZWN0cy5MaW5lRm9ybWF0AwAAAAgICAEBAwAAAAntAgAACgEAAAAAAAAA/////wABAYEDAAB+AAAACgoAAAAAcoSMAAYAAAAAAAGCAwAAfgAAAAoKAQAAAP///wD/////AAAPgwMAAAEAAAAIWQEAAAGEAwAAfgAAAAoKAAAAAAAAAAANAAAAAAABhQMAAH4AAAAKCgEAAAAAAAAA/////wABB4YDAAAAAQAAAAQAAAAEHUFwbG9yaXMuQmFzZS5PYmplY3RzLlZhcmlhYmxlAwAAAAEFBAAAKwMAAAEAAAAAAAAAAQYEAAArAwAAAAAAAAAAAAABBwQAACsDAAAAAAAAAAAAAAEIBAAAKwMAAAAAAAAAAAAAD4cDAAABAAAACFQBAAABiAMAAH4AAAAKCgAAAAD///8ADgAAAAAABYkDAAAaQXBsb3Jpcy5CYXNlLk9iamVjdHMuQ29sb3IHAAAAEkRhdGFPYmplY3QrbVBhcmVudBVEYXRhT2JqZWN0K21Db250YWluZXIFbVR5cGUEbVJHQhBtVGhlbWVDb2xvckluZGV4DG1BdXRvVXBkYXRlZAltTW9kaWZpZWQEAgAAAAAAH0FwbG9yaXMuQmFzZS5PYmplY3RzLkxpbmVGb3JtYXQDAAAACAgIAQEDAAAACf8CAAAKAQAAAAAAAAD/////AAEBigMAAH4AAAAKCgAAAADtISUABwAAAAAAAYsDAAB+AAAACgoBAAAA////AP////8AAA+MAwAAAQAAAAhYAQAAAaEDAAAtAQAAClgCAAABCQQAAHwBAAACAAAAAQoEAAB9AQAAAQAAAAELBAAAFQAAAAL6cEL3xw9CRJBnQoLrlEMBDAQAAH8BAAAAAAAAAACgQAABDQQAACIAAAASYbJCgN04QwEOBAAApgAAAAAAAAAAAAAAAAAAAAAJDwQAAAAAAAAJEAQAAAEAAREEAACvAAAAAAAAAAESBAAAeAAAAAAAFEIAAGBBARMEAAAVAAAAAAAAAAAAAAAAAAAAAAAAAF662T8GFAQAAAM3OCUKCRUEAAAJiAEAADQDAAD/////AAEKCRYEAAABAAoAAaIDAAAdAAAAARcEAAAiAAAAAvpkQoFkqEMBGAQAACIAAAAjRfJC98cDQgkZBAAACRoEAAAAAAAACgEbBAAAeAAAAAAAAAAAAAAAARwEAAB4AAAAAAAAAAAAAAAAAAAAAR0EAAAVAAAAAAAAAAAAAAAAAAAAAAAAAKQBAAAAAAAAAQEKCR4EAAABAAoAB6MDAAAAAQAAAAIAAAAEGkFwbG9yaXMuQmFzZS5VSS5WaXN1YWxMaW5lAwAAAAoKB6QDAAAAAQAAAAMAAAAEFVN5c3RlbS5EcmF3aW5nLlBvaW50RgQAAAABHwQAACIAAAASYbJCgN04QwEgBAAAIgAAAAL6WEKA3ThDASEEAAAiAAAAI0X4QoDdOEMHpQMAAAABAAAAAwAAAAQXQXBsb3Jpcy5CYXNlLkFuY2hvck1vZGUDAAAAASIEAACmAAAAAAAAAAEjBAAApgAAAAIAAAABJAQAAKYAAAAEAAAAAaYDAAAmAAAACUkCAAAAAAAAAAAAAAGnAwAAJwAAAAklBAAAAgAAAAQAAAABqAMAAC0BAAAKWAIAAAEmBAAAfAEAAAIAAAABJwQAAH0BAAABAAAAASgEAAAVAAAANBKxQ+ZdxEJAkGdCD5prQwEpBAAAfwEAAAAAAAAAAKBAAAEqBAAAIgAAADiLv0P6+1dDASsEAACmAAAAAAAAAAAAAAAAAAAAAAksBAAAAAAAAAktBAAAAQABLgQAAK8AAAAAAAAAAS8EAAB4AAAAAAAUQgAAYEEBMAQAABUAAAAAAAAAAAAAAAAAAAAAAAAAXrrZPwYxBAAAAzYyJQoJMgQAAAmIAQAANAMAAP////8AAQoJMwQAAAEACgABqQMAAB0AAAABNAQAACIAAAA0kq9DgWSoQwE1BAAAIgAAADyEz0PmXb5CCTYEAAAJNwQAAAAAAAAKATgEAAB4AAAAAAAAAAAAAAABOQQAAHgAAAAAAAAAAAAAAAAAAAABOgQAABUAAAAAAAAAAAAAAAAAAAAAAAAApAEAAAAAAAABAQoJOwQAAAEACgAHqgMAAAABAAAAAgAAAAQaQXBsb3Jpcy5CYXNlLlVJLlZpc3VhbExpbmUDAAAACgoHqwMAAAABAAAAAwAAAAQVU3lzdGVtLkRyYXdpbmcuUG9pbnRGBAAAAAE8BAAAIgAAADiLv0P6+1dDAT0EAAAiAAAANBKuQ/r7V0MBPgQAACIAAAA8BNFD+vtXQwesAwAAAAEAAAADAAAABBdBcGxvcmlzLkJhc2UuQW5jaG9yTW9kZQMAAAABPwQAAKYAAAAAAAAAAUAEAACmAAAAAgAAAAFBBAAApgAAAAQAAAABrQMAACYAAAAJSQIAAAAAAAAAAAAAAa4DAAAnAAAACUIEAAACAAAABAAAAAGvAwAALQEAAApYAgAAAUMEAAB8AQAAAgAAAAFEBAAAfQEAAAEAAAABRQQAABUAAAAjRfhCub/BQkKQZ0Im6WxDAUYEAAB/AQAAAAAAAAAAoEAAAUcEAAAiAAAAmhQZQ29UV0MBSAQAAKYAAAAAAAAAAAAAAAAAAAAACUkEAAAAAAAACUoEAAABAAFLBAAArwAAAAAAAAABTAQAAHgAAAAAABRCAABgQQFNBAAAFQAAAAAAAAAAAAAAAAAAAAAAAABeutk/Bk4EAAADNjIlCglPBAAACYgBAAA0AwAA/////wABCglQBAAAAQAKAAGwAwAAHQAAAAFRBAAAIgAAACNF8kKBZKhDAVIEAAAiAAAAogY5Q7m/u0IJUwQAAAlUBAAAAAAAAAoBVQQAAHgAAAAAAAAAAAAAAAFWBAAAeAAAAAAAAAAAAAAAAAAAAAFXBAAAFQAAAAAAAAAAAAAAAAAAAAAAAACkAQAAAAAAAAEBCglYBAAAAQAKAAexAwAAAAEAAAACAAAABBpBcGxvcmlzLkJhc2UuVUkuVmlzdWFsTGluZQMAAAAKCgeyAwAAAAEAAAADAAAABBVTeXN0ZW0uRHJhd2luZy5Qb2ludEYEAAAAAVkEAAAiAAAAmhQZQ29UV0MBWgQAACIAAAAjRexCb1RXQwFbBAAAIgAAAKIGPENvVFdDB7MDAAAAAQAAAAMAAAAEF0FwbG9yaXMuQmFzZS5BbmNob3JNb2RlAwAAAAFcBAAApgAAAAAAAAABXQQAAKYAAAACAAAAAV4EAACmAAAABAAAAAG0AwAAJgAAAAlfBAAAAAAAAAAAAAABtQMAACcAAAAJYAQAAAIAAAAEAAAAAbYDAAAtAQAAClgCAAABYQQAAHwBAAACAAAAAWIEAAB9AQAAAQAAAAFjBAAAFQAAAD0E0UOb2BNDQJBnQmfwOUMBZAQAAH8BAAAAAAAAAACgQAABZQQAACIAAABBfd9DztBwQwFmBAAApgAAAAAAAAAAAAAAAAAAAAAJZwQAAAAAAAAJaAQAAAEAAWkEAACvAAAAAAAAAAFqBAAAeAAAAAAAFEIAAGBBAWsEAAAVAAAAAAAAAAAAAAAAAAAAAAAAAF662T8GbAQAAAM0OSUKCW0EAAAJiAEAADQDAAD/////AAEKCW4EAAABAAoAAbcDAAAdAAAAAW8EAAAiAAAAPYTPQ4FkqEMBcAQAACIAAABFdu9Dm9gQQwlxBAAACXIEAAAAAAAACgFzBAAAeAAAAAAAAAAAAAAAAXQEAAB4AAAAAAAAAAAAAAAAAAAAAXUEAAAVAAAAAAAAAAAAAAAAAAAAAAAAAKQBAAAAAAAAAQEKCXYEAAABAAoAB7gDAAAAAQAAAAIAAAAEGkFwbG9yaXMuQmFzZS5VSS5WaXN1YWxMaW5lAwAAAAoKB7kDAAAAAQAAAAMAAAAEFVN5c3RlbS5EcmF3aW5nLlBvaW50RgQAAAABdwQAACIAAABBfd9DztBwQwF4BAAAIgAAAD0EzkPO0HBDAXkEAAAiAAAARfbwQ87QcEMHugMAAAABAAAAAwAAAAQXQXBsb3Jpcy5CYXNlLkFuY2hvck1vZGUDAAAAAXoEAACmAAAAAAAAAAF7BAAApgAAAAIAAAABfAQAAKYAAAAEAAAAAbsDAAAmAAAACV8EAAAAAAAAAAAAAAG8AwAAJwAAAAl9BAAAAgAAAAQAAAABvQMAAC0BAAAKWAIAAAF+BAAAfAEAAAIAAAABfwQAAH0BAAABAAAAAYAEAAAVAAAAogY8Q47TokJIkGdCPF98QwGBBAAAfwEAAAAAAAAAAKBAAAGCBAAAIgAAAKv4WENkmU9DAYMEAACmAAAAAAAAAAAAAAAAAAAAAAmEBAAAAAAAAAmFBAAAAQABhgQAAK8AAAAAAAAAAYcEAAB4AAAAAAAUQgAAYEEBiAQAABUAAAAAAAAAAAAAAAAAAAAAAAAAXrrZPwaJBAAAAzY2JQoJigQAAAmIAQAANAMAAP////8AAQoJiwQAAAEACgABvgMAAB0AAAABjAQAACIAAACiBjlDgWSoQwGNBAAAIgAAALTqeEOO05xCCY4EAAAJjwQAAAAAAAAKAZAEAAB4AAAAAAAAAAAAAAABkQQAAHgAAAAAAAAAAAAAAAAAAAABkgQAABUAAAAAAAAAAAAAAAAAAAAAAAAApAEAAAAAAAABAQoJkwQAAAEACgAHvwMAAAABAAAAAgAAAAQaQXBsb3Jpcy5CYXNlLlVJLlZpc3VhbExpbmUDAAAACgoHwAMAAAABAAAAAwAAAAQVU3lzdGVtLkRyYXdpbmcuUG9pbnRGBAAAAAGUBAAAIgAAAKv4WENkmU9DAZUEAAAiAAAAogY2Q2SZT0MBlgQAACIAAAC06ntDZJlPQwfBAwAAAAEAAAADAAAABBdBcGxvcmlzLkJhc2UuQW5jaG9yTW9kZQMAAAABlwQAAKYAAAAAAAAAAZgEAACmAAAAAgAAAAGZBAAApgAAAAQAAAABwgMAACYAAAAJXwQAAAAAAAAAAAAAAcMDAAAnAAAACZoEAAACAAAABAAAAAHEAwAALQEAAApYAgAAAZsEAAB8AQAAAgAAAAGcBAAAfQEAAAEAAAABnQQAABUAAABG9vBD/ukHQ0CQZ0IE30VDAZ4EAAB/AQAAAAAAAAAAoEAAAZ8EAAAiAAAASm//Q4DZakMBoAQAAKYAAAAAAAAAAAAAAAAAAAAACaEEAAAAAAAACaIEAAABAAGjBAAArwAAAAAAAAABpAQAAHgAAAAAABRCAABgQQGlBAAAFQAAAAAAAAAAAAAAAAAAAAAAAABeutk/BqYEAAADNTIlCgmnBAAACYgBAAA0AwAA/////wABCgmoBAAAAQAKAAHFAwAAHQAAAAGpBAAAIgAAAEZ270OBZKhDAaoEAAAiAAAAJ7QHRP7pBEMJqwQAAAmsBAAAAAAAAAoBrQQAAHgAAAAAAAAAAAAAAAGuBAAAeAAAAAAAAAAAAAAAAAAAAAGvBAAAFQAAAAAAAAAAAAAAAAAAAAAAAACkAQAAAAAAAAEBCgmwBAAAAQAKAAfGAwAAAAEAAAACAAAABBpBcGxvcmlzLkJhc2UuVUkuVmlzdWFsTGluZQMAAAAKCgfHAwAAAAEAAAADAAAABBVTeXN0ZW0uRHJhd2luZy5Qb2ludEYEAAAAAbEEAAAiAAAASm//Q4DZakMBsgQAACIAAABG9u1DgNlqQwGzBAAAIgAAACd0CESA2WpDB8gDAAAAAQAAAAMAAAAEF0FwbG9yaXMuQmFzZS5BbmNob3JNb2RlAwAAAAG0BAAApgAAAAAAAAABtQQAAKYAAAACAAAAAbYEAACmAAAABAAAAAHJAwAAJgAAAAlfBAAAAAAAAAAAAAABygMAACcAAAAJtwQAAAIAAAAEAAAAAcsDAAAtAQAAClgCAAABuAQAAHwBAAACAAAAAbkEAAB9AQAAAQAAAAG6BAAAFQAAALTqe0PFypdCQJBnQtDxgEMBuwQAAH8BAAAAAAAAAACgQAABvAQAACIAAABeboxDMtdMQwG9BAAApgAAAAAAAAAAAAAAAAAAAAAJvgQAAAAAAAAJvwQAAAAAAcAEAACvAAAAAAAAAAHBBAAAeAAAAAAAAAAAAAAAAcIEAAAVAAAAAAAAAAAAAAAAAAAAAAAAAAAAAAAGwwQAAAM2OCUKCcQEAAAJiAEAADQDAAD/////AAEKCcUEAAABAAoAAcwDAAAdAAAAAcYEAAAiAAAAtOp4Q4FkqEMBxwQAACIAAABiZ5xDxcqRQgnIBAAACckEAAAAAAAACgHKBAAAeAAAAAAAAAAAAAAAAcsEAAB4AAAAAAAAAAAAAAAAAAAAAcwEAAAVAAAAAAAAAAAAAAAAAAAAAAAAAKQBAAAAAAAAAQEKCc0EAAABAAoAB80DAAAAAQAAAAIAAAAEGkFwbG9yaXMuQmFzZS5VSS5WaXN1YWxMaW5lAwAAAAoKB84DAAAAAQAAAAMAAAAEFVN5c3RlbS5EcmF3aW5nLlBvaW50RgQAAAABzgQAACIAAABeboxDMtdMQwHPBAAAIgAAALTqdUMy10xDAdAEAAAiAAAAYuedQzLXTEMHzwMAAAABAAAAAwAAAAQXQXBsb3Jpcy5CYXNlLkFuY2hvck1vZGUDAAAAAdEEAACmAAAAAAAAAAHSBAAApgAAAAIAAAAB0wQAAKYAAAAEAAAAAdADAAAmAAAACc4CAAAAAAAAAAAAAAHRAwAAJwAAAAnUBAAAAgAAAAIAAAAB0gMAAC0BAAAKWAIAAAHVBAAAfAEAAAIAAAAB1gQAAH0BAAABAAAAAdcEAAAVAAAAJ3QIRDZnCENAkGdCzGFFQwHYBAAAfwEAAAAAAAAAAKBAAAHZBAAAIgAAAKmwD0QcGGtDAdoEAACmAAAAAAAAAAAAAAAAAAAAAAnbBAAAAAAAAAncBAAAAAAB3QQAAK8AAAAAAAAAAd4EAAB4AAAAAAAAAAAAAAAB3wQAABUAAAAAAAAAAAAAAAAAAAAAAAAAAAAAAAbgBAAAAzUyJQoJ4QQAAAmIAQAANAMAAP////8AAQoJ4gQAAAEACgAB0wMAAB0AAAAB4wQAACIAAAAntAdEgWSoQwHkBAAAIgAAACutF0Q2ZwVDCeUEAAAJ5gQAAAAAAAAKAecEAAB4AAAAAAAAAAAAAAAB6AQAAHgAAAAAAAAAAAAAAAAAAAAB6QQAABUAAAAAAAAAAAAAAAAAAAAAAAAApAEAAAAAAAABAQoJ6gQAAAEACgAH1AMAAAABAAAAAgAAAAQaQXBsb3Jpcy5CYXNlLlVJLlZpc3VhbExpbmUDAAAACgoH1QMAAAABAAAAAwAAAAQVU3lzdGVtLkRyYXdpbmcuUG9pbnRGBAAAAAHrBAAAIgAAAKmwD0QcGGtDAewEAAAiAAAAJ/QGRBwYa0MB7QQAACIAAAArbRhEHBhrQwfWAwAAAAEAAAADAAAABBdBcGxvcmlzLkJhc2UuQW5jaG9yTW9kZQMAAAAB7gQAAKYAAAAAAAAAAe8EAACmAAAAAgAAAAHwBAAApgAAAAQAAAAB1wMAACYAAAAJzgIAAAAAAAAAAAAAAdgDAAAnAAAACfEEAAACAAAAAgAAAAUPB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SkDAAAKAAAAAABAQQl8AAAACX0AAAAJ8gQAAAEACfMEAAABEAQAAH4AAAAKCgAAAABGOzQACAAAAAABARUEAACzAAAACfQEAAABAAAAAQAAAAEWBAAAewAAAAn1BAAACgEZBAAAdgAAAAoKAAAAQD8J9gQAAAn3BAAAAQAAAP7///8AAAAAAQAAAAAAAAAAAAAAAQAAAAAAAAAAAAABGgQAAHcAAAAKCgn4BAAACfkEAAABAAAA/v///wAAAAD/////AAABHgQAAHsAAAAJ+gQAAAoHJQQAAAABAAAABAAAAAQcQXBsb3Jpcy5CYXNlLlVJLlZpc3VhbE9iamVjdAMAAAAJogMAAAmhAwAACgoFLAQ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eQXBsb3Jpcy5DaGFydC5DaGFydERhdGFFbGVtZW50AgAAAAEBAQsaQXBsb3Jpcy5CYXNlLk9iamVjdHMuQ29sb3IDAAAAAQEaQXBsb3Jpcy5CYXNlLk9iamVjdHMuQ29sb3IDAAAAAwAAAAkqAwAACgAAAAAAQEEJfAAAAAl9AAAACfsEAAABAAn8BAAAAS0EAAB+AAAACgoAAAAARjs0AAgAAAAAAQEyBAAAswAAAAn9BAAAAQAAAAMAAAABMwQAAHsAAAAJ/gQAAAoBNgQAAHYAAAAKCgAAAEA/Cf8EAAAJAAUAAAEAAAD+////AAAAAAEAAAAAAAAAAAAAAAEAAAAAAAAAAAAAATcEAAB3AAAACgoJAQUAAAkCBQAAAQAAAP7///8AAAAA/////wAAATsEAAB7AAAACQMFAAAKB0IEAAAAAQAAAAQAAAAEHEFwbG9yaXMuQmFzZS5VSS5WaXN1YWxPYmplY3QDAAAACakDAAAJqAMAAAoKBUk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kFwbG9yaXMuQ2hhcnQuQ2hhcnREYXRhRWxlbWVudAIAAAABAQELGkFwbG9yaXMuQmFzZS5PYmplY3RzLkNvbG9yAwAAAAEBGkFwbG9yaXMuQmFzZS5PYmplY3RzLkNvbG9yAwAAAAMAAAAJLwMAAAoAAAAAAEBBCXwAAAAJfQAAAAkEBQAAAQAJBQUAAAFKBAAAfgAAAAoKAAAAAD9pfgAFAAAAAAEBTwQAALMAAAAJBgUAAAEAAAADAAAAAVAEAAB7AAAACQcFAAAKAVMEAAB2AAAACgoAAABAPwkIBQAACQkFAAABAAAA/v///wAAAAABAAAAAAAAAAAAAAABAAAAAAAAAAAAAAFUBAAAdwAAAAoKCQoFAAAJCwUAAAEAAAD+////AAAAAP////8AAAFYBAAAewAAAAkMBQAACgdfBAAAAAEAAAAAAAAABB9BcGxvcmlzLkJhc2UuT2JqZWN0cy5EYXRhT2JqZWN0AwAAAAdgBAAAAAEAAAAEAAAABBxBcGxvcmlzLkJhc2UuVUkuVmlzdWFsT2JqZWN0AwAAAAmwAwAACa8DAAAKCgVnB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TADAAAKAAAAAABAQQl8AAAACX0AAAAJDQUAAAEACQ4FAAABaAQAAH4AAAAKCgAAAAA/aX4ABQAAAAABAW0EAACzAAAACQ8FAAABAAAAAwAAAAFuBAAAewAAAAkQBQAACgFxBAAAdgAAAAoKAAAAQD8JEQUAAAkSBQAAAQAAAP7///8AAAAAAQAAAAAAAAAAAAAAAQAAAAAAAAAAAAABcgQAAHcAAAAKCgkTBQAACRQFAAABAAAA/v///wAAAAD/////AAABdgQAAHsAAAAJFQUAAAoHfQQAAAABAAAABAAAAAQcQXBsb3Jpcy5CYXNlLlVJLlZpc3VhbE9iamVjdAMAAAAJtwMAAAm2AwAACgoFhAQ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eQXBsb3Jpcy5DaGFydC5DaGFydERhdGFFbGVtZW50AgAAAAEBAQsaQXBsb3Jpcy5CYXNlLk9iamVjdHMuQ29sb3IDAAAAAQEaQXBsb3Jpcy5CYXNlLk9iamVjdHMuQ29sb3IDAAAAAwAAAAk1AwAACgAAAAAAQEEJfAAAAAl9AAAACRYFAAABAAkXBQAAAYUEAAB+AAAACgoAAAAAcoSMAAYAAAAAAQGKBAAAswAAAAkYBQAAAQAAAAMAAAABiwQAAHsAAAAJGQUAAAoBjgQAAHYAAAAKCgAAAEA/CRoFAAAJGwUAAAEAAAD+////AAAAAAEAAAAAAAAAAAAAAAEAAAAAAAAAAAAAAY8EAAB3AAAACgoJHAUAAAkdBQAAAQAAAP7///8AAAAA/////wAAAZMEAAB7AAAACR4FAAAKB5oEAAAAAQAAAAQAAAAEHEFwbG9yaXMuQmFzZS5VSS5WaXN1YWxPYmplY3QDAAAACb4DAAAJvQMAAAoKBaE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kFwbG9yaXMuQ2hhcnQuQ2hhcnREYXRhRWxlbWVudAIAAAABAQELGkFwbG9yaXMuQmFzZS5PYmplY3RzLkNvbG9yAwAAAAEBGkFwbG9yaXMuQmFzZS5PYmplY3RzLkNvbG9yAwAAAAMAAAAJNgMAAAoAAAAAAEBBCXwAAAAJfQAAAAkfBQAAAQAJIAUAAAGiBAAAfgAAAAoKAAAAAHKEjAAGAAAAAAEBpwQAALMAAAAJIQUAAAEAAAADAAAAAagEAAB7AAAACSIFAAAKAasEAAB2AAAACgoAAABAPwkjBQAACSQFAAABAAAA/v///wAAAAABAAAAAAAAAAAAAAABAAAAAAAAAAAAAAGsBAAAdwAAAAoKCSUFAAAJJgUAAAEAAAD+////AAAAAP////8AAAGwBAAAewAAAAknBQAACge3BAAAAAEAAAAEAAAABBxBcGxvcmlzLkJhc2UuVUkuVmlzdWFsT2JqZWN0AwAAAAnFAwAACcQDAAAKCgW+B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TsDAAAKAAAAAABAQQl8AAAACX0AAAAJKAUAAAEACSkFAAABvwQAAH4AAAAKCgEAAAAAAAAA/////wABAcQEAACzAAAACSoFAAABAAAAAwAAAAHFBAAAewAAAAkrBQAACgHIBAAAdgAAAAoKAAAAQD8JLAUAAAktBQAAAQAAAP7///8AAAAAAQAAAAAAAAAAAAAAAQAAAAAAAAAAAAAByQQAAHcAAAAKCgkuBQAACS8FAAABAAAA/v///wAAAAD/////AAABzQQAAHsAAAAJMAUAAAoH1AQAAAABAAAABAAAAAQcQXBsb3Jpcy5CYXNlLlVJLlZpc3VhbE9iamVjdAMAAAAJzAMAAAnLAwAACgoF2wQ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eQXBsb3Jpcy5DaGFydC5DaGFydERhdGFFbGVtZW50AgAAAAEBAQsaQXBsb3Jpcy5CYXNlLk9iamVjdHMuQ29sb3IDAAAAAQEaQXBsb3Jpcy5CYXNlLk9iamVjdHMuQ29sb3IDAAAAAwAAAAk8AwAACgAAAAAAQEEJfAAAAAl9AAAACTEFAAABAAkyBQAAAdwEAAB+AAAACgoBAAAAAAAAAP////8AAQHhBAAAswAAAAkzBQAAAQAAAAMAAAAB4gQAAHsAAAAJNAUAAAoB5QQAAHYAAAAKCgAAAEA/CTUFAAAJNgUAAAEAAAD+////AAAAAAEAAAAAAAAAAAAAAAEAAAAAAAAAAAAAAeYEAAB3AAAACgoJNwUAAAk4BQAAAQAAAP7///8AAAAA/////wAAAeoEAAB7AAAACTkFAAAKB/EEAAAAAQAAAAQAAAAEHEFwbG9yaXMuQmFzZS5VSS5WaXN1YWxPYmplY3QDAAAACdMDAAAJ0gMAAAoKAfIEAAB+AAAACgoAAAAAAAAAAA0AAAAAAQHzBAAAfgAAAAoKAQAAAAAAAAD/////AAEH9AQAAAABAAAABAAAAAQdQXBsb3Jpcy5CYXNlLk9iamVjdHMuVmFyaWFibGUDAAAAAToFAAArAwAAAQAAAAAAAAABOwUAACsDAAAAAAAAAAAAAAE8BQAAKwMAAAAAAAAAAAAAAT0FAAArAwAAAAAAAAAAAAAP9QQAAAEAAAAIAAAAAAX2BAAAGkFwbG9yaXMuQmFzZS5PYmplY3RzLkNvbG9yBwAAABJEYXRhT2JqZWN0K21QYXJlbnQVRGF0YU9iamVjdCttQ29udGFpbmVyBW1UeXBlBG1SR0IQbVRoZW1lQ29sb3JJbmRleAxtQXV0b1VwZGF0ZWQJbU1vZGlmaWVkBAIAAAAAAB9BcGxvcmlzLkJhc2UuT2JqZWN0cy5MaW5lRm9ybWF0AwAAAAgICAEBAwAAAAkZBAAACgAAAAD///8ADgAAAAAABfcEAAAaQXBsb3Jpcy5CYXNlLk9iamVjdHMuQ29sb3IHAAAAEkRhdGFPYmplY3QrbVBhcmVudBVEYXRhT2JqZWN0K21Db250YWluZXIFbVR5cGUEbVJHQhBtVGhlbWVDb2xvckluZGV4DG1BdXRvVXBkYXRlZAltTW9kaWZpZWQEAgAAAAAAH0FwbG9yaXMuQmFzZS5PYmplY3RzLkxpbmVGb3JtYXQDAAAACAgIAQEDAAAACRkEAAAKAQAAAAAAAAD/////AAEB+AQAAH4AAAAKCgAAAAAiQU4ADwAAAAAAAfkEAAB+AAAACgoBAAAA////AP////8AAA/6BAAAAQAAAAgQAQAAAfsEAAB+AAAACgoAAAAAAAAAAA0AAAAAAQH8BAAAfgAAAAoKAQAAAAAAAAD/////AAEH/QQAAAABAAAABAAAAAQdQXBsb3Jpcy5CYXNlLk9iamVjdHMuVmFyaWFibGUDAAAAAT4FAAArAwAAAQAAAAAAAAABPwUAACsDAAAAAAAAAAAAAAFABQAAKwMAAAAAAAAAAAAAAUEFAAArAwAAAAAAAAAAAAAP/gQAAAEAAAAIAAAAAAX/BAAAGkFwbG9yaXMuQmFzZS5PYmplY3RzLkNvbG9yBwAAABJEYXRhT2JqZWN0K21QYXJlbnQVRGF0YU9iamVjdCttQ29udGFpbmVyBW1UeXBlBG1SR0IQbVRoZW1lQ29sb3JJbmRleAxtQXV0b1VwZGF0ZWQJbU1vZGlmaWVkBAIAAAAAAB9BcGxvcmlzLkJhc2UuT2JqZWN0cy5MaW5lRm9ybWF0AwAAAAgICAEBAwAAAAk2BAAACgAAAAD///8ADgAAAAAABQAFAAAaQXBsb3Jpcy5CYXNlLk9iamVjdHMuQ29sb3IHAAAAEkRhdGFPYmplY3QrbVBhcmVudBVEYXRhT2JqZWN0K21Db250YWluZXIFbVR5cGUEbVJHQhBtVGhlbWVDb2xvckluZGV4DG1BdXRvVXBkYXRlZAltTW9kaWZpZWQEAgAAAAAAH0FwbG9yaXMuQmFzZS5PYmplY3RzLkxpbmVGb3JtYXQDAAAACAgIAQEDAAAACTYEAAAKAQAAAAAAAAD/////AAEBAQUAAH4AAAAKCgAAAAAiQU4ADwAAAAAAAQIFAAB+AAAACgoBAAAA////AP////8AAA8DBQAAAQAAAAgPAQAAAQQFAAB+AAAACgoAAAAAAAAAAA0AAAAAAQEFBQAAfgAAAAoKAQAAAAAAAAD/////AAEHBgUAAAABAAAABAAAAAQdQXBsb3Jpcy5CYXNlLk9iamVjdHMuVmFyaWFibGUDAAAAAUIFAAArAwAAAQAAAAAAAAABQwUAACsDAAAAAAAAAAAAAAFEBQAAKwMAAAAAAAAAAAAAAUUFAAArAwAAAAAAAAAAAAAPBwUAAAEAAAAIAAAAAAUIBQAAGkFwbG9yaXMuQmFzZS5PYmplY3RzLkNvbG9yBwAAABJEYXRhT2JqZWN0K21QYXJlbnQVRGF0YU9iamVjdCttQ29udGFpbmVyBW1UeXBlBG1SR0IQbVRoZW1lQ29sb3JJbmRleAxtQXV0b1VwZGF0ZWQJbU1vZGlmaWVkBAIAAAAAAB9BcGxvcmlzLkJhc2UuT2JqZWN0cy5MaW5lRm9ybWF0AwAAAAgICAEBAwAAAAlTBAAACgAAAAD///8ADgAAAAAABQkFAAAaQXBsb3Jpcy5CYXNlLk9iamVjdHMuQ29sb3IHAAAAEkRhdGFPYmplY3QrbVBhcmVudBVEYXRhT2JqZWN0K21Db250YWluZXIFbVR5cGUEbVJHQhBtVGhlbWVDb2xvckluZGV4DG1BdXRvVXBkYXRlZAltTW9kaWZpZWQEAgAAAAAAH0FwbG9yaXMuQmFzZS5PYmplY3RzLkxpbmVGb3JtYXQDAAAACAgIAQEDAAAACVMEAAAKAQAAAAAAAAD/////AAEBCgUAAH4AAAAKCgAAAAA/aX4ABQAAAAAAAQsFAAB+AAAACgoBAAAA////AP////8AAA8MBQAAAQAAAAgMAQAAAQ0FAAB+AAAACgoAAAAAAAAAAA0AAAAAAQEOBQAAfgAAAAoKAQAAAAAAAAD/////AAEHDwUAAAABAAAABAAAAAQdQXBsb3Jpcy5CYXNlLk9iamVjdHMuVmFyaWFibGUDAAAAAUYFAAArAwAAAQAAAAAAAAABRwUAACsDAAAAAAAAAAAAAAFIBQAAKwMAAAAAAAAAAAAAAUkFAAArAwAAAAAAAAAAAAAPEAUAAAEAAAAIAAAAAAURBQAAGkFwbG9yaXMuQmFzZS5PYmplY3RzLkNvbG9yBwAAABJEYXRhT2JqZWN0K21QYXJlbnQVRGF0YU9iamVjdCttQ29udGFpbmVyBW1UeXBlBG1SR0IQbVRoZW1lQ29sb3JJbmRleAxtQXV0b1VwZGF0ZWQJbU1vZGlmaWVkBAIAAAAAAB9BcGxvcmlzLkJhc2UuT2JqZWN0cy5MaW5lRm9ybWF0AwAAAAgICAEBAwAAAAlxBAAACgAAAAD///8ADgAAAAAABRIFAAAaQXBsb3Jpcy5CYXNlLk9iamVjdHMuQ29sb3IHAAAAEkRhdGFPYmplY3QrbVBhcmVudBVEYXRhT2JqZWN0K21Db250YWluZXIFbVR5cGUEbVJHQhBtVGhlbWVDb2xvckluZGV4DG1BdXRvVXBkYXRlZAltTW9kaWZpZWQEAgAAAAAAH0FwbG9yaXMuQmFzZS5PYmplY3RzLkxpbmVGb3JtYXQDAAAACAgIAQEDAAAACXEEAAAKAQAAAAAAAAD/////AAEBEwUAAH4AAAAKCgAAAAA/aX4ABQAAAAAAARQFAAB+AAAACgoBAAAA////AP////8AAA8VBQAAAQAAAAgRAQAAARYFAAB+AAAACgoAAAAAAAAAAA0AAAAAAQEXBQAAfgAAAAoKAQAAAAAAAAD/////AAEHGAUAAAABAAAABAAAAAQdQXBsb3Jpcy5CYXNlLk9iamVjdHMuVmFyaWFibGUDAAAAAUoFAAArAwAAAQAAAAAAAAABSwUAACsDAAAAAAAAAAAAAAFMBQAAKwMAAAAAAAAAAAAAAU0FAAArAwAAAAAAAAAAAAAPGQUAAAEAAAAIAAAAAAUaBQAAGkFwbG9yaXMuQmFzZS5PYmplY3RzLkNvbG9yBwAAABJEYXRhT2JqZWN0K21QYXJlbnQVRGF0YU9iamVjdCttQ29udGFpbmVyBW1UeXBlBG1SR0IQbVRoZW1lQ29sb3JJbmRleAxtQXV0b1VwZGF0ZWQJbU1vZGlmaWVkBAIAAAAAAB9BcGxvcmlzLkJhc2UuT2JqZWN0cy5MaW5lRm9ybWF0AwAAAAgICAEBAwAAAAmOBAAACgAAAAD///8ADgAAAAAABRsFAAAaQXBsb3Jpcy5CYXNlLk9iamVjdHMuQ29sb3IHAAAAEkRhdGFPYmplY3QrbVBhcmVudBVEYXRhT2JqZWN0K21Db250YWluZXIFbVR5cGUEbVJHQhBtVGhlbWVDb2xvckluZGV4DG1BdXRvVXBkYXRlZAltTW9kaWZpZWQEAgAAAAAAH0FwbG9yaXMuQmFzZS5PYmplY3RzLkxpbmVGb3JtYXQDAAAACAgIAQEDAAAACY4EAAAKAQAAAAAAAAD/////AAEBHAUAAH4AAAAKCgAAAAByhIwABgAAAAAAAR0FAAB+AAAACgoBAAAA////AP////8AAA8eBQAAAQAAAAgOAQAAAR8FAAB+AAAACgoAAAAAAAAAAA0AAAAAAQEgBQAAfgAAAAoKAQAAAAAAAAD/////AAEHIQUAAAABAAAABAAAAAQdQXBsb3Jpcy5CYXNlLk9iamVjdHMuVmFyaWFibGUDAAAAAU4FAAArAwAAAQAAAAAAAAABTwUAACsDAAAAAAAAAAAAAAFQBQAAKwMAAAAAAAAAAAAAAVEFAAArAwAAAAAAAAAAAAAPIgUAAAEAAAAIAAAAAAUjBQAAGkFwbG9yaXMuQmFzZS5PYmplY3RzLkNvbG9yBwAAABJEYXRhT2JqZWN0K21QYXJlbnQVRGF0YU9iamVjdCttQ29udGFpbmVyBW1UeXBlBG1SR0IQbVRoZW1lQ29sb3JJbmRleAxtQXV0b1VwZGF0ZWQJbU1vZGlmaWVkBAIAAAAAAB9BcGxvcmlzLkJhc2UuT2JqZWN0cy5MaW5lRm9ybWF0AwAAAAgICAEBAwAAAAmrBAAACgAAAAD///8ADgAAAAAABSQFAAAaQXBsb3Jpcy5CYXNlLk9iamVjdHMuQ29sb3IHAAAAEkRhdGFPYmplY3QrbVBhcmVudBVEYXRhT2JqZWN0K21Db250YWluZXIFbVR5cGUEbVJHQhBtVGhlbWVDb2xvckluZGV4DG1BdXRvVXBkYXRlZAltTW9kaWZpZWQEAgAAAAAAH0FwbG9yaXMuQmFzZS5PYmplY3RzLkxpbmVGb3JtYXQDAAAACAgIAQEDAAAACasEAAAKAQAAAAAAAAD/////AAEBJQUAAH4AAAAKCgAAAAByhIwABgAAAAAAASYFAAB+AAAACgoBAAAA////AP////8AAA8nBQAAAQAAAAgNAQAAASgFAAB+AAAACgoAAAAAAAAAAA0AAAAAAQEpBQAAfgAAAAoKAQAAAAAAAAD/////AAEHKgUAAAABAAAABAAAAAQdQXBsb3Jpcy5CYXNlLk9iamVjdHMuVmFyaWFibGUDAAAAAVIFAAArAwAAAQAAAAAAAAABUwUAACsDAAAAAAAAAAAAAAFUBQAAKwMAAAAAAAAAAAAAAVUFAAArAwAAAAAAAAAAAAAPKwUAAAEAAAAIAAAAAAUsBQAAGkFwbG9yaXMuQmFzZS5PYmplY3RzLkNvbG9yBwAAABJEYXRhT2JqZWN0K21QYXJlbnQVRGF0YU9iamVjdCttQ29udGFpbmVyBW1UeXBlBG1SR0IQbVRoZW1lQ29sb3JJbmRleAxtQXV0b1VwZGF0ZWQJbU1vZGlmaWVkBAIAAAAAAB9BcGxvcmlzLkJhc2UuT2JqZWN0cy5MaW5lRm9ybWF0AwAAAAgICAEBAwAAAAnIBAAACgAAAAD///8ADgAAAAAABS0FAAAaQXBsb3Jpcy5CYXNlLk9iamVjdHMuQ29sb3IHAAAAEkRhdGFPYmplY3QrbVBhcmVudBVEYXRhT2JqZWN0K21Db250YWluZXIFbVR5cGUEbVJHQhBtVGhlbWVDb2xvckluZGV4DG1BdXRvVXBkYXRlZAltTW9kaWZpZWQEAgAAAAAAH0FwbG9yaXMuQmFzZS5PYmplY3RzLkxpbmVGb3JtYXQDAAAACAgIAQEDAAAACcgEAAAKAQAAAAAAAAD/////AAEBLgUAAH4AAAAKCgAAAADtISUABwAAAAAAAS8FAAB+AAAACgoBAAAA////AP////8AAA8wBQAAAQAAAAhKAQAAATEFAAB+AAAACgoAAAAAAAAAAA0AAAAAAQEyBQAAfgAAAAoKAQAAAAAAAAD/////AAEHMwUAAAABAAAABAAAAAQdQXBsb3Jpcy5CYXNlLk9iamVjdHMuVmFyaWFibGUDAAAAAVYFAAArAwAAAQAAAAAAAAABVwUAACsDAAAAAAAAAAAAAAFYBQAAKwMAAAAAAAAAAAAAAVkFAAArAwAAAAAAAAAAAAAPNAUAAAEAAAAIAAAAAAU1BQAAGkFwbG9yaXMuQmFzZS5PYmplY3RzLkNvbG9yBwAAABJEYXRhT2JqZWN0K21QYXJlbnQVRGF0YU9iamVjdCttQ29udGFpbmVyBW1UeXBlBG1SR0IQbVRoZW1lQ29sb3JJbmRleAxtQXV0b1VwZGF0ZWQJbU1vZGlmaWVkBAIAAAAAAB9BcGxvcmlzLkJhc2UuT2JqZWN0cy5MaW5lRm9ybWF0AwAAAAgICAEBAwAAAAnlBAAACgAAAAD///8ADgAAAAAABTYFAAAaQXBsb3Jpcy5CYXNlLk9iamVjdHMuQ29sb3IHAAAAEkRhdGFPYmplY3QrbVBhcmVudBVEYXRhT2JqZWN0K21Db250YWluZXIFbVR5cGUEbVJHQhBtVGhlbWVDb2xvckluZGV4DG1BdXRvVXBkYXRlZAltTW9kaWZpZWQEAgAAAAAAH0FwbG9yaXMuQmFzZS5PYmplY3RzLkxpbmVGb3JtYXQDAAAACAgIAQEDAAAACeUEAAAKAQAAAAAAAAD/////AAEBNwUAAH4AAAAKCgAAAADtISUABwAAAAAAATgFAAB+AAAACgoBAAAA////AP////8AAA85BQAAAQAAAAhJAQAACw=="/>
</p:tagLst>
</file>

<file path=ppt/tags/tag983.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IAAAAABRMAAAAYQXBsb3Jpcy5DaGFydC5TZXJpZXNUeXBlAQAAAAd2YWx1ZV9fAAgCAAAAAAAAAAkUAAAAAAEFFQAAABlTeXN0ZW0uRHJhd2luZy5SZWN0YW5nbGVGBAAAAAF4AXkFd2lkdGgGaGVpZ2h0AAAAAAsLCwsEAAAA//9/////f////3////9//wEWAAAAFQAAAP//f////3////9/////f/8AAAAAAAUXAAAALEFwbG9yaXMuQ2hhcnQuQXhpc0JyZWFrK0F4aXNCcmVha0Rpc3BsYXlNb2RlAQAAAAd2YWx1ZV9fAAgCAAAAAQAAAAEBAQoKCRgAAAAKCgAAAAAACRkAAAAKCRoAAAAEAAAACRsAAAAFHAAAABlBcGxvcmlzLkNoYXJ0Lk9yaWVudGF0aW9uAQAAAAd2YWx1ZV9fAAgCAAAAAQAAAAkdAAAAAR4AAAAVAAAABnsXQuz7o0EdzwtEdFuQQwAEHwAAAAtTeXN0ZW0uR3VpZAsAAAACX2ECX2ICX2MCX2QCX2UCX2YCX2cCX2gCX2kCX2oCX2sAAAAAAAAAAAAAAAgHBwICAgICAgICAAAAAAAAAAAAAAAAAAAAAAAKCgkgAAAAAAoKCgEAAAAAAAAA/////wABASEAAAAVAAAAAAAgQS66aEGxeBREXXSbQ32reEKKPwpDYAsbRC46qEMFIgAAABVTeXN0ZW0uRHJhd2luZy5Qb2ludEYCAAAAAXgBeQAACwsEAAAAf1DwQ9UBh0MGIwAAABBlY2wrWEgvaTlncDhwK215AAAAAAoKCSQAAAAJJQAAAAAKCSYAAAAKCQEAAAAJJwAAAAUGAAAAJUFwbG9yaXMuQ2hhcnQuQ29sdW1uT3JpZW50ZWRDaGFydEF4aXMqAAAABm1DaGFydAltQXhpc1R5cGURbVJlbGF0aXZlR2FwV2lkdGgNbUlzU2Vjb25kQXhpcxttT3RoZXJBeGlzQ3Jvc3Nlc0F0Q2F0ZWdvcnkXbUNhdGVnb3J5V2lkdGhUaWNrTWFya3MRbVNob3dMYWJlbERlZmF1bHQLQXhpcyttQ2hhcnQQQXhpcyttVmFsdWVMaW5lcxBBeGlzK21BeGlzQnJlYWtzEkF4aXMrbU1pblZhbHVlQXV0bw5BeGlzK21NaW5WYWx1ZRJBeGlzK21NYXhWYWx1ZUF1dG8OQXhpcyttTWF4VmFsdWUaQXhpcyttTWFpblRpY2tEaXN0YW5jZUF1dG8WQXhpcyttTWFpblRpY2tEaXN0YW5jZQ1BeGlzK21Mb2dBeGlzDUF4aXMrbUxvZ0Jhc2UYQXhpcyttSHVuZGVydFBlcmNlbnRBeGlzDUF4aXMrbVZpc2libGUdQXhpcyttVGlja21hcmtOdW1iZXJGb3JtYXRBYnMhQXhpcyttVGlja21hcmtOdW1iZXJGb3JtYXRQZXJjZW50GUF4aXMrbURhdGFOdW1iZXJGb3JtYXRBYnMdQXhpcyttRGF0YU51bWJlckZvcm1hdFBlcmNlbnQPQXhpcyttVGlja01hcmtzEEF4aXMrbVN0YXJ0UG9pbnQOQXhpcyttRW5kUG9pbnQQQXhpcyttVmlzdWFsTGluZRRBeGlzK21MYWJlbFBvc2l0aW9ucxZBeGlzK21MYWJlbEFuY2hvck1vZGVzGUF4aXMrbUxhYmVsQWRkSW5uZXJNYXJnaW4TQXhpcyttTGFiZWxQb3NpdGlvbhdBeGlzK21NYWduaXR1ZGVBYnNvbHV0ZRZBeGlzK21NYWduaXR1ZGVQZXJjZW50C0F4aXMrbUxhYmVsH0F4aXMrbVRpY2tNYXJrRXZlbnRTdXNwZW5kTGV2ZWwZQXhpcyttVGlja01hcmtRdWV1ZWRFdmVudCRBeGlzK21UaWNrTWFya1F1ZXVlZEV2ZW50c2l6ZUNoYW5nZWQYRGF0YU9iamVjdCttQ2hpbGRPYmplY3RzEkRhdGFPYmplY3QrbVBhcmVudBVEYXRhT2JqZWN0K21Db250YWluZXIZRGF0YU9iamVjdCttVmlzdWFsT2JqZWN0cwQEAAAAAAMEBAQAAAAAAAAAAAAABAQEBAQEBAQEBAcAAAAEAAAAAwQEAyFBcGxvcmlzLkNoYXJ0LkNvbHVtbk9yaWVudGVkQ2hhcnQCAAAAFkFwbG9yaXMuQ2hhcnQuQXhpc1R5cGUCAAAACwEBAXBTeXN0ZW0uTnVsbGFibGVgMVtbU3lzdGVtLkJvb2xlYW4sIG1zY29ybGliLCBWZXJzaW9uPTIuMC4wLjAsIEN1bHR1cmU9bmV1dHJhbCwgUHVibGljS2V5VG9rZW49Yjc3YTVjNTYxOTM0ZTA4OV1dE0FwbG9yaXMuQ2hhcnQuQ2hhcnQCAAAAmwFBcGxvcmlzLkJhc2UuT2JqZWN0cy5EYXRhT2JqZWN0Q29sbGVjdGlvbmAxW1tBcGxvcmlzLkNoYXJ0LlZhbHVlTGluZSwgQXBsb3Jpcy5DaGFydCwgVmVyc2lvbj00LjAuMC4xNDg2LCBDdWx0dXJlPW5ldXRyYWwsIFB1YmxpY0tleVRva2VuPTE2ZmMxM2EyMjZjMGU5NTFdXQMAAACbAUFwbG9yaXMuQmFzZS5PYmplY3RzLkRhdGFPYmplY3RDb2xsZWN0aW9uYDFbW0FwbG9yaXMuQ2hhcnQuQXhpc0JyZWFrLCBBcGxvcmlzLkNoYXJ0LCBWZXJzaW9uPTQuMC4wLjE0ODYsIEN1bHR1cmU9bmV1dHJhbCwgUHVibGljS2V5VG9rZW49MTZmYzEzYTIyNmMwZTk1MV1dAwAAAAEGAQYBBgELAQEaQXBsb3Jpcy5DaGFydC5OdW1iZXJGb3JtYXQCAAAAGkFwbG9yaXMuQ2hhcnQuTnVtYmVyRm9ybWF0AgAAABpBcGxvcmlzLkNoYXJ0Lk51bWJlckZvcm1hdAIAAAAaQXBsb3Jpcy5DaGFydC5OdW1iZXJGb3JtYXQCAAAAmgFBcGxvcmlzLkJhc2UuT2JqZWN0cy5EYXRhT2JqZWN0Q29sbGVjdGlvbmAxW1tBcGxvcmlzLkNoYXJ0LlRpY2tNYXJrLCBBcGxvcmlzLkNoYXJ0LCBWZXJzaW9uPTQuMC4wLjE0ODYsIEN1bHR1cmU9bmV1dHJhbCwgUHVibGljS2V5VG9rZW49MTZmYzEzYTIyNmMwZTk1MV1dAwAAABVTeXN0ZW0uRHJhd2luZy5Qb2ludEYEAAAAFVN5c3RlbS5EcmF3aW5nLlBvaW50RgQAAAAaQXBsb3Jpcy5CYXNlLlVJLlZpc3VhbExpbmUDAAAAF1N5c3RlbS5EcmF3aW5nLlBvaW50RltdBAAAABlBcGxvcmlzLkJhc2UuQW5jaG9yTW9kZVtdAwAAAAEICAgVQXBsb3Jpcy5CYXNlLlVJLkxhYmVsAwAAAAgB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FKAAAABZBcGxvcmlzLkNoYXJ0LkF4aXNUeXBlAQAAAAd2YWx1ZV9fAAgCAAAAAQAAAJqZGT8AAAAKCQEAAAAJKQAAAAkqAAAAAQAAAAAAAAAAAQAAAAAAAPA/AZqZmZmZmbk/AAAAIEEAAQkrAAAACgksAAAACS0AAAAJLgAAAAEvAAAAIgAAAAZ7F0Izm5pDATAAAAAiAAAAzUYVRDObmkMJMQAAAAkyAAAACTMAAAAJNAAAAAAAAAAAAAAAAAAAAAk1AAAAAAAAAAAACTYAAAAJAQAAAAkBAAAACTcAAAABBwAAAAYAAAAJAQAAAAE4AAAAKAAAAAAAAADNzEw/AAAACAEACQEAAAAJOQAAAAk6AAAAAQAAAAAAAAAAAZqZmZmZmek/AJqZmZmZmck/AAAAIEEAAQk7AAAACgk8AAAACT0AAAAJPgAAAAE/AAAAIgAAAAZ7F0Izm5pDAUAAAAAiAAAABnsXQuz7o0EJQQAAAAlCAAAACUMAAAAJRAAAAAAAAAAAAAAAAAAAAAlFAAAAAAAAAAAACUYAAAAJAQAAAAkBAAAACUcAAAAECAAAAKgBU3lzdGVtLkNvbGxlY3Rpb25zLkdlbmVyaWMuTGlzdGAxW1tBcGxvcmlzLkNoYXJ0LkNvbHVtbk9yaWVudGVkQ2hhcnQrVW51c2VkU2VyaWVzLCBBcGxvcmlzLkNoYXJ0LCBWZXJzaW9uPTQuMC4wLjE0ODYsIEN1bHR1cmU9bmV1dHJhbCwgUHVibGljS2V5VG9rZW49MTZmYzEzYTIyNmMwZTk1MV1dAwAAAAZfaXRlbXMFX3NpemUIX3ZlcnNpb24EAAAwQXBsb3Jpcy5DaGFydC5Db2x1bW5PcmllbnRlZENoYXJ0K1VudXNlZFNlcmllc1tdAgAAAAgICUgAAAAAAAAADwAAAAUJAAAAoQFBcGxvcmlzLkJhc2UuT2JqZWN0cy5EYXRhT2JqZWN0Q29sbGVjdGlvbmAxW1tBcGxvcmlzLkNoYXJ0LkNoYXJ0RGF0YVNlcmllcy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2hhcnREYXRhU2VyaWVzLCBBcGxvcmlzLkNoYXJ0LCBWZXJzaW9uPTQuMC4wLjE0ODYsIEN1bHR1cmU9bmV1dHJhbCwgUHVibGljS2V5VG9rZW49MTZmYzEzYTIyNmMwZTk1MV1dAwAAAJcBU3lzdGVtLkNvbGxlY3Rpb25zLkdlbmVyaWMuTGlzdGAxW1tBcGxvcmlzLkNoYXJ0LkNoYXJ0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JAAAACUoAAAAJAQAAAAkBAAAACUsAAAAFCgAAAKYBQXBsb3Jpcy5CYXNlLk9iamVjdHMuRGF0YU9iamVjdENvbGxlY3Rpb25gMVtbQXBsb3Jpcy5DaGFydC5Bbm5vdGF0aW9uRGF0YVNlcmllcywgQXBsb3Jpcy5DaGFydCwgVmVyc2lvbj00LjAuMC4xNDg2LCBDdWx0dXJlPW5ldXRyYWwsIFB1YmxpY0tleVRva2VuPTE2ZmMxM2EyMjZjMGU5NTFdXQYAAAALbUNvbGxlY3Rpb24FbUxpc3QYRGF0YU9iamVjdCttQ2hpbGRPYmplY3RzEkRhdGFPYmplY3QrbVBhcmVudBVEYXRhT2JqZWN0K21Db250YWluZXIZRGF0YU9iamVjdCttVmlzdWFsT2JqZWN0cwQDAwQEA6QBQXBsb3Jpcy5CYXNlLk9iamVjdHMuU29ydGFibGVDb2xsZWN0aW9uYDFbW0FwbG9yaXMuQ2hhcnQuQW5ub3RhdGlvbkRhdGFTZXJpZXMsIEFwbG9yaXMuQ2hhcnQsIFZlcnNpb249NC4wLjAuMTQ4NiwgQ3VsdHVyZT1uZXV0cmFsLCBQdWJsaWNLZXlUb2tlbj0xNmZjMTNhMjI2YzBlOTUxXV0DAAAAnAFTeXN0ZW0uQ29sbGVjdGlvbnMuR2VuZXJpYy5MaXN0YDFbW0FwbG9yaXMuQ2hhcnQuQW5ub3RhdGlvbkRhdGFTZXJpZXM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AAAAAlNAAAACQEAAAAJAQAAAAlOAAAABQsAAAChAUFwbG9yaXMuQmFzZS5PYmplY3RzLkRhdGFPYmplY3RDb2xsZWN0aW9uYDFbW0FwbG9yaXMuQ2hhcnQuQW5ub3RhdGlvbkdyb3Vw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Bbm5vdGF0aW9uR3JvdXAsIEFwbG9yaXMuQ2hhcnQsIFZlcnNpb249NC4wLjAuMTQ4NiwgQ3VsdHVyZT1uZXV0cmFsLCBQdWJsaWNLZXlUb2tlbj0xNmZjMTNhMjI2YzBlOTUxXV0DAAAAlwFTeXN0ZW0uQ29sbGVjdGlvbnMuR2VuZXJpYy5MaXN0YDFbW0FwbG9yaXMuQ2hhcnQuQW5ub3RhdGlvbk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8AAAAJUAAAAAkBAAAACQEAAAAJUQAAAAUMAAAAoAFBcGxvcmlzLkJhc2UuT2JqZWN0cy5EYXRhT2JqZWN0Q29sbGVjdGlvbmAxW1tBcGxvcmlzLkNoYXJ0LkNoYXJ0RGF0YUdyb3VwLCBBcGxvcmlzLkNoYXJ0LCBWZXJzaW9uPTQuMC4wLjE0ODYsIEN1bHR1cmU9bmV1dHJhbCwgUHVibGljS2V5VG9rZW49MTZmYzEzYTIyNmMwZTk1MV1dBgAAAAttQ29sbGVjdGlvbgVtTGlzdBhEYXRhT2JqZWN0K21DaGlsZE9iamVjdHMSRGF0YU9iamVjdCttUGFyZW50FURhdGFPYmplY3QrbUNvbnRhaW5lchlEYXRhT2JqZWN0K21WaXN1YWxPYmplY3RzBAMDBAQDngFBcGxvcmlzLkJhc2UuT2JqZWN0cy5Tb3J0YWJsZUNvbGxlY3Rpb25gMVtbQXBsb3Jpcy5DaGFydC5DaGFydERhdGFHcm91cCwgQXBsb3Jpcy5DaGFydCwgVmVyc2lvbj00LjAuMC4xNDg2LCBDdWx0dXJlPW5ldXRyYWwsIFB1YmxpY0tleVRva2VuPTE2ZmMxM2EyMjZjMGU5NTFdXQMAAACWAVN5c3RlbS5Db2xsZWN0aW9ucy5HZW5lcmljLkxpc3RgMVtbQXBsb3Jpcy5DaGFydC5DaGFydERhdGFHcm91c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SAAAACVMAAAAJAQAAAAkBAAAACVQAAAAFDQAAAJoBQXBsb3Jpcy5CYXNlLk9iamVjdHMuRGF0YU9iamVjdENvbGxlY3Rpb25gMVtbQXBsb3Jpcy5DaGFydC5EZWx0YUJhciwgQXBsb3Jpcy5DaGFydCwgVmVyc2lvbj00LjAuMC4xNDg2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RGVsdGFCYXIsIEFwbG9yaXMuQ2hhcnQsIFZlcnNpb249NC4wLjAuMTQ4NiwgQ3VsdHVyZT1uZXV0cmFsLCBQdWJsaWNLZXlUb2tlbj0xNmZjMTNhMjI2YzBlOTUxXV0DAAAAkAFTeXN0ZW0uQ29sbGVjdGlvbnMuR2VuZXJpYy5MaXN0YDFbW0FwbG9yaXMuQ2hhcnQuRGVsdGFCYX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QAAAAlWAAAACQEAAAAJAQAAAAlXAAAABQ4AAACdAUFwbG9yaXMuQmFzZS5PYmplY3RzLkRhdGFPYmplY3RDb2xsZWN0aW9uYDFbW0FwbG9yaXMuQ2hhcnQuRGVsdGFCcmlkZ2U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RlbHRhQnJpZGdlLCBBcGxvcmlzLkNoYXJ0LCBWZXJzaW9uPTQuMC4wLjE0ODYsIEN1bHR1cmU9bmV1dHJhbCwgUHVibGljS2V5VG9rZW49MTZmYzEzYTIyNmMwZTk1MV1dAwAAAJMBU3lzdGVtLkNvbGxlY3Rpb25zLkdlbmVyaWMuTGlzdGAxW1tBcGxvcmlzLkNoYXJ0LkRlbHRhQnJpZGdl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gAAAAJWQAAAAkBAAAACQEAAAAJWgAAAAUPAAAAnQFBcGxvcmlzLkJhc2UuT2JqZWN0cy5EYXRhT2JqZWN0Q29sbGVjdGlvbmAxW1tBcGxvcmlzLkNoYXJ0Lkdyb3d0aEFycm93LCBBcGxvcmlzLkNoYXJ0LCBWZXJzaW9uPTQuMC4wLjE0ODY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Hcm93dGhBcnJvdywgQXBsb3Jpcy5DaGFydCwgVmVyc2lvbj00LjAuMC4xNDg2LCBDdWx0dXJlPW5ldXRyYWwsIFB1YmxpY0tleVRva2VuPTE2ZmMxM2EyMjZjMGU5NTFdXQMAAACTAVN5c3RlbS5Db2xsZWN0aW9ucy5HZW5lcmljLkxpc3RgMVtbQXBsb3Jpcy5DaGFydC5Hcm93dGhBcnJvd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bAAAACVwAAAAJAQAAAAkBAAAACV0AAAAFEAAAAKQBQXBsb3Jpcy5CYXNlLk9iamVjdHMuRGF0YU9iamVjdENvbGxlY3Rpb25gMVtbQXBsb3Jpcy5DaGFydC5XYXRlcmZhbGxDb25uZWN0b3IsIEFwbG9yaXMuQ2hhcnQsIFZlcnNpb249NC4wLjAuMTQ4NiwgQ3VsdHVyZT1uZXV0cmFsLCBQdWJsaWNLZXlUb2tlbj0xNmZjMTNhMjI2YzBlOTUxXV0GAAAAC21Db2xsZWN0aW9uBW1MaXN0GERhdGFPYmplY3QrbUNoaWxkT2JqZWN0cxJEYXRhT2JqZWN0K21QYXJlbnQVRGF0YU9iamVjdCttQ29udGFpbmVyGURhdGFPYmplY3QrbVZpc3VhbE9iamVjdHMEAwMEBAOiAUFwbG9yaXMuQmFzZS5PYmplY3RzLlNvcnRhYmxlQ29sbGVjdGlvbmAxW1tBcGxvcmlzLkNoYXJ0LldhdGVyZmFsbENvbm5lY3RvciwgQXBsb3Jpcy5DaGFydCwgVmVyc2lvbj00LjAuMC4xNDg2LCBDdWx0dXJlPW5ldXRyYWwsIFB1YmxpY0tleVRva2VuPTE2ZmMxM2EyMjZjMGU5NTFdXQMAAACaAVN5c3RlbS5Db2xsZWN0aW9ucy5HZW5lcmljLkxpc3RgMVtbQXBsb3Jpcy5DaGFydC5XYXRlcmZhbGx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XgAAAAlfAAAACQEAAAAJAQAAAAlgAAAABREAAACiAUFwbG9yaXMuQmFzZS5PYmplY3RzLkRhdGFPYmplY3RDb2xsZWN0aW9uYDFbW0FwbG9yaXMuQ2hhcnQuRWxlbWVud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RWxlbWVudENvbm5lY3RvciwgQXBsb3Jpcy5DaGFydCwgVmVyc2lvbj00LjAuMC4xNDg2LCBDdWx0dXJlPW5ldXRyYWwsIFB1YmxpY0tleVRva2VuPTE2ZmMxM2EyMjZjMGU5NTFdXQMAAACYAVN5c3RlbS5Db2xsZWN0aW9ucy5HZW5lcmljLkxpc3RgMVtbQXBsb3Jpcy5DaGFydC5FbGVtZW50Q29ubmVjdG9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WEAAAAJYgAAAAkBAAAACQEAAAAJYwAAAAUUAAAAIkFwbG9yaXMuQ2hhcnQuQ29sdW1uT3JpZW50ZWRMZWdlbmQLAAAAFG1Db2x1bW5PcmllbnRlZENoYXJ0D21MZWdlbmRFbGVtZW50cw1MZWdlbmQrbUNoYXJ0GUxlZ2VuZCttQXV0b21hdGljT3JkZXJpbmcSTGVnZW5kK21MZWdlbmRBcmVhEUxlZ2VuZCttUmVjdGFuZ2xlD0xlZ2VuZCttQ29sdW1ucxhEYXRhT2JqZWN0K21DaGlsZE9iamVjdHMSRGF0YU9iamVjdCttUGFyZW50FURhdGFPYmplY3QrbUNvbnRhaW5lchlEYXRhT2JqZWN0K21WaXN1YWxPYmplY3RzBAQEAAQEAAMEBAMhQXBsb3Jpcy5DaGFydC5Db2x1bW5PcmllbnRlZENoYXJ0AgAAAK0BQXBsb3Jpcy5CYXNlLk9iamVjdHMuRGF0YU9iamVjdENvbGxlY3Rpb25gMVtbQXBsb3Jpcy5DaGFydC5Db2x1bW5PcmllbnRlZExlZ2VuZEVsZW1lbnQsIEFwbG9yaXMuQ2hhcnQsIFZlcnNpb249NC4wLjAuMTQ4NiwgQ3VsdHVyZT1uZXV0cmFsLCBQdWJsaWNLZXlUb2tlbj0xNmZjMTNhMjI2YzBlOTUxXV0DAAAAE0FwbG9yaXMuQ2hhcnQuQ2hhcnQCAAAAARlTeXN0ZW0uRHJhd2luZy5SZWN0YW5nbGVGBAAAABpBcGxvcmlzLkJhc2UuVUkuVmlzdWFsUmVjdAMAAAAI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lkAAAACQEAAAABAWUAAAAVAAAAYGsERAAAKEEAAKBCAABcQglmAAAAAQAAAAlnAAAACQEAAAAJAQAAAAloAAAABRg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FBcGxvcmlzLkNoYXJ0LkNvbHVtbk9yaWVudGVkQ2hhcnQCAAAAIUFwbG9yaXMuQ2hhcnQuQ29sdW1uT3JpZW50ZWRDaGFydAIAAAAIAQgIAQgICAIAAAAJAQAAAAkBAAAAAAAAAAAGaQAAAAEuAwAAAAZqAAAAASwGawAAAAEtBmwAAAABKwEAAAAACgoGbQAAAAhNL2QveXl5eQAAAAAKAAAAAAAAAAAHGQAAAAABAAAAAwAAAAQYQXBsb3Jpcy5DaGFydC5BeGlzTnVtYmVyAgAAAAVuAAAAGEFwbG9yaXMuQ2hhcnQuQXhpc051bWJlcgEAAAAHdmFsdWVfXwAIAgAAAAAAAAABbwAAAG4AAAAAAAAAAXAAAABuAAAAAAAAAA8aAAAAAwAAAAgBAAAAAgAAAAMAAAAFGwAAADBBcGxvcmlzLkNoYXJ0LkNvbHVtbk9yaWVudGVkQ2hhcnQrQ3VzdG9tU3RhY2tpbmcCAAAAD0JhcldpZHRoRmFjdG9ycwpHYXBzQmVmb3JlBwcLCAIAAAAJcQAAAAlyAAAABR0AAAAaQXBsb3Jpcy5CYXNlLlVJLlZpc3VhbFJlY3QUAAAAC21TdGFydFBvaW50CW1FbmRQb2ludAttTGluZUZvcm1hdAttRmlsbEZvcm1hdAltUm90YXRpb24SbVJlY3RhbmdsZVByb3ZpZGVyDG1QYWludE9mZnNldBJtUGFpbnRTaXplT3ZlcnJpZGUObUV4dHJhUm90YXRpb24ObUxhc3RQYWludFJlY3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EBAAEBAQABAAAAAAHAgAAAwAVU3lzdGVtLkRyYXdpbmcuUG9pbnRGBAAAABVTeXN0ZW0uRHJhd2luZy5Qb2ludEYEAAAAH0FwbG9yaXMuQmFzZS5PYmplY3RzLkxpbmVGb3JtYXQDAAAAH0FwbG9yaXMuQmFzZS5PYmplY3RzLkZpbGxGb3JtYXQDAAAACypBcGxvcmlzLkJhc2UuVUkuSVJlY3RhbmdsZVBvc2l0aW9uUHJvdmlkZXIDAAAAFFN5c3RlbS5EcmF3aW5nLlNpemVGBAAAABRTeXN0ZW0uRHJhd2luZy5TaXplRgQAAAALGVN5c3RlbS5EcmF3aW5nLlJlY3RhbmdsZUYEAAAACAgBAQgBAQ9TeXN0ZW0uSW50UHRyW10BAwAAAAFzAAAAIgAAAAZ7F0Ls+6NBAXQAAAAiAAAAzUYVRDObmkMJdQAAAAl2AAAAAAAAAAoFdwAAABRTeXN0ZW0uRHJhd2luZy5TaXplRgIAAAAFd2lkdGgGaGVpZ2h0AAALCwQAAAAAAAAAAAAAAAF4AAAAdwAAAAAAAAAAAAAAAAAAAAF5AAAAFQAAAAAAAAAAAAAAAAAAAAAAAAAUAAAA/////wEBCgl6AAAAAQAKAA8gAAAAZTMAAAJQSwMEFAAGAAgAAAAhAEkSrPeMAQAAeAYAABMACAJbQ29udGVudF9UeXBlc10ueG1s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MRV3U7CMBS+N/Edlt6arcCFMYbBBeilkogPUNsDW+japqf8vb1nA4ySuUlY4s2arf3+znbOhuNdoaMNeMytSVk/6bEIjLQqN8uUvc+f4wcWYRBGCW0NpGwPyMaj25vhfO8AI0IbTFkWgnvkHGUGhcDEOjC0s7C+EIFu/ZI7IVdiCXzQ691zaU0AE+JQcrDRcAoLsdYhetrR44MTgrNocjhXSqVMOKdzKQIZ5eUur8VtGnEbo87MxXaxyCUoK9cFWUoIP/ViS/F/EfCgscFZjcIxekLIyj1mucO7Y4RXqr3PFUQz4cOLKCgo32m+tX71Ye0qaa5DjdpZHnQehMIMIBQ6qdakELn5g351GHm19Ds2UuariC/0MfgnH4E+bODV9fpSVDQtwTHsNWDHaQ+kbcqZ8KDegqce6NzAd+4WH9IWZUfi9fX+2QMn3jZ5oeUko07p+B3IE2+TPo2jmbcOaVJ6uNzAaeKU6NgREfiQQ+PM+VKkMXu54NnQgXKOK1A12rz6b4w+AQAA//8DAFBLAwQUAAYACAAAACEAUHxOwfYAAABMAgAACwAIAl9yZWxzLy5yZWxzIKIEAiig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IySz0oDMRCH74LvEObezbaCiDTbiwi9idQHGJPZP+xuJiTTun17g6C4sNYek8x8882PbHfTOKgTxdSxN7AuSlDkLbvONwbeDs+rB1BJ0Dsc2JOBMyXYVbc321caUHJTaruQVKb4ZKAVCY9aJ9vSiKngQD6/1BxHlHyMjQ5oe2xIb8ryXsffDKhmTLV3BuLerUEdziFP/p/Ndd1ZemJ7HMnLwgg9r8hkjA2JgWnQHxz7d+a+yMKgl10217v8vaceSdChoLYcaRViTilKl3P90XFsX/J1+qq4JHR3vdB89aVwaBLyjtxlJQzh20jP/kD1CQAA//8DAFBLAwQUAAYACAAAACEAAEGY+AkBAADMAw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vJPNasMwEITvhb6D2Hst221DKZFzaCnk2qYPIOS1ZWJLRrv98dtXJNRxILgX0+POopmPkbTefHet+MRAjXcKsiQFgc74snG1gvfdy80DCGLtSt16hwoGJNgU11frV2w1x0Nkm55EdHGkwDL3j1KSsdhpSnyPLm4qHzrNcQy17LXZ6xplnqYrGaYeUJx5im2pIGzLWxC7oY/Jf3v7qmoMPnvz0aHjCxGSIxdGQx1qZAWH8ShmSQQFeZnhbkkG4qGNJY4Qx3ku/n7ReKsDlm8c4g1PKabyHMxqSRijW/NkdeNOdYzSHES2JMSXD3uyiHyCGCWSh83s68j/GSb/bUae/cHiBwAA//8DAFBLAwQUAAYACAAAACEAdv8hls8BAAD9AgAADwAAAHhsL3dvcmtib29rLnhtbIxSyW7bMBC9F+g/ELzLpCjJCQxJgesFNVAUAdImZ4aiLSJcBJKqFRT9946kOnXRS07D4bxZ3swr7waj0Q/pg3K2wumCYiStcI2ypwp//7ZPbjEKkduGa2dlhV9lwHf1xw/l2fmXZ+deEBSwocJtjN2KkCBaaXhYuE5aiBydNzyC608kdF7yJrRSRqMJo3RJDFcWzxVW/j013PGohNw60Rtp41zES80jjB9a1QVcl0el5ePMCPGu+8oNzD1ojDQPcdeoKJsKF+C6s/znw/fdp15piLIlpTkm9RvLe494H93GGSARwr0SsYdHhemIGvfwqOQ5/E0YXTQ8Kdu4c4WzGwqLfb24jDJwz1PwSTWxhY5pOkLmv89SndoI52BZPjUgVx2mBUKnySI7sVt32nkVtjxyONe44QOwSDHyKwUPf2jScc7rlIcRBYg3NLtCsxFNphB0ElwLWMBoprI5pRQyhbOi9x7usIHIn1XIIX4JsS7Bot6rCv+8KVi2K7ZZwop9lqyLHU3SZcaSZb5nRb5hLC/Yr4sIzPCfCowS3gV3jAvhDJkFAMIRRA5CTjq6nXVUl2ZYrb1oD1u01/wE15l5wCzA5jIZuSi3/g0AAP//AwBQSwMEFAAGAAgAAAAhAPNUQKflBwAAAncAAA0AAAB4bC9zdHlsZXMueG1s7J3db9s2EMDfB+x/EFTsMZGoD9sKbBdLMm8FuqJAMmCvsi07QvVhSHJrd9j/vjtSsiUnsaXw3LQD+5BK8vF0/PF4JC35OHy7iSPtc5DlYZqMdHZp6lqQzNJ5mCxH+l/3k4uBruWFn8z9KE2Ckb4Ncv3t+OefhnmxjYK7hyAoNFCR5CP9oShWV4aRzx6C2M8v01WQwCeLNIv9Ak6zpZGvssCf51gojgzLNHtG7IeJLjRcxbM2SmI/+7ReXczSeOUX4TSMwmLLdelaPLt6t0zSzJ9GYOqGOf6s0s1PHqmPw1mW5umiuAR1RrpYhLPgsZWe4RmgaTxM1vEkLnJtlq6TYqTbu0ua+OTdHBD2HF0Tlb5J52CGeWn+ohtV4Yak25R88+bNEeHeY2FUa5RGjYeLNNnbxhjUHAFcfUrSL8kEPwPjwGIUGw/zr9pnP4IrDJXM0ijNtAIaDgzmVxI/DoTEjR+F0yxEsYUfh9FWXLbwAm/rUi4OgTy3SNxB/J2iVHkvDz8VtwqTebAJANfg4G73/kMa+yj46GZGXW+l89z2r2v2P3UvE02lgnXqZges5FpmR5C3pGiWbDkd6ZOJyf81a/Z7GEXanZ/kePlkU7xIUfgM6xcp21WPQ2tUT1SQqHqTSVtFLarXRhlnn0P/gAbZhSILOzZcGA8hKBZBlkywucrj++0KunUC8Vu0HZc7Ib3M/C2z3FoBg99wPJym2RzGiyoIYkgRl8bDKFgU0IZZuHzA/4t0BX+naVFAcB0P56G/TBM/gkOjKlEeQHVmQRTd4Zjy92Kv23JA+2ZRC5owPmEYwEiLh1CV8lBoFCdwh0Yhb1/IeraQ5q9W0XYCyrlqcQb692fXvOb781+jcJnEQb3AxywtglnBB1MeGhp21Ix/3o5D41UhGHOr9i6b/kX07BNN/2EdT4Nswucr+0bGjrQ/o3QBnCc87b/CFb+1PYoPhJQjvU/xUXxkQr7yH+U/yn/ON56q/qX6l+pfqn/Bgokv3tT8Wa0vjs3n1frr+Hih+Cg+MuOp8h/lP8p/zjcfU/1L9S/Vv1T/eq31joo/Kv6o+KPij4o/4n0E9f3z8Xio+Cg+MuOF8h/lPzL+86KXhr5dIeXeyr1l3Fv5j/If5T/nW46p/qX6l+pfqn+91tcdKv6o+KPij4o/Kv6Ir1vV46fj8VDxUXxkxgvlP8p/lP+cb76h+pfqX/+n/qWelIicBPVEBOf9IYpRz5kgMijUkidYmBPiufQDsIhYPPPb883i6SQKWORk5gWtKl1mU+A/nucZOCQsaeoSZ7Wegxko/CoVg/aQZuFXsBOT28wgN0MgctJsFgcwyjw9p1JJlBWCbDpP/KaouiqSRuzOykq/iqFPrw6/C9MqI5q/y6quUjHUvmT+6j7YQBYP7nfGo5aXceQTbdrl3pjP6UQXFHeTJoNpWXgil2Mo+hTmVOkxqkaV7qW1tiLh9QMZeJiJgvV4BjARsFrD6N7ZyBE1DId0cu28vo3h0u51PtPEuqHqB+RMa/0CkxtJx5EXGcjjSqd4S2Jrq1ZvFfMYYnwdduXU5NvTk2hpSBNZhDOcWEFmL/0HMb016EYsaO2obcIUXSzATJ1lExyf2/LMkmKowMOjPs4s6AYvnN2+yJuqJjlPZaqY+720DF+lwbqsluLuIMHdbhmnYSJJSMCYRlH6JZhrf0DiviwKk0+Qy5OvyjBgTddhVIQJLtLASx/C+TzAzK04weugCFbrNIrgaywaRTCloVEEUwwSRdgtaBRRwYZ0iEQWUcG2qGDbVLBtKtg2FWybCrZNBduhgu1QwXaoYDtUsB0q2C4VbJcKtksF26WC7VLB7lHB7lHBxnTgJKMILv9pFFHB7lPB7lPB7sO3WCSM+jC1IlEE+c2JFMH7fzQWwYKARhEV7AEVbI8KtkcF26OC7VHB9qhgM5OKNjOpcDOTijczqYAzk4w4bupA0nUZIyPOyIgzMuKMjLjVjdOjBXvTEBh4j67XHxU/aPDu5Zvmdy/fbNzu5ZtN2r28JD+r2WE63/+g+buXl+RnSfKzJPnZkvxsSf+zJfnZkvxsSX6OJD9Hkp8jyc+R5OdI8nMl+bmS/FxJfq4kP1eSX0+SX0+SX0+SX0+SX0+SX1+SX7+5Zu88fvShRG3C17n8oLlC716+uTDvXr755Uf38pL8BnBHGX6eJD9Pkp8nyc+T5OdJ8mOmJEBmShJkpiRCZkoyZKYsxIOnfp17EWOyEJksRCYLkclChNdhu4SCD7gNVFQ9d216Md8l6PBZ68cgw+faVYnmwMH3UTsswXfQZI7TH9jMspiDT67EY95W4n0Ym4W42MCv2j+tfIh8qB1DiRB3nnpUfCDewwYT4r024viMS4gP2ojjuCjE7RbifVzPC/H+MfGBN+hblj3AWVspflR9Ke9hkCrlj7Kp5HFWXcofaynXtAau02c8hgl5fNXiief0JfxdgR44e1VAvMS68x14jWC+2e+Qx9UVuN/pHe6dt3uxAGo0Dxb+Oirudx+O9P3xn8E8XMfgcKXUx/BzWnAVI31//B438gNPAJPhhdr3OewbCv9r6ywc6f/8dt33bn+bWBcD83pw4diBe+G517cXrnNzfXs78UzLvPkX6oGbw17BVqQSm6/yTWLh/W3mXOURbNGalZUtjb/bXxvptRNhPlpvgNniL6+EwYHzzWvH/wEAAP//AwBQSwMEFAAGAAgAAAAhAOdldbjWAAAAuAEAACMAAAB4bC93b3Jrc2hlZXRzL19yZWxzL3NoZWV0MS54bWwucmVsc6yQyWoDMQxA74X+g9E91kwOoZR4cgmFXEP6AcLWLHS8YLlp8vd1KIUMBHrpUdvTk7a7i5/VmbNMMRhodQOKg41uCoOB99Pb6gWUFAqO5hjYwJUFdt3z0/bIM5U6JOOURFVKEANjKekVUezInkTHxKFW+pg9lRrmARPZDxoY102zwXzPgG7BVAdnIB9cC+p0TXXz3+zY95PlfbSfnkN5sALPft5n+qrHVSrlgYsBrdH95OSu3uraC/jYaf2fTjb6m64sjH6Tra7/u2ng4t/dNwAAAP//AwBQSwMEFAAGAAgAAAAhANbvzdTtBAAASxAAABgAAAB4bC93b3Jrc2hlZXRzL3NoZWV0Mi54bWyMWN1vo0YQf6/U/wHx1D4ksIDBtmyfAquoJ13UqNe7eyZ4baMA6wJJHJ36v3f2g48dbDcvNsxvdua3M7MzXq8+ncrCemV1k/NqbZNb17ZYlfFtXu3X9re/72/mttW0abVNC16xtf3OGvvT5tdfVm+8fm4OjLUWWKiatX1o2+PScZrswMq0ueVHVgGy43WZtvBa753mWLN0KxeVheO5buiUaV7ZysKy/ogNvtvlGaM8eylZ1SojNSvSFvg3h/zYdNbK7CPmyrR+fjneZLw8gomnvMjbd2nUtsps+Xlf8Tp9KmDfJxKkWWdbvkzMl3lW84bv2lsw5yii0z0vnIUDljarbQ47EGG3arZb23dkST1iO5uVDND3nL01o2dLxPuJ82cBfN6ubRdMNKxgmdi5lcLXK0tYUazt+wWk7B9pFB7BoNNbHD931u9lhh5r6yltWMKLH/m2PUApQCVs2S59Kdq/+NsfLN8fWpAGEAMRiuX2nbImgxwIKh1rmrbpZlXzNwuSSYDGMRWlQZYBsM2E8E5IpR1YIyWxlsxsC2w1oPi68VbOK3DNtErSq3SLqJJEcnvgr3fqnXUqpKZTLQlHTn3k9IxKYKpQpTKfsPANFpaInDfvQyBQYBONfM9Mw7FWgcPXxyQ0VZL/V6FKRdXAOEiQxDOZEVJEi5g+Y62ykEnyZwsTTgx47qIsUg37sHon93VIa7a1Vf3TYElF4eaytL9+e/gtDpZJ8PvK2YmKICQcyDjjzUDdjDaDYy1QtKnIZB1rFb0pHGYDJT6uAA1P9qT2AeUK1CO392gwh+LDzAOvrxKBIubz3o46OVpFMfc8xC0x4CBEMNXwNerhfHBpUIfavUJdoIg6KpVYq2jqgxe5scRAZ+hgUo1eIz6/UCximg09CReLQBFvMuROxVzrKOIhQhMDJR5mruFrzMl8WGSEXByOy9QFiqkPMVDUtY6iThCaGKiHMiKPJti/xtwfcmwQF5NkxLwfBEIMJuX0UASl5tqWDUsVwkRCtYTIUWn6ETNhiFDvRw+PsR8lGvvBEgoOBL1p8ySi6Z9xo8fF2I0Sjd1gCZXWzroRzfuMG932AzFzdNS0CFpRPywI6r0JZE5Ge9avo1o0naFiyJ9zrfv32LUWQSvpXQ/lq1N4Rge3IulxbU8HKRH9dYgCPrASRmWPR2mnA2ev54ib/Ad0qNY5UxCikQ4c+7rT/RW6Ve8XnbmYaB11JGf+JGsGHnrDCZOxpd16MTWuzUjxW2NEcRJG3VHHVPGUlCYg1LrxoSgnJkxchNMO10wvjUQiOuQQS0l0NBMljPKNOlXc6SiiPpnk2ujRfoRiTrv1iunFCQiBuMr0TENG2YuliT6kPgpZYsIB2gftYMXz0sDzzOaLMy9hFNDJyOuUVEQXiEhiwnNUOLSDdeYvjTe4+0ziOfrNLGFMFB+nTkkR9fBwNmGC0iFuX7JFKqKTaaZuUeqGc0z37CGt93nVWAXbwfl2byNoVbW6JamXlh+BsG098bblpXw8wP2XwS3IvQXlHedt9wLNnJ3aL00rv62XGn4G/wwD1/Uin9zchbF7MxMfXhi5N1HkkThK3EXouv92d9Ly9LELaZlmDjtlTF7A5+oCvlmVp+Xjl+/WA9/CXRdK5s+KPcIe5fOPr1kqrsByssFa4Cg+JVmn/xtg8x8A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OJapAy9AwAAnQgAABgAAAB4bC93b3Jrc2hlZXRzL3NoZWV0MS54bWyMVl2P4yYUfa/U/2D5PTFgG9tRktUk2VFH2lVHnXb3mdgkQWMbF8gkadX/3gvky8nsal5szD2ce+4H4PGnfVMHb1xpIdtJiIcoDHhbykq060n415+PgzwMtGFtxWrZ8kl44Dr8NP31l/FOqle94dwEwNDqSbgxphtFkS43vGF6KDvegmUlVcMMfKp1pDvFWeUWNXVEEKJRw0QbeoaR+giHXK1EyRey3Da8NZ5E8ZoZ0K83otMntn31Ib5KsR3EetJzJXHhLWc+nNzpa0SppJYrMyxlE3lp91EWUdGLsynviN5JVsPU67YbAHEHwS1FLczBhRsGTTl6WrdSsWUNFdnjhJVXKtk9/cd1AtN0XAnIrW2IQPHVJHzAo89JGE3HrnLfBN/pq3Fg2PKF17w0vIIGCgPbGEspXy3wCaYQMGoHsIysNOKNz3ldT8IFJtBcfzsndgwuorOP6/HJ36NrpmcVLJnmc1l/F5XZgFNo2oqv2LY2l8l8mMcExZikZ+MfcvcbF+uNgSUJZMwmblQdFlyX0EtWKSgoZQ3u4Bk0wu4ISDfb+8C8N0KHlCaIWmJtDrYEAFpybR6FZQ6DcquNbE7ijqSeDgJ2dPDeebprnUe6uLckPi6B93EJSYf4RgEYP6gAAncKQP2PFbhanHNATzmgcQ7Lf7wMuxL6DLpCLphh07GSuwA2I2RGd8weFXgE3m0ZSA7NUVrjg7U6DExrmH2bonH0Bl1QHhEzj4CVZwSO+5D5O5DkDIlAx1mM7bwbMTg9i7HWvhicnXmc3pmHEOylDrMsjxMM3YZIlhRQnj58fgOnOC8QzTOMKUpzlOA+fOHhbtc5d5+vJnpxQOF/Eoe1TkKo3yVlad/TzEOI3aWQ8iElhKRFQROaZUVBkqIPn9/Abag5zQnCcUIISi/sPZXQNT9Raa032aZ9tzMPuaiE/FGaFSSLMUI5uc32DTy1QcUIFVmB0iLNL+xepT91fLN2bM2/MrUWrQ5qvoLEoWEWBsqfG25sZOdmoRWX0sBWP31t4Hrj0MxoCGlaSWlOH3CuWN4XbrZdIJWA48bdWJOwk8ooJgzsB5j/R4KhXnRiEiakSAqakQIqD/ezEeW9AWhrvmbl4XhXBWokqkmoniq3E/nefNFmOoZ3sFXA+S+cGtCfMR480BkapPZBaIYGWUbwLJujgiL03+kuaeDYu7nU371IGlZGfF9yd6Xn/qqbjpv96PnLt+CrrOCAhAP695Y/Qwrc+PsLBOOG9sgHef7pxEbnH4vp/wAAAP//AwBQSwMEFAAGAAgAAAAhAGjQHwVGAQAA6gIAABQAAAB4bC9zaGFyZWRTdHJpbmdzLnhtbIySQUsDMRCF74L/YcjZNq2CFNndUgqKUErBFvEYNtNuIJlZd9LF/nuzrSCsrXqcl3mZeV+STT+ChxYbcUy5Gg9HCpBKto52udqsHwcTBRINWeOZMFcHFDUtrq8ykQjJS5KrKsb6QWspKwxGhlwjpZMtN8HEVDY7LXWDxkqFGIPXt6PRvQ7GkYKS9xRzdZfG7sm973F+EsYTVWTiiiwWC2zRA2/hmVr2LQakmOlYZLo7P/WsORrfF2elsRhcCca2TlIgEJQuJwzgiY1PZYxJ7vuW3FfeUPrSRrDbaY1lRex5d+g3HIP0xVdn8cQC9oI3YLxPCBr8sy+CR5OIpzf4l4GYBucuXrjgItp0jz90K/QHLxnixUi/AZ2bBrGB2huiM0yPvF/O8/6yri5YV8i1/7HoZfAz2xoq0X5H0+mvFp8AAAD//wMAUEsDBBQABgAIAAAAIQBNNruMXwIAAHgEAAAbAAAAeGwvZHJhd2luZ3Mvdm1sRHJhd2luZzEudm1sjFRNb5wwEL3nV1jOYS8gPtpGiQNIUarc2kpN2h4jL3gXJ7YH4VmWza/vGMgm20pVkQAz8+bjvRlRjNYwup0XQ8l3vRO+bpWVPra67sHDBuMarBis4WcLEP4FhM1G10rMr2PI+B8haqzVWxFL7bSInUgSK+uf1txPff3oNa/OWAHCt7JTRh5gh2wQasSSq0Zj8Aa3bqzsThyskShLnvEkJEhOMlTFMCfEQ6eYbkr+OKZ0PWKe5pzVAH3j9YsqeZ5dpGk0PTmjHB3VDRiq2klsS27TKDULYsadPNNRzS1SQezhWbEn0M7jwVByq1H1U3+MGgr52LaXjVYOJ7rwXHIMZWtwTtUYui15T6eF1DsWR0rv6fgszT9xNsedn3CcW1h14DVqcEKuPZgdqmtiZmW/1S42aoPi4rLD68WA0IksS8mw1w22Iss/0rlVetuiyK7o/BJr16hRZCHNoL1ea6PxIFrdNMpdWw/xvpddPFUXGAJXbKONqcFAX/LzDV0qC5xJJYUWGmIsdwivKgYwDYjQ+Rs8jDhISKo1sGfgZt3Wvt71iqY763UU+Q9BHTh1nALSaq1hZIs+oeNGB8lJpFgaFKGZVajHikYPr7gQRm69dSLItqqKhLxTW8kglqTT5yhuTZjwZ1pP9m39RKkfprl+BZx3hRWj+AKD+qWxvVXG+IlesN7TTv5tvXF1C/3UEksjdnFJd8SuIpZF7EMeMfpOi2QU73CU64Z43JGY1Z00Xk3+V8tEbhTfYV9lwREOi+2WlsS6asq3nIP0BHpjRdiCSE8rTDrQ76b6DQAA//8DAFBLAwQUAAYACAAAACEAPpjMdzUBAAASAgAAEQAIAWRvY1Byb3BzL2NvcmU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JFfS8MwFMXfBb9DyXubpsMxQtuByhBxIDhRfLskd1uw+UMS7fbtzeqsk/l4Oef+OOfeer7TXfaJPihrGsKKkmRohJXKbBryvFrkM5KFCEZCZw02ZI+BzNvLi1o4LqzHR28d+qgwZIlkAheuIdsYHac0iC1qCEVymCSurdcQ0+g31IF4hw3SqiynVGMECRHoAZi7kUiOSClGpPvw3QCQgmKHGk0MlBWM/nojeh3+XRiUE6dWce9Sp2PcU7YU3+Lo3gU1Gvu+L/rJECPlZ/R1+fA0VM2VOdxKIGlrKbjwCNH6tqanQzpcByEu043XCuX1vr23BuIWTHZnfQKgMjU9dyXiUIDr42aWMvHvBj/Sy+TmdrUgbVWyq5xVOZutKsbLGa+mb4cUfwEp2NkX2y8AAAD//wMAUEsDBBQABgAIAAAAIQBNF+YM/gAAAHUBAAAQAAAAeGwvY29tbWVudHMxLnhtbFSQzWrDMBCE74W+g9h7I8eHkhZLIZdAoYdC0wdQ7XUs0I/RboPTp++6jgsFITSfRjOLmv0Ug7pgIZ+Tge2mAoWpzZ1PZwMfp+PDDhSxS50LOaGBKxLs7f1d0+YYMTEpCUhkYGAen7WmdsDoaJNHTHLT5xIdiyxnTWNB19GAyDHouqoedXQ+gW3cFw+50HrQttF/6Nbz6ontWqoK9gYONajF9tIZqCSHcRJTkfUm26fk0Le6uGDgCUS0OeSifOpwQnmx286wHHPixXRyQ45uhr2LPlwXWs9A/yayfcfikVSH1BY/snwaNVo6tfTppV7fJhbwb/ZVkf0BAAD//wMAUEsDBBQABgAIAAAAIQCyYB2gjQEAACgDAAAQAAgBZG9jUHJvcHMvYXBw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JySQU/jMBCF70j8h8h36rSgFaocIwSsOCyiUgucB2fSWLi25Rmidn89TqPSdPew0t5m5j09fx5b3Ww3rugwkQ2+EtNJKQr0JtTWryvxsvp5cS0KYvA1uOCxEjskcaPPz9QihYiJLVKRIzxVomWOcynJtLgBmmTZZ6UJaQOc27SWoWmswftgPjfoWc7K8ofELaOvsb6I34FiSJx3/L+hdTA9H72udjEDa3Ubo7MGON9SP1mTAoWGiycw1nOgtnjYGnRKjm0qcy7RfCbLO10qOW7V0oDDu3yEbsARKnkcqEeEfn0LsIm06njeoeGQCrK/8wJnongHwh6sEh0kC54zYG8bmn3tInHSbyF9UIvIpGQ2DMN9OfaOa3ulZ3tDLk6NfcAAkoVTxJVlh/TcLCDxv4j3DAPvgHMbXUiW7oFhDPmNu+z5p2PphOSPs39Z/0EvcRVyHh52ezpUyxYS1vk5DvpxoB7zWpPrQ+5a8GusD56/hf5PvA4fX0+vJuVlmR95NFPy+MX1FwAAAP//AwBQSwMEFAAGAAgAAAAhALo2v/enAAAA/gAAABAAAAB4bC9jYWxjQ2hhaW4ueG1sXM5NCsIwEIbhveAdwuw1tWj9oWkXiifQA4R0bArJpGSC6O0NghW6nGfg463bl3fiiZGHQAo26wIEkgndQL2C++26OoDgpKnTLhAqeCND2ywXtdHOnK0eSOQFYgU2pfEkJRuLXvM6jEj58wjR65TP2EseI+qOLWLyTpZFUUmfB6CpjYgKLkcQg4IShMslIH+cC748wX4O1Rx2c9j+QU7lzQcAAP//AwBQSwECLQAUAAYACAAAACEASRKs94wBAAB4BgAAEwAAAAAAAAAAAAAAAAAAAAAAW0NvbnRlbnRfVHlwZXNdLnhtbFBLAQItABQABgAIAAAAIQBQfE7B9gAAAEwCAAALAAAAAAAAAAAAAAAAAMUDAABfcmVscy8ucmVsc1BLAQItABQABgAIAAAAIQAAQZj4CQEAAMwDAAAaAAAAAAAAAAAAAAAAAOwGAAB4bC9fcmVscy93b3JrYm9vay54bWwucmVsc1BLAQItABQABgAIAAAAIQB2/yGWzwEAAP0CAAAPAAAAAAAAAAAAAAAAADUJAAB4bC93b3JrYm9vay54bWxQSwECLQAUAAYACAAAACEA81RAp+UHAAACdwAADQAAAAAAAAAAAAAAAAAxCwAAeGwvc3R5bGVzLnhtbFBLAQItABQABgAIAAAAIQDnZXW41gAAALgBAAAjAAAAAAAAAAAAAAAAAEETAAB4bC93b3Jrc2hlZXRzL19yZWxzL3NoZWV0MS54bWwucmVsc1BLAQItABQABgAIAAAAIQDW783U7QQAAEsQAAAYAAAAAAAAAAAAAAAAAFgUAAB4bC93b3Jrc2hlZXRzL3NoZWV0Mi54bWxQSwECLQAUAAYACAAAACEA+2KlbZQGAACnGwAAEwAAAAAAAAAAAAAAAAB7GQAAeGwvdGhlbWUvdGhlbWUxLnhtbFBLAQItABQABgAIAAAAIQDiWqQMvQMAAJ0IAAAYAAAAAAAAAAAAAAAAAEAgAAB4bC93b3Jrc2hlZXRzL3NoZWV0MS54bWxQSwECLQAUAAYACAAAACEAaNAfBUYBAADqAgAAFAAAAAAAAAAAAAAAAAAzJAAAeGwvc2hhcmVkU3RyaW5ncy54bWxQSwECLQAUAAYACAAAACEATTa7jF8CAAB4BAAAGwAAAAAAAAAAAAAAAACrJQAAeGwvZHJhd2luZ3Mvdm1sRHJhd2luZzEudm1sUEsBAi0AFAAGAAgAAAAhAD6YzHc1AQAAEgIAABEAAAAAAAAAAAAAAAAAQygAAGRvY1Byb3BzL2NvcmUueG1sUEsBAi0AFAAGAAgAAAAhAE0X5gz+AAAAdQEAABAAAAAAAAAAAAAAAAAAryoAAHhsL2NvbW1lbnRzMS54bWxQSwECLQAUAAYACAAAACEAsmAdoI0BAAAoAwAAEAAAAAAAAAAAAAAAAADbKwAAZG9jUHJvcHMvYXBwLnhtbFBLAQItABQABgAIAAAAIQC6Nr/3pwAAAP4AAAAQAAAAAAAAAAAAAAAAAJ4uAAB4bC9jYWxjQ2hhaW4ueG1sUEsFBgAAAAAPAA8A3AMAAHMvAAAAAAUk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7AAAABUFyaWFsBnwAAAAGK21uLWVhCX0AAAABAAl+AAAAByUAAAAAAQAAABEAAAAEFFN5c3RlbS5EcmF3aW5nLkNvbG9yBAAAAAV/AAAAFFN5c3RlbS5EcmF3aW5nLkNvbG9yBAAAAAV2YWx1ZQVzdGF0ZQprbm93bkNvbG9yBG5hbWUAAAABCQcHBAAAAAAAAAAAAAAAAAAAAAoBgAAAAH8AAAAAAAD//////wIAAAAKAYEAAAB/AAAA//////////8CAAAACgGCAAAAfwAAAE5BIv//////AgAAAAoBgwAAAH8AAADe3Nv//////wIAAAAKAYQAAAB/AAAAfmk///////8CAAAACgGFAAAAfwAAAIyEcv//////AgAAAAoBhgAAAH8AAAAlIe3//////wIAAAAKAYcAAAB/AAAANDtG//////8CAAAACgGIAAAAfwAAAHSYw///////AgAAAAoBiQAAAH8AAAAelPf//////wIAAAAKAYoAAAB/AAAAHpT3//////8CAAAACgGLAAAAfwAAACUh7f//////AgAAAAoBjAAAAH8AAAAAAAD//////wIAAAAKAY0AAAB/AAAA//////////8CAAAACgGOAAAAfwAAAE5BIv//////AgAAAAoBjwAAAH8AAADe3Nv//////wIAAAAKBCYAAACYAVN5c3RlbS5Db2xsZWN0aW9ucy5HZW5lcmljLkxpc3RgMVtbQXBsb3Jpcy5CYXNlLk9iamVjdHMuRGF0YU9iamVjdCwgQXBsb3Jpcy5CYXNlLCBWZXJzaW9uPTQuMC4wLjE0ODYsIEN1bHR1cmU9bmV1dHJhbCwgUHVibGljS2V5VG9rZW49MTZmYzEzYTIyNmMwZTk1MV1dAwAAAAZfaXRlbXMFX3NpemUIX3ZlcnNpb24EAAAhQXBsb3Jpcy5CYXNlLk9iamVjdHMuRGF0YU9iamVjdFtdAwAAAAgICZAAAAANAAAAFQAAAAQnAAAAlQFTeXN0ZW0uQ29sbGVjdGlvbnMuR2VuZXJpYy5MaXN0YDFbW0FwbG9yaXMuQmFzZS5VSS5WaXN1YWxPYmplY3QsIEFwbG9yaXMuQmFzZSwgVmVyc2lvbj00LjAuMC4xNDg2LCBDdWx0dXJlPW5ldXRyYWwsIFB1YmxpY0tleVRva2VuPTE2ZmMxM2EyMjZjMGU5NTFdXQMAAAAGX2l0ZW1zBV9zaXplCF92ZXJzaW9uBAAAHkFwbG9yaXMuQmFzZS5VSS5WaXN1YWxPYmplY3RbXQMAAAAICAmRAAAAAQAAAAEAAAAFKQAAAJsBQXBsb3Jpcy5CYXNlLk9iamVjdHMuRGF0YU9iamVjdENvbGxlY3Rpb25gMVtbQXBsb3Jpcy5DaGFydC5WYWx1ZUxpbmUsIEFwbG9yaXMuQ2hhcnQsIFZlcnNpb249NC4wLjAuMTQ4Ni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AuMC4xNDg2LCBDdWx0dXJlPW5ldXRyYWwsIFB1YmxpY0tleVRva2VuPTE2ZmMxM2EyMjZjMGU5NTFdXQMAAACRAVN5c3RlbS5Db2xsZWN0aW9ucy5HZW5lcmljLkxpc3RgMVtbQXBsb3Jpcy5DaGFydC5WYWx1ZUxpbmU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kgAAAAmTAAAACQYAAAAJAQAAAAmUAAAABSoAAACbAUFwbG9yaXMuQmFzZS5PYmplY3RzLkRhdGFPYmplY3RDb2xsZWN0aW9uYDFbW0FwbG9yaXMuQ2hhcnQuQXhpc0JyZWFr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wLjAuMTQ4NiwgQ3VsdHVyZT1uZXV0cmFsLCBQdWJsaWNLZXlUb2tlbj0xNmZjMTNhMjI2YzBlOTUxXV0DAAAAkQFTeXN0ZW0uQ29sbGVjdGlvbnMuR2VuZXJpYy5MaXN0YDFbW0FwbG9yaXMuQ2hhcnQuQXhpc0JyZWFr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UAAAAJlgAAAAkGAAAACQEAAAAJlw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lpAAAAAwAAAAlqAAAACWsAAAAJbAAAAAEAAAAACgoJbQAAAAAAAAAKAAAAAAAAAAAFL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aQAAAAMAAAAJagAAAAlrAAAACWwAAAABAAAAAAoKCW0AAAAAAAAACgAAAAAAAAAABS0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CWkAAAADAAAACWoAAAAJawAAAAlsAAAAAQAAAAAKBpgAAAABJQltAAAAAQAAAAoAAAAAAAAAAAUuAAAAmgFBcGxvcmlzLkJhc2UuT2JqZWN0cy5EYXRhT2JqZWN0Q29sbGVjdGlvbmAxW1tBcGxvcmlzLkNoYXJ0LlRpY2tNYXJrLCBBcGxvcmlzLkNoYXJ0LCBWZXJzaW9uPTQuMC4wLjE0ODY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AuMC4xNDg2LCBDdWx0dXJlPW5ldXRyYWwsIFB1YmxpY0tleVRva2VuPTE2ZmMxM2EyMjZjMGU5NTFdXQMAAACQAVN5c3RlbS5Db2xsZWN0aW9ucy5HZW5lcmljLkxpc3RgMVtbQXBsb3Jpcy5DaGFydC5UaWNrTWFy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ZAAAACZoAAAAJBgAAAAkBAAAACZsAAAAFMQ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cAAAAIgAAAAZ7F0Izm5pDAZ0AAAAiAAAAzUYVRDObmkMJngAAALgBAAD/////AQEKCZ8AAAABAAoABzIAAAAAAQAAAAUAAAAEFVN5c3RlbS5EcmF3aW5nLlBvaW50RgQAAAABoAAAACIAAADNBhZEM5uaQwGhAAAAIgAAAAZ7F0KQj6JDAaIAAAAiAAAAfb6eQ5CPokMBowAAACIAAADNRhVEkI+iQwGkAAAAIgAAAM0GFkQzG51DBzMAAAAAAQAAAAUAAAAEF0FwbG9yaXMuQmFzZS5BbmNob3JNb2RlAwAAAAWlAAAAF0FwbG9yaXMuQmFzZS5BbmNob3JNb2RlAQAAAAd2YWx1ZV9fAAgDAAAABAAAAAGmAAAApQAAAAUAAAABpwAAAKUAAAADAAAAAagAAAClAAAABgAAAAGpAAAApQAAAAUAAAAPNAAAAAUAAAABAAAAAAEFNQAAABVBcGxvcmlzLkJhc2UuVUkuTGFiZWwcAAAAD21BbmNob3JQb3NpdGlvbgttQW5jaG9yTW9kZQ9tQWRkSW5uZXJNYXJnaW4WbU9mZnNldERpcmVjdGlvbkFuY2hvchdtT2Zmc2V0T3J0aG9nb25hbEFuY2hvcgttVGV4dEZvcm1hdAltUm90YXRpb24KbUJhY2tDb2xvcg1tVXNlQmFja0NvbG9yDm1Vc2VCYWNrZ3JvdW5kDm1MaW5lQWxpZ25tZW50CW1UZXh0U2l6ZQ9tTGFiZWxSZWN0YW5nbGUVbUlubmVyTWFyZ2luTGVmdFJpZ2h0BW1UZXh0Cm1WYXJpYWJsZXMNbVZhcmlhYmxlTGlzdA5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AAAAQABAAABAQEAAEDAwEAAAAABwIAAAMAFVN5c3RlbS5EcmF3aW5nLlBvaW50RgQAAAAXQXBsb3Jpcy5CYXNlLkFuY2hvck1vZGUDAAAAAQsLH0FwbG9yaXMuQmFzZS5PYmplY3RzLlRleHRGb3JtYXQDAAAACxpBcGxvcmlzLkJhc2UuT2JqZWN0cy5Db2xvcgMAAAABASpBcGxvcmlzLkJhc2UuVUkuTGFiZWwrTGluZUFsaWdubWVudE9wdGlvbnMDAAAAFFN5c3RlbS5EcmF3aW5nLlNpemVGBAAAABlTeXN0ZW0uRHJhd2luZy5SZWN0YW5nbGVGBAAAAAugAVN5c3RlbS5Db2xsZWN0aW9ucy5PYmplY3RNb2RlbC5Db2xsZWN0aW9uYDFbW0FwbG9yaXMuQmFzZS5PYmplY3RzLlZhcmlhYmxlLCBBcGxvcmlzLkJhc2UsIFZlcnNpb249NC4wLjAuMTQ4NiwgQ3VsdHVyZT1uZXV0cmFsLCBQdWJsaWNLZXlUb2tlbj0xNmZjMTNhMjI2YzBlOTUxXV2WAVN5c3RlbS5Db2xsZWN0aW9ucy5HZW5lcmljLkxpc3RgMVtbQXBsb3Jpcy5CYXNlLk9iamVjdHMuVmFyaWFibGUsIEFwbG9yaXMuQmFzZSwgVmVyc2lvbj00LjAuMC4xNDg2LCBDdWx0dXJlPW5ldXRyYWwsIFB1YmxpY0tleVRva2VuPTE2ZmMxM2EyMjZjMGU5NTFdXQgIAQEIAQEPU3lzdGVtLkludFB0cltdAQMAAAABqgAAACIAAADNBhZEM5uaQwGrAAAApQAAAAQAAAAAAAAAAAAAAAAJrAAAAAAAAAAJrQAAAAAABa4AAAAqQXBsb3Jpcy5CYXNlLlVJLkxhYmVsK0xpbmVBbGlnbm1lbnRPcHRpb25zAQAAAAd2YWx1ZV9fAAgDAAAAAAAAAAGvAAAAdwAAAAAAAAAAAAAAAbAAAAAVAAAAAAAAAAAAAAAAAAAAAAAAAAAAAAAGsQAAAA1DYXRlZ29yeSBheGlzCgmyAAAACbEAAADkAgAA/////wABCgmzAAAAAQAKAQE2AAAAJgAAAAm0AAAABgAAAAYAAAABNwAAACcAAAAJtQAAAAIAAAACAAAAATkAAAApAAAACgm2AAAACbcAAAAJBwAAAAkBAAAACbgAAAABOgAAACoAAAAKCbkAAAAJugAAAAkHAAAACQEAAAAJuw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QlpAAAAAwAAAAlqAAAACWsAAAAJbAAAAAEAAAAACga8AAAAASUJbQAAAAAAAAAKAAAAAAAAAAAFPA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aQAAAAMAAAAJagAAAAlrAAAACWwAAAABAAAAAAoJvAAAAAltAAAAAAAAAAoAAAAAAAAAAAU9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BAAAAAQlpAAAAAwAAAAlqAAAACWsAAAAJbAAAAAEAAAAACgmYAAAACW0AAAABAAAACgAAAAAAAAAAAT4AAAAuAAAACgm9AAAACb4AAAAJBwAAAAkBAAAACb8AAAABQQAAADEAAAABwAAAACIAAAAGexdCM5uaQwHBAAAAIgAAAAZ7F0Ls+6NBCcIAAAC4AQAA/////wEBCgnDAAAAAQAKAAdCAAAAAAEAAAAFAAAABBVTeXN0ZW0uRHJhd2luZy5Qb2ludEYEAAAAAcQAAAAiAAAABnsXQgaycEEBxQAAACIAAAASkB9BM5uaQwHGAAAAIgAAABKQH0Hy2iRDAccAAAAiAAAAEpAfQez7o0EByAAAACIAAAASkB9BBrJwQQdDAAAAAAEAAAAFAAAABBdBcGxvcmlzLkJhc2UuQW5jaG9yTW9kZQMAAAAByQAAAKUAAAABAAAAAcoAAAClAAAACAAAAAHLAAAApQAAAAIAAAABzAAAAKUAAAAGAAAAAc0AAAClAAAABwAAAA9EAAAABQAAAAEAAAAAAQFFAAAANQAAAAHOAAAAIgAAAAZ7F0IGsnBBAc8AAAClAAAAAQAAAAAAAAAAAAAAAAnQAAAAAAAAAAnRAAAAAAAB0gAAAK4AAAAAAAAAAdMAAAB3AAAAAAAwQQAAYEEB1AAAABUAAAAAAAAAAAAAAAAAAAAAAAAAXrrZPwbVAAAAASUKCdYAAAAJ1QAAAOQCAAD/////AAEKCdcAAAABAAoBAUYAAAAmAAAACdgAAAAIAAAACAAAAAFHAAAAJwAAAAnZAAAAAgAAAAIAAAAHSAAAAAABAAAABAAAAAQuQXBsb3Jpcy5DaGFydC5Db2x1bW5PcmllbnRlZENoYXJ0K1VudXNlZFNlcmllcwIAAAAF2gAAAC5BcGxvcmlzLkNoYXJ0LkNvbHVtbk9yaWVudGVkQ2hhcnQrVW51c2VkU2VyaWVzAwAAAAhFeGNlbFJvdwNSb3cLRGVzY3JpcHRpb24ABAIIGkFwbG9yaXMuQ2hhcnQuRGF0YS5EYXRhUm93AgAAAAIAAAAAAAAACgoB2wAAANoAAAAAAAAACgoB3AAAANoAAAAAAAAACgoB3QAAANoAAAAAAAAACgoESQAAAJcBU3lzdGVtLkNvbGxlY3Rpb25zLkdlbmVyaWMuTGlzdGAxW1tBcGxvcmlzLkNoYXJ0LkNoYXJ0RGF0YVNlcmllcywgQXBsb3Jpcy5DaGFydCwgVmVyc2lvbj00LjAuMC4xNDg2LCBDdWx0dXJlPW5ldXRyYWwsIFB1YmxpY0tleVRva2VuPTE2ZmMxM2EyMjZjMGU5NTFdXQMAAAAGX2l0ZW1zBV9zaXplCF92ZXJzaW9uBAAAH0FwbG9yaXMuQ2hhcnQuQ2hhcnREYXRhU2VyaWVzW10CAAAACAgJ3gAAAAMAAAA6AQAAAUoAAAAmAAAACd8AAAADAAAAiQAAAAFLAAAAJwAAAAngAAAAAAAAAAAAAAAETAAAAJwBU3lzdGVtLkNvbGxlY3Rpb25zLkdlbmVyaWMuTGlzdGAxW1tBcGxvcmlzLkNoYXJ0LkFubm90YXRpb25EYXRhU2VyaWVzLCBBcGxvcmlzLkNoYXJ0LCBWZXJzaW9uPTQuMC4wLjE0ODYsIEN1bHR1cmU9bmV1dHJhbCwgUHVibGljS2V5VG9rZW49MTZmYzEzYTIyNmMwZTk1MV1dAwAAAAZfaXRlbXMFX3NpemUIX3ZlcnNpb24EAAAkQXBsb3Jpcy5DaGFydC5Bbm5vdGF0aW9uRGF0YVNlcmllc1tdAgAAAAgICeEAAAAAAAAAAAAAAAFNAAAAJgAAAAniAAAAAAAAAAAAAAABTgAAACcAAAAJ4AAAAAAAAAAAAAAABE8AAACXAVN5c3RlbS5Db2xsZWN0aW9ucy5HZW5lcmljLkxpc3RgMVtbQXBsb3Jpcy5DaGFydC5Bbm5vdGF0aW9uR3JvdXAsIEFwbG9yaXMuQ2hhcnQsIFZlcnNpb249NC4wLjAuMTQ4NiwgQ3VsdHVyZT1uZXV0cmFsLCBQdWJsaWNLZXlUb2tlbj0xNmZjMTNhMjI2YzBlOTUxXV0DAAAABl9pdGVtcwVfc2l6ZQhfdmVyc2lvbgQAAB9BcGxvcmlzLkNoYXJ0LkFubm90YXRpb25Hcm91cFtdAgAAAAgICeMAAAAAAAAAAAAAAAFQAAAAJgAAAAniAAAAAAAAAAAAAAABUQAAACcAAAAJ4AAAAAAAAAAAAAAABFIAAACWAVN5c3RlbS5Db2xsZWN0aW9ucy5HZW5lcmljLkxpc3RgMVtbQXBsb3Jpcy5DaGFydC5DaGFydERhdGFHcm91cCwgQXBsb3Jpcy5DaGFydCwgVmVyc2lvbj00LjAuMC4xNDg2LCBDdWx0dXJlPW5ldXRyYWwsIFB1YmxpY0tleVRva2VuPTE2ZmMxM2EyMjZjMGU5NTFdXQMAAAAGX2l0ZW1zBV9zaXplCF92ZXJzaW9uBAAAHkFwbG9yaXMuQ2hhcnQuQ2hhcnREYXRhR3JvdXBbXQIAAAAICAnkAAAAAgAAAC4AAAABUwAAACYAAAAJ5QAAAAIAAAAWAAAAAVQAAAAnAAAACeAAAAAAAAAAAAAAAARVAAAAkAFTeXN0ZW0uQ29sbGVjdGlvbnMuR2VuZXJpYy5MaXN0YDFbW0FwbG9yaXMuQ2hhcnQuRGVsdGFCYXIsIEFwbG9yaXMuQ2hhcnQsIFZlcnNpb249NC4wLjAuMTQ4NiwgQ3VsdHVyZT1uZXV0cmFsLCBQdWJsaWNLZXlUb2tlbj0xNmZjMTNhMjI2YzBlOTUxXV0DAAAABl9pdGVtcwVfc2l6ZQhfdmVyc2lvbgQAABhBcGxvcmlzLkNoYXJ0LkRlbHRhQmFyW10CAAAACAgJ5gAAAAAAAAAAAAAAAVYAAAAmAAAACeIAAAAAAAAAAAAAAAFXAAAAJwAAAAngAAAAAAAAAAAAAAAEWAAAAJMBU3lzdGVtLkNvbGxlY3Rpb25zLkdlbmVyaWMuTGlzdGAxW1tBcGxvcmlzLkNoYXJ0LkRlbHRhQnJpZGdlLCBBcGxvcmlzLkNoYXJ0LCBWZXJzaW9uPTQuMC4wLjE0ODYsIEN1bHR1cmU9bmV1dHJhbCwgUHVibGljS2V5VG9rZW49MTZmYzEzYTIyNmMwZTk1MV1dAwAAAAZfaXRlbXMFX3NpemUIX3ZlcnNpb24EAAAbQXBsb3Jpcy5DaGFydC5EZWx0YUJyaWRnZVtdAgAAAAgICecAAAAAAAAAAAAAAAFZAAAAJgAAAAniAAAAAAAAAAAAAAABWgAAACcAAAAJ4AAAAAAAAAAAAAAABFsAAACTAVN5c3RlbS5Db2xsZWN0aW9ucy5HZW5lcmljLkxpc3RgMVtbQXBsb3Jpcy5DaGFydC5Hcm93dGhBcnJvdywgQXBsb3Jpcy5DaGFydCwgVmVyc2lvbj00LjAuMC4xNDg2LCBDdWx0dXJlPW5ldXRyYWwsIFB1YmxpY0tleVRva2VuPTE2ZmMxM2EyMjZjMGU5NTFdXQMAAAAGX2l0ZW1zBV9zaXplCF92ZXJzaW9uBAAAG0FwbG9yaXMuQ2hhcnQuR3Jvd3RoQXJyb3dbXQIAAAAICAnoAAAAAAAAAAAAAAABXAAAACYAAAAJ4gAAAAAAAAAAAAAAAV0AAAAnAAAACeAAAAAAAAAAAAAAAAReAAAAmgFTeXN0ZW0uQ29sbGVjdGlvbnMuR2VuZXJpYy5MaXN0YDFbW0FwbG9yaXMuQ2hhcnQuV2F0ZXJmYWxsQ29ubmVjdG9yLCBBcGxvcmlzLkNoYXJ0LCBWZXJzaW9uPTQuMC4wLjE0ODYsIEN1bHR1cmU9bmV1dHJhbCwgUHVibGljS2V5VG9rZW49MTZmYzEzYTIyNmMwZTk1MV1dAwAAAAZfaXRlbXMFX3NpemUIX3ZlcnNpb24EAAAiQXBsb3Jpcy5DaGFydC5XYXRlcmZhbGxDb25uZWN0b3JbXQIAAAAICAnpAAAAAAAAAAAAAAABXwAAACYAAAAJ4gAAAAAAAAAAAAAAAWAAAAAnAAAACeAAAAAAAAAAAAAAAARhAAAAmAFTeXN0ZW0uQ29sbGVjdGlvbnMuR2VuZXJpYy5MaXN0YDFbW0FwbG9yaXMuQ2hhcnQuRWxlbWVudENvbm5lY3RvciwgQXBsb3Jpcy5DaGFydCwgVmVyc2lvbj00LjAuMC4xNDg2LCBDdWx0dXJlPW5ldXRyYWwsIFB1YmxpY0tleVRva2VuPTE2ZmMxM2EyMjZjMGU5NTFdXQMAAAAGX2l0ZW1zBV9zaXplCF92ZXJzaW9uBAAAIEFwbG9yaXMuQ2hhcnQuRWxlbWVudENvbm5lY3RvcltdAgAAAAgICeoAAAAAAAAAAAAAAAFiAAAAJgAAAAniAAAAAAAAAAAAAAABYwAAACcAAAAJ4AAAAAAAAAAAAAAABWQAAACtAUFwbG9yaXMuQmFzZS5PYmplY3RzLkRhdGFPYmplY3RDb2xsZWN0aW9uYDFbW0FwbG9yaXMuQ2hhcnQuQ29sdW1uT3JpZW50ZWRMZWdlbmR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qwFBcGxvcmlzLkJhc2UuT2JqZWN0cy5Tb3J0YWJsZUNvbGxlY3Rpb25gMVtbQXBsb3Jpcy5DaGFydC5Db2x1bW5PcmllbnRlZExlZ2VuZEVsZW1lbnQsIEFwbG9yaXMuQ2hhcnQsIFZlcnNpb249NC4wLjAuMTQ4NiwgQ3VsdHVyZT1uZXV0cmFsLCBQdWJsaWNLZXlUb2tlbj0xNmZjMTNhMjI2YzBlOTUxXV0DAAAAowFTeXN0ZW0uQ29sbGVjdGlvbnMuR2VuZXJpYy5MaXN0YDFbW0FwbG9yaXMuQ2hhcnQuQ29sdW1uT3JpZW50ZWRMZWdlbmRFbGVtZW50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esAAAAJ7AAAAAkUAAAACQEAAAAJ7QAAAAFmAAAAHQAAAAHuAAAAIgAAAGBrBEQAAChBAe8AAAAiAAAAYGsYRAAAg0IJ8AAAAAnxAAAAAAAAAAoB8gAAAHcAAAAAAAAAAAAAAAHzAAAAdwAAAAAAAAAAAAAAAAAAAAH0AAAAFQAAAAAAAAAAAAAAAAAAAAAAAACkAQAA/////wEBCgn1AAAAAQAKAAFnAAAAJgAAAAn2AAAAAQAAAAEAAAABaAAAACcAAAAJ9wAAAAEAAAABAAAAD3EAAAADAAAACwAAgD8AAIA/AACAPw9yAAAAAAAAAAgFdQ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n4AAAACfkAAAABAAAA/v///wEAAAABAAAAAQAAAAEAAAABAAAAAQAAAAAAAQV2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foAAAAJ+wAAAAEAAAAAAAAAAAAAAAAAAAAAAQV6AAAAH0FwbG9yaXMuQmFzZS5PYmplY3RzLlBlcnNJZERhdGECAAAAA21JZAttQ3VzdG9tRGF0YQcCCAMAAAAJ/AAAAAoFfQAAABpBcGxvcmlzLkJhc2UuT2JqZWN0cy5Db2xvcgcAAAASRGF0YU9iamVjdCttUGFyZW50FURhdGFPYmplY3QrbUNvbnRhaW5lcgVtVHlwZQRtUkdCEG1UaGVtZUNvbG9ySW5kZXgMbUF1dG9VcGRhdGVkCW1Nb2RpZmllZAICAAAAAAAICAgBAQMAAAAKCgAAAAAAAAAADQAAAAABAX4AAAB9AAAACgoBAAAAAAAAAP////8AAQeQAAAAAAEAAAAQAAAABB9BcGxvcmlzLkJhc2UuT2JqZWN0cy5EYXRhT2JqZWN0AwAAAAkJAAAACQoAAAAJCwAAAAkMAAAACRAAAAAJEQAAAAkNAAAACQ4AAAAJDwAAAAkHAAAACQYAAAAJGAAAAAkUAAAADQMHkQAAAAABAAAABAAAAAQcQXBsb3Jpcy5CYXNlLlVJLlZpc3VhbE9iamVjdAMAAAAJHQAAAA0DBJIAAACRAVN5c3RlbS5Db2xsZWN0aW9ucy5HZW5lcmljLkxpc3RgMVtbQXBsb3Jpcy5DaGFydC5WYWx1ZUxpbmUsIEFwbG9yaXMuQ2hhcnQsIFZlcnNpb249NC4wLjAuMTQ4NiwgQ3VsdHVyZT1uZXV0cmFsLCBQdWJsaWNLZXlUb2tlbj0xNmZjMTNhMjI2YzBlOTUxXV0DAAAABl9pdGVtcwVfc2l6ZQhfdmVyc2lvbgQAABlBcGxvcmlzLkNoYXJ0LlZhbHVlTGluZVtdAgAAAAgICf0AAAAAAAAAAAAAAAGTAAAAJgAAAAniAAAAAAAAAAAAAAABlAAAACcAAAAJ4AAAAAAAAAAAAAAABJUAAACRAVN5c3RlbS5Db2xsZWN0aW9ucy5HZW5lcmljLkxpc3RgMVtbQXBsb3Jpcy5DaGFydC5BeGlzQnJlYWssIEFwbG9yaXMuQ2hhcnQsIFZlcnNpb249NC4wLjAuMTQ4NiwgQ3VsdHVyZT1uZXV0cmFsLCBQdWJsaWNLZXlUb2tlbj0xNmZjMTNhMjI2YzBlOTUxXV0DAAAABl9pdGVtcwVfc2l6ZQhfdmVyc2lvbgQAABlBcGxvcmlzLkNoYXJ0LkF4aXNCcmVha1tdAgAAAAgICf4AAAAAAAAAAAAAAAGWAAAAJgAAAAniAAAAAAAAAAAAAAABlwAAACcAAAAJ4AAAAAAAAAAAAAAABJkAAACQAVN5c3RlbS5Db2xsZWN0aW9ucy5HZW5lcmljLkxpc3RgMVtbQXBsb3Jpcy5DaGFydC5UaWNrTWFyaywgQXBsb3Jpcy5DaGFydCwgVmVyc2lvbj00LjAuMC4xNDg2LCBDdWx0dXJlPW5ldXRyYWwsIFB1YmxpY0tleVRva2VuPTE2ZmMxM2EyMjZjMGU5NTFdXQMAAAAGX2l0ZW1zBV9zaXplCF92ZXJzaW9uBAAAGEFwbG9yaXMuQ2hhcnQuVGlja01hcmtbXQIAAAAICAn/AAAAAAAAAAAAAAABmgAAACYAAAAJ4gAAAAAAAAAAAAAAAZsAAAAnAAAACeAAAAAAAAAAAAAAAAGeAAAAdQAAAAoKAAAAQD8JAAEAAAkBAQAAAQAAAP7///8AAAAAAQAAAAAAAAAAAAAAAQAAAAAAAAAAAAABnwAAAHoAAAAJAgEAAAoFrA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gAAAAoAAAAAAEBBCXsAAAAJfAAAAAkDAQAAAQAJBAEAAAGtAAAAfQAAAAoKAQAAAAAAAAD/////AAEEsgAAAJYBU3lzdGVtLkNvbGxlY3Rpb25zLkdlbmVyaWMuTGlzdGAxW1tBcGxvcmlzLkJhc2UuT2JqZWN0cy5WYXJpYWJsZSwgQXBsb3Jpcy5CYXNlLCBWZXJzaW9uPTQuMC4wLjE0ODYsIEN1bHR1cmU9bmV1dHJhbCwgUHVibGljS2V5VG9rZW49MTZmYzEzYTIyNmMwZTk1MV1dAwAAAAZfaXRlbXMFX3NpemUIX3ZlcnNpb24EAAAfQXBsb3Jpcy5CYXNlLk9iamVjdHMuVmFyaWFibGVbXQMAAAAICAkFAQAAAAAAAAAAAAABswAAAHoAAAAJBgEAAAoHtAAAAAABAAAACAAAAAQfQXBsb3Jpcy5CYXNlLk9iamVjdHMuRGF0YU9iamVjdAMAAAAJKwAAAAksAAAACS0AAAAJLgAAAAkpAAAACSoAAAAKCge1AAAAAAEAAAAEAAAABBxBcGxvcmlzLkJhc2UuVUkuVmlzdWFsT2JqZWN0AwAAAAkxAAAACTUAAAAKCgG2AAAAkgAAAAn9AAAAAAAAAAAAAAABtwAAACYAAAAJ4gAAAAAAAAAAAAAAAbgAAAAnAAAACeAAAAAAAAAAAAAAAAG5AAAAlQAAAAn+AAAAAAAAAAAAAAABugAAACYAAAAJ4gAAAAAAAAAAAAAAAbsAAAAnAAAACeAAAAAAAAAAAAAAAAG9AAAAmQAAAAkHAQAABQAAAGsAAAABvgAAACYAAAAJCAEAAAUAAABrAAAAAb8AAAAnAAAACeAAAAAAAAAAAAAAAAHCAAAAdQAAAAoKAAAAQD8JCQEAAAkKAQAAAQAAAP7///8AAAAAAQAAAAAAAAAAAAAAAQAAAAAAAAAAAAABwwAAAHoAAAAJCwEAAAoF0A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wAAAAoAAAAAAEBBCXsAAAAJfAAAAAkMAQAAAQAJDQEAAAHRAAAAfQAAAAoKAAAAAP///wAOAAAAAAEB1gAAALIAAAAJBQEAAAAAAAABAAAAAdcAAAB6AAAACQ4BAAAKB9gAAAAAAQAAAAgAAAAEH0FwbG9yaXMuQmFzZS5PYmplY3RzLkRhdGFPYmplY3QDAAAACTsAAAAJPAAAAAk9AAAACT4AAAAJOQAAAAk6AAAACQ8BAAAJEAEAAAfZAAAAAAEAAAAEAAAABBxBcGxvcmlzLkJhc2UuVUkuVmlzdWFsT2JqZWN0AwAAAAlBAAAACUUAAAAKCgfeAAAAAAEAAAAgAAAABB1BcGxvcmlzLkNoYXJ0LkNoYXJ0RGF0YVNlcmllcwIAAAAJEQEAAAkSAQAACRMBAAANHQffAAAAAAEAAAAgAAAABB9BcGxvcmlzLkJhc2UuT2JqZWN0cy5EYXRhT2JqZWN0AwAAAAkTAQAACRIBAAAJEQEAAA0dB+AAAAAAAQAAAAAAAAAEHEFwbG9yaXMuQmFzZS5VSS5WaXN1YWxPYmplY3QDAAAAB+EAAAAAAQAAAAAAAAAEIkFwbG9yaXMuQ2hhcnQuQW5ub3RhdGlvbkRhdGFTZXJpZXMCAAAAB+IAAAAAAQAAAAAAAAAEH0FwbG9yaXMuQmFzZS5PYmplY3RzLkRhdGFPYmplY3QDAAAAB+MAAAAAAQAAAAAAAAAEHUFwbG9yaXMuQ2hhcnQuQW5ub3RhdGlvbkdyb3VwAgAAAAfkAAAAAAEAAAAQAAAABBxBcGxvcmlzLkNoYXJ0LkNoYXJ0RGF0YUdyb3VwAgAAAAkUAQAACRUBAAANDgflAAAAAAEAAAAQAAAABB9BcGxvcmlzLkJhc2UuT2JqZWN0cy5EYXRhT2JqZWN0AwAAAAkVAQAACRQBAAANDgfmAAAAAAEAAAAAAAAABBZBcGxvcmlzLkNoYXJ0LkRlbHRhQmFyAgAAAAfnAAAAAAEAAAAAAAAABBlBcGxvcmlzLkNoYXJ0LkRlbHRhQnJpZGdlAgAAAAfoAAAAAAEAAAAAAAAABBlBcGxvcmlzLkNoYXJ0Lkdyb3d0aEFycm93AgAAAAfpAAAAAAEAAAAAAAAABCBBcGxvcmlzLkNoYXJ0LldhdGVyZmFsbENvbm5lY3RvcgIAAAAH6gAAAAABAAAAAAAAAAQeQXBsb3Jpcy5DaGFydC5FbGVtZW50Q29ubmVjdG9yAgAAAATrAAAAowFTeXN0ZW0uQ29sbGVjdGlvbnMuR2VuZXJpYy5MaXN0YDFbW0FwbG9yaXMuQ2hhcnQuQ29sdW1uT3JpZW50ZWRMZWdlbmRFbGVtZW50LCBBcGxvcmlzLkNoYXJ0LCBWZXJzaW9uPTQuMC4wLjE0ODYsIEN1bHR1cmU9bmV1dHJhbCwgUHVibGljS2V5VG9rZW49MTZmYzEzYTIyNmMwZTk1MV1dAwAAAAZfaXRlbXMFX3NpemUIX3ZlcnNpb24EAAArQXBsb3Jpcy5DaGFydC5Db2x1bW5PcmllbnRlZExlZ2VuZEVsZW1lbnRbXQIAAAAICAkWAQAAAwAAAAoAAAAB7AAAACYAAAAJFwEAAAMAAAADAAAAAe0AAAAnAAAACRgBAAAAAAAAAAAAAAHwAAAAdQAAAAoKAAAAAAAJGQEAAAkaAQAAAQAAAP7///8BAAAAAQAAAAEAAAABAAAAAQAAAAEAAAAAAAEB8QAAAHYAAAAKCgkbAQAACRwBAAABAAAAAAAAAAAAAAAAAAAAAAEB9QAAAHoAAAAJHQEAAAoH9gAAAAABAAAABAAAAAQfQXBsb3Jpcy5CYXNlLk9iamVjdHMuRGF0YU9iamVjdAMAAAAJZAAAAA0DB/cAAAAAAQAAAAQAAAAEHEFwbG9yaXMuQmFzZS5VSS5WaXN1YWxPYmplY3QDAAAACWYAAAANAwH4AAAAfQAAAAoKAAAAAAAAAAANAAAAAAEB+QAAAH0AAAAKCgEAAAAAAAAA/////wABAfoAAAB9AAAACgoBAAAA////AP////8AAQH7AAAAfQAAAAoKAQAAAAAAAAD/////AAEP/AAAAAEAAAAIAAAAAAf9AAAAAAEAAAAAAAAABBdBcGxvcmlzLkNoYXJ0LlZhbHVlTGluZQIAAAAH/gAAAAABAAAAAAAAAAQXQXBsb3Jpcy5DaGFydC5BeGlzQnJlYWsCAAAAB/8AAAAAAQAAAAAAAAAEFkFwbG9yaXMuQ2hhcnQuVGlja01hcmsCAAAABQABAAAaQXBsb3Jpcy5CYXNlLk9iamVjdHMuQ29sb3IHAAAAEkRhdGFPYmplY3QrbVBhcmVudBVEYXRhT2JqZWN0K21Db250YWluZXIFbVR5cGUEbVJHQhBtVGhlbWVDb2xvckluZGV4DG1BdXRvVXBkYXRlZAltTW9kaWZpZWQEAgAAAAAAH0FwbG9yaXMuQmFzZS5PYmplY3RzLkxpbmVGb3JtYXQDAAAACAgIAQEDAAAACZ4AAAAKAAAAAAAAAAANAAAAAAAFAQEAABpBcGxvcmlzLkJhc2UuT2JqZWN0cy5Db2xvcgcAAAASRGF0YU9iamVjdCttUGFyZW50FURhdGFPYmplY3QrbUNvbnRhaW5lcgVtVHlwZQRtUkdCEG1UaGVtZUNvbG9ySW5kZXgMbUF1dG9VcGRhdGVkCW1Nb2RpZmllZAQCAAAAAAAfQXBsb3Jpcy5CYXNlLk9iamVjdHMuTGluZUZvcm1hdAMAAAAICAgBAQMAAAAJngAAAAoBAAAAAAAAAP////8AAQ8CAQAAAQAAAAg8AQAAAQMBAAB9AAAACgoAAAAAAAAAAA0AAAAAAQEEAQAAfQAAAAoKAQAAAAAAAAD/////AAEHBQEAAAABAAAAAAAAAAQdQXBsb3Jpcy5CYXNlLk9iamVjdHMuVmFyaWFibGUDAAAADwYBAAABAAAACAAAAAAHBwEAAAABAAAAIAAAAAQWQXBsb3Jpcy5DaGFydC5UaWNrTWFyawIAAAAJHgEAAAkfAQAACSABAAAJIQEAAAkiAQAADRsHCAEAAAABAAAAIAAAAAQfQXBsb3Jpcy5CYXNlLk9iamVjdHMuRGF0YU9iamVjdAMAAAAJHgEAAAkfAQAACSABAAAJIQEAAAkiAQAADRsFCQEAABpBcGxvcmlzLkJhc2UuT2JqZWN0cy5Db2xvcgcAAAASRGF0YU9iamVjdCttUGFyZW50FURhdGFPYmplY3QrbUNvbnRhaW5lcgVtVHlwZQRtUkdCEG1UaGVtZUNvbG9ySW5kZXgMbUF1dG9VcGRhdGVkCW1Nb2RpZmllZAQCAAAAAAAfQXBsb3Jpcy5CYXNlLk9iamVjdHMuTGluZUZvcm1hdAMAAAAICAgBAQMAAAAJwgAAAAoAAAAAAAAAAA0AAAAAAAUKAQAAGkFwbG9yaXMuQmFzZS5PYmplY3RzLkNvbG9yBwAAABJEYXRhT2JqZWN0K21QYXJlbnQVRGF0YU9iamVjdCttQ29udGFpbmVyBW1UeXBlBG1SR0IQbVRoZW1lQ29sb3JJbmRleAxtQXV0b1VwZGF0ZWQJbU1vZGlmaWVkBAIAAAAAAB9BcGxvcmlzLkJhc2UuT2JqZWN0cy5MaW5lRm9ybWF0AwAAAAgICAEBAwAAAAnCAAAACgEAAAAAAAAA/////wABDwsBAAABAAAACD0BAAABDAEAAH0AAAAKCgAAAAAAAAAADQAAAAABAQ0BAAB9AAAACgoBAAAAAAAAAP////8AAQ8OAQAAAQAAAAgAAAAABQ8B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kAAAADAAAACWoAAAAJawAAAAlsAAAAAQAAAAAKCZgAAAAJbQAAAAEAAAAKAAAAAAAAAAAFEA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wAAAAkBAAAAAAAAAAAGIwEAAAEuAwAAAAYkAQAAASwGJQEAAAEtBiYBAAABKwEAAAAACgoGJwEAAAhNL2QveXl5eQAAAAAKAAAAAAAAAAAFEQE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AuMC4xNDg2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ASgBAAATAAAAAAAAAAIAAAD/////CQcAAAAJKQEAAAYqAQAACEFkdmFuY2VkCgqrqqo+AAAAAAAAAAAKCgAJKwEAAAksAQAACS0BAAAAAAAAAAAAAAAAAAAAAAAAAAAJLgEAAAkBAAAACQEAAAAJLwEAAAESAQAAEQEAAAkBAAAAATABAAATAAAAAAAAAAMAAAD/////CQcAAAAJMQEAAAYyAQAABlBlb3BsZQoKq6qqPquqqj4AAAAACgoACTMBAAAJNAEAAAk1AQAAAAAAAAABAAAAAQAAAAAAAAAACTYBAAAJAQAAAAkBAAAACTcBAAABEwEAABEBAAAJAQAAAAE4AQAAEwAAAAAAAAAEAAAA/////wkHAAAACTkBAAAGOgEAAApUZWNobm9sb2d5Cgqrqqo+q6oqPwAAAAAKCgAJOwEAAAk8AQAACT0BAAAAAAAAAAIAAAACAAAAAAAAAAAJPgEAAAkBAAAACQEAAAAJPwEAAAUUAQAAHEFwbG9yaXMuQ2hhcnQuQ2hhcnREYXRhR3JvdXARAAAABm1DaGFydBFtR3JvdXBEZXNjcmlwdGlvbgdtSGlkZGVuDG1Hcm91cEFuY2hvcgptQ3VzdG9tU3VtE21QbGFjZWhvbGRlcnNCZWZvcmUQbVRvdGFsTGFiZWxDb3VudAltQmFyQ291bnQTbUxhYmVsQmFyUmVmZXJlbmNlcwxtVG90YWxMYWJlbHMObUNhdGVnb3J5TGFiZWwQbUFubm90YXRpb25Hcm91cBJtTWFnbml0dWRlUHJvdmlkZXIYRGF0YU9iamVjdCttQ2hpbGRPYmplY3RzEkRhdGFPYmplY3QrbVBhcmVudBVEYXRhT2JqZWN0K21Db250YWluZXIZRGF0YU9iamVjdCttVmlzdWFsT2JqZWN0cwQCAAQCAAAABwQEBAQDBAQDIUFwbG9yaXMuQ2hhcnQuQ29sdW1uT3JpZW50ZWRDaGFydAIAAAABHkFwbG9yaXMuQ2hhcnQuQ2hhcnRHcm91cEFuY2hvcgIAAAAICAgIF0FwbG9yaXMuQmFzZS5VSS5MYWJlbFtdAwAAABVBcGxvcmlzLkJhc2UuVUkuTGFiZWwDAAAAHUFwbG9yaXMuQ2hhcnQuQW5ub3RhdGlvbkdyb3VwAgAAACBBcGxvcmlzLkNoYXJ0LklNYWduaXR1ZGVQcm92aWRlcgIAAAC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kABAAAMR29hbCBTZXR0aW5nAAVBAQAAHkFwbG9yaXMuQ2hhcnQuQ2hhcnRHcm91cEFuY2hvcgEAAAAHdmFsdWVfXwAIAgAAAAAAAAAKAAAAAAMAAAADAAAACUIBAAAJQwEAAAlEAQAACgkHAAAACUUBAAAJAQAAAAkBAAAACUYBAAABFQEAABQBAAAJAQAAAAZHAQAAD0NhcmVlciBQbGFubmluZwABSAEAAEEBAAAAAAAACgAAAAADAAAAAwAAAAlCAQAACUkBAAAJSgEAAAoJBwAAAAlLAQAACQEAAAAJAQAAAAlMAQAABxYBAAAAAQAAAAQAAAAEKUFwbG9yaXMuQ2hhcnQuQ29sdW1uT3JpZW50ZWRMZWdlbmRFbGVtZW50AgAAAAlNAQAACU4BAAAJTwEAAAoHFwEAAAABAAAABAAAAAQfQXBsb3Jpcy5CYXNlLk9iamVjdHMuRGF0YU9iamVjdAMAAAAJTQEAAAlOAQAACU8BAAAKBxgBAAAAAQAAAAAAAAAEHEFwbG9yaXMuQmFzZS5VSS5WaXN1YWxPYmplY3QDAAAAARkBAAB9AAAACgoAAAAAAAAAAA0AAAAAAQEaAQAAfQAAAAoKAQAAAAAAAAD/////AAEBGwEAAH0AAAAKCgEAAAD///8A/////wABARwBAAB9AAAACgoBAAAAAAAAAP////8AAQ8dAQAAAQAAAAgAAAAABR4BAAAWQXBsb3Jpcy5DaGFydC5UaWNrTWFyaw0AAAALbVZpc3VhbExpbmUJbUdyaWRMaW5lBm1MYWJlbAVtQXhpcwhtVmlzaWJsZQltUG9zaXRpb24LbVN0YXJ0UG9pbnQJbUVuZFBvaW50DG1IYXNHcmlkTGluZRhEYXRhT2JqZWN0K21DaGlsZE9iamVjdHMSRGF0YU9iamVjdCttUGFyZW50FURhdGFPYmplY3QrbUNvbnRhaW5lchlEYXRhT2JqZWN0K21WaXN1YWxPYmplY3RzBAQEBAAABAQAAwQEAxpBcGxvcmlzLkJhc2UuVUkuVmlzdWFsTGluZQMAAAAaQXBsb3Jpcy5CYXNlLlVJLlZpc3VhbExpbmUDAAAAFUFwbG9yaXMuQmFzZS5VSS5MYWJlbAMAAAASQXBsb3Jpcy5DaGFydC5BeGlzAgAAAAEGFVN5c3RlbS5EcmF3aW5nLlBvaW50RgQAAAAVU3lzdGVtLkRyYXdpbmcuUG9pbnRG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lQAQAACglRAQAACQcAAAABAAAAAAAAAAABUgEAACIAAAAGexdCM5uaQwFTAQAAIgAAAAZ7B0Izm5pDAAlUAQAACQcAAAAJAQAAAAlVAQAAAR8BAAAeAQAACVYBAAAKCVcBAAAJBwAAAAGamZmZmZnJPwFYAQAAIgAAAAZ7F0KsCG1DAVkBAAAiAAAABnsHQqwIbUMACVoBAAAJBwAAAAkBAAAACVsBAAABIAEAAB4BAAAJXAEAAAoJXQEAAAkHAAAAAZqZmZmZmdk/AV4BAAAiAAAABnsXQvLaJEMBXwEAACIAAAAGewdC8tokQwAJYAEAAAkHAAAACQEAAAAJYQEAAAEhAQAAHgEAAAliAQAACgljAQAACQcAAAABMzMzMzMz4z8BZAEAACIAAAAGexdCb1q5QgFlAQAAIgAAAAZ7B0JvWrlCAAlmAQAACQcAAAAJAQAAAAlnAQAAASIBAAAeAQAACWgBAAAKCWkBAAAJBwAAAAGamZmZmZnpPwFqAQAAIgAAAAZ7F0Ls+6NBAWsBAAAiAAAABnsHQuz7o0EACWwBAAAJBwAAAAkBAAAACW0BAAAFKQEAAKIBQXBsb3Jpcy5CYXNlLk9iamVjdHMuRGF0YU9iamVjdENvbGxlY3Rpb25gMVtbQXBsb3Jpcy5DaGFydC5DaGFydERhdGFFbGVtZW50LCBBcGxvcmlzLkNoYXJ0LCBWZXJzaW9uPTQuMC4wLjE0ODY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C4wLjE0ODYsIEN1bHR1cmU9bmV1dHJhbCwgUHVibGljS2V5VG9rZW49MTZmYzEzYTIyNmMwZTk1MV1dAwAAAJgBU3lzdGVtLkNvbGxlY3Rpb25zLkdlbmVyaWMuTGlzdGAxW1tBcGxvcmlzLkNoYXJ0LkNoYXJ0RGF0YUVsZW1lbnQ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bgEAAAlvAQAACREBAAAJAQAAAAlwAQAABSsBAAAcQXBsb3Jpcy5DaGFydC5Db25uZWN0ZWRMYWJlbCQAAAAObUNvbm5lY3RvckxpbmUQbVpPcmRlckNvbm5lY3Rvcg5tQ29ubmVjdG9yTW9kZRltQW5nbGVkQ29ubmVjdG9yRGlyZWN0aW9uEG1Db25uZWN0b3JUYXJnZXQZbUNvbm5lY3RvclRhcmdldEFyZWFTaGFwZRptQ29ubmVjdG9yRGlzcGxheVRocmVzaG9sZBNtQ29ubmVjdEFuY2hvclBvaW5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QEAAAABAAEAAAEBAQAAQMDAQAAAAAHAgAAAwAeQXBsb3Jpcy5CYXNlLlVJLlZpc3VhbFBvbHlsaW5lAwAAAAgrQXBsb3Jpcy5DaGFydC5Db25uZWN0ZWRMYWJlbCtlQ29ubmVjdG9yTW9kZQIAAAA2QXBsb3Jpcy5DaGFydC5Db25uZWN0ZWRMYWJlbCtlQW5nbGVkQ29ubmVjdG9yRGlyZWN0aW9uAgAAABlTeXN0ZW0uRHJhd2luZy5SZWN0YW5nbGVGBAAAAC1BcGxvcmlzLkNoYXJ0LkNvbm5lY3RlZExhYmVsK2VUYXJnZXRBcmVhU2hhcGUCAAAACwEVU3lzdGVtLkRyYXdpbmcuUG9pbnRGBAAAABdBcGxvcmlzLkJhc2UuQW5jaG9yTW9kZQMAAAABCwsfQXBsb3Jpcy5CYXNlLk9iamVjdHMuVGV4dEZvcm1hdAMAAAALGkFwbG9yaXMuQmFzZS5PYmplY3RzLkNvbG9yAwAAAAEBKkFwbG9yaXMuQmFzZS5VSS5MYWJlbCtMaW5lQWxpZ25tZW50T3B0aW9ucwMAAAAUU3lzdGVtLkRyYXdpbmcuU2l6ZUYEAAAAGVN5c3RlbS5EcmF3aW5nLlJlY3RhbmdsZUYEAAAAC6ABU3lzdGVtLkNvbGxlY3Rpb25zLk9iamVjdE1vZGVsLkNvbGxlY3Rpb25gMVtbQXBsb3Jpcy5CYXNlLk9iamVjdHMuVmFyaWFibGUsIEFwbG9yaXMuQmFzZSwgVmVyc2lvbj00LjAuMC4xNDg2LCBDdWx0dXJlPW5ldXRyYWwsIFB1YmxpY0tleVRva2VuPTE2ZmMxM2EyMjZjMGU5NTFdXZYBU3lzdGVtLkNvbGxlY3Rpb25zLkdlbmVyaWMuTGlzdGAxW1tBcGxvcmlzLkJhc2UuT2JqZWN0cy5WYXJpYWJsZSwgQXBsb3Jpcy5CYXNlLCBWZXJzaW9uPTQuMC4wLjE0ODYsIEN1bHR1cmU9bmV1dHJhbCwgUHVibGljS2V5VG9rZW49MTZmYzEzYTIyNmMwZTk1MV1dCAgBAQgBAQ9TeXN0ZW0uSW50UHRyW10BAgAAAApYAgAABXEBAAArQXBsb3Jpcy5DaGFydC5Db25uZWN0ZWRMYWJlbCtlQ29ubmVjdG9yTW9kZQEAAAAHdmFsdWVfXwAIAgAAAAEAAAAFcgEAADZBcGxvcmlzLkNoYXJ0LkNvbm5lY3RlZExhYmVsK2VBbmdsZWRDb25uZWN0b3JEaXJlY3Rpb24BAAAAB3ZhbHVlX18ACAIAAAAAAAAAAXMBAAAVAAAAFeWrQ+C0sULoV49C9ltZQwV0AQAALUFwbG9yaXMuQ2hhcnQuQ29ubmVjdGVkTGFiZWwrZVRhcmdldEFyZWFTaGFwZQEAAAAHdmFsdWVfXwAIAgAAAAAAAAAAABBBAQF1AQAAIgAAAIKzEERriEVDAXYBAAClAAAABAAAAAAAAAAAAAAAAAl3AQAAAAAAAAl4AQAAAAABeQEAAK4AAAAAAAAAAXoBAAB3AAAAAAAAAAAAAAABewEAABUAAAAAAAAAAAAAAAAAAAAAAAAAAAAAAAkqAQAACgl8AQAABn0BAAAAIAMAAP////8AAQoJfgEAAAEACgEHLAEAAAABAAAAAgAAAAQVU3lzdGVtLkRyYXdpbmcuUG9pbnRGBAAAAAF/AQAAIgAAAIKzEERriEVDAYABAAAiAAAABnsDQnbDKEMHLQEAAAABAAAAAgAAAAQXQXBsb3Jpcy5CYXNlLkFuY2hvck1vZGUDAAAAAYEBAAClAAAABAAAAAGCAQAApQAAAAIAAAABLgEAACYAAAAJgwEAAAEAAAABAAAAAS8BAAAnAAAACYQBAAABAAAAAQAAAAExAQAAKQEAAAoJhQEAAAmGAQAACRIBAAAJAQAAAAmHAQAAATMBAAArAQAAClgCAAABiAEAAHEBAAABAAAAAYkBAAByAQAAAAAAAAGKAQAAFQAAAA+70kMgxAZD6FePQkZyK0MBiwEAAHQBAAAAAAAAAAAQQQEBjAEAACIAAACCsxBEQ31cQwGNAQAApQAAAAQAAAAAAAAAAAAAAAAJjgEAAAAAAAAJjwEAAAAAAZABAACuAAAAAAAAAAGRAQAAdwAAAAAAAAAAAAAAAZIBAAAVAAAAAAAAAAAAAAAAAAAAAAAAAAAAAAAJMgEAAAoJkwEAAAl9AQAAIAMAAP////8AAQoJlAEAAAEACgEHNAEAAAABAAAAAgAAAAQVU3lzdGVtLkRyYXdpbmcuUG9pbnRGBAAAAAGVAQAAIgAAAIKzEERDfVxDAZYBAAAiAAAABnsDQobtREMHNQEAAAABAAAAAgAAAAQXQXBsb3Jpcy5CYXNlLkFuY2hvck1vZGUDAAAAAZcBAAClAAAABAAAAAGYAQAApQAAAAIAAAABNgEAACYAAAAJmQEAAAEAAAABAAAAATcBAAAnAAAACZoBAAABAAAAAQAAAAE5AQAAKQEAAAoJmwEAAAmcAQAACRMBAAAJAQAAAAmdAQAAATsBAAArAQAAClgCAAABngEAAHEBAAABAAAAAZ8BAAByAQAAAAAAAAGgAQAAFQAAAAmR+UNQePdC7FePQj56NkMBoQEAAHQBAAAAAAAAAAAQQQEBogEAACIAAACCsxBER/lWQwGjAQAApQAAAAQAAAAAAAAAAAAAAAAJpAEAAAAAAAAJpQEAAAAAAaYBAACuAAAAAAAAAAGnAQAAdwAAAAAAAAAAAAAAAagBAAAVAAAAAAAAAAAAAAAAAAAAAAAAAAAAAAAJOgEAAAoJqQEAAAl9AQAAIAMAAP////8AAQoJqgEAAAEACgEHPAEAAAABAAAAAgAAAAQVU3lzdGVtLkRyYXdpbmcuUG9pbnRGBAAAAAGrAQAAIgAAAIKzEERH+VZDAawBAAAiAAAABnsDQurHPUMHPQEAAAABAAAAAgAAAAQXQXBsb3Jpcy5CYXNlLkFuY2hvck1vZGUDAAAAAa0BAAClAAAABAAAAAGuAQAApQAAAAIAAAABPgEAACYAAAAJrwEAAAEAAAABAAAAAT8BAAAnAAAACbABAAABAAAAAQAAAA9CAQAAAwAAAAgAAAAAAQAAAAIAAAAHQwEAAAABAAAAAwAAAAQVQXBsb3Jpcy5CYXNlLlVJLkxhYmVsAwAAAAmxAQAACbIBAAAJswEAAAFEAQAANQAAAAG0AQAAIgAAAN6tMUMzG51DAbUBAAClAAAAAwAAAAAAAAAAAAAAAAm2AQAAAAAAAAm3AQAAAAABuAEAAK4AAAAAAAAAAbkBAAB3AAAAAAB8QgAAQEEBugEAABUAAADRRRND0UWdQ3b/cEKjiy5BEoO+PwlAAQAACgm7AQAACX0BAAAgAwAA/////wEBCgm8AQAAAQAKAQFFAQAAJgAAAAm9AQAAAAAAAAAAAAABRgEAACcAAAAJvgEAAAQAAAAKAAAAB0kBAAAAAQAAAAMAAAAEFUFwbG9yaXMuQmFzZS5VSS5MYWJlbAMAAAAJvwEAAAnAAQAACcEBAAABSgEAADUAAAABwgEAACIAAAAMpuRDMxudQwHDAQAApQAAAAMAAAAAAAAAAAAAAAAJxAEAAAAAAAAJxQEAAAAAAcYBAACuAAAAAAAAAAHHAQAAdwAAAAAApkIAAEBBAcgBAAAVAAAARhfRQ9FFnUPS3JxCo4suQRKDvj8JRwEAAAoJyQEAAAl9AQAAIAMAAP////8BAQoJygEAAAEACgEBSwEAACYAAAAJ4gAAAAAAAAAAAAAAAUwBAAAnAAAACcsBAAAEAAAADgAAAAVNAQAAKUFwbG9yaXMuQ2hhcnQuQ29sdW1uT3JpZW50ZWRMZWdlbmRFbGVtZW50DQAAAAdtTGVnZW5kC21EYXRhU2VyaWVzFExlZ2VuZEVsZW1lbnQrbUxhYmVsGExlZ2VuZEVsZW1lbnQrbVJlY3RhbmdsZRNMZWdlbmRFbGVtZW50K21MaW5lFUxlZ2VuZEVsZW1lbnQrbUNpcmNsZRVMZWdlbmRFbGVtZW50K21NYXJrZXIUTGVnZW5kRWxlbWVudCttSW5kZXgdTGVnZW5kRWxlbWVudCttTGFiZWxQb3NpdGlvbnMYRGF0YU9iamVjdCttQ2hpbGRPYmplY3RzEkRhdGFPYmplY3QrbVBhcmVudBVEYXRhT2JqZWN0K21Db250YWluZXIZRGF0YU9iamVjdCttVmlzdWFsT2JqZWN0cwQEBAQEBAQABAMEBAMiQXBsb3Jpcy5DaGFydC5Db2x1bW5PcmllbnRlZExlZ2VuZAIAAAAdQXBsb3Jpcy5DaGFydC5DaGFydERhdGFTZXJpZXMCAAAAFUFwbG9yaXMuQmFzZS5VSS5MYWJlbAMAAAAaQXBsb3Jpcy5CYXNlLlVJLlZpc3VhbFJlY3QDAAAAGkFwbG9yaXMuQmFzZS5VSS5WaXN1YWxMaW5lAwAAAB1BcGxvcmlzLkJhc2UuVUkuVmlzdWFsRWxsaXBzZQMAAAAaQXBsb3Jpcy5DaGFydC5WaXN1YWxNYXJrZXICAAAACBdTeXN0ZW0uRHJhd2luZy5Qb2ludEZbXQQAAAC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UAAAACREBAAAJzAEAAAnNAQAACgoKAAAAAAoJzgEAAAkUAAAACQEAAAAJzwEAAAFOAQAATQEAAAkUAAAACRIBAAAJ0AEAAAnRAQAACgoKAQAAAAoJ0gEAAAkUAAAACQEAAAAJ0wEAAAFPAQAATQEAAAkUAAAACRMBAAAJ1AEAAAnVAQAACgoKAgAAAAoJ1gEAAAkUAAAACQEAAAAJ1wEAAAFQAQAAMQAAAAHYAQAAIgAAAAZ7F0Izm5pDAdkBAAAiAAAABnsHQjObmkMJ2gEAAMwBAAD/////AQEKCdsBAAABAAoAAVEBAAA1AAAAAdwBAAAiAAAABnsBQjObmkMB3QEAAKUAAAACAAAAAAAAAAAAAAAACd4BAAAAAAAACd8BAAAAAAHgAQAArgAAAAAAAAAB4QEAAHcAAAAAAIBBAABAQQHiAQAAFQAAALrogkF00ZdDei2MQaOLLkESg74/BuMBAAACMCUKCeQBAAAJfQEAANACAAD/////AQEKCeUBAAABAAoAAVQBAAAmAAAACeIAAAAAAAAAAAAAAAFVAQAAJwAAAAnmAQAAAgAAAAIAAAABVgEAADEAAAAB5wEAACIAAAAGexdCrAhtQwHoAQAAIgAAAAZ7B0KsCG1DCekBAADMAQAA/////wEBCgnqAQAAAQAKAAFXAQAANQAAAAHrAQAAIgAAAAZ7AUKsCG1DAewBAAClAAAAAgAAAAAAAAAAAAAAAAntAQAAAAAAAAnuAQAAAAAB7wEAAK4AAAAAAAAAAfABAAB3AAAAAAC4QQAAQEEB8QEAABUAAAAAACBBdNFnQzQWv0Gjiy5BEoO+PwbyAQAAAzIwJQoJ8wEAAAl9AQAA0AIAAP////8BAQoJ9AEAAAEACgABWgEAACYAAAAJ4gAAAAAAAAAAAAAAAVsBAAAnAAAACfUBAAACAAAAAgAAAAFcAQAAMQAAAAH2AQAAIgAAAAZ7F0Ly2iRDAfcBAAAiAAAABnsHQvLaJEMJ+AEAAMwBAAD/////AQEKCfkBAAABAAoAAV0BAAA1AAAAAfoBAAAiAAAABnsBQvLaJEMB+wEAAKUAAAACAAAAAAAAAAAAAAAACfwBAAAAAAAACf0BAAAAAAH+AQAArgAAAAAAAAAB/wEAAHcAAAAAALhBAABAQQEAAgAAFQAAAAAAIEFGFx9DNBa/QaOLLkESg74/BgECAAADNDAlCgkCAgAACX0BAADQAgAA/////wEBCgkDAgAAAQAKAAFgAQAAJgAAAAniAAAAAAAAAAAAAAABYQEAACcAAAAJBAIAAAIAAAACAAAAAWIBAAAxAAAAAQUCAAAiAAAABnsXQm9auUIBBgIAACIAAAAGewdCb1q5QgkHAgAAzAEAAP////8BAQoJCAIAAAEACgABYwEAADUAAAABCQIAACIAAAAGewFCb1q5QgEKAgAApQAAAAIAAAAAAAAAAAAAAAAJCwIAAAAAAAAJDAIAAAAAAQ0CAACuAAAAAAAAAAEOAgAAdwAAAAAAuEEAAEBBAQ8CAAAVAAAAAAAgQaOLrkI0Fr9Bo4suQRKDvj8GEAIAAAM2MCUKCRECAAAJfQEAANACAAD/////AQEKCRICAAABAAoAAWYBAAAmAAAACeIAAAAAAAAAAAAAAAFnAQAAJwAAAAkTAgAAAgAAAAIAAAABaAEAADEAAAABFAIAACIAAAAGexdC7PujQQEVAgAAIgAAAAZ7B0Ls+6NBCRYCAADMAQAA/////wEBCgkXAgAAAQAKAAFpAQAANQAAAAEYAgAAIgAAAAZ7AULs+6NBARkCAAClAAAAAgAAAAAAAAAAAAAAAAkaAgAAAAAAAAkbAgAAAAABHAIAAK4AAAAAAAAAAR0CAAB3AAAAAAC4QQAAQEEBHgIAABUAAAAAACBB0UV3QTQWv0Gjiy5BEoO+PwYfAgAAAzgwJQoJIAIAAAl9AQAA0AIAAP////8BAQoJIQIAAAEACgABbAEAACYAAAAJIgIAAAAAAAAAAAAAAW0BAAAnAAAACSMCAAACAAAAAgAAAARuAQAAmAFTeXN0ZW0uQ29sbGVjdGlvbnMuR2VuZXJpYy5MaXN0YDFbW0FwbG9yaXMuQ2hhcnQuQ2hhcnREYXRhRWxlbWVudCwgQXBsb3Jpcy5DaGFydCwgVmVyc2lvbj00LjAuMC4xNDg2LCBDdWx0dXJlPW5ldXRyYWwsIFB1YmxpY0tleVRva2VuPTE2ZmMxM2EyMjZjMGU5NTFdXQMAAAAGX2l0ZW1zBV9zaXplCF92ZXJzaW9uBAAAIEFwbG9yaXMuQ2hhcnQuQ2hhcnREYXRhRWxlbWVudFtdAgAAAAgICSQCAAACAAAAAgAAAAFvAQAAJgAAAAklAgAAAgAAAAIAAAABcAEAACcAAAAJJgIAAAAAAAAAAAAABXc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RAQAACgAAAAAAQEEJewAAAAl8AAAACScCAAABAAkoAgAAAXgBAAB9AAAACgoBAAAAAAAAAP////8AAQF8AQAAsgAAAAkpAgAAAQAAAAEAAAABfgEAAHoAAAAJKgIAAAoHgwEAAAABAAAABAAAAAQfQXBsb3Jpcy5CYXNlLk9iamVjdHMuRGF0YU9iamVjdAMAAAAJKQEAAA0DB4QBAAAAAQAAAAQAAAAEHEFwbG9yaXMuQmFzZS5VSS5WaXN1YWxPYmplY3QDAAAACSsBAAANAwGFAQAAbgEAAAkrAgAAAgAAABQAAAABhgEAACYAAAAJLAIAAAIAAAAUAAAAAYcBAAAnAAAACS0CAAAAAAAAAAAAAAWO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EgEAAAoAAAAAAEBBCXsAAAAJfAAAAAkuAgAAAQAJLwIAAAGPAQAAfQAAAAoKAQAAAAAAAAD/////AAEBkwEAALIAAAAJMAIAAAEAAAABAAAAAZQBAAB6AAAACTECAAAKB5kBAAAAAQAAAAQAAAAEH0FwbG9yaXMuQmFzZS5PYmplY3RzLkRhdGFPYmplY3QDAAAACTEBAAANAweaAQAAAAEAAAAEAAAABBxBcGxvcmlzLkJhc2UuVUkuVmlzdWFsT2JqZWN0AwAAAAkzAQAADQMBmwEAAG4BAAAJMgIAAAIAAAAUAAAAAZwBAAAmAAAACTMCAAACAAAAFAAAAAGdAQAAJwAAAAktAgAAAAAAAAAAAAAFpA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RMBAAAKAAAAAABAQQl7AAAACXwAAAAJNAIAAAEACTUCAAABpQEAAH0AAAAKCgEAAAAAAAAA/////wABAakBAACyAAAACTYCAAABAAAAAQAAAAGqAQAAegAAAAk3AgAACgevAQAAAAEAAAAEAAAABB9BcGxvcmlzLkJhc2UuT2JqZWN0cy5EYXRhT2JqZWN0AwAAAAk5AQAADQMHsAEAAAABAAAABAAAAAQcQXBsb3Jpcy5CYXNlLlVJLlZpc3VhbE9iamVjdAMAAAAJOwEAAA0DAbEBAAA1AAAAATgCAAAiAAAA1gPIQjGEykEBOQIAAKUAAAABAAAAAAAAAAAAAAAACToCAAAAAAAACTsCAAAAAAE8AgAArgAAAAAAAAABPQIAAHcAAAAAALhBAABAQQE+AgAAFQAAABddsEIuumhBNBa/QaOLLkESg74/Bj8CAAADNzglCglAAgAACX0BAAA0AwAA/////wEBCglBAgAAAQAKAAGyAQAANQAAAAFCAgAAIgAAAN+tMUNNSaNCAUMCAAClAAAAAQAAAAAAAAAAAAAAAAlEAgAAAAAAAAlFAgAAAAABRgIAAK4AAAAAAAAAAUcCAAB3AAAAAAC4QQAAQEEBSAIAABUAAABddCVDdNGNQjQWv0Gjiy5BEoO+PwZJAgAAAzYyJQoJSgIAAAl9AQAANAMAAP////8BAQoJSwIAAAEACgABswEAADUAAAABTAIAACIAAADTWX9D3LKGQgFNAgAApQAAAAEAAAAAAAAAAAAAAAAJTgIAAAAAAAAJTwIAAAAAAVACAACuAAAAAAAAAAFRAgAAdwAAAAAAuEEAAEBBAVICAAAVAAAA6KJzQ110YUI0Fr9Bo4suQRKDvj8GUwIAAAM2NiUKCVQCAAAJfQEAADQDAAD/////AQEKCVUCAAABAAoAAbYBAAAkAAAACgoAAAAAAChBCXsAAAAJfAAAAAlWAgAAAAAJVwIAAAG3AQAAfQAAAAoKAAAAAP///wAOAAAAAAEBuwEAALIAAAAJWAIAAAEAAAABAAAAAbwBAAB6AAAACVkCAAAKB70BAAAAAQAAAAAAAAAEH0FwbG9yaXMuQmFzZS5PYmplY3RzLkRhdGFPYmplY3QDAAAAB74BAAAAAQAAAAgAAAAEHEFwbG9yaXMuQmFzZS5VSS5WaXN1YWxPYmplY3QDAAAACUQBAAAJsQEAAAmyAQAACbMBAAANBAG/AQAANQAAAAFaAgAAIgAAABLQvUPgtKVCAVsCAAClAAAAAQAAAAAAAAAAAACgQAlcAgAAAAAAAAldAgAAAAABXgIAAK4AAAAAAAAAAV8CAAB3AAAAAAC4QQAAQEEBYAIAABUAAAAXXbpD6aKPQjQWv0Gjiy5BEoO+PwZhAgAAAzYyJQoJYgIAAAl9AQAANAMAAP////8BAQoJYwIAAAEACgABwAEAADUAAAABZAIAACIAAAAMpuRDIMQAQwFlAgAApQAAAAEAAAAAAAAAAAAAAAAJZgIAAAAAAAAJZwIAAAAAAWgCAACuAAAAAAAAAAFpAgAAdwAAAAAAuEEAAEBBAWoCAAAVAAAALrreQxdd7EI0Fr9Bo4suQRKDvj8GawIAAAM0OSUKCWwCAAAJfQEAADQDAAD/////AQEKCW0CAAABAAoAAcEBAAA1AAAAAW4CAAAiAAAAA74FRFB460IBbwIAAKUAAAABAAAAAAAAAAAAAAAACXACAAAAAAAACXECAAAAAAFyAgAArgAAAAAAAAABcwIAAHcAAAAAALhBAABAQQF0AgAAFQAAAIuuAkSji9ZCNBa/QaOLLkESg74/BnUCAAADNTIlCgl2AgAACX0BAAA0AwAA/////wEBCgl3AgAAAQAKAAHEAQAAJAAAAAoKAAAAAAAoQQl7AAAACXwAAAAJeAIAAAAACXkCAAABxQEAAH0AAAAKCgAAAAD///8ADgAAAAABAckBAACyAAAACXoCAAABAAAAAQAAAAHKAQAAegAAAAl7AgAACgfLAQAAAAEAAAAIAAAABBxBcGxvcmlzLkJhc2UuVUkuVmlzdWFsT2JqZWN0AwAAAAlKAQAACb8BAAAJwAEAAAnBAQAADQQBzAEAADUAAAABfAIAACIAAAA3SwlEAAB4QQF9AgAApQAAAAUAAAAAAAAAAAAAAAAJfgIAAAAAAAAJfwIAAAAAAYACAACuAAAAAAAAAAGBAgAAdwAAAAAATEIAAEBBAYICAAAVAAAAdNEIRNFFd0GOXEVCo4suQRKDvj8JKgEAAAoJgwIAAAl9AQAAhAMAAP////8BAQoJhAIAAAEACgABzQEAAB0AAAABhQIAACIAAABgqwVEAAB4QQGGAgAAIgAAADeLCETi+tdBCYcCAAAJiAIAAAAAAAAKAYkCAAB3AAAAAAAAAAAAAAABigIAAHcAAAAAAAAAAAAAAAAAAAABiwIAABUAAAAAAAAAAAAAAAAAAAAAAAAAmAMAAP////8BAQoJjAIAAAEACgABzgEAACYAAAAJjQIAAAAAAAAAAAAAAc8BAAAnAAAACY4CAAACAAAAAgAAAAHQAQAANQAAAAGPAgAAIgAAADdLCUSLLgJCAZACAAClAAAABQAAAAAAAAAAAAAAAAmRAgAAAAAAAAmSAgAAAAABkwIAAK4AAAAAAAAAAZQCAAB3AAAAAAAMQgAAQEEBlQIAABUAAAB00QhEuugCQgMuC0Kjiy5BEoO+PwkyAQAACgmWAgAACX0BAACEAwAA/////wEBCgmXAgAAAQAKAAHRAQAAHQAAAAGYAgAAIgAAAGCrBUSLLgJCAZkCAAAiAAAAN4sIRPwrMEIJmgIAAAmbAgAAAAAAAAoBnAIAAHcAAAAAAAAAAAAAAAGdAgAAdwAAAAAAAAAAAAAAAAAAAAGeAgAAFQAAAAAAAAAAAAAAAAAAAAAAAACYAwAA/////wEBCgmfAgAAAQAKAAHSAQAAJgAAAAmNAgAAAAAAAAAAAAAB0wEAACcAAAAJoAIAAAIAAAACAAAAAdQBAAA1AAAAAaECAAAiAAAAN0sJRBZdRkIBogIAAKUAAAAFAAAAAAAAAAAAAAAACaMCAAAAAAAACaQCAAAAAAGlAgAArgAAAAAAAAABpgIAAHcAAAAAAGxCAABAQQGnAgAAFQAAAHTRCEQAAEhC1HNiQqOLLkESg74/CToBAAAKCagCAAAJfQEAAIQDAAD/////AQEKCakCAAABAAoAAdUBAAAdAAAAAaoCAAAiAAAAYKsFRBZdRkIBqwIAACIAAAA3iwhEh1p0QgmsAgAACa0CAAAAAAAACgGuAgAAdwAAAAAAAAAAAAAAAa8CAAB3AAAAAAAAAAAAAAAAAAAAAbACAAAVAAAAAAAAAAAAAAAAAAAAAAAAAJgDAAD/////AQEKCbECAAABAAoAAdYBAAAmAAAACY0CAAAAAAAAAAAAAAHXAQAAJwAAAAmyAgAAAgAAAAIAAAAB2gEAAHUAAAAKCgAAAEA/CbMCAAAJtAIAAAEAAAD+////AAAAAAEAAAAAAAAAAAAAAAEAAAAAAAAAAAAAAdsBAAB6AAAACbUCAAAKAd4BAAAkAAAACgoAAAAAAChBCXsAAAAJfAAAAAm2AgAAAAAJtwIAAAHfAQAAfQAAAAoKAAAAAP///wAOAAAAAAEB5AEAALIAAAAJuAIAAAEAAAABAAAAAeUBAAB6AAAACbkCAAAKB+YBAAAAAQAAAAQAAAAEHEFwbG9yaXMuQmFzZS5VSS5WaXN1YWxPYmplY3QDAAAACVABAAAJUQEAAAoKAekBAAB1AAAACgoAAABAPwm6AgAACbsCAAABAAAA/v///wAAAAABAAAAAAAAAAAAAAABAAAAAAAAAAAAAAHqAQAAegAAAAm8AgAACgHtAQAAJAAAAAoKAAAAAAAoQQl7AAAACXwAAAAJvQIAAAAACb4CAAAB7gEAAH0AAAAKCgAAAAD///8ADgAAAAABAfMBAACyAAAACb8CAAABAAAAAwAAAAH0AQAAegAAAAnAAgAACgf1AQAAAAEAAAAEAAAABBxBcGxvcmlzLkJhc2UuVUkuVmlzdWFsT2JqZWN0AwAAAAlWAQAACVcBAAAKCgH4AQAAdQAAAAoKAAAAQD8JwQIAAAnCAgAAAQAAAP7///8AAAAAAQAAAAAAAAAAAAAAAQAAAAAAAAAAAAAB+QEAAHoAAAAJwwIAAAoB/AEAACQAAAAKCgAAAAAAKEEJewAAAAl8AAAACcQCAAAAAAnFAgAAAf0BAAB9AAAACgoAAAAA////AA4AAAAAAQECAgAAsgAAAAnGAgAAAQAAAAMAAAABAwIAAHoAAAAJxwIAAAoHBAIAAAABAAAABAAAAAQcQXBsb3Jpcy5CYXNlLlVJLlZpc3VhbE9iamVjdAMAAAAJXAEAAAldAQAACgoBBwIAAHUAAAAKCgAAAEA/CcgCAAAJyQIAAAEAAAD+////AAAAAAEAAAAAAAAAAAAAAAEAAAAAAAAAAAAAAQgCAAB6AAAACcoCAAAKAQsCAAAkAAAACgoAAAAAAChBCXsAAAAJfAAAAAnLAgAAAAAJzAIAAAEMAgAAfQAAAAoKAAAAAP///wAOAAAAAAEBEQIAALIAAAAJzQIAAAEAAAADAAAAARICAAB6AAAACc4CAAAKBxMCAAAAAQAAAAQAAAAEHEFwbG9yaXMuQmFzZS5VSS5WaXN1YWxPYmplY3QDAAAACWIBAAAJYwEAAAoKARYCAAB1AAAACgoAAABAPwnPAgAACdACAAABAAAA/v///wAAAAABAAAAAAAAAAAAAAABAAAAAAAAAAAAAAEXAgAAegAAAAnRAgAACgEaAgAAJAAAAAoKAAAAAAAoQQl7AAAACXwAAAAJ0gIAAAAACdMCAAABGwIAAH0AAAAKCgAAAAD///8ADgAAAAABASACAACyAAAACdQCAAABAAAAAwAAAAEhAgAAegAAAAnVAgAACgciAgAAAAEAAAAAAAAABB9BcGxvcmlzLkJhc2UuT2JqZWN0cy5EYXRhT2JqZWN0AwAAAAcjAgAAAAEAAAAEAAAABBxBcGxvcmlzLkJhc2UuVUkuVmlzdWFsT2JqZWN0AwAAAAloAQAACWkBAAAKCgckAgAAAAEAAAAEAAAABB5BcGxvcmlzLkNoYXJ0LkNoYXJ0RGF0YUVsZW1lbnQCAAAACdYCAAAJ1wIAAAoKByUCAAAAAQAAAAQAAAAEH0FwbG9yaXMuQmFzZS5PYmplY3RzLkRhdGFPYmplY3QDAAAACdYCAAAJ1wIAAAoKByYCAAAAAQAAAAAAAAAEHEFwbG9yaXMuQmFzZS5VSS5WaXN1YWxPYmplY3QDAAAAAScCAAB9AAAACgoAAAAAAAAAAA0AAAAAAQEoAgAAfQAAAAoKAQAAAAAAAAD/////AAEHKQIAAAABAAAABAAAAAQdQXBsb3Jpcy5CYXNlLk9iamVjdHMuVmFyaWFibGUDAAAABdgCAAAdQXBsb3Jpcy5CYXNlLk9iamVjdHMuVmFyaWFibGUCAAAABk51bWJlcghQb3NpdGlvbgAACAgDAAAAAQAAAAAAAAAB2QIAANgCAAAAAAAAAAAAAAHaAgAA2AIAAAAAAAAAAAAAAdsCAADYAgAAAAAAAAAAAAAPKgIAAAEAAAAIAAAAAAcrAgAAAAEAAAAQAAAABB5BcGxvcmlzLkNoYXJ0LkNoYXJ0RGF0YUVsZW1lbnQCAAAACdwCAAAJ3QIAAA0OBywCAAAAAQAAABAAAAAEH0FwbG9yaXMuQmFzZS5PYmplY3RzLkRhdGFPYmplY3QDAAAACdwCAAAJ3QIAAA0OBy0CAAAAAQAAAAAAAAAEHEFwbG9yaXMuQmFzZS5VSS5WaXN1YWxPYmplY3QDAAAAAS4CAAB9AAAACgoAAAAAAAAAAA0AAAAAAQEvAgAAfQAAAAoKAQAAAAAAAAD/////AAEHMAIAAAABAAAABAAAAAQdQXBsb3Jpcy5CYXNlLk9iamVjdHMuVmFyaWFibGUDAAAAAd4CAADYAgAAAQAAAAAAAAAB3wIAANgCAAAAAAAAAAAAAAHgAgAA2AIAAAAAAAAAAAAAAeECAADYAgAAAAAAAAAAAAAPMQIAAAEAAAAIAAAAAAcyAgAAAAEAAAAQAAAABB5BcGxvcmlzLkNoYXJ0LkNoYXJ0RGF0YUVsZW1lbnQCAAAACeICAAAJ4wIAAA0OBzMCAAAAAQAAABAAAAAEH0FwbG9yaXMuQmFzZS5PYmplY3RzLkRhdGFPYmplY3QDAAAACeICAAAJ4wIAAA0OATQCAAB9AAAACgoAAAAAAAAAAA0AAAAAAQE1AgAAfQAAAAoKAQAAAAAAAAD/////AAEHNgIAAAABAAAABAAAAAQdQXBsb3Jpcy5CYXNlLk9iamVjdHMuVmFyaWFibGUDAAAAAeQCAADYAgAAAQAAAAAAAAAB5QIAANgCAAAAAAAAAAAAAAHmAgAA2AIAAAAAAAAAAAAAAecCAADYAgAAAAAAAAAAAAAPNwIAAAEAAAAIAAAAAAE6AgAAJAAAAAoKAAAAAAAoQQl7AAAACXwAAAAJ6AIAAAAACekCAAABOwIAAH0AAAAKCgAAAAD///8ADgAAAAAAAUACAACyAAAACeoCAAABAAAAAQAAAAFBAgAAegAAAAnrAgAACgFEAgAAJAAAAAoKAAAAAAAoQQl7AAAACXwAAAAJ7AIAAAAACe0CAAABRQIAAH0AAAAKCgAAAAD///8ADgAAAAABAUoCAACyAAAACe4CAAABAAAAAQAAAAFLAgAAegAAAAnvAgAACgFOAgAAJAAAAAoKAAAAAAAoQQl7AAAACXwAAAAJ8AIAAAAACfECAAABTwIAAH0AAAAKCgAAAAD///8ADgAAAAAAAVQCAACyAAAACfICAAABAAAAAQAAAAFVAgAAegAAAAnzAgAACgFWAgAAfQAAAAoKAAAAAAAAAAANAAAAAAABVwIAAH0AAAAKCgAAAAAAAAAADQAAAAABB1gCAAAAAQAAAAQAAAAEHUFwbG9yaXMuQmFzZS5PYmplY3RzLlZhcmlhYmxlAwAAAAH0AgAA2AIAAAEAAAAAAAAAAfUCAADYAgAAAAAAAAAAAAAB9gIAANgCAAAAAAAAAAAAAAH3AgAA2AIAAAAAAAAAAAAAD1kCAAABAAAACBwBAAABXAIAACQAAAAKCgAAAAAAKEEJewAAAAl8AAAACfgCAAAAAAn5AgAAAV0CAAB9AAAACgoAAAAA////AA4AAAAAAAFiAgAAsgAAAAn6AgAAAQAAAAMAAAABYwIAAHoAAAAJ+wIAAAoBZgIAACQAAAAKCgAAAAAAKEEJewAAAAl8AAAACfwCAAAAAAn9AgAAAWcCAAB9AAAACgoAAAAA////AA4AAAAAAQFsAgAAsgAAAAn+AgAAAQAAAAMAAAABbQIAAHoAAAAJ/wIAAAoBcAIAACQAAAAKCgAAAAAAKEEJewAAAAl8AAAACQADAAAAAAkBAwAAAXECAAB9AAAACgoAAAAA////AA4AAAAAAAF2AgAAsgAAAAkCAwAAAQAAAAMAAAABdwIAAHoAAAAJAwMAAAoBeAIAAH0AAAAKCgAAAAAAAAAADQAAAAAAAXkCAAB9AAAACgoAAAAAAAAAAA0AAAAAAQd6AgAAAAEAAAAEAAAABB1BcGxvcmlzLkJhc2UuT2JqZWN0cy5WYXJpYWJsZQMAAAABBAMAANgCAAABAAAAAAAAAAEFAwAA2AIAAAAAAAAAAAAAAQYDAADYAgAAAAAAAAAAAAABBwMAANgCAAAAAAAAAAAAAA97AgAAAQAAAAgdAQAAAX4CAAAkAAAACgoAAAAAAChBCXsAAAAJfAAAAAkIAwAAAAAJCQMAAAF/AgAAfQAAAAoKAQAAAAAAAAD/////AAEBgwIAALIAAAAJCgMAAAEAAAABAAAAAYQCAAB6AAAACQsDAAAKAYcCAAB1AAAACgoBAABAPwkMAwAACQ0DAAABAAAA/v///wAAAAABAAAAAAAAAAAAAAABAAAAAAAAAAAAAAGIAgAAdgAAAAoKCQ4DAAAJDwMAAAEAAAAAAAAAAAAAAP////8BAAGMAgAAegAAAAkQAwAACgeNAgAAAAEAAAAAAAAABB9BcGxvcmlzLkJhc2UuT2JqZWN0cy5EYXRhT2JqZWN0AwAAAAeOAgAAAAEAAAAEAAAABBxBcGxvcmlzLkJhc2UuVUkuVmlzdWFsT2JqZWN0AwAAAAnMAQAACc0BAAAKCgGRAgAAJAAAAAoKAAAAAAAoQQl7AAAACXwAAAAJEQMAAAAACRIDAAABkgIAAH0AAAAKCgEAAAAAAAAA/////wABAZYCAACyAAAACRMDAAABAAAAAQAAAAGXAgAAegAAAAkUAwAACgGaAgAAdQAAAAoKAQAAQD8JFQMAAAkWAwAAAQAAAP7///8AAAAAAQAAAAAAAAAAAAAAAQAAAAAAAAAAAAABmwIAAHYAAAAKCgkXAwAACRgDAAABAAAA/v///wAAAAD/////AQABnwIAAHoAAAAJGQMAAAoHoAIAAAABAAAABAAAAAQcQXBsb3Jpcy5CYXNlLlVJLlZpc3VhbE9iamVjdAMAAAAJ0AEAAAnRAQAACgoBowIAACQAAAAKCgAAAAAAKEEJewAAAAl8AAAACRoDAAAAAAkbAwAAAaQCAAB9AAAACgoBAAAAAAAAAP////8AAQGoAgAAsgAAAAkcAwAAAQAAAAEAAAABqQIAAHoAAAAJHQMAAAoBrAIAAHUAAAAKCgEAAEA/CR4DAAAJHwMAAAEAAAD+////AAAAAAEAAAAAAAAAAAAAAAEAAAAAAAAAAAAAAa0CAAB2AAAACgoJIAMAAAkhAwAAAQAAAP7///8AAAAA/////wEAAbECAAB6AAAACSIDAAAKB7ICAAAAAQAAAAQAAAAEHEFwbG9yaXMuQmFzZS5VSS5WaXN1YWxPYmplY3QDAAAACdQBAAAJ1QEAAAoKAbMCAAB9AAAACgoAAAAAAAAAAA0AAAAAAAW0AgAAGkFwbG9yaXMuQmFzZS5PYmplY3RzLkNvbG9yBwAAABJEYXRhT2JqZWN0K21QYXJlbnQVRGF0YU9iamVjdCttQ29udGFpbmVyBW1UeXBlBG1SR0IQbVRoZW1lQ29sb3JJbmRleAxtQXV0b1VwZGF0ZWQJbU1vZGlmaWVkBAIAAAAAAB9BcGxvcmlzLkJhc2UuT2JqZWN0cy5MaW5lRm9ybWF0AwAAAAgICAEBAwAAAAnaAQAACgEAAAAAAAAA/////wABD7UCAAABAAAACD8BAAABtgIAAH0AAAAKCgAAAAAAAAAADQAAAAAAAbcCAAB9AAAACgoAAAAAAAAAAA0AAAAAAQe4AgAAAAEAAAAEAAAABB1BcGxvcmlzLkJhc2UuT2JqZWN0cy5WYXJpYWJsZQMAAAABIwMAANgCAAABAAAAAAAAAAEkAwAA2AIAAAAAAAAAAAAAASUDAADYAgAAAAAAAAAAAAABJgMAANgCAAAAAAAAAAAAAA+5AgAAAQAAAAgmAAAAAboCAAB9AAAACgoAAAAAAAAAAA0AAAAAAAW7AgAAGkFwbG9yaXMuQmFzZS5PYmplY3RzLkNvbG9yBwAAABJEYXRhT2JqZWN0K21QYXJlbnQVRGF0YU9iamVjdCttQ29udGFpbmVyBW1UeXBlBG1SR0IQbVRoZW1lQ29sb3JJbmRleAxtQXV0b1VwZGF0ZWQJbU1vZGlmaWVkBAIAAAAAAB9BcGxvcmlzLkJhc2UuT2JqZWN0cy5MaW5lRm9ybWF0AwAAAAgICAEBAwAAAAnpAQAACgEAAAAAAAAA/////wABD7wCAAABAAAACEABAAABvQIAAH0AAAAKCgAAAAAAAAAADQAAAAAAAb4CAAB9AAAACgoAAAAAAAAAAA0AAAAAAQe/AgAAAAEAAAAEAAAABB1BcGxvcmlzLkJhc2UuT2JqZWN0cy5WYXJpYWJsZQMAAAABJwMAANgCAAABAAAAAAAAAAEoAwAA2AIAAAAAAAAAAAAAASkDAADYAgAAAAAAAAAAAAABKgMAANgCAAAAAAAAAAAAAA/AAgAAAQAAAAgjAAAAAcECAAB9AAAACgoAAAAAAAAAAA0AAAAAAAXCAgAAGkFwbG9yaXMuQmFzZS5PYmplY3RzLkNvbG9yBwAAABJEYXRhT2JqZWN0K21QYXJlbnQVRGF0YU9iamVjdCttQ29udGFpbmVyBW1UeXBlBG1SR0IQbVRoZW1lQ29sb3JJbmRleAxtQXV0b1VwZGF0ZWQJbU1vZGlmaWVkBAIAAAAAAB9BcGxvcmlzLkJhc2UuT2JqZWN0cy5MaW5lRm9ybWF0AwAAAAgICAEBAwAAAAn4AQAACgEAAAAAAAAA/////wABD8MCAAABAAAACEEBAAABxAIAAH0AAAAKCgAAAAAAAAAADQAAAAAAAcUCAAB9AAAACgoAAAAAAAAAAA0AAAAAAQfGAgAAAAEAAAAEAAAABB1BcGxvcmlzLkJhc2UuT2JqZWN0cy5WYXJpYWJsZQMAAAABKwMAANgCAAABAAAAAAAAAAEsAwAA2AIAAAAAAAAAAAAAAS0DAADYAgAAAAAAAAAAAAABLgMAANgCAAAAAAAAAAAAAA/HAgAAAQAAAAgrAAAAAcgCAAB9AAAACgoAAAAAAAAAAA0AAAAAAAXJAgAAGkFwbG9yaXMuQmFzZS5PYmplY3RzLkNvbG9yBwAAABJEYXRhT2JqZWN0K21QYXJlbnQVRGF0YU9iamVjdCttQ29udGFpbmVyBW1UeXBlBG1SR0IQbVRoZW1lQ29sb3JJbmRleAxtQXV0b1VwZGF0ZWQJbU1vZGlmaWVkBAIAAAAAAB9BcGxvcmlzLkJhc2UuT2JqZWN0cy5MaW5lRm9ybWF0AwAAAAgICAEBAwAAAAkHAgAACgEAAAAAAAAA/////wABD8oCAAABAAAACD4BAAABywIAAH0AAAAKCgAAAAAAAAAADQAAAAAAAcwCAAB9AAAACgoAAAAAAAAAAA0AAAAAAQfNAgAAAAEAAAAEAAAABB1BcGxvcmlzLkJhc2UuT2JqZWN0cy5WYXJpYWJsZQMAAAABLwMAANgCAAABAAAAAAAAAAEwAwAA2AIAAAAAAAAAAAAAATEDAADYAgAAAAAAAAAAAAABMgMAANgCAAAAAAAAAAAAAA/OAgAAAQAAAAgqAAAAAc8CAAB9AAAACgoAAAAAAAAAAA0AAAAAAAXQAgAAGkFwbG9yaXMuQmFzZS5PYmplY3RzLkNvbG9yBwAAABJEYXRhT2JqZWN0K21QYXJlbnQVRGF0YU9iamVjdCttQ29udGFpbmVyBW1UeXBlBG1SR0IQbVRoZW1lQ29sb3JJbmRleAxtQXV0b1VwZGF0ZWQJbU1vZGlmaWVkBAIAAAAAAB9BcGxvcmlzLkJhc2UuT2JqZWN0cy5MaW5lRm9ybWF0AwAAAAgICAEBAwAAAAkWAgAACgEAAAAAAAAA/////wABD9ECAAABAAAACEIBAAAB0gIAAH0AAAAKCgAAAAAAAAAADQAAAAAAAdMCAAB9AAAACgoAAAAAAAAAAA0AAAAAAQfUAgAAAAEAAAAEAAAABB1BcGxvcmlzLkJhc2UuT2JqZWN0cy5WYXJpYWJsZQMAAAABMwMAANgCAAABAAAAAAAAAAE0AwAA2AIAAAAAAAAAAAAAATUDAADYAgAAAAAAAAAAAAABNgMAANgCAAAAAAAAAAAAAA/VAgAAAQAAAAgbAQAABdYCAAAeQXBsb3Jpcy5DaGFydC5DaGFydERhdGFFbGVtZW50EQAAAAZtTGFiZWwKbVJlY3RhbmdsZQVtTGluZQ5tQ3Jvc3NiYXJMaW5lcwdtTWFya2VyB21TZXJpZXMGbVZhbHVlB21WYWx1ZTILbUdyb3VwSW5kZXgPbUxhYmVsUG9zaXRpb25zEW1MYWJlbEFuY2hvck1vZGVzDm1MYWJlbFBvc2l0aW9uIG1TZWxmVHJpZ2dlcmVkTWFya2VyRm9ybWF0VXBkYXRlGERhdGFPYmplY3QrbUNoaWxkT2JqZWN0cxJEYXRhT2JqZWN0K21QYXJlbnQVRGF0YU9iamVjdCttQ29udGFpbmVyGURhdGFPYmplY3QrbVZpc3VhbE9iamVjdHMEBAQEBAQCAgAEBAAAAwQEAxxBcGxvcmlzLkNoYXJ0LkNvbm5lY3RlZExhYmVsAgAAABpBcGxvcmlzLkJhc2UuVUkuVmlzdWFsUmVjdAMAAAAaQXBsb3Jpcy5CYXNlLlVJLlZpc3VhbExpbmUDAAAAHEFwbG9yaXMuQmFzZS5VSS5WaXN1YWxMaW5lW10DAAAAGkFwbG9yaXMuQ2hhcnQuVmlzdWFsTWFya2VyAgAAAB1BcGxvcmlzLkNoYXJ0LkNoYXJ0RGF0YVNlcmllcwIAAAAIF1N5c3RlbS5EcmF3aW5nLlBvaW50RltdBAAAABlBcGxvcmlzLkJhc2UuQW5jaG9yTW9kZVtdAwAAAAgB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NwMAAAk4AwAACgk5AwAACgkRAQAACAZg/6OlK+joPwoAAAAACToDAAAJOwMAAAAAAAAACTwDAAAJEQEAAAkBAAAACT0DAAAB1wIAANYCAAAJPgMAAAk/AwAACglAAwAACgkRAQAACAar8FzIFc7jPwoBAAAACUEDAAAJQgMAAAAAAAAACUMDAAAJEQEAAAkBAAAACUQDAAAB3AIAANYCAAAJRQMAAAlGAwAACglHAwAACgkSAQAACAby3by6jenjPwoAAAAACUgDAAAJSQMAAAAAAAAACUoDAAAJEgEAAAkBAAAACUsDAAAB3QIAANYCAAAJTAMAAAlNAwAACglOAwAACgkSAQAACAYPchb/y3ffPwoBAAAACU8DAAAJUAMAAAAAAAAACVEDAAAJEgEAAAkBAAAACVIDAAAB4gIAANYCAAAJUwMAAAlUAwAACglVAwAACgkTAQAACAak0aJEAy7lPwoAAAAACVYDAAAJVwMAAAAAAAAACVgDAAAJEwEAAAkBAAAACVkDAAAB4wIAANYCAAAJWgMAAAlbAwAACglcAwAACgkTAQAACAa/OKnxS7bgPwoBAAAACV0DAAAJXgMAAAAAAAAACV8DAAAJEwEAAAkBAAAACWADAAAB6AIAAH0AAAAKCgAAAAAAAAAADQAAAAAAAekCAAB9AAAACgoAAAAAAAAAAA0AAAAAAQfqAgAAAAEAAAAEAAAABB1BcGxvcmlzLkJhc2UuT2JqZWN0cy5WYXJpYWJsZQMAAAABYQMAANgCAAABAAAAAAAAAAFiAwAA2AIAAAAAAAAAAAAAAWMDAADYAgAAAAAAAAAAAAABZAMAANgCAAAAAAAAAAAAAA/rAgAAAQAAAAgfAQAAAewCAAB9AAAACgoAAAAAAAAAAA0AAAAAAAHtAgAAfQAAAAoKAAAAAAAAAAANAAAAAAEH7gIAAAABAAAABAAAAAQdQXBsb3Jpcy5CYXNlLk9iamVjdHMuVmFyaWFibGUDAAAAAWUDAADYAgAAAQAAAAAAAAABZgMAANgCAAAAAAAAAAAAAAFnAwAA2AIAAAAAAAAAAAAAAWgDAADYAgAAAAAAAAAAAAAP7wIAAAEAAAAIIAEAAAHwAgAAfQAAAAoKAAAAAAAAAAANAAAAAAAB8QIAAH0AAAAKCgAAAAAAAAAADQAAAAABB/ICAAAAAQAAAAQAAAAEHUFwbG9yaXMuQmFzZS5PYmplY3RzLlZhcmlhYmxlAwAAAAFpAwAA2AIAAAEAAAAAAAAAAWoDAADYAgAAAAAAAAAAAAABawMAANgCAAAAAAAAAAAAAAFsAwAA2AIAAAAAAAAAAAAAD/MCAAABAAAACCEBAAAB+AIAAH0AAAAKCgAAAAAAAAAADQAAAAAAAfkCAAB9AAAACgoAAAAAAAAAAA0AAAAAAQf6AgAAAAEAAAAEAAAABB1BcGxvcmlzLkJhc2UuT2JqZWN0cy5WYXJpYWJsZQMAAAABbQMAANgCAAABAAAAAAAAAAFuAwAA2AIAAAAAAAAAAAAAAW8DAADYAgAAAAAAAAAAAAABcAMAANgCAAAAAAAAAAAAAA/7AgAAAQAAAAgjAQAAAfwCAAB9AAAACgoAAAAAAAAAAA0AAAAAAAH9AgAAfQAAAAoKAAAAAAAAAAANAAAAAAEH/gIAAAABAAAABAAAAAQdQXBsb3Jpcy5CYXNlLk9iamVjdHMuVmFyaWFibGUDAAAAAXEDAADYAgAAAQAAAAAAAAABcgMAANgCAAAAAAAAAAAAAAFzAwAA2AIAAAAAAAAAAAAAAXQDAADYAgAAAAAAAAAAAAAP/wIAAAEAAAAIJAEAAAEAAwAAfQAAAAoKAAAAAAAAAAANAAAAAAABAQMAAH0AAAAKCgAAAAAAAAAADQAAAAABBwIDAAAAAQAAAAQAAAAEHUFwbG9yaXMuQmFzZS5PYmplY3RzLlZhcmlhYmxlAwAAAAF1AwAA2AIAAAEAAAAAAAAAAXYDAADYAgAAAAAAAAAAAAABdwMAANgCAAAAAAAAAAAAAAF4AwAA2AIAAAAAAAAAAAAADwMDAAABAAAACCUBAAABCAMAAH0AAAAKCgAAAAAAAAAADQAAAAAAAQkDAAB9AAAACgoBAAAAAAAAAP////8AAQcKAwAAAAEAAAAEAAAABB1BcGxvcmlzLkJhc2UuT2JqZWN0cy5WYXJpYWJsZQMAAAABeQMAANgCAAABAAAAAAAAAAF6AwAA2AIAAAAAAAAAAAAAAXsDAADYAgAAAAAAAAAAAAABfAMAANgCAAAAAAAAAAAAAA8LAwAAAQAAAAhFAQAAAQwDAAB9AAAACgoAAAAA////AA4AAAAAAAUNAwAAGkFwbG9yaXMuQmFzZS5PYmplY3RzLkNvbG9yBwAAABJEYXRhT2JqZWN0K21QYXJlbnQVRGF0YU9iamVjdCttQ29udGFpbmVyBW1UeXBlBG1SR0IQbVRoZW1lQ29sb3JJbmRleAxtQXV0b1VwZGF0ZWQJbU1vZGlmaWVkBAIAAAAAAB9BcGxvcmlzLkJhc2UuT2JqZWN0cy5MaW5lRm9ybWF0AwAAAAgICAEBAwAAAAmHAgAACgEAAAAAAAAA/////wABAQ4DAAB9AAAACgoAAAAAIkFOAA8AAAAAAAEPAwAAfQAAAAoKAQAAAAAAAAD/////AAEPEAMAAAEAAAAIRwEAAAERAwAAfQAAAAoKAAAAAAAAAAANAAAAAAABEgMAAH0AAAAKCgEAAAAAAAAA/////wABBxMDAAAAAQAAAAQAAAAEHUFwbG9yaXMuQmFzZS5PYmplY3RzLlZhcmlhYmxlAwAAAAF9AwAA2AIAAAEAAAAAAAAAAX4DAADYAgAAAAAAAAAAAAABfwMAANgCAAAAAAAAAAAAAAGAAwAA2AIAAAAAAAAAAAAADxQDAAABAAAACEMBAAABFQMAAH0AAAAKCgAAAAD///8ADgAAAAAABRYDAAAaQXBsb3Jpcy5CYXNlLk9iamVjdHMuQ29sb3IHAAAAEkRhdGFPYmplY3QrbVBhcmVudBVEYXRhT2JqZWN0K21Db250YWluZXIFbVR5cGUEbVJHQhBtVGhlbWVDb2xvckluZGV4DG1BdXRvVXBkYXRlZAltTW9kaWZpZWQEAgAAAAAAH0FwbG9yaXMuQmFzZS5PYmplY3RzLkxpbmVGb3JtYXQDAAAACAgIAQEDAAAACZoCAAAKAQAAAAAAAAD/////AAEBFwMAAH0AAAAKCgAAAAA/aX4ABQAAAAAAARgDAAB9AAAACgoBAAAA////AP////8AAQ8ZAwAAAQAAAAhIAQAAARoDAAB9AAAACgoAAAAAAAAAAA0AAAAAAAEbAwAAfQAAAAoKAQAAAAAAAAD/////AAEHHAMAAAABAAAABAAAAAQdQXBsb3Jpcy5CYXNlLk9iamVjdHMuVmFyaWFibGUDAAAAAYEDAADYAgAAAQAAAAAAAAABggMAANgCAAAAAAAAAAAAAAGDAwAA2AIAAAAAAAAAAAAAAYQDAADYAgAAAAAAAAAAAAAPHQMAAAEAAAAIRAEAAAEeAwAAfQAAAAoKAAAAAP///wAOAAAAAAAFHwMAABpBcGxvcmlzLkJhc2UuT2JqZWN0cy5Db2xvcgcAAAASRGF0YU9iamVjdCttUGFyZW50FURhdGFPYmplY3QrbUNvbnRhaW5lcgVtVHlwZQRtUkdCEG1UaGVtZUNvbG9ySW5kZXgMbUF1dG9VcGRhdGVkCW1Nb2RpZmllZAQCAAAAAAAfQXBsb3Jpcy5CYXNlLk9iamVjdHMuTGluZUZvcm1hdAMAAAAICAgBAQMAAAAJrAIAAAoBAAAAAAAAAP////8AAQEgAwAAfQAAAAoKAAAAAHKEjAAGAAAAAAABIQMAAH0AAAAKCgEAAAD///8A/////wABDyIDAAABAAAACEYBAAABNwMAACsBAAAKWAIAAAGFAwAAcQEAAAIAAAABhgMAAHIBAAABAAAAAYcDAAAVAAAA4leAQjGE+kHoV49C8HKJQwGIAwAAdAEAAAAAAAAAAKBAAAGJAwAAIgAAANYDyEJ2wyhDAYoDAAClAAAAAAAAAAAAAAAAAAAAAAmLAwAAAAAAAAmMAwAAAQABjQMAAK4AAAAAAAAAAY4DAAB3AAAAAAAUQgAAYEEBjwMAABUAAAAAAAAAAAAAAAAAAAAAAAAAXrrZPwaQAwAAAzc4JQoJkQMAAAl9AQAANAMAAP////8AAQoJkgMAAAEACgABOAMAAB0AAAABkwMAACIAAADEr3RCM5uaQwGUAwAAIgAAAOXXCkMxhOJBCZUDAAAJlgMAAAAAAAAKAZcDAAB3AAAAAAAAAAAAAAABmAMAAHcAAAAAAAAAAAAAAAAAAAABmQMAABUAAAAAAAAAAAAAAAAAAAAAAAAApAEAAAAAAAABAQoJmgMAAAEACgAHOQMAAAABAAAAAgAAAAQaQXBsb3Jpcy5CYXNlLlVJLlZpc3VhbExpbmUDAAAACgoHOgMAAAABAAAAAwAAAAQVU3lzdGVtLkRyYXdpbmcuUG9pbnRGBAAAAAGbAwAAIgAAANYDyEJ2wyhDAZwDAAAiAAAAxK9oQnbDKEMBnQMAACIAAADl1w1DdsMoQwc7AwAAAAEAAAADAAAABBdBcGxvcmlzLkJhc2UuQW5jaG9yTW9kZQMAAAABngMAAKUAAAAAAAAAAZ8DAAClAAAAAgAAAAGgAwAApQAAAAQAAAABPAMAACYAAAAJIgIAAAAAAAAAAAAAAT0DAAAnAAAACaEDAAACAAAABAAAAAE+AwAAKwEAAApYAgAAAaIDAABxAQAAAgAAAAGjAwAAcgEAAAEAAAABpAMAABUAAAAV5atD4LSxQuhXj0L2W1lDAaUDAAB0AQAAAAAAAAAAoEAAAaYDAAAiAAAAEtC9Q2uIRUMBpwMAAKUAAAAAAAAAAAAAAAAAAAAACagDAAAAAAAACakDAAABAAGqAwAArgAAAAAAAAABqwMAAHcAAAAAABRCAABgQQGsAwAAFQAAAAAAAAAAAAAAAAAAAAAAAABeutk/Bq0DAAADNjIlCgmuAwAACX0BAAA0AwAA/////wABCgmvAwAAAQAKAAE/AwAAHQAAAAGwAwAAIgAAABVlqkMzm5pDAbEDAAAiAAAADzvRQ+C0q0IJsgMAAAmzAwAAAAAAAAoBtAMAAHcAAAAAAAAAAAAAAAG1AwAAdwAAAAAAAAAAAAAAAAAAAAG2AwAAFQAAAAAAAAAAAAAAAAAAAAAAAACkAQAAAAAAAAEBCgm3AwAAAQAKAAdAAwAAAAEAAAACAAAABBpBcGxvcmlzLkJhc2UuVUkuVmlzdWFsTGluZQMAAAAKCgdBAwAAAAEAAAADAAAABBVTeXN0ZW0uRHJhd2luZy5Qb2ludEYEAAAAAbgDAAAiAAAAEtC9Q2uIRUMBuQMAACIAAAAV5ahDa4hFQwG6AwAAIgAAAA+70kNriEVDB0IDAAAAAQAAAAMAAAAEF0FwbG9yaXMuQmFzZS5BbmNob3JNb2RlAwAAAAG7AwAApQAAAAAAAAABvAMAAKUAAAACAAAAAb0DAAClAAAABAAAAAFDAwAAJgAAAAkiAgAAAAAAAAAAAAABRAMAACcAAAAJvgMAAAIAAAAEAAAAAUUDAAArAQAAClgCAAABvwMAAHEBAAACAAAAAcADAAByAQAAAQAAAAHBAwAAFQAAAOXXDUNNSa9C6FePQsCRWkMBwgMAAHQBAAAAAAAAAACgQAABwwMAACIAAADfrTFDhu1EQwHEAwAApQAAAAAAAAAAAAAAAAAAAAAJxQMAAAAAAAAJxgMAAAEAAccDAACuAAAAAAAAAAHIAwAAdwAAAAAAFEIAAGBBAckDAAAVAAAAAAAAAAAAAAAAAAAAAAAAAF662T8GygMAAAM2MiUKCcsDAAAJfQEAADQDAAD/////AAEKCcwDAAABAAoAAUYDAAAdAAAAAc0DAAAiAAAA5dcKQzObmkMBzgMAACIAAADZg1hDTUmpQgnPAwAACdADAAAAAAAACgHRAwAAdwAAAAAAAAAAAAAAAdIDAAB3AAAAAAAAAAAAAAAAAAAAAdMDAAAVAAAAAAAAAAAAAAAAAAAAAAAAAKQBAAAAAAAAAQEKCdQDAAABAAoAB0cDAAAAAQAAAAIAAAAEGkFwbG9yaXMuQmFzZS5VSS5WaXN1YWxMaW5lAwAAAAoKB0gDAAAAAQAAAAMAAAAEFVN5c3RlbS5EcmF3aW5nLlBvaW50RgQAAAAB1QMAACIAAADfrTFDhu1EQwHWAwAAIgAAAOXXB0OG7URDAdcDAAAiAAAA2YNbQ4btREMHSQMAAAABAAAAAwAAAAQXQXBsb3Jpcy5CYXNlLkFuY2hvck1vZGUDAAAAAdgDAAClAAAAAAAAAAHZAwAApQAAAAIAAAAB2gMAAKUAAAAEAAAAAUoDAAAmAAAACdsDAAAAAAAAAAAAAAFLAwAAJwAAAAncAwAAAgAAAAQAAAABTAMAACsBAAAKWAIAAAHdAwAAcQEAAAIAAAAB3gMAAHIBAAABAAAAAd8DAAAVAAAAD7vSQyDEBkPoV49CRnIrQwHgAwAAdAEAAAAAAAAAAKBAAAHhAwAAIgAAAAym5ENDfVxDAeIDAAClAAAAAAAAAAAAAAAAAAAAAAnjAwAAAAAAAAnkAwAAAQAB5QMAAK4AAAAAAAAAAeYDAAB3AAAAAAAUQgAAYEEB5wMAABUAAAAAAAAAAAAAAAAAAAAAAAAAXrrZPwboAwAAAzQ5JQoJ6QMAAAl9AQAANAMAAP////8AAQoJ6gMAAAEACgABTQMAAB0AAAAB6wMAACIAAAAPO9FDM5uaQwHsAwAAIgAAAAkR+EMgxANDCe0DAAAJ7gMAAAAAAAAKAe8DAAB3AAAAAAAAAAAAAAAB8AMAAHcAAAAAAAAAAAAAAAAAAAAB8QMAABUAAAAAAAAAAAAAAAAAAAAAAAAApAEAAAAAAAABAQoJ8gMAAAEACgAHTgMAAAABAAAAAgAAAAQaQXBsb3Jpcy5CYXNlLlVJLlZpc3VhbExpbmUDAAAACgoHTwMAAAABAAAAAwAAAAQVU3lzdGVtLkRyYXdpbmcuUG9pbnRGBAAAAAHzAwAAIgAAAAym5ENDfVxDAfQDAAAiAAAAD7vPQ0N9XEMB9QMAACIAAAAJkflDQ31cQwdQAwAAAAEAAAADAAAABBdBcGxvcmlzLkJhc2UuQW5jaG9yTW9kZQMAAAAB9gMAAKUAAAAAAAAAAfcDAAClAAAAAgAAAAH4AwAApQAAAAQAAAABUQMAACYAAAAJ2wMAAAAAAAAAAAAAAVIDAAAnAAAACfkDAAACAAAABAAAAAFTAwAAKwEAAApYAgAAAfoDAABxAQAAAgAAAAH7AwAAcgEAAAEAAAAB/AMAABUAAADZg1tD3LKSQuZXj0L43GhDAf0DAAB0AQAAAAAAAAAAoEAAAf4DAAAiAAAA01l/Q+rHPUMB/wMAAKUAAAAAAAAAAAAAAAAAAAAACQAEAAAAAAAACQEEAAABAAECBAAArgAAAAAAAAABAwQAAHcAAAAAABRCAABgQQEEBAAAFQAAAAAAAAAAAAAAAAAAAAAAAABeutk/BgUEAAADNjYlCgkGBAAACX0BAAA0AwAA/////wABCgkHBAAAAQAKAAFUAwAAHQAAAAEIBAAAIgAAANmDWEMzm5pDAQkEAAAiAAAA5heTQ9yyjEIJCgQAAAkLBAAAAAAAAAoBDAQAAHcAAAAAAAAAAAAAAAENBAAAdwAAAAAAAAAAAAAAAAAAAAEOBAAAFQAAAAAAAAAAAAAAAAAAAAAAAACkAQAAAAAAAAEBCgkPBAAAAQAKAAdVAwAAAAEAAAACAAAABBpBcGxvcmlzLkJhc2UuVUkuVmlzdWFsTGluZQMAAAAKCgdWAwAAAAEAAAADAAAABBVTeXN0ZW0uRHJhd2luZy5Qb2ludEYEAAAAARAEAAAiAAAA01l/Q+rHPUMBEQQAACIAAADZg1VD6sc9QwESBAAAIgAAAOaXlEPqxz1DB1cDAAAAAQAAAAMAAAAEF0FwbG9yaXMuQmFzZS5BbmNob3JNb2RlAwAAAAETBAAApQAAAAAAAAABFAQAAKUAAAACAAAAARUEAAClAAAABAAAAAFYAwAAJgAAAAnbAwAAAAAAAAAAAAABWQMAACcAAAAJFgQAAAIAAAAEAAAAAVoDAAArAQAAClgCAAABFwQAAHEBAAACAAAAARgEAAByAQAAAQAAAAEZBAAAFQAAAAmR+UNQePdC7FePQj56NkMBGgQAAHQBAAAAAAAAAACgQAABGwQAACIAAAADvgVER/lWQwEcBAAApQAAAAAAAAAAAAAAAAAAAAAJHQQAAAAAAAAJHgQAAAEAAR8EAACuAAAAAAAAAAEgBAAAdwAAAAAAFEIAAGBBASEEAAAVAAAAAAAAAAAAAAAAAAAAAAAAAF662T8GIgQAAAM1MiUKCSMEAAAJfQEAADQDAAD/////AAEKCSQEAAABAAoAAVsDAAAdAAAAASUEAAAiAAAACRH4QzObmkMBJgQAACIAAACCcw9EUHjxQgknBAAACSgEAAAAAAAACgEpBAAAdwAAAAAAAAAAAAAAASoEAAB3AAAAAAAAAAAAAAAAAAAAASsEAAAVAAAAAAAAAAAAAAAAAAAAAAAAAKQBAAAAAAAAAQEKCSwEAAABAAoAB1wDAAAAAQAAAAIAAAAEGkFwbG9yaXMuQmFzZS5VSS5WaXN1YWxMaW5lAwAAAAoKB10DAAAAAQAAAAMAAAAEFVN5c3RlbS5EcmF3aW5nLlBvaW50RgQAAAABLQQAACIAAAADvgVER/lWQwEuBAAAIgAAAAmR9kNH+VZDAS8EAAAiAAAAgjMQREf5VkMHXgMAAAABAAAAAwAAAAQXQXBsb3Jpcy5CYXNlLkFuY2hvck1vZGUDAAAAATAEAAClAAAAAAAAAAExBAAApQAAAAIAAAABMgQAAKUAAAAEAAAAAV8DAAAmAAAACdsDAAAAAAAAAAAAAAFgAwAAJwAAAAkzBAAAAgAAAAQAAAAFiw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eQXBsb3Jpcy5DaGFydC5DaGFydERhdGFFbGVtZW50AgAAAAEBAQsaQXBsb3Jpcy5CYXNlLk9iamVjdHMuQ29sb3IDAAAAAQEaQXBsb3Jpcy5CYXNlLk9iamVjdHMuQ29sb3IDAAAAAwAAAAnWAgAACgAAAAAAQEEJewAAAAl8AAAACTQEAAABAAk1BAAAAYwDAAB9AAAACgoAAAAARjs0AAgAAAAAAQGRAwAAsgAAAAk2BAAAAQAAAAEAAAABkgMAAHoAAAAJNwQAAAoBlQMAAHUAAAAKCgAAAEA/CTgEAAAJOQQAAAEAAAD+////AAAAAAEAAAAAAAAAAAAAAAEAAAAAAAAAAAAAAZYDAAB2AAAACgoJOgQAAAk7BAAAAQAAAAAAAAAAAAAA/////wAAAZoDAAB6AAAACTwEAAAKB6EDAAAAAQAAAAQAAAAEHEFwbG9yaXMuQmFzZS5VSS5WaXN1YWxPYmplY3QDAAAACTgDAAAJNwMAAAoKBag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kFwbG9yaXMuQ2hhcnQuQ2hhcnREYXRhRWxlbWVudAIAAAABAQELGkFwbG9yaXMuQmFzZS5PYmplY3RzLkNvbG9yAwAAAAEBGkFwbG9yaXMuQmFzZS5PYmplY3RzLkNvbG9yAwAAAAMAAAAJ1wIAAAoAAAAAAEBBCXsAAAAJfAAAAAk9BAAAAQAJPgQAAAGpAwAAfQAAAAoKAAAAAEY7NAAIAAAAAAEBrgMAALIAAAAJPwQAAAEAAAADAAAAAa8DAAB6AAAACUAEAAAKAbIDAAB1AAAACgoAAABAPwlBBAAACUIEAAABAAAA/v///wAAAAABAAAAAAAAAAAAAAABAAAAAAAAAAAAAAGzAwAAdgAAAAoKCUMEAAAJRAQAAAEAAAAAAAAAAAAAAP////8AAAG3AwAAegAAAAlFBAAACge+AwAAAAEAAAAEAAAABBxBcGxvcmlzLkJhc2UuVUkuVmlzdWFsT2JqZWN0AwAAAAk/AwAACT4DAAAKCgXFA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dwCAAAKAAAAAABAQQl7AAAACXwAAAAJRgQAAAEACUcEAAABxgMAAH0AAAAKCgAAAAA/aX4ABQAAAAABAcsDAACyAAAACUgEAAABAAAAAwAAAAHMAwAAegAAAAlJBAAACgHPAwAAdQAAAAoKAAAAQD8JSgQAAAlLBAAAAQAAAP7///8AAAAAAQAAAAAAAAAAAAAAAQAAAAAAAAAAAAAB0AMAAHYAAAAKCglMBAAACU0EAAABAAAA/v///wAAAAD/////AAAB1AMAAHoAAAAJTgQAAAoH2wMAAAABAAAAAAAAAAQfQXBsb3Jpcy5CYXNlLk9iamVjdHMuRGF0YU9iamVjdAMAAAAH3AMAAAABAAAABAAAAAQcQXBsb3Jpcy5CYXNlLlVJLlZpc3VhbE9iamVjdAMAAAAJRgMAAAlFAwAACgoF4wM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eQXBsb3Jpcy5DaGFydC5DaGFydERhdGFFbGVtZW50AgAAAAEBAQsaQXBsb3Jpcy5CYXNlLk9iamVjdHMuQ29sb3IDAAAAAQEaQXBsb3Jpcy5CYXNlLk9iamVjdHMuQ29sb3IDAAAAAwAAAAndAgAACgAAAAAAQEEJewAAAAl8AAAACU8EAAABAAlQBAAAAeQDAAB9AAAACgoAAAAAP2l+AAUAAAAAAQHpAwAAsgAAAAlRBAAAAQAAAAMAAAAB6gMAAHoAAAAJUgQAAAoB7QMAAHUAAAAKCgAAAEA/CVMEAAAJVAQAAAEAAAD+////AAAAAAEAAAAAAAAAAAAAAAEAAAAAAAAAAAAAAe4DAAB2AAAACgoJVQQAAAlWBAAAAQAAAP7///8AAAAA/////wAAAfIDAAB6AAAACVcEAAAKB/kDAAAAAQAAAAQAAAAEHEFwbG9yaXMuQmFzZS5VSS5WaXN1YWxPYmplY3QDAAAACU0DAAAJTAMAAAoKBQA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kFwbG9yaXMuQ2hhcnQuQ2hhcnREYXRhRWxlbWVudAIAAAABAQELGkFwbG9yaXMuQmFzZS5PYmplY3RzLkNvbG9yAwAAAAEBGkFwbG9yaXMuQmFzZS5PYmplY3RzLkNvbG9yAwAAAAMAAAAJ4gIAAAoAAAAAAEBBCXsAAAAJfAAAAAlYBAAAAQAJWQQAAAEBBAAAfQAAAAoKAAAAAHKEjAAGAAAAAAEBBgQAALIAAAAJWgQAAAEAAAADAAAAAQcEAAB6AAAACVsEAAAKAQoEAAB1AAAACgoAAABAPwlcBAAACV0EAAABAAAA/v///wAAAAABAAAAAAAAAAAAAAABAAAAAAAAAAAAAAELBAAAdgAAAAoKCV4EAAAJXwQAAAEAAAD+////AAAAAP////8AAAEPBAAAegAAAAlgBAAACgcWBAAAAAEAAAAEAAAABBxBcGxvcmlzLkJhc2UuVUkuVmlzdWFsT2JqZWN0AwAAAAlUAwAACVMDAAAKCgUdB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eMCAAAKAAAAAABAQQl7AAAACXwAAAAJYQQAAAEACWIEAAABHgQAAH0AAAAKCgAAAAByhIwABgAAAAABASMEAACyAAAACWMEAAABAAAAAwAAAAEkBAAAegAAAAlkBAAACgEnBAAAdQAAAAoKAAAAQD8JZQQAAAlmBAAAAQAAAP7///8AAAAAAQAAAAAAAAAAAAAAAQAAAAAAAAAAAAABKAQAAHYAAAAKCglnBAAACWgEAAABAAAA/v///wAAAAD/////AAABLAQAAHoAAAAJaQQAAAoHMwQAAAABAAAABAAAAAQcQXBsb3Jpcy5CYXNlLlVJLlZpc3VhbE9iamVjdAMAAAAJWwMAAAlaAwAACgoBNAQAAH0AAAAKCgAAAAAAAAAADQAAAAABATUEAAB9AAAACgoBAAAAAAAAAP////8AAQc2BAAAAAEAAAAEAAAABB1BcGxvcmlzLkJhc2UuT2JqZWN0cy5WYXJpYWJsZQMAAAABagQAANgCAAABAAAAAAAAAAFrBAAA2AIAAAAAAAAAAAAAAWwEAADYAgAAAAAAAAAAAAABbQQAANgCAAAAAAAAAAAAAA83BAAAAQAAAAgAAAAABTgEAAAaQXBsb3Jpcy5CYXNlLk9iamVjdHMuQ29sb3IHAAAAEkRhdGFPYmplY3QrbVBhcmVudBVEYXRhT2JqZWN0K21Db250YWluZXIFbVR5cGUEbVJHQhBtVGhlbWVDb2xvckluZGV4DG1BdXRvVXBkYXRlZAltTW9kaWZpZWQEAgAAAAAAH0FwbG9yaXMuQmFzZS5PYmplY3RzLkxpbmVGb3JtYXQDAAAACAgIAQEDAAAACZUDAAAKAAAAAP///wAOAAAAAAAFOQQAABpBcGxvcmlzLkJhc2UuT2JqZWN0cy5Db2xvcgcAAAASRGF0YU9iamVjdCttUGFyZW50FURhdGFPYmplY3QrbUNvbnRhaW5lcgVtVHlwZQRtUkdCEG1UaGVtZUNvbG9ySW5kZXgMbUF1dG9VcGRhdGVkCW1Nb2RpZmllZAQCAAAAAAAfQXBsb3Jpcy5CYXNlLk9iamVjdHMuTGluZUZvcm1hdAMAAAAICAgBAQMAAAAJlQMAAAoBAAAAAAAAAP////8AAQE6BAAAfQAAAAoKAAAAACJBTgAPAAAAAAABOwQAAH0AAAAKCgEAAAAAAAAA/////wABDzwEAAABAAAACBABAAABPQQAAH0AAAAKCgAAAAAAAAAADQAAAAABAT4EAAB9AAAACgoBAAAAAAAAAP////8AAQc/BAAAAAEAAAAEAAAABB1BcGxvcmlzLkJhc2UuT2JqZWN0cy5WYXJpYWJsZQMAAAABbgQAANgCAAABAAAAAAAAAAFvBAAA2AIAAAAAAAAAAAAAAXAEAADYAgAAAAAAAAAAAAABcQQAANgCAAAAAAAAAAAAAA9ABAAAAQAAAAgAAAAABUEEAAAaQXBsb3Jpcy5CYXNlLk9iamVjdHMuQ29sb3IHAAAAEkRhdGFPYmplY3QrbVBhcmVudBVEYXRhT2JqZWN0K21Db250YWluZXIFbVR5cGUEbVJHQhBtVGhlbWVDb2xvckluZGV4DG1BdXRvVXBkYXRlZAltTW9kaWZpZWQEAgAAAAAAH0FwbG9yaXMuQmFzZS5PYmplY3RzLkxpbmVGb3JtYXQDAAAACAgIAQEDAAAACbIDAAAKAAAAAP///wAOAAAAAAAFQgQAABpBcGxvcmlzLkJhc2UuT2JqZWN0cy5Db2xvcgcAAAASRGF0YU9iamVjdCttUGFyZW50FURhdGFPYmplY3QrbUNvbnRhaW5lcgVtVHlwZQRtUkdCEG1UaGVtZUNvbG9ySW5kZXgMbUF1dG9VcGRhdGVkCW1Nb2RpZmllZAQCAAAAAAAfQXBsb3Jpcy5CYXNlLk9iamVjdHMuTGluZUZvcm1hdAMAAAAICAgBAQMAAAAJsgMAAAoBAAAAAAAAAP////8AAQFDBAAAfQAAAAoKAAAAACJBTgAPAAAAAAABRAQAAH0AAAAKCgEAAAAAAAAA/////wABD0UEAAABAAAACA8BAAABRgQAAH0AAAAKCgAAAAAAAAAADQAAAAABAUcEAAB9AAAACgoBAAAAAAAAAP////8AAQdIBAAAAAEAAAAEAAAABB1BcGxvcmlzLkJhc2UuT2JqZWN0cy5WYXJpYWJsZQMAAAABcgQAANgCAAABAAAAAAAAAAFzBAAA2AIAAAAAAAAAAAAAAXQEAADYAgAAAAAAAAAAAAABdQQAANgCAAAAAAAAAAAAAA9JBAAAAQAAAAgAAAAABUoEAAAaQXBsb3Jpcy5CYXNlLk9iamVjdHMuQ29sb3IHAAAAEkRhdGFPYmplY3QrbVBhcmVudBVEYXRhT2JqZWN0K21Db250YWluZXIFbVR5cGUEbVJHQhBtVGhlbWVDb2xvckluZGV4DG1BdXRvVXBkYXRlZAltTW9kaWZpZWQEAgAAAAAAH0FwbG9yaXMuQmFzZS5PYmplY3RzLkxpbmVGb3JtYXQDAAAACAgIAQEDAAAACc8DAAAKAAAAAP///wAOAAAAAAAFSwQAABpBcGxvcmlzLkJhc2UuT2JqZWN0cy5Db2xvcgcAAAASRGF0YU9iamVjdCttUGFyZW50FURhdGFPYmplY3QrbUNvbnRhaW5lcgVtVHlwZQRtUkdCEG1UaGVtZUNvbG9ySW5kZXgMbUF1dG9VcGRhdGVkCW1Nb2RpZmllZAQCAAAAAAAfQXBsb3Jpcy5CYXNlLk9iamVjdHMuTGluZUZvcm1hdAMAAAAICAgBAQMAAAAJzwMAAAoBAAAAAAAAAP////8AAQFMBAAAfQAAAAoKAAAAAD9pfgAFAAAAAAABTQQAAH0AAAAKCgEAAAD///8A/////wAAD04EAAABAAAACAwBAAABTwQAAH0AAAAKCgAAAAAAAAAADQAAAAABAVAEAAB9AAAACgoBAAAAAAAAAP////8AAQdRBAAAAAEAAAAEAAAABB1BcGxvcmlzLkJhc2UuT2JqZWN0cy5WYXJpYWJsZQMAAAABdgQAANgCAAABAAAAAAAAAAF3BAAA2AIAAAAAAAAAAAAAAXgEAADYAgAAAAAAAAAAAAABeQQAANgCAAAAAAAAAAAAAA9SBAAAAQAAAAgAAAAABVMEAAAaQXBsb3Jpcy5CYXNlLk9iamVjdHMuQ29sb3IHAAAAEkRhdGFPYmplY3QrbVBhcmVudBVEYXRhT2JqZWN0K21Db250YWluZXIFbVR5cGUEbVJHQhBtVGhlbWVDb2xvckluZGV4DG1BdXRvVXBkYXRlZAltTW9kaWZpZWQEAgAAAAAAH0FwbG9yaXMuQmFzZS5PYmplY3RzLkxpbmVGb3JtYXQDAAAACAgIAQEDAAAACe0DAAAKAAAAAP///wAOAAAAAAAFVAQAABpBcGxvcmlzLkJhc2UuT2JqZWN0cy5Db2xvcgcAAAASRGF0YU9iamVjdCttUGFyZW50FURhdGFPYmplY3QrbUNvbnRhaW5lcgVtVHlwZQRtUkdCEG1UaGVtZUNvbG9ySW5kZXgMbUF1dG9VcGRhdGVkCW1Nb2RpZmllZAQCAAAAAAAfQXBsb3Jpcy5CYXNlLk9iamVjdHMuTGluZUZvcm1hdAMAAAAICAgBAQMAAAAJ7QMAAAoBAAAAAAAAAP////8AAQFVBAAAfQAAAAoKAAAAAD9pfgAFAAAAAAABVgQAAH0AAAAKCgEAAAD///8A/////wAAD1cEAAABAAAACBEBAAABWAQAAH0AAAAKCgAAAAAAAAAADQAAAAABAVkEAAB9AAAACgoBAAAAAAAAAP////8AAQdaBAAAAAEAAAAEAAAABB1BcGxvcmlzLkJhc2UuT2JqZWN0cy5WYXJpYWJsZQMAAAABegQAANgCAAABAAAAAAAAAAF7BAAA2AIAAAAAAAAAAAAAAXwEAADYAgAAAAAAAAAAAAABfQQAANgCAAAAAAAAAAAAAA9bBAAAAQAAAAgAAAAABVwEAAAaQXBsb3Jpcy5CYXNlLk9iamVjdHMuQ29sb3IHAAAAEkRhdGFPYmplY3QrbVBhcmVudBVEYXRhT2JqZWN0K21Db250YWluZXIFbVR5cGUEbVJHQhBtVGhlbWVDb2xvckluZGV4DG1BdXRvVXBkYXRlZAltTW9kaWZpZWQEAgAAAAAAH0FwbG9yaXMuQmFzZS5PYmplY3RzLkxpbmVGb3JtYXQDAAAACAgIAQEDAAAACQoEAAAKAAAAAP///wAOAAAAAAAFXQQAABpBcGxvcmlzLkJhc2UuT2JqZWN0cy5Db2xvcgcAAAASRGF0YU9iamVjdCttUGFyZW50FURhdGFPYmplY3QrbUNvbnRhaW5lcgVtVHlwZQRtUkdCEG1UaGVtZUNvbG9ySW5kZXgMbUF1dG9VcGRhdGVkCW1Nb2RpZmllZAQCAAAAAAAfQXBsb3Jpcy5CYXNlLk9iamVjdHMuTGluZUZvcm1hdAMAAAAICAgBAQMAAAAJCgQAAAoBAAAAAAAAAP////8AAQFeBAAAfQAAAAoKAAAAAHKEjAAGAAAAAAABXwQAAH0AAAAKCgEAAAD///8A/////wAAD2AEAAABAAAACA4BAAABYQQAAH0AAAAKCgAAAAAAAAAADQAAAAABAWIEAAB9AAAACgoBAAAAAAAAAP////8AAQdjBAAAAAEAAAAEAAAABB1BcGxvcmlzLkJhc2UuT2JqZWN0cy5WYXJpYWJsZQMAAAABfgQAANgCAAABAAAAAAAAAAF/BAAA2AIAAAAAAAAAAAAAAYAEAADYAgAAAAAAAAAAAAABgQQAANgCAAAAAAAAAAAAAA9kBAAAAQAAAAgAAAAABWUEAAAaQXBsb3Jpcy5CYXNlLk9iamVjdHMuQ29sb3IHAAAAEkRhdGFPYmplY3QrbVBhcmVudBVEYXRhT2JqZWN0K21Db250YWluZXIFbVR5cGUEbVJHQhBtVGhlbWVDb2xvckluZGV4DG1BdXRvVXBkYXRlZAltTW9kaWZpZWQEAgAAAAAAH0FwbG9yaXMuQmFzZS5PYmplY3RzLkxpbmVGb3JtYXQDAAAACAgIAQEDAAAACScEAAAKAAAAAP///wAOAAAAAAAFZgQAABpBcGxvcmlzLkJhc2UuT2JqZWN0cy5Db2xvcgcAAAASRGF0YU9iamVjdCttUGFyZW50FURhdGFPYmplY3QrbUNvbnRhaW5lcgVtVHlwZQRtUkdCEG1UaGVtZUNvbG9ySW5kZXgMbUF1dG9VcGRhdGVkCW1Nb2RpZmllZAQCAAAAAAAfQXBsb3Jpcy5CYXNlLk9iamVjdHMuTGluZUZvcm1hdAMAAAAICAgBAQMAAAAJJwQAAAoBAAAAAAAAAP////8AAQFnBAAAfQAAAAoKAAAAAHKEjAAGAAAAAAABaAQAAH0AAAAKCgEAAAD///8A/////wAAD2kEAAABAAAACA0BAAAL"/>
  <p:tag name="APLORISTAG" val="MFNMiJ7Tp18tdIikC.273"/>
</p:tagLst>
</file>

<file path=ppt/tags/tag984.xml><?xml version="1.0" encoding="utf-8"?>
<p:tagLst xmlns:a="http://schemas.openxmlformats.org/drawingml/2006/main" xmlns:r="http://schemas.openxmlformats.org/officeDocument/2006/relationships" xmlns:p="http://schemas.openxmlformats.org/presentationml/2006/main">
  <p:tag name="APLORISTAG" val="MFNMiJ7Tp18tdIikC.271"/>
</p:tagLst>
</file>

<file path=ppt/tags/tag985.xml><?xml version="1.0" encoding="utf-8"?>
<p:tagLst xmlns:a="http://schemas.openxmlformats.org/drawingml/2006/main" xmlns:r="http://schemas.openxmlformats.org/officeDocument/2006/relationships" xmlns:p="http://schemas.openxmlformats.org/presentationml/2006/main">
  <p:tag name="APLORISTAG" val="MFNMiJ7Tp18tdIikC.329"/>
</p:tagLst>
</file>

<file path=ppt/tags/tag986.xml><?xml version="1.0" encoding="utf-8"?>
<p:tagLst xmlns:a="http://schemas.openxmlformats.org/drawingml/2006/main" xmlns:r="http://schemas.openxmlformats.org/officeDocument/2006/relationships" xmlns:p="http://schemas.openxmlformats.org/presentationml/2006/main">
  <p:tag name="APLORISTAG" val="MFNMiJ7Tp18tdIikC.330"/>
</p:tagLst>
</file>

<file path=ppt/tags/tag987.xml><?xml version="1.0" encoding="utf-8"?>
<p:tagLst xmlns:a="http://schemas.openxmlformats.org/drawingml/2006/main" xmlns:r="http://schemas.openxmlformats.org/officeDocument/2006/relationships" xmlns:p="http://schemas.openxmlformats.org/presentationml/2006/main">
  <p:tag name="APLORISCONTAINERTAG" val="AAEAAAD/////AQAAAAAAAAAMAgAAAAxBcGxvcmlzLkJhc2UFAQAAAClBcGxvcmlzLkJhc2UuT2JqZWN0cy5Db250YWluZXJWZXJzaW9uSW5mbwIAAAANUmVxdWlyZWRCdWlsZAlVc2VkQnVpbGQAAAgIAgAAAHgFAADOBQ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wLjAuMTQ4NiwgQ3VsdHVyZT1uZXV0cmFsLCBQdWJsaWNLZXlUb2tlbj0xNmZjMTNhMjI2YzBlOTUxXV2oAVN5c3RlbS5Db2xsZWN0aW9ucy5HZW5lcmljLkxpc3RgMVtbQXBsb3Jpcy5DaGFydC5Db2x1bW5PcmllbnRlZENoYXJ0K1VudXNlZFNlcmllcywgQXBsb3Jpcy5DaGFydCwgVmVyc2lvbj00LjAuMC4xNDg2LCBDdWx0dXJlPW5ldXRyYWwsIFB1YmxpY0tleVRva2VuPTE2ZmMxM2EyMjZjMGU5NTFdXaEBQXBsb3Jpcy5CYXNlLk9iamVjdHMuRGF0YU9iamVjdENvbGxlY3Rpb25gMVtbQXBsb3Jpcy5DaGFydC5DaGFydERhdGFTZXJpZXMsIEFwbG9yaXMuQ2hhcnQsIFZlcnNpb249NC4wLjAuMTQ4NiwgQ3VsdHVyZT1uZXV0cmFsLCBQdWJsaWNLZXlUb2tlbj0xNmZjMTNhMjI2YzBlOTUxXV0DAAAApgFBcGxvcmlzLkJhc2UuT2JqZWN0cy5EYXRhT2JqZWN0Q29sbGVjdGlvbmAxW1tBcGxvcmlzLkNoYXJ0LkFubm90YXRpb25EYXRhU2VyaWVzLCBBcGxvcmlzLkNoYXJ0LCBWZXJzaW9uPTQuMC4wLjE0ODYsIEN1bHR1cmU9bmV1dHJhbCwgUHVibGljS2V5VG9rZW49MTZmYzEzYTIyNmMwZTk1MV1dAwAAAKEBQXBsb3Jpcy5CYXNlLk9iamVjdHMuRGF0YU9iamVjdENvbGxlY3Rpb25gMVtbQXBsb3Jpcy5DaGFydC5Bbm5vdGF0aW9uR3JvdXAsIEFwbG9yaXMuQ2hhcnQsIFZlcnNpb249NC4wLjAuMTQ4NiwgQ3VsdHVyZT1uZXV0cmFsLCBQdWJsaWNLZXlUb2tlbj0xNmZjMTNhMjI2YzBlOTUxXV0DAAAAoAFBcGxvcmlzLkJhc2UuT2JqZWN0cy5EYXRhT2JqZWN0Q29sbGVjdGlvbmAxW1tBcGxvcmlzLkNoYXJ0LkNoYXJ0RGF0YUdyb3VwLCBBcGxvcmlzLkNoYXJ0LCBWZXJzaW9uPTQuMC4wLjE0ODYsIEN1bHR1cmU9bmV1dHJhbCwgUHVibGljS2V5VG9rZW49MTZmYzEzYTIyNmMwZTk1MV1dAwAAAJoBQXBsb3Jpcy5CYXNlLk9iamVjdHMuRGF0YU9iamVjdENvbGxlY3Rpb25gMVtbQXBsb3Jpcy5DaGFydC5EZWx0YUJhciwgQXBsb3Jpcy5DaGFydCwgVmVyc2lvbj00LjAuMC4xNDg2LCBDdWx0dXJlPW5ldXRyYWwsIFB1YmxpY0tleVRva2VuPTE2ZmMxM2EyMjZjMGU5NTFdXQMAAACdAUFwbG9yaXMuQmFzZS5PYmplY3RzLkRhdGFPYmplY3RDb2xsZWN0aW9uYDFbW0FwbG9yaXMuQ2hhcnQuRGVsdGFCcmlkZ2UsIEFwbG9yaXMuQ2hhcnQsIFZlcnNpb249NC4wLjAuMTQ4NiwgQ3VsdHVyZT1uZXV0cmFsLCBQdWJsaWNLZXlUb2tlbj0xNmZjMTNhMjI2YzBlOTUxXV0DAAAAnQFBcGxvcmlzLkJhc2UuT2JqZWN0cy5EYXRhT2JqZWN0Q29sbGVjdGlvbmAxW1tBcGxvcmlzLkNoYXJ0Lkdyb3d0aEFycm93LCBBcGxvcmlzLkNoYXJ0LCBWZXJzaW9uPTQuMC4wLjE0ODYsIEN1bHR1cmU9bmV1dHJhbCwgUHVibGljS2V5VG9rZW49MTZmYzEzYTIyNmMwZTk1MV1dAwAAAKQBQXBsb3Jpcy5CYXNlLk9iamVjdHMuRGF0YU9iamVjdENvbGxlY3Rpb25gMVtbQXBsb3Jpcy5DaGFydC5XYXRlcmZhbGxDb25uZWN0b3IsIEFwbG9yaXMuQ2hhcnQsIFZlcnNpb249NC4wLjAuMTQ4NiwgQ3VsdHVyZT1uZXV0cmFsLCBQdWJsaWNLZXlUb2tlbj0xNmZjMTNhMjI2YzBlOTUxXV0DAAAAogFBcGxvcmlzLkJhc2UuT2JqZWN0cy5EYXRhT2JqZWN0Q29sbGVjdGlvbmAxW1tBcGxvcmlzLkNoYXJ0LkVsZW1lbnRDb25uZWN0b3IsIEFwbG9yaXMuQ2hhcnQsIFZlcnNpb249NC4wLjAuMTQ4Ni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IAAAAABRMAAAAYQXBsb3Jpcy5DaGFydC5TZXJpZXNUeXBlAQAAAAd2YWx1ZV9fAAgCAAAAAAAAAAkUAAAAAAEFFQAAABlTeXN0ZW0uRHJhd2luZy5SZWN0YW5nbGVGBAAAAAF4AXkFd2lkdGgGaGVpZ2h0AAAAAAsLCwsEAAAA//9/////f////3////9//wEWAAAAFQAAAP//f////3////9/////f/8AAAAAAAUXAAAALEFwbG9yaXMuQ2hhcnQuQXhpc0JyZWFrK0F4aXNCcmVha0Rpc3BsYXlNb2RlAQAAAAd2YWx1ZV9fAAgCAAAAAQAAAAEBAQoKCRgAAAAKCgAAAAAACRkAAAAKCRoAAAAEAAAACRsAAAAFHAAAABlBcGxvcmlzLkNoYXJ0Lk9yaWVudGF0aW9uAQAAAAd2YWx1ZV9fAAgCAAAAAQAAAAkdAAAAAR4AAAAVAAAABNMXQuz7n0GIuIZDdFuQQwAEHwAAAAtTeXN0ZW0uR3VpZAsAAAACX2ECX2ICX2MCX2QCX2UCX2YCX2cCX2gCX2kCX2oCX2sAAAAAAAAAAAAAAAgHBwICAgICAgICAAAAAAAAAAAAAAAAAAAAAAAKCgkgAAAAAAoKCgEAAAAAAAAA/////wAAASEAAAAVAAAAF11EQgAAIEH0nHZD0kX3QiLwr0OKvwpD6CKfQ4put0MFIgAAABVTeXN0ZW0uRHJhd2luZy5Qb2ludEYCAAAAAXgBeQAACwsEAAAA5PPVQ/T9IkMGIwAAABBpZlVlZlQ0RWR2VXcySlY1AAAAAAoKCSQAAAAJJQAAAAAKCSYAAAAKCQEAAAAJJwAAAAUGAAAAJUFwbG9yaXMuQ2hhcnQuQ29sdW1uT3JpZW50ZWRDaGFydEF4aXMqAAAABm1DaGFydAltQXhpc1R5cGURbVJlbGF0aXZlR2FwV2lkdGgNbUlzU2Vjb25kQXhpcxttT3RoZXJBeGlzQ3Jvc3Nlc0F0Q2F0ZWdvcnkXbUNhdGVnb3J5V2lkdGhUaWNrTWFya3MRbVNob3dMYWJlbERlZmF1bHQLQXhpcyttQ2hhcnQQQXhpcyttVmFsdWVMaW5lcxBBeGlzK21BeGlzQnJlYWtzEkF4aXMrbU1pblZhbHVlQXV0bw5BeGlzK21NaW5WYWx1ZRJBeGlzK21NYXhWYWx1ZUF1dG8OQXhpcyttTWF4VmFsdWUaQXhpcyttTWFpblRpY2tEaXN0YW5jZUF1dG8WQXhpcyttTWFpblRpY2tEaXN0YW5jZQ1BeGlzK21Mb2dBeGlzDUF4aXMrbUxvZ0Jhc2UYQXhpcyttSHVuZGVydFBlcmNlbnRBeGlzDUF4aXMrbVZpc2libGUdQXhpcyttVGlja21hcmtOdW1iZXJGb3JtYXRBYnMhQXhpcyttVGlja21hcmtOdW1iZXJGb3JtYXRQZXJjZW50GUF4aXMrbURhdGFOdW1iZXJGb3JtYXRBYnMdQXhpcyttRGF0YU51bWJlckZvcm1hdFBlcmNlbnQPQXhpcyttVGlja01hcmtzEEF4aXMrbVN0YXJ0UG9pbnQOQXhpcyttRW5kUG9pbnQQQXhpcyttVmlzdWFsTGluZRRBeGlzK21MYWJlbFBvc2l0aW9ucxZBeGlzK21MYWJlbEFuY2hvck1vZGVzGUF4aXMrbUxhYmVsQWRkSW5uZXJNYXJnaW4TQXhpcyttTGFiZWxQb3NpdGlvbhdBeGlzK21NYWduaXR1ZGVBYnNvbHV0ZRZBeGlzK21NYWduaXR1ZGVQZXJjZW50C0F4aXMrbUxhYmVsH0F4aXMrbVRpY2tNYXJrRXZlbnRTdXNwZW5kTGV2ZWwZQXhpcyttVGlja01hcmtRdWV1ZWRFdmVudCRBeGlzK21UaWNrTWFya1F1ZXVlZEV2ZW50c2l6ZUNoYW5nZWQYRGF0YU9iamVjdCttQ2hpbGRPYmplY3RzEkRhdGFPYmplY3QrbVBhcmVudBVEYXRhT2JqZWN0K21Db250YWluZXIZRGF0YU9iamVjdCttVmlzdWFsT2JqZWN0cwQEAAAAAAMEBAQAAAAAAAAAAAAABAQEBAQEBAQEBAcAAAAEAAAAAwQEAyFBcGxvcmlzLkNoYXJ0LkNvbHVtbk9yaWVudGVkQ2hhcnQCAAAAFkFwbG9yaXMuQ2hhcnQuQXhpc1R5cGUCAAAACwEBAXBTeXN0ZW0uTnVsbGFibGVgMVtbU3lzdGVtLkJvb2xlYW4sIG1zY29ybGliLCBWZXJzaW9uPTIuMC4wLjAsIEN1bHR1cmU9bmV1dHJhbCwgUHVibGljS2V5VG9rZW49Yjc3YTVjNTYxOTM0ZTA4OV1dE0FwbG9yaXMuQ2hhcnQuQ2hhcnQCAAAAmwFBcGxvcmlzLkJhc2UuT2JqZWN0cy5EYXRhT2JqZWN0Q29sbGVjdGlvbmAxW1tBcGxvcmlzLkNoYXJ0LlZhbHVlTGluZSwgQXBsb3Jpcy5DaGFydCwgVmVyc2lvbj00LjAuMC4xNDg2LCBDdWx0dXJlPW5ldXRyYWwsIFB1YmxpY0tleVRva2VuPTE2ZmMxM2EyMjZjMGU5NTFdXQMAAACbAUFwbG9yaXMuQmFzZS5PYmplY3RzLkRhdGFPYmplY3RDb2xsZWN0aW9uYDFbW0FwbG9yaXMuQ2hhcnQuQXhpc0JyZWFrLCBBcGxvcmlzLkNoYXJ0LCBWZXJzaW9uPTQuMC4wLjE0ODYsIEN1bHR1cmU9bmV1dHJhbCwgUHVibGljS2V5VG9rZW49MTZmYzEzYTIyNmMwZTk1MV1dAwAAAAEGAQYBBgELAQEaQXBsb3Jpcy5DaGFydC5OdW1iZXJGb3JtYXQCAAAAGkFwbG9yaXMuQ2hhcnQuTnVtYmVyRm9ybWF0AgAAABpBcGxvcmlzLkNoYXJ0Lk51bWJlckZvcm1hdAIAAAAaQXBsb3Jpcy5DaGFydC5OdW1iZXJGb3JtYXQCAAAAmgFBcGxvcmlzLkJhc2UuT2JqZWN0cy5EYXRhT2JqZWN0Q29sbGVjdGlvbmAxW1tBcGxvcmlzLkNoYXJ0LlRpY2tNYXJrLCBBcGxvcmlzLkNoYXJ0LCBWZXJzaW9uPTQuMC4wLjE0ODYsIEN1bHR1cmU9bmV1dHJhbCwgUHVibGljS2V5VG9rZW49MTZmYzEzYTIyNmMwZTk1MV1dAwAAABVTeXN0ZW0uRHJhd2luZy5Qb2ludEYEAAAAFVN5c3RlbS5EcmF3aW5nLlBvaW50RgQAAAAaQXBsb3Jpcy5CYXNlLlVJLlZpc3VhbExpbmUDAAAAF1N5c3RlbS5EcmF3aW5nLlBvaW50RltdBAAAABlBcGxvcmlzLkJhc2UuQW5jaG9yTW9kZVtdAwAAAAEICAgVQXBsb3Jpcy5CYXNlLlVJLkxhYmVsAwAAAAgB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QEAAAAFKAAAABZBcGxvcmlzLkNoYXJ0LkF4aXNUeXBlAQAAAAd2YWx1ZV9fAAgCAAAAAQAAAJqZGT8AAAAKCQEAAAAJKQAAAAkqAAAAAQAAAAAAAAAAAQAAAAAAAPA/AZqZmZmZmbk/AAAAIEEAAQkrAAAACgksAAAACS0AAAAJLgAAAAEvAAAAIgAAAATTF0IzW5pDATAAAAAiAAAA6LKZQzNbmkMJMQAAAAkyAAAACTMAAAAJNAAAAAAAAAAAAAAAAAAAAAk1AAAAAAAAAAAACTYAAAAJAQAAAAkBAAAACTcAAAABBwAAAAYAAAAJAQAAAAE4AAAAKAAAAAAAAADNzEw/AAAACAEACQEAAAAJOQAAAAk6AAAAAQAAAAAAAAAAAZqZmZmZmek/AJqZmZmZmck/AAAAIEEAAQk7AAAACgk8AAAACT0AAAAJPgAAAAE/AAAAIgAAAATTF0IzW5pDAUAAAAAiAAAABNMXQuz7n0EJQQAAAAlCAAAACUMAAAAJRAAAAAAAAAAAAAAAAAAAAAlFAAAAAAAAAAAACUYAAAAJAQAAAAkBAAAACUcAAAAECAAAAKgBU3lzdGVtLkNvbGxlY3Rpb25zLkdlbmVyaWMuTGlzdGAxW1tBcGxvcmlzLkNoYXJ0LkNvbHVtbk9yaWVudGVkQ2hhcnQrVW51c2VkU2VyaWVzLCBBcGxvcmlzLkNoYXJ0LCBWZXJzaW9uPTQuMC4wLjE0ODYsIEN1bHR1cmU9bmV1dHJhbCwgUHVibGljS2V5VG9rZW49MTZmYzEzYTIyNmMwZTk1MV1dAwAAAAZfaXRlbXMFX3NpemUIX3ZlcnNpb24EAAAwQXBsb3Jpcy5DaGFydC5Db2x1bW5PcmllbnRlZENoYXJ0K1VudXNlZFNlcmllc1tdAgAAAAgICUgAAAAAAAAADwAAAAUJAAAAoQFBcGxvcmlzLkJhc2UuT2JqZWN0cy5EYXRhT2JqZWN0Q29sbGVjdGlvbmAxW1tBcGxvcmlzLkNoYXJ0LkNoYXJ0RGF0YVNlcmllcywgQXBsb3Jpcy5DaGFydCwgVmVyc2lvbj00LjAuMC4xNDg2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2hhcnREYXRhU2VyaWVzLCBBcGxvcmlzLkNoYXJ0LCBWZXJzaW9uPTQuMC4wLjE0ODYsIEN1bHR1cmU9bmV1dHJhbCwgUHVibGljS2V5VG9rZW49MTZmYzEzYTIyNmMwZTk1MV1dAwAAAJcBU3lzdGVtLkNvbGxlY3Rpb25zLkdlbmVyaWMuTGlzdGAxW1tBcGxvcmlzLkNoYXJ0LkNoYXJ0RGF0YVNlcmllc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JAAAACUoAAAAJAQAAAAkBAAAACUsAAAAFCgAAAKYBQXBsb3Jpcy5CYXNlLk9iamVjdHMuRGF0YU9iamVjdENvbGxlY3Rpb25gMVtbQXBsb3Jpcy5DaGFydC5Bbm5vdGF0aW9uRGF0YVNlcmllcywgQXBsb3Jpcy5DaGFydCwgVmVyc2lvbj00LjAuMC4xNDg2LCBDdWx0dXJlPW5ldXRyYWwsIFB1YmxpY0tleVRva2VuPTE2ZmMxM2EyMjZjMGU5NTFdXQYAAAALbUNvbGxlY3Rpb24FbUxpc3QYRGF0YU9iamVjdCttQ2hpbGRPYmplY3RzEkRhdGFPYmplY3QrbVBhcmVudBVEYXRhT2JqZWN0K21Db250YWluZXIZRGF0YU9iamVjdCttVmlzdWFsT2JqZWN0cwQDAwQEA6QBQXBsb3Jpcy5CYXNlLk9iamVjdHMuU29ydGFibGVDb2xsZWN0aW9uYDFbW0FwbG9yaXMuQ2hhcnQuQW5ub3RhdGlvbkRhdGFTZXJpZXMsIEFwbG9yaXMuQ2hhcnQsIFZlcnNpb249NC4wLjAuMTQ4NiwgQ3VsdHVyZT1uZXV0cmFsLCBQdWJsaWNLZXlUb2tlbj0xNmZjMTNhMjI2YzBlOTUxXV0DAAAAnAFTeXN0ZW0uQ29sbGVjdGlvbnMuR2VuZXJpYy5MaXN0YDFbW0FwbG9yaXMuQ2hhcnQuQW5ub3RhdGlvbkRhdGFTZXJpZXM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TAAAAAlNAAAACQEAAAAJAQAAAAlOAAAABQsAAAChAUFwbG9yaXMuQmFzZS5PYmplY3RzLkRhdGFPYmplY3RDb2xsZWN0aW9uYDFbW0FwbG9yaXMuQ2hhcnQuQW5ub3RhdGlvbkdyb3VwLCBBcGxvcmlzLkNoYXJ0LCBWZXJzaW9uPTQuMC4wLjE0ODY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Bbm5vdGF0aW9uR3JvdXAsIEFwbG9yaXMuQ2hhcnQsIFZlcnNpb249NC4wLjAuMTQ4NiwgQ3VsdHVyZT1uZXV0cmFsLCBQdWJsaWNLZXlUb2tlbj0xNmZjMTNhMjI2YzBlOTUxXV0DAAAAlwFTeXN0ZW0uQ29sbGVjdGlvbnMuR2VuZXJpYy5MaXN0YDFbW0FwbG9yaXMuQ2hhcnQuQW5ub3RhdGlvbkdyb3Vw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U8AAAAJUAAAAAkBAAAACQEAAAAJUQAAAAUMAAAAoAFBcGxvcmlzLkJhc2UuT2JqZWN0cy5EYXRhT2JqZWN0Q29sbGVjdGlvbmAxW1tBcGxvcmlzLkNoYXJ0LkNoYXJ0RGF0YUdyb3VwLCBBcGxvcmlzLkNoYXJ0LCBWZXJzaW9uPTQuMC4wLjE0ODYsIEN1bHR1cmU9bmV1dHJhbCwgUHVibGljS2V5VG9rZW49MTZmYzEzYTIyNmMwZTk1MV1dBgAAAAttQ29sbGVjdGlvbgVtTGlzdBhEYXRhT2JqZWN0K21DaGlsZE9iamVjdHMSRGF0YU9iamVjdCttUGFyZW50FURhdGFPYmplY3QrbUNvbnRhaW5lchlEYXRhT2JqZWN0K21WaXN1YWxPYmplY3RzBAMDBAQDngFBcGxvcmlzLkJhc2UuT2JqZWN0cy5Tb3J0YWJsZUNvbGxlY3Rpb25gMVtbQXBsb3Jpcy5DaGFydC5DaGFydERhdGFHcm91cCwgQXBsb3Jpcy5DaGFydCwgVmVyc2lvbj00LjAuMC4xNDg2LCBDdWx0dXJlPW5ldXRyYWwsIFB1YmxpY0tleVRva2VuPTE2ZmMxM2EyMjZjMGU5NTFdXQMAAACWAVN5c3RlbS5Db2xsZWN0aW9ucy5HZW5lcmljLkxpc3RgMVtbQXBsb3Jpcy5DaGFydC5DaGFydERhdGFHcm91c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SAAAACVMAAAAJAQAAAAkBAAAACVQAAAAFDQAAAJoBQXBsb3Jpcy5CYXNlLk9iamVjdHMuRGF0YU9iamVjdENvbGxlY3Rpb25gMVtbQXBsb3Jpcy5DaGFydC5EZWx0YUJhciwgQXBsb3Jpcy5DaGFydCwgVmVyc2lvbj00LjAuMC4xNDg2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RGVsdGFCYXIsIEFwbG9yaXMuQ2hhcnQsIFZlcnNpb249NC4wLjAuMTQ4NiwgQ3VsdHVyZT1uZXV0cmFsLCBQdWJsaWNLZXlUb2tlbj0xNmZjMTNhMjI2YzBlOTUxXV0DAAAAkAFTeXN0ZW0uQ29sbGVjdGlvbnMuR2VuZXJpYy5MaXN0YDFbW0FwbG9yaXMuQ2hhcnQuRGVsdGFCYX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VQAAAAlWAAAACQEAAAAJAQAAAAlXAAAABQ4AAACdAUFwbG9yaXMuQmFzZS5PYmplY3RzLkRhdGFPYmplY3RDb2xsZWN0aW9uYDFbW0FwbG9yaXMuQ2hhcnQuRGVsdGFCcmlkZ2UsIEFwbG9yaXMuQ2hhcnQsIFZlcnNpb249NC4wLjAuMTQ4Ni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RlbHRhQnJpZGdlLCBBcGxvcmlzLkNoYXJ0LCBWZXJzaW9uPTQuMC4wLjE0ODYsIEN1bHR1cmU9bmV1dHJhbCwgUHVibGljS2V5VG9rZW49MTZmYzEzYTIyNmMwZTk1MV1dAwAAAJMBU3lzdGVtLkNvbGxlY3Rpb25zLkdlbmVyaWMuTGlzdGAxW1tBcGxvcmlzLkNoYXJ0LkRlbHRhQnJpZGdl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VgAAAAJWQAAAAkBAAAACQEAAAAJWgAAAAUPAAAAnQFBcGxvcmlzLkJhc2UuT2JqZWN0cy5EYXRhT2JqZWN0Q29sbGVjdGlvbmAxW1tBcGxvcmlzLkNoYXJ0Lkdyb3d0aEFycm93LCBBcGxvcmlzLkNoYXJ0LCBWZXJzaW9uPTQuMC4wLjE0ODY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Hcm93dGhBcnJvdywgQXBsb3Jpcy5DaGFydCwgVmVyc2lvbj00LjAuMC4xNDg2LCBDdWx0dXJlPW5ldXRyYWwsIFB1YmxpY0tleVRva2VuPTE2ZmMxM2EyMjZjMGU5NTFdXQMAAACTAVN5c3RlbS5Db2xsZWN0aW9ucy5HZW5lcmljLkxpc3RgMVtbQXBsb3Jpcy5DaGFydC5Hcm93dGhBcnJvd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bAAAACVwAAAAJAQAAAAkBAAAACV0AAAAFEAAAAKQBQXBsb3Jpcy5CYXNlLk9iamVjdHMuRGF0YU9iamVjdENvbGxlY3Rpb25gMVtbQXBsb3Jpcy5DaGFydC5XYXRlcmZhbGxDb25uZWN0b3IsIEFwbG9yaXMuQ2hhcnQsIFZlcnNpb249NC4wLjAuMTQ4NiwgQ3VsdHVyZT1uZXV0cmFsLCBQdWJsaWNLZXlUb2tlbj0xNmZjMTNhMjI2YzBlOTUxXV0GAAAAC21Db2xsZWN0aW9uBW1MaXN0GERhdGFPYmplY3QrbUNoaWxkT2JqZWN0cxJEYXRhT2JqZWN0K21QYXJlbnQVRGF0YU9iamVjdCttQ29udGFpbmVyGURhdGFPYmplY3QrbVZpc3VhbE9iamVjdHMEAwMEBAOiAUFwbG9yaXMuQmFzZS5PYmplY3RzLlNvcnRhYmxlQ29sbGVjdGlvbmAxW1tBcGxvcmlzLkNoYXJ0LldhdGVyZmFsbENvbm5lY3RvciwgQXBsb3Jpcy5DaGFydCwgVmVyc2lvbj00LjAuMC4xNDg2LCBDdWx0dXJlPW5ldXRyYWwsIFB1YmxpY0tleVRva2VuPTE2ZmMxM2EyMjZjMGU5NTFdXQMAAACaAVN5c3RlbS5Db2xsZWN0aW9ucy5HZW5lcmljLkxpc3RgMVtbQXBsb3Jpcy5DaGFydC5XYXRlcmZhbGxDb25uZWN0b3I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XgAAAAlfAAAACQEAAAAJAQAAAAlgAAAABREAAACiAUFwbG9yaXMuQmFzZS5PYmplY3RzLkRhdGFPYmplY3RDb2xsZWN0aW9uYDFbW0FwbG9yaXMuQ2hhcnQuRWxlbWVudENvbm5lY3RvciwgQXBsb3Jpcy5DaGFydCwgVmVyc2lvbj00LjAuMC4xNDg2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RWxlbWVudENvbm5lY3RvciwgQXBsb3Jpcy5DaGFydCwgVmVyc2lvbj00LjAuMC4xNDg2LCBDdWx0dXJlPW5ldXRyYWwsIFB1YmxpY0tleVRva2VuPTE2ZmMxM2EyMjZjMGU5NTFdXQMAAACYAVN5c3RlbS5Db2xsZWN0aW9ucy5HZW5lcmljLkxpc3RgMVtbQXBsb3Jpcy5DaGFydC5FbGVtZW50Q29ubmVjdG9y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WEAAAAJYgAAAAkBAAAACQEAAAAJYwAAAAUUAAAAIkFwbG9yaXMuQ2hhcnQuQ29sdW1uT3JpZW50ZWRMZWdlbmQLAAAAFG1Db2x1bW5PcmllbnRlZENoYXJ0D21MZWdlbmRFbGVtZW50cw1MZWdlbmQrbUNoYXJ0GUxlZ2VuZCttQXV0b21hdGljT3JkZXJpbmcSTGVnZW5kK21MZWdlbmRBcmVhEUxlZ2VuZCttUmVjdGFuZ2xlD0xlZ2VuZCttQ29sdW1ucxhEYXRhT2JqZWN0K21DaGlsZE9iamVjdHMSRGF0YU9iamVjdCttUGFyZW50FURhdGFPYmplY3QrbUNvbnRhaW5lchlEYXRhT2JqZWN0K21WaXN1YWxPYmplY3RzBAQEAAQEAAMEBAMhQXBsb3Jpcy5DaGFydC5Db2x1bW5PcmllbnRlZENoYXJ0AgAAAK0BQXBsb3Jpcy5CYXNlLk9iamVjdHMuRGF0YU9iamVjdENvbGxlY3Rpb25gMVtbQXBsb3Jpcy5DaGFydC5Db2x1bW5PcmllbnRlZExlZ2VuZEVsZW1lbnQsIEFwbG9yaXMuQ2hhcnQsIFZlcnNpb249NC4wLjAuMTQ4NiwgQ3VsdHVyZT1uZXV0cmFsLCBQdWJsaWNLZXlUb2tlbj0xNmZjMTNhMjI2YzBlOTUxXV0DAAAAE0FwbG9yaXMuQ2hhcnQuQ2hhcnQCAAAAARlTeXN0ZW0uRHJhd2luZy5SZWN0YW5nbGVGBAAAABpBcGxvcmlzLkJhc2UuVUkuVmlzdWFsUmVjdAMAAAAI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AQAAAAlkAAAACQEAAAABAWUAAAAVAAAAThfFQRZdpkNEF2VDQBe9QQlmAAAABAAAAAlnAAAACQEAAAAJAQAAAAloAAAABRg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FBcGxvcmlzLkNoYXJ0LkNvbHVtbk9yaWVudGVkQ2hhcnQCAAAAIUFwbG9yaXMuQ2hhcnQuQ29sdW1uT3JpZW50ZWRDaGFydAIAAAAIAQgIAQgICAIAAAAJAQAAAAkBAAAAAAAAAAAGaQAAAAEuAwAAAAZqAAAAASwGawAAAAEtBmwAAAABKwEAAAAACgoGbQAAAAhNL2QveXl5eQAAAAAKAAAAAAAAAAAHGQAAAAABAAAABAAAAAQYQXBsb3Jpcy5DaGFydC5BeGlzTnVtYmVyAgAAAAVuAAAAGEFwbG9yaXMuQ2hhcnQuQXhpc051bWJlcgEAAAAHdmFsdWVfXwAIAgAAAAAAAAABbwAAAG4AAAAAAAAAAXAAAABuAAAAAAAAAAFxAAAAbgAAAAAAAAAPGgAAAAMAAAAIAQAAAAIAAAADAAAABRsAAAAwQXBsb3Jpcy5DaGFydC5Db2x1bW5PcmllbnRlZENoYXJ0K0N1c3RvbVN0YWNraW5nAgAAAA9CYXJXaWR0aEZhY3RvcnMKR2Fwc0JlZm9yZQcHCwgCAAAACXIAAAAJcwAAAAUd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dAAAACIAAAAE0xdC7PufQQF1AAAAIgAAAOiymUMzW5pDCXYAAAAJdwAAAAAAAAAKBXgAAAAUU3lzdGVtLkRyYXdpbmcuU2l6ZUYCAAAABXdpZHRoBmhlaWdodAAACwsEAAAAAAAAAAAAAAABeQAAAHgAAAAAAAAAAAAAAAAAAAABegAAABUAAAAAAAAAAAAAAAAAAAAAAAAAFAAAAP////8BAQoJewAAAAEACgAPIAAAAPIzAAACUEsDBBQABgAIAAAAIQBJEqz3jAEAAHgG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DEVd1OwjAUvjfxHZbemq3AhTGGwQXopZKID1DbA1vo2qan/L29ZwOMkrlJWOLNmq39/s52zobjXaGjDXjMrUlZP+mxCIy0KjfLlL3Pn+MHFmEQRgltDaRsD8jGo9ub4XzvACNCG0xZFoJ75BxlBoXAxDowtLOwvhCBbv2SOyFXYgl80Ovdc2lNABPiUHKw0XAKC7HWIXra0eODE4KzaHI4V0qlTDincykCGeXlLq/FbRpxG6POzMV2scglKCvXBVlKCD/1YkvxfxHwoLHBWY3CMXpCyMo9ZrnDu2OEV6q9zxVEM+HDiygoKN9pvrV+9WHtKmmuQ43aWR50HoTCDCAUOqnWpBC5+YN+dRh5tfQ7NlLmq4gv9DH4Jx+BPmzg1fX6UlQ0LcEx7DVgx2kPpG3KmfCg3oKnHujcwHfuFh/SFmVH4vX1/tkDJ942eaHlJKNO6fgdyBNvkz6No5m3DmlSerjcwGnilOjYERH4kEPjzPlSpDF7ueDZ0IFyjitQNdq8+m+MPgEAAP//AwBQSwMEFAAGAAgAAAAhAFB8TsH2AAAATAIAAAsACAJfcmVscy8ucmVscy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Mks9KAzEQh++C7xDm3s22gog024sIvYnUBxiT2T/sbiYk07p9e4OguLDWHpPMfPPNj2x30zioE8XUsTewLkpQ5C27zjcG3g7PqwdQSdA7HNiTgTMl2FW3N9tXGlByU2q7kFSm+GSgFQmPWifb0oip4EA+v9QcR5R8jI0OaHtsSG/K8l7H3wyoZky1dwbi3q1BHc4hT/6fzXXdWXpiexzJy8IIPa/IZIwNiYFp0B8c+3fmvsjCoJddNte7/L2nHknQoaC2HGkVYk4pSpdz/dFxbF/ydfqquCR0d73QfPWlcGgS8o7cZSUM4dtIz/5A9QkAAP//AwBQSwMEFAAGAAgAAAAhAABBmPgJAQAAzAMAABoACAF4bC9fcmVscy93b3JrYm9vay54bWwucmVscy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LyTzWrDMBCE74W+g9h7LdttQymRc2gp5NqmDyDktWViS0a7/fHbVyTUcSC4F9PjzqKZj5G03nx3rfjEQI13CrIkBYHO+LJxtYL33cvNAwhi7UrdeocKBiTYFNdX61dsNcdDZJueRHRxpMAy949SkrHYaUp8jy5uKh86zXEMtey12esaZZ6mKxmmHlCceYptqSBsy1sQu6GPyX97+6pqDD5789Gh4wsRkiMXRkMdamQFh/EoZkkEBXmZ4W5JBuKhjSWOEMd5Lv5+0XirA5ZvHOINTymm8hzMakkYo1vzZHXjTnWM0hxEtiTElw97soh8ghglkofN7OvI/xkm/21Gnv3B4gcAAP//AwBQSwMEFAAGAAgAAAAhAK+O3RDeAQAAFAMAAA8AAAB4bC93b3JrYm9vay54bWyMUstu2zAQvBfoPxC826QoyQkMS4HrBxqgDQI0Tc4MRVtE+BBIqlZQ9N+zlOrURS89kcsd7u7MzupmMBr9kD4oZyuczSlG0grXKHus8PeH/ewaoxC5bbh2Vlb4VQZ8U3/8sDo5//Ls3AuCAjZUuI2xWxISRCsND3PXSQuZg/OGRwj9kYTOS96EVspoNGGULojhyuKpwtL/Tw13OCght070Rto4FfFS8wjjh1Z1Aderg9LycWKEeNfdcQNzDxojzUPcNSrKpsIlhO4k/3rwffepVxqybEFpgUn9zvLeI95Ht3EGSIRwr0Ts4VJhmlBJh0clT+HPhxSi4UnZxp0qnF9REPb1HDLKIDyNySfVxBY6ZlmCTG+fpTq2EdbB8mJsQC46jAJCp/FEdmS37rTzKmx55LCupPAtsMgw8ksFF3/bZGnOyy/fEgoQ72h2gWYJTcYUdBJcCxAgHWPZglIKP1P81TUgbpLmzj3wZy3h2VnRew/r2QDgt0JyiF9CrFdwot6rCv+8Klm+K7f5jJX7fLYud3SWLXI2WxR7VhYbxoqS/Tp7wwz/mMMo4V1whzgXzpDJF+AnQeQg5Giv68le9coMy7UX7e0W7TU/wtImejALkDxPRs6Grt8AAAD//wMAUEsDBBQABgAIAAAAIQA3/8lywAcAAFV1AAANAAAAeGwvc3R5bGVzLnhtbOyd3W/bNhDA3wfsfxBU7DGRqA/bCmwXSzJvBbqiQDJgr7ItO0L1YUhya3fY/747UrIlx7Gl8NK0A/uQSvLxdPzxeCQt6zh8u4kj7XOQ5WGajHR2aepakMzSeZgsR/pf95OLga7lhZ/M/ShNgpG+DXL97fjnn4Z5sY2Cu4cgKDRQkeQj/aEoVleGkc8egtjPL9NVkMAnizSL/QJOs6WRr7LAn+dYKI4MyzR7RuyHiS40XMWzNkpiP/u0Xl3M0njlF+E0jMJiy3XpWjy7erdM0syfRmDqhjn+rNLNTx6pj8NZlubporgEdUa6WISz4LGVnuEZoGk8TNbxJC5ybZauk2Kk27tLmvjk3RwQ9hxdE5W+Sedghnlp/qIbVeGGpNuUfPPmzQnh3mNhVGuURo2HizTZ28YY1BwBXH1K0i/JBD8D48BiFBsP86/aZz+CKwyVzNIozbQCGg4M5lcSPw6ExI0fhdMsRLGFH4fRVly28AJv61IuDoE8t0jcQfydolR5Lw8/FbcKk3mwCQDX4OBu9/5DGvso+OhmRl1vpfOl7V/X7D92LxNNpYJ17mYHrORaZkeQt6Rolmw5HemTicn/NWv2exhF2p2f5Hj5bFM8S1H4BOtnKdtVj0NrVE9UkKh6k0lbRS2q10YZZ59D/4AG2YUiCzs2XBgPISgWQZZMsLnK4/vtCrp1AvFbtB2XOyO9zPwts9xaAYPfcDycptkcxosqCGJIEZfGwyhYFNCGWbh8wP+LdAV/p2lRQHAdD+ehv0wTP4JDoypRHkB1ZkEU3eGY8vdir9syQftmUQuaMD5hGMBIi4dQlfJQaBQncIdGIW9fyHqykOavVtF2Asq5anEG+vdn17zm+/Nfo3CZxEG9wMcsLYJZwQdTHhoadtSMf9qOQ+NVIRhzq/Yum/5Z9OwzTf9hHU+DbMLnK/tGxo60P6N0AZwnHPdf4Yrf2h7FB0LKid6n+Cg+MiFf+Y/yH+U/Lzeeqv6l+pfqX6p/wYKJL97U/FmtL07N59X66/R4ofgoPjLjqfIf5T/Kf15uPqb6l+pfqn+p/vVa6x0Vf1T8UfFHxR8Vf8TvEdT3z6fjoeKj+MiMF8p/lP/I+M+zfjT07Qop91buLePeyn+U/yj/ebnlmOpfqn+p/qX612t93aHij4o/Kv6o+KPij/i6VT1+Oh0PFR/FR2a8UP6j/Ef5z8vNN1T/Uv3rR+xfRv1NffHefu2VfQuTojz10jtMXRdPvPG8WRx/dR+LnH3fX6tKl+/w81e2ed4HCUuausRZrb0w74FfJQDQHtIs/Ap2YkqVGWQECEQmlM3iAEaZHeZcAoOyQpDD5cibLNVVkapgd1ZW+lUMPb4m+S5Mq4xovg1UXaViqH3J/NV9sIHcEdzvjCMtz7P9iJbHw5MdoQ/f9jyz6asUBVUVu/gsZoIqwtl5L+5UFxjp/jd1gYp/v3WRCZZn4sZZ/67dGzNVnfTuKlxI9z5MOMNT1DzqbjVz+hTmyPQqTHhzykASXj+QgYc5NliP5zYTobE1jO4BnRxRw3BIlNfO69sY3iVoH3WvlzNt0phokDOtdVxM2yQdR55lII8r58d0altbtXqrmMfQtNdhV05/vz09iZbeT3sgZ5n+g5jeGnQjFrTuVG3CFF0seHrmydebsMKspYg7SBC3W5BqmIgREhimUZR+CebaH5D4LovC5BPkwuTrS+wW03UYFWGCy01g8RDO5wFmPsVpRAdF8LtAGkUwOaZRBAMnjSIYyEgUWVSwLSrYFhVsiwq2RQXbpoJtU8G2qWDbVLBtKtgOFWyHCrZDBduhgu1QwXapYLtUsF0q2C4VbJcKdo8Kdo8KNqbTJhmOcJFJo4gKdp8Kdp8Kdh++KyFh1IepFYkiyA9OpAi+UaWxCL4CpFFEBXtABdujgu1RwfaoYHtUsD0q2Mykos1MKtzMpOLNTCrgzCQjjpsikHRdxsiIMzLijIw460b80TK7WRyGy5Or7EfFD5qpe/lm43Qv32yS7uWbDdG9vCQ/q+nmne8Pz/Dr3aR7eUl+liQ/S5KfLcnPluRnS/KzJfnZkvwcSX6OJD9Hkp8jyc+R5OdK8nMl+bmS/FxJfq4kv54kv54kv54kv54kv54kv74kv35zpd15/OhDido0rXP5QXNd3b18czndvXzzK4vu5SX5DeCOMvw8SX6eJD9Pkp8nyc+T5MdMSYDMlCTITEmEzJRkyExZiAfP6jr3IsZkITJZiEwWIusG8QPuXRRVDzubTsi3tjl8wPkxyPApclWiGff55l+HJfi2j8xx+gObWRZz8HGReLbaShx/1yjExa5z1aZf5ZPbQ+0YCYS4c+z57IF4D3kL8V4bcXywJMQHbcRxWBPidgvxPi6ihXj/lPjAG/Qtyx7gpKsUP6m+lPcwxpTyJ9lU8jgpLuXFrm67loUn6/PNftM17igFbqHJt2PbPWuH+82Dhb+OivvdhyN9f/xnMA/XMbhDKfUx/JwWXMVI3x+/x73hoJ3gaTv8WvZ9DltRwv/aOgtH+j+/Xfe9298m1sXAvB5cOHbgXnju9e2F69xc395OPNMyb/6FauB+o1ewu6XEfp5831H4cTZzrvIIdv3MysqWxt/tr4302okwH603wGzxl1fC4L7I90Md/wcAAP//AwBQSwMEFAAGAAgAAAAhAOdldbjWAAAAuAEAACMAAAB4bC93b3Jrc2hlZXRzL19yZWxzL3NoZWV0MS54bWwucmVsc6yQyWoDMQxA74X+g9E91kwOoZR4cgmFXEP6AcLWLHS8YLlp8vd1KIUMBHrpUdvTk7a7i5/VmbNMMRhodQOKg41uCoOB99Pb6gWUFAqO5hjYwJUFdt3z0/bIM5U6JOOURFVKEANjKekVUezInkTHxKFW+pg9lRrmARPZDxoY102zwXzPgG7BVAdnIB9cC+p0TXXz3+zY95PlfbSfnkN5sALPft5n+qrHVSrlgYsBrdH95OSu3uraC/jYaf2fTjb6m64sjH6Tra7/u2ng4t/dNwAAAP//AwBQSwMEFAAGAAgAAAAhABBqfdjtBAAAWRAAABgAAAB4bC93b3Jrc2hlZXRzL3NoZWV0Mi54bWyMWEuPo0YQvkfKf0CcksMYGmOwLdurgdYoK+0oo2x294xx20YDtAPMjEer/PdUP3h0YTtz2cH1FVVfPbqK3tWnc5Fbr6yqM16ubTJxbYuVKd9l5WFtf/v74W5uW3WTlLsk5yVb2++stj9tfv1l9car5/rIWGOBhbJe28emOS0dp06PrEjqCT+xEpA9r4qkgZ/VwalPFUt28qUidzzXDZwiyUpbWVhWH7HB9/ssZZSnLwUrG2WkYnnSAP/6mJ3q1lqRfsRckVTPL6e7lBcnMLHN8qx5l0Ztq0iXnw8lr5JtDnGfiZ+krW35Y2S+yNKK13zfTMCco4iOY144CwcsbVa7DCIQabcqtl/b92RJPWI7m5VM0PeMvdWDZ0vke8v5swA+79a2CyZqlrNURG4l8OeVxSzP1/bDAkr2jzQKj2DQ6SwOn1vrD7JCT5W1TWoW8/xHtmuO0ArQCTu2T17y5i/+9gfLDscGpD7kQKRiuXunrE6hBoJKy5omTbJZVfzNgmISoHFKRGuQpQ9sUyG8F1KQhOIdKYm0BBoNbNWg+LrxVs4rcE21StyptC9RLZGuHXDYefUuehVS06uWQK46r1Pk9YKKb6pQrSLrZtCYGjQskTtv3iVBoCCAFHfOZ6blSKtAnJ1KYKrE/69ClQrxZBsM0wR1vFAcIUW8iOk00iqerNN0tjDh2IDnLiokVTAJ4O29DOyYVGxnqyNA/SUVvZvJ7v767fG3yF/G/u8rZy+agpCgJ2Mke2YEg5MtUBRUaLKOtIoOCufZQMkU94CCxzGpOKBjgXrodh4N5sGYuS9YqLMiUMR83tlRh0erKOaeh7jFBuwHCKYKvkk9mPcuDerhTeoCRdRRq0RaRVPvvcjAYgOdoaNJFXqT+PxKs4iF1o8l3CwCRbxJXzuVc62jiAcIjQ2UeJi5gm8yJ/P+JSPl4nBcpy5QTL3PgaKudRR1gtDYQD1UEXk0YYaOzu6gz6d9jQ3iYpkMmLf9LcVgcjpYBkITRHJiqU5otXoRbUX+aK4RsRj6HHWe9L4YetKi3mwsXzacU0NkxiRm/wVPeiUMPWnR0NNIRCHkPnLTk5jiFzzp4T5cpVoETdZtDYJmcAzplo7mXdZpKxqvU7HwL/nWg3zoW4ugiTrffR/rUl7QwTNJeoQijHcqEZO2zwM+uhJGBwBv1Vbn1lr9gA7VOhcWK5yPIcmuAfUkHq58dPwi+SoEoE7nbDoqnDHNA68/bDK7VL8P3G6vS/j4GlIc5VGP3iFVvDCliY5qgNIcmzBxEU413jK9th2JGJao4IP1KGFUcDS0olZH5XRK8G5HeIhyTjWumV5dhkSMzhtM9WQdphRVL5ImupROUcpiE/ZRHFTDmue13Se+ODHNwWephFFCR9uvVVIZXSAisQnPUeNQDbeVv7bp4CZ0k6ia3cJYN2vwNoukjS6hHt7TJkxQOcRdTE5JdZhGi03dqdR955Qc2GNSHbKytnK2B0buJIRZVak7k/rR8BMMNdva8qbhhXw8wm2YwZ3InYDynvOm/QHfjOzcfKkb+dd6qeCL+Gfgu64XTsndfRC5dzPxjxeE7l0YeiQKY3cRuO6/7Q21OH/selokqcPOKZPX8bm6jm9WxXn59OW79ch3cPOFHP9ZsieIUT7/+Jom4kKsVgXQhHtaS9bp/lNg8x8AAAD//wMAUEsDBBQABgAIAAAAIQD7YqVtlAYAAKcbAAATAAAAeGwvdGhlbWUvdGhlbWUxLnhtbOxZT2/bNhS/D9h3IHRvbSe2Gwd1itixm61NG8Ruhx5pmZZYU6JA0kl9G9rjgAHDumGXAbvtMGwr0AK7dJ8mW4etA/oV9khKshjLS9IGG9bVh0Qif3z/3+MjdfXag4ihQyIk5XHbq12ueojEPh/TOGh7d4b9SxsekgrHY8x4TNrenEjv2tb7713FmyokEUGwPpabuO2FSiWblYr0YRjLyzwhMcxNuIiwglcRVMYCHwHdiFXWqtVmJcI09lCMIyB7ezKhPkFDTdLbyoj3GLzGSuoBn4mBJk2cFQY7ntY0Qs5llwl0iFnbAz5jfjQkD5SHGJYKJtpe1fy8ytbVCt5MFzG1Ym1hXd/80nXpgvF0zfAUwShnWuvXW1d2cvoGwNQyrtfrdXu1nJ4BYN8HTa0sRZr1/katk9EsgOzjMu1utVGtu/gC/fUlmVudTqfRSmWxRA3IPtaX8BvVZn17zcEbkMU3lvD1zna323TwBmTxzSV8/0qrWXfxBhQyGk+X0Nqh/X5KPYdMONsthW8AfKOawhcoiIY8ujSLCY/VqliL8H0u+gDQQIYVjZGaJ2SCfYjiLo5GgmLNAG8SXJixQ75cGtK8kPQFTVTb+zDBkBELeq+ef//q+VP06vmT44fPjh/+dPzo0fHDHy0tZ+EujoPiwpfffvbn1x+jP55+8/LxF+V4WcT/+sMnv/z8eTkQMmgh0Ysvn/z27MmLrz79/bvHJfBtgUdF+JBGRKJb5Agd8Ah0M4ZxJScjcb4VwxBTZwUOgXYJ6Z4KHeCtOWZluA5xjXdXQPEoA16f3XdkHYRipmgJ5xth5AD3OGcdLkoNcEPzKlh4OIuDcuZiVsQdYHxYxruLY8e1vVkCVTMLSsf23ZA4Yu4zHCsckJgopOf4lJAS7e5R6th1j/qCSz5R6B5FHUxLTTKkIyeQFot2aQR+mZfpDK52bLN3F3U4K9N6hxy6SEgIzEqEHxLmmPE6nikclZEc4ogVDX4Tq7BMyMFc+EVcTyrwdEAYR70xkbJszW0B+hacfgNDvSp1+x6bRy5SKDoto3kTc15E7vBpN8RRUoYd0DgsYj+QUwhRjPa5KoPvcTdD9Dv4Accr3X2XEsfdpxeCOzRwRFoEiJ6ZiRJfXifcid/BnE0wMVUGSrpTqSMa/13ZZhTqtuXwrmy3vW3YxMqSZ/dEsV6F+w+W6B08i/cJZMXyFvWuQr+r0N5bX6FX5fLF1+VFKYYqrRsS22ubzjta2XhPKGMDNWfkpjS9t4QNaNyHQb3OHDpJfhBLQnjUmQwMHFwgsFmDBFcfURUOQpxA317zNJFApqQDiRIu4bxohktpazz0/sqeNhv6HGIrh8Rqj4/t8Loezo4bORkjVWDOtBmjdU3grMzWr6REQbfXYVbTQp2ZW82IZoqiwy1XWZvYnMvB5LlqMJhbEzobBP0QWLkJx37NGs47mJGxtrv1UeYW44WLdJEM8ZikPtJ6L/uoZpyUxcqSIloPGwz67HiK1QrcWprsG3A7i5OK7Oor2GXeexMvZRG88BJQO5mOLC4mJ4vRUdtrNdYaHvJx0vYmcFSGxygBr0vdTGIWwH2Tr4QN+1OT2WT5wputTDE3CWpw+2HtvqSwUwcSIdUOlqENDTOVhgCLNScr/1oDzHpRCpRUo7NJsb4BwfCvSQF2dF1LJhPiq6KzCyPadvY1LaV8pogYhOMjNGIzcYDB/TpUQZ8xlXDjYSqCfoHrOW1tM+UW5zTpipdiBmfHMUtCnJZbnaJZJlu4KUi5DOatIB7oViq7Ue78qpiUvyBVimH8P1NF7ydwBbE+1h7w4XZYYKQzpe1xoUIOVSgJqd8X0DiY2gHRAle8MA1BBXfU5r8gh/q/zTlLw6Q1nCTVAQ2QoLAfqVAQsg9lyUTfKcRq6d5lSbKUkImogrgysWKPyCFhQ10Dm3pv91AIoW6qSVoGDO5k/LnvaQaNAt3kFPPNqWT53mtz4J/ufGwyg1JuHTYNTWb/XMS8PVjsqna9WZ7tvUVF9MSizapnWQHMCltBK0371xThnFutrVhLGq81MuHAi8saw2DeECVwkYT0H9j/qPCZ/eChN9QhP4DaiuD7hSYGYQNRfck2HkgXSDs4gsbJDtpg0qSsadPWSVst26wvuNPN+Z4wtpbsLP4+p7Hz5sxl5+TiRRo7tbBjazu20tTg2ZMpCkOT7CBjHGO+lBU/ZvHRfXD0Dnw2mDElTTDBpyqBoYcemDyA5LcczdKtvwAAAP//AwBQSwMEFAAGAAgAAAAhACg6vN5BBAAAUwoAABgAAAB4bC93b3Jrc2hlZXRzL3NoZWV0MS54bWyMVt+PozYQfq/U/4Hy1HvYYPPDBpTktAtddaVbddXt3T074CRoAVNwNkmr/u8d20BCsntaKSJmPP78fTPD2PPPh6q0XnnbFaJe2HiGbIvXmciLerOwv/51fxPaVidZnbNS1HxhH3lnf17+/NN8L9qXbsu5tACh7hb2Vsomdpwu2/KKdTPR8Bpm1qKtmITXduN0TctZrhdVpeMiRJyKFbVtEOL2IxhivS4ynopsV/FaGpCWl0wC/25bNN2Adsg/hJe3bA9aBz5nFFMzM+Jh/4pfVWSt6MRazjJROYbatcrIiSY6q+wK6I1gVax92TU3ANyAuFVRFvKo5dpWlcUPm1q0bFVCRg7YZ9kZS3YN/3GegLSc5wXEVhWE1fL1wr7F8W+B7SznOnPfCr7vzsaWZKtnXvJM8hwKyLZUYayEeFGOD2BCgNhpB4XIMlm88oSX5cJOXKitv/UeMIQNnHGH8/Gw270upafWWrGOJ6L8XuRyC1tCyeZ8zXalPBnDWei5yMNuME7+Kfa/82KzlbDEh3ipsMX5MeVdBpWkeAKDTJSwHTytqlDfAwSbHYwss5tLZoT4iCjgTh5VAsBpxTt5Xyhk28p2nRTVQK4HNXCgV8PB/97AnfPs4bzJEq9fAv/9EjeY4QsGMPlBBiBcMwD27zPQuRhjQIYYEC+E5e8vwzqFJoI6kSmTbDlvxd6CTxEi0zVMNQocw+4qDW4IpZGpyVs1q33A3IH1dYnmzitUQdZ73BkPWDl6YDJ1Sd5woaOLAzxGMqrwLsjgYCSjZhd2dL7VCKPp3hkPRX+9fFZNEP+S+E4/Sv25s9YSZiRCNPRCRKFgQkpoNMXRH8DCnuJgMgIphT1S4GNKfc9zfaoa5wloogsK4Qe61OyFLm9K6M640ImwYOQTjHRoGLpe4EY+xpT4FF3gJG/hYDoCYcjLECIDEAyAELw+7xNlUHk/UKZmp+WDTzgmZcalV/b18dchbSRO6Cfn+WRJSZzSTyd+1PUQhkQGiOLAvSq693BxGCc4miKDLQXbiB34XkA8RMLIRYQSHL6tXbWa96tVzV5ohzz1MTTajQsxWT0pTYDiBUMgeMaPhAif/dzLLL+H66I4cfFUO9hSsI3afSjn89+pojXn1GD7uhmqFgFHkNKpDaYyzGlhmkzDNvyRtZui7qySr6FHoBm1rdb0ez2WotFWwFkJCS16eNvCpYTDDmgGVbsWQg4vcB4o3Gcud40l2gKOCX3PWNiNaGXLCgl9DOz/CJgo06YAevBJRIS6EXQIuFXJIrueANiSb1h27G8YVhsX+cJuH3LdQflBfunkcg7/1q4FzH+h2yOXevjmltyhm0A9XELRDaUuvqMJighC/w03gAqOq4ur2JvHf8Uyhx8yri9iobmgLOfVIX768s16FDkcbHCw/lHzJwiBHn9/BjF6qI5qoGeemqwzXgeX/wMAAP//AwBQSwMEFAAGAAgAAAAhADNxNm9HAQAA6gIAABQAAAB4bC9zaGFyZWRTdHJpbmdzLnhtbIxSTWvCQBC9F/ofhj1Xoy0UKUmkCC2ClUKV0uOSjGZhdzbdGUP9992op9V+HOfN13tvJp9+OQsdBjaeCjUejhQgVb42tC3UevU0mChg0VRr6wkLtUdW0/L6KmcWiL3EhWpE2ocs46pBp3noW6SY2fjgtMQwbDNuA+qaG0RxNrsdje4zpw0pqPyOpFB3YwU7Mp87nB2B8USVOZsyl3KBHVrwG5hT522HDknyTMo86/PHmpUXbVPwsdI1OlOBrjvDURAwcq8TBvDstY2hSITTvqVPkQ/kFFoz9pxWWDXkrd/u04KDkBR8NzUevYAd4w1oa6MFAf+sE7Coo+PxBv9qIE+DS4MXxhnBOs6x+55CunjpQX6U9JuhMx0QA7RWE13wdE6CxKY7W/jiawxazvAT0ZTf4W5vl+92ovB6RiGLv1p+AwAA//8DAFBLAwQUAAYACAAAACEAlq0/TV8CAAB5BAAAGwAAAHhsL2RyYXdpbmdzL3ZtbERyYXdpbmcxLnZtbIxU226cMBB9z1dYzsO+gLgkjRIHkKJUeWsr9foYecG7OLE9CM+ybL6+YyCbbCtVRcCamTOXc2a0xWgNo8d5MZR81zvh61ZZ6WOr6x48bDCuwYrBGn62AOFfQNhsdK3E/HMMGf8jRI21eitiqZ0WsRNJYmX905pvU18/es2rM1aA8K3slJEH2CEbhBqx5KrRGLzBrRsruxMHayTKkmc8CQmSkwxVMcwJ8dApppuSP44pXY+YpzlnNUDfeP2iSp5nV2kaTW/OKEdHdQOGqnYS25LbNErNgphxJ+90VHOLVBB7eFbsCbTzeDCU3GpU/dQfo4ZCPrbtZaOVw4kuPJccQ9kanFM1hm5L3tNpIfWOxZHSezo+S/MPnM1x5ycc5xZWHXiNGpyQaw9mh+qWmFnZb7WLjdqguLru8HYxIHQiuwiGvW6wFVl+SedW6W2LIruh80usXaNGkYU0g/Z6rY3Gg2h10yh3az3E+1528VRdYAhcsY02pgYDfcnPN3SpLHAmlRRaaIix3CG8qhjANCBC52/wMOIgIanWwJ6Bm3Vb+3rXK5rurNdR5D8EdeDUcQpIq7WGkS36hI4bHSQnkWJpUIRmVqEeKxo9vOJCGLn11okg26oqEvJObSWDWJJOn6O4N2HCH2k92Zf1E6X+Ps31M+C8K6wYxScY1C+N7b0yxk/0gvUb7eTf1jtXt9BPLbE0YlfXEZvvLGIXecRuIpZdFMko3gEp2R0ReSA1qwdpvJr8r5aJ3Si+wr66DI5wWGz3tCXWVWkwL+egffg60iJsQaynHSYh6P+m+g0AAP//AwBQSwMEFAAGAAgAAAAhAPZUpCc1AQAAEg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X0vDMBTF3wW/Q8l7m6RlQ0LbgcoQcSA4mfgWkrst2PwhiXb79mbdrJP5eDnn/jjn3nq20132BT4oaxpEC4IyMMJKZTYNel3O8xuUhciN5J010KA9BDRrr69q4ZiwHp69deCjgpAlkglMuAZtY3QM4yC2oHkoksMkcW295jGNfoMdFx98A7gkZIo1RC555PgAzN1IRCekFCPSffpuAEiBoQMNJgZMC4p/vRG8Dv8uDMqZU6u4d6nTKe45W4qjOLp3QY3Gvu+LvhpipPwUvy2eXoaquTKHWwlAbS0FEx54tL6t8fmQDtfxEBfpxmsF8nbfPlrD45ab7MH6BABlanzpSsShANOnzSxlYscGP9KqurtfzlFbEjrJaZmTakkmjE4Ymb4fUvwFpGAXX2y/AQAA//8DAFBLAwQUAAYACAAAACEAFbrKqP4AAAB1AQAAEAAAAHhsL2NvbW1lbnRzMS54bWxUkN1KAzEQhe8F3yHMvZ1tQamySfGmIHghWB8gbma7gfwsmVi2Pr2zbisIIeR8OTlnSLubYlAnKuxz0rBeNaAoddn5dNTwcdjfbUFxtcnZkBNpOBPDztzetF2OkVJlJQGJNQy1jk+I3A0ULa/ySElu+lyirSLLEXksZB0PRDUG3DTNA0brE5jWftUhF74e0LT4hy49r56ruZaqQr2G53tQi+3FaWgkp9IkpiLrTbZPyeFvdbJBwyOI6HLIRfnkaCJ5sV3PsOxzqovpYIcc7Qx7G304L3QzA/xNrOadiidWjrgrfqzyadyidKL04VKPl4kF/Jv9qtj8AAAA//8DAFBLAwQUAAYACAAAACEAsmAdoI0BAAAo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FP4zAQhe9I/IfId+q0oBWqHCMErDgsolILnAdn0li4tuUZonZ/PU6j0nT3sNLeZuY9PX8eW91sN67oMJENvhLTSSkK9CbU1q8r8bL6eXEtCmLwNbjgsRI7JHGjz8/UIoWIiS1SkSM8VaJljnMpybS4AZpk2WelCWkDnNu0lqFprMH7YD436FnOyvKHxC2jr7G+iN+BYkicd/y/oXUwPR+9rnYxA2t1G6OzBjjfUj9ZkwKFhosnMNZzoLZ42Bp0So5tKnMu0XwmyztdKjlu1dKAw7t8hG7AESp5HKhHhH59C7CJtOp43qHhkAqyv/MCZ6J4B8IerBIdJAueM2BvG5p97SJx0m8hfVCLyKRkNgzDfTn2jmt7pWd7Qy5OjX3AAJKFU8SVZYf03Cwg8b+I9wwD74BzG11Ilu6BYQz5jbvs+adj6YTkj7N/Wf9BL3EVch4edns6VMsWEtb5OQ76caAe81qT60PuWvBrrA+ev4X+T7wOH19PryblZZkfeTRT8vjF9RcAAAD//wMAUEsDBBQABgAIAAAAIQDENPClxQAAAIYBAAAQAAAAeGwvY2FsY0NoYWluLnhtbFyQ2wrCMAyG7wXfoeReO88H1g068Qn0AUoX3aCH0RbRt7dsOEcv8yX58pO8fGtFXuh8aw2D1TIDgkbaujVPBvfbdXEE4oMwtVDWIIMPeiiL+SyXQsmqEa0h0WA8gyaE7kyplw1q4Ze2QxM7D+u0CLF0T+o7h6L2DWLQiq6zbE91FECRS+IYXE5AWgZrIComAfrDMUGPR3BIwT4FuxRsE1ANE/8r1TAxAZt+ZQJisJjjD3jq4KmDpw4+cdDxg8UXAAD//wMAUEsBAi0AFAAGAAgAAAAhAEkSrPeMAQAAeAYAABMAAAAAAAAAAAAAAAAAAAAAAFtDb250ZW50X1R5cGVzXS54bWxQSwECLQAUAAYACAAAACEAUHxOwfYAAABMAgAACwAAAAAAAAAAAAAAAADFAwAAX3JlbHMvLnJlbHNQSwECLQAUAAYACAAAACEAAEGY+AkBAADMAwAAGgAAAAAAAAAAAAAAAADsBgAAeGwvX3JlbHMvd29ya2Jvb2sueG1sLnJlbHNQSwECLQAUAAYACAAAACEAr47dEN4BAAAUAwAADwAAAAAAAAAAAAAAAAA1CQAAeGwvd29ya2Jvb2sueG1sUEsBAi0AFAAGAAgAAAAhADf/yXLABwAAVXUAAA0AAAAAAAAAAAAAAAAAQAsAAHhsL3N0eWxlcy54bWxQSwECLQAUAAYACAAAACEA52V1uNYAAAC4AQAAIwAAAAAAAAAAAAAAAAArEwAAeGwvd29ya3NoZWV0cy9fcmVscy9zaGVldDEueG1sLnJlbHNQSwECLQAUAAYACAAAACEAEGp92O0EAABZEAAAGAAAAAAAAAAAAAAAAABCFAAAeGwvd29ya3NoZWV0cy9zaGVldDIueG1sUEsBAi0AFAAGAAgAAAAhAPtipW2UBgAApxsAABMAAAAAAAAAAAAAAAAAZRkAAHhsL3RoZW1lL3RoZW1lMS54bWxQSwECLQAUAAYACAAAACEAKDq83kEEAABTCgAAGAAAAAAAAAAAAAAAAAAqIAAAeGwvd29ya3NoZWV0cy9zaGVldDEueG1sUEsBAi0AFAAGAAgAAAAhADNxNm9HAQAA6gIAABQAAAAAAAAAAAAAAAAAoSQAAHhsL3NoYXJlZFN0cmluZ3MueG1sUEsBAi0AFAAGAAgAAAAhAJatP01fAgAAeQQAABsAAAAAAAAAAAAAAAAAGiYAAHhsL2RyYXdpbmdzL3ZtbERyYXdpbmcxLnZtbFBLAQItABQABgAIAAAAIQD2VKQnNQEAABICAAARAAAAAAAAAAAAAAAAALIoAABkb2NQcm9wcy9jb3JlLnhtbFBLAQItABQABgAIAAAAIQAVusqo/gAAAHUBAAAQAAAAAAAAAAAAAAAAAB4rAAB4bC9jb21tZW50czEueG1sUEsBAi0AFAAGAAgAAAAhALJgHaCNAQAAKAMAABAAAAAAAAAAAAAAAAAASiwAAGRvY1Byb3BzL2FwcC54bWxQSwECLQAUAAYACAAAACEAxDTwpcUAAACGAQAAEAAAAAAAAAAAAAAAAAANLwAAeGwvY2FsY0NoYWluLnhtbFBLBQYAAAAADwAPANwDAAAAMAAAAAAFJAAAAB9BcGxvcmlzLkJhc2UuT2JqZWN0cy5UZXh0Rm9ybWF0DAAAABJEYXRhT2JqZWN0K21QYXJlbnQVRGF0YU9iamVjdCttQ29udGFpbmVyCW1Gb250Qm9sZAttRm9udEl0YWxpYw5tRm9udFVuZGVybGluZQltRm9udFNpemUJbUZvbnROYW1lEG1Gb250RmFyRWFzdE5hbWUKbUZvbnRDb2xvcgltTW9kaWZpZWQSbUF1dG9Db2xvckRpc2FibGVkCm1BdXRvQ29sb3ICAgAAAAABAQQAAAQBAQELGkFwbG9yaXMuQmFzZS5PYmplY3RzLkNvbG9yAwAAAAEBGkFwbG9yaXMuQmFzZS5PYmplY3RzLkNvbG9yAwAAAAMAAAAKCgAAAAAAQEEGfAAAAAVBcmlhbAZ9AAAABittbi1lYQl+AAAAAQAJfwAAAAclAAAAAAEAAAARAAAABBRTeXN0ZW0uRHJhd2luZy5Db2xvcgQAAAAFgAAAABRTeXN0ZW0uRHJhd2luZy5Db2xvcgQAAAAFdmFsdWUFc3RhdGUKa25vd25Db2xvcgRuYW1lAAAAAQkHBwQAAAAAAAAAAAAAAAAAAAAKAYEAAACAAAAAAAAA//////8CAAAACgGCAAAAgAAAAP//////////AgAAAAoBgwAAAIAAAABOQSL//////wIAAAAKAYQAAACAAAAA3tzb//////8CAAAACgGFAAAAgAAAAH5pP///////AgAAAAoBhgAAAIAAAACMhHL//////wIAAAAKAYcAAACAAAAAJSHt//////8CAAAACgGIAAAAgAAAADQ7Rv//////AgAAAAoBiQAAAIAAAAB0mMP//////wIAAAAKAYoAAACAAAAAHpT3//////8CAAAACgGLAAAAgAAAAB6U9///////AgAAAAoBjAAAAIAAAAAlIe3//////wIAAAAKAY0AAACAAAAAAAAA//////8CAAAACgGOAAAAgAAAAP//////////AgAAAAoBjwAAAIAAAABOQSL//////wIAAAAKAZAAAACAAAAA3tzb//////8CAAAACgQmAAAAmAFTeXN0ZW0uQ29sbGVjdGlvbnMuR2VuZXJpYy5MaXN0YDFbW0FwbG9yaXMuQmFzZS5PYmplY3RzLkRhdGFPYmplY3QsIEFwbG9yaXMuQmFzZSwgVmVyc2lvbj00LjAuMC4xNDg2LCBDdWx0dXJlPW5ldXRyYWwsIFB1YmxpY0tleVRva2VuPTE2ZmMxM2EyMjZjMGU5NTFdXQMAAAAGX2l0ZW1zBV9zaXplCF92ZXJzaW9uBAAAIUFwbG9yaXMuQmFzZS5PYmplY3RzLkRhdGFPYmplY3RbXQMAAAAICAmRAAAADQAAABMAAAAEJwAAAJUBU3lzdGVtLkNvbGxlY3Rpb25zLkdlbmVyaWMuTGlzdGAxW1tBcGxvcmlzLkJhc2UuVUkuVmlzdWFsT2JqZWN0LCBBcGxvcmlzLkJhc2UsIFZlcnNpb249NC4wLjAuMTQ4NiwgQ3VsdHVyZT1uZXV0cmFsLCBQdWJsaWNLZXlUb2tlbj0xNmZjMTNhMjI2YzBlOTUxXV0DAAAABl9pdGVtcwVfc2l6ZQhfdmVyc2lvbgQAAB5BcGxvcmlzLkJhc2UuVUkuVmlzdWFsT2JqZWN0W10DAAAACAgJkgAAAAEAAAABAAAABSkAAACbAUFwbG9yaXMuQmFzZS5PYmplY3RzLkRhdGFPYmplY3RDb2xsZWN0aW9uYDFbW0FwbG9yaXMuQ2hhcnQuVmFsdWVMaW5lLCBBcGxvcmlzLkNoYXJ0LCBWZXJzaW9uPTQuMC4wLjE0ODY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WYWx1ZUxpbmUsIEFwbG9yaXMuQ2hhcnQsIFZlcnNpb249NC4wLjAuMTQ4NiwgQ3VsdHVyZT1uZXV0cmFsLCBQdWJsaWNLZXlUb2tlbj0xNmZjMTNhMjI2YzBlOTUxXV0DAAAAkQFTeXN0ZW0uQ29sbGVjdGlvbnMuR2VuZXJpYy5MaXN0YDFbW0FwbG9yaXMuQ2hhcnQuVmFsdWVMaW5lLCBBcGxvcmlzLkNoYXJ0LCBWZXJzaW9uPTQuMC4wLjE0ODYsIEN1bHR1cmU9bmV1dHJhbCwgUHVibGljS2V5VG9rZW49MTZmYzEzYTIyNmMwZTk1MV1d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MAAAAKCZMAAAAJlAAAAAkGAAAACQEAAAAJlQAAAAUqAAAAmwFBcGxvcmlzLkJhc2UuT2JqZWN0cy5EYXRhT2JqZWN0Q29sbGVjdGlvbmAxW1tBcGxvcmlzLkNoYXJ0LkF4aXNCcmVhaywgQXBsb3Jpcy5DaGFydCwgVmVyc2lvbj00LjAuMC4xNDg2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QXhpc0JyZWFrLCBBcGxvcmlzLkNoYXJ0LCBWZXJzaW9uPTQuMC4wLjE0ODYsIEN1bHR1cmU9bmV1dHJhbCwgUHVibGljS2V5VG9rZW49MTZmYzEzYTIyNmMwZTk1MV1dAwAAAJEBU3lzdGVtLkNvbGxlY3Rpb25zLkdlbmVyaWMuTGlzdGAxW1tBcGxvcmlzLkNoYXJ0LkF4aXNCcmVhay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mWAAAACZcAAAAJBgAAAAkBAAAACZgAAAAFK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aQAAAAMAAAAJagAAAAlrAAAACWwAAAABAAAAAAoKCW0AAAAAAAAACgAAAAAAAAAABS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kAAAADAAAACWoAAAAJawAAAAlsAAAAAQAAAAAKCgltAAAAAAAAAAoAAAAAAAAAAAUt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GAAAACQEAAAAAAAAAAAlpAAAAAwAAAAlqAAAACWsAAAAJbAAAAAEAAAAACgaZAAAAASUJbQAAAAEAAAAKAAAAAAAAAAAFLgAAAJoBQXBsb3Jpcy5CYXNlLk9iamVjdHMuRGF0YU9iamVjdENvbGxlY3Rpb25gMVtbQXBsb3Jpcy5DaGFydC5UaWNrTWFyaywgQXBsb3Jpcy5DaGFydCwgVmVyc2lvbj00LjAuMC4xNDg2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VGlja01hcmssIEFwbG9yaXMuQ2hhcnQsIFZlcnNpb249NC4wLjAuMTQ4NiwgQ3VsdHVyZT1uZXV0cmFsLCBQdWJsaWNLZXlUb2tlbj0xNmZjMTNhMjI2YzBlOTUxXV0DAAAAkAFTeXN0ZW0uQ29sbGVjdGlvbnMuR2VuZXJpYy5MaXN0YDFbW0FwbG9yaXMuQ2hhcnQuVGlja01hcmssIEFwbG9yaXMuQ2hhcnQsIFZlcnNpb249NC4wLjAuMTQ4NiwgQ3VsdHVyZT1uZXV0cmFsLCBQdWJsaWNLZXlUb2tlbj0xNmZjMTNhMjI2YzBlOTUxXV2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wAAAAoJmgAAAAmbAAAACQYAAAAJAQAAAAmcAAAABTEAAAAaQXBsb3Jpcy5CYXNlLlVJLlZpc3VhbExpbmUNAAAAC21TdGFydFBvaW50CW1FbmRQb2ludAttTGluZUZvcm1h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AAAAABwIAAAMAFVN5c3RlbS5EcmF3aW5nLlBvaW50RgQAAAAVU3lzdGVtLkRyYXdpbmcuUG9pbnRGBAAAAB9BcGxvcmlzLkJhc2UuT2JqZWN0cy5MaW5lRm9ybWF0AwAAAAgIAQEIAQEPU3lzdGVtLkludFB0cltdAQMAAAABnQAAACIAAAAE0xdCM1uaQwGeAAAAIgAAAOiymUMzW5pDCZ8AAAC4AQAA/////wEBCgmgAAAAAQAKAAcyAAAAAAEAAAAFAAAABBVTeXN0ZW0uRHJhd2luZy5Qb2ludEYEAAAAAaEAAAAiAAAA6DKbQzNbmkMBogAAACIAAAAE0xdCkE+iQwGjAAAAIgAAAEitLEOQT6JDAaQAAAAiAAAA6LKZQ5BPokMBpQAAACIAAADoMptDM9ucQwczAAAAAAEAAAAFAAAABBdBcGxvcmlzLkJhc2UuQW5jaG9yTW9kZQMAAAAFpgAAABdBcGxvcmlzLkJhc2UuQW5jaG9yTW9kZQEAAAAHdmFsdWVfXwAIAwAAAAQAAAABpwAAAKYAAAAFAAAAAagAAACmAAAAAwAAAAGpAAAApgAAAAYAAAABqgAAAKYAAAAFAAAADzQAAAAFAAAAAQAAAAABBTUAAAAVQXBsb3Jpcy5CYXNlLlVJLkxhYmVsHAAAAA9tQW5jaG9yUG9zaXRpb24LbUFuY2hvck1vZGUPbUFkZElubmVyTWFyZ2luFm1PZmZzZXREaXJlY3Rpb25BbmNob3IXbU9mZnNldE9ydGhvZ29uYWxBbmNob3ILbVRleHRGb3JtYXQJbVJvdGF0aW9uCm1CYWNrQ29sb3INbVVzZUJhY2tDb2xvcg5tVXNlQmFja2dyb3VuZA5tTGluZUFsaWdubWVudAltVGV4dFNpemUPbUxhYmVsUmVjdGFuZ2xlFW1Jbm5lck1hcmdpbkxlZnRSaWdodAVtVGV4dAptVmFyaWFibGVzDW1WYXJpYWJsZUxpc3QO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AAAAEAAQAAAQEBAABAwMBAAAAAAcCAAADAB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DAAAAAasAAAAiAAAA6DKbQzNbmkMBrAAAAKYAAAAEAAAAAAAAAAAAAAAACa0AAAAAAAAACa4AAAAAAAWvAAAAKkFwbG9yaXMuQmFzZS5VSS5MYWJlbCtMaW5lQWxpZ25tZW50T3B0aW9ucwEAAAAHdmFsdWVfXwAIAwAAAAAAAAABsAAAAHgAAAAAAAAAAAAAAAGxAAAAFQAAAAAAAAAAAAAAAAAAAAAAAAAAAAAABrIAAAANQ2F0ZWdvcnkgYXhpcwoJswAAAAmyAAAA5AIAAP////8AAQoJtAAAAAEACgABNgAAACYAAAAJtQAAAAYAAAAGAAAAATcAAAAnAAAACbYAAAACAAAAAgAAAAE5AAAAKQAAAAoJtwAAAAm4AAAACQcAAAAJAQAAAAm5AAAAAToAAAAqAAAACgm6AAAACbsAAAAJBwAAAAkBAAAACbwAAAAFO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EJaQAAAAMAAAAJagAAAAlrAAAACWwAAAABAAAAAAoGvQAAAAElCW0AAAAAAAAACgAAAAAAAAAABTw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BCWkAAAADAAAACWoAAAAJawAAAAlsAAAAAQAAAAAKCb0AAAAJbQAAAAAAAAAKAAAAAAAAAAAFP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QAAAAEJaQAAAAMAAAAJagAAAAlrAAAACWwAAAABAAAAAAoJmQAAAAltAAAAAQAAAAoAAAAAAAAAAAE+AAAALgAAAAoJvgAAAAm/AAAACQcAAAAJAQAAAAnAAAAAAUEAAAAxAAAAAcEAAAAiAAAABNMXQjNbmkMBwgAAACIAAAAE0xdC7PufQQnDAAAAuAEAAP////8BAQoJxAAAAAEACgAHQgAAAAABAAAABQAAAAQVU3lzdGVtLkRyYXdpbmcuUG9pbnRGBAAAAAHFAAAAIgAAAATTF0IGsmhBAcYAAAAiAAAACvAgQTNbmkMBxwAAACIAAAAK8CBB8lokQwHIAAAAIgAAAArwIEHs+59BAckAAAAiAAAACvAgQQayaEEHQwAAAAABAAAABQAAAAQXQXBsb3Jpcy5CYXNlLkFuY2hvck1vZGUDAAAAAcoAAACmAAAAAQAAAAHLAAAApgAAAAgAAAABzAAAAKYAAAACAAAAAc0AAACmAAAABgAAAAHOAAAApgAAAAcAAAAPRAAAAAUAAAABAAAAAAEBRQAAADUAAAABzwAAACIAAAAE0xdCBrJoQQHQAAAApgAAAAEAAAAAAAAAAAAAAAAJ0QAAAAAAAAAJ0gAAAAAAAdMAAACvAAAAAAAAAAHUAAAAeAAAAAAAMEEAAGBBAdUAAAAVAAAAAAAAAAAAAAAAAAAAAAAAAF662T8G1gAAAAElCgnXAAAACdYAAADkAgAA/////wABCgnYAAAAAQAKAAFGAAAAJgAAAAnZAAAACAAAAAgAAAABRwAAACcAAAAJ2gAAAAIAAAACAAAAB0gAAAAAAQAAAAQAAAAELkFwbG9yaXMuQ2hhcnQuQ29sdW1uT3JpZW50ZWRDaGFydCtVbnVzZWRTZXJpZXMCAAAABdsAAAAuQXBsb3Jpcy5DaGFydC5Db2x1bW5PcmllbnRlZENoYXJ0K1VudXNlZFNlcmllcwMAAAAIRXhjZWxSb3cDUm93C0Rlc2NyaXB0aW9uAAQCCBpBcGxvcmlzLkNoYXJ0LkRhdGEuRGF0YVJvdwIAAAACAAAAAAAAAAoKAdwAAADbAAAAAAAAAAoKAd0AAADbAAAAAAAAAAoKAd4AAADbAAAAAAAAAAoKBEkAAACXAVN5c3RlbS5Db2xsZWN0aW9ucy5HZW5lcmljLkxpc3RgMVtbQXBsb3Jpcy5DaGFydC5DaGFydERhdGFTZXJpZXMsIEFwbG9yaXMuQ2hhcnQsIFZlcnNpb249NC4wLjAuMTQ4NiwgQ3VsdHVyZT1uZXV0cmFsLCBQdWJsaWNLZXlUb2tlbj0xNmZjMTNhMjI2YzBlOTUxXV0DAAAABl9pdGVtcwVfc2l6ZQhfdmVyc2lvbgQAAB9BcGxvcmlzLkNoYXJ0LkNoYXJ0RGF0YVNlcmllc1tdAgAAAAgICd8AAAAEAAAANAEAAAFKAAAAJgAAAAngAAAABAAAAIgAAAABSwAAACcAAAAJ4QAAAAAAAAAAAAAABEwAAACcAVN5c3RlbS5Db2xsZWN0aW9ucy5HZW5lcmljLkxpc3RgMVtbQXBsb3Jpcy5DaGFydC5Bbm5vdGF0aW9uRGF0YVNlcmllcywgQXBsb3Jpcy5DaGFydCwgVmVyc2lvbj00LjAuMC4xNDg2LCBDdWx0dXJlPW5ldXRyYWwsIFB1YmxpY0tleVRva2VuPTE2ZmMxM2EyMjZjMGU5NTFdXQMAAAAGX2l0ZW1zBV9zaXplCF92ZXJzaW9uBAAAJEFwbG9yaXMuQ2hhcnQuQW5ub3RhdGlvbkRhdGFTZXJpZXNbXQIAAAAICAniAAAAAAAAAAAAAAABTQAAACYAAAAJ4wAAAAAAAAAAAAAAAU4AAAAnAAAACeEAAAAAAAAAAAAAAARPAAAAlwFTeXN0ZW0uQ29sbGVjdGlvbnMuR2VuZXJpYy5MaXN0YDFbW0FwbG9yaXMuQ2hhcnQuQW5ub3RhdGlvbkdyb3VwLCBBcGxvcmlzLkNoYXJ0LCBWZXJzaW9uPTQuMC4wLjE0ODYsIEN1bHR1cmU9bmV1dHJhbCwgUHVibGljS2V5VG9rZW49MTZmYzEzYTIyNmMwZTk1MV1dAwAAAAZfaXRlbXMFX3NpemUIX3ZlcnNpb24EAAAfQXBsb3Jpcy5DaGFydC5Bbm5vdGF0aW9uR3JvdXBbXQIAAAAICAnkAAAAAAAAAAAAAAABUAAAACYAAAAJ4wAAAAAAAAAAAAAAAVEAAAAnAAAACeEAAAAAAAAAAAAAAARSAAAAlgFTeXN0ZW0uQ29sbGVjdGlvbnMuR2VuZXJpYy5MaXN0YDFbW0FwbG9yaXMuQ2hhcnQuQ2hhcnREYXRhR3JvdXAsIEFwbG9yaXMuQ2hhcnQsIFZlcnNpb249NC4wLjAuMTQ4NiwgQ3VsdHVyZT1uZXV0cmFsLCBQdWJsaWNLZXlUb2tlbj0xNmZjMTNhMjI2YzBlOTUxXV0DAAAABl9pdGVtcwVfc2l6ZQhfdmVyc2lvbgQAAB5BcGxvcmlzLkNoYXJ0LkNoYXJ0RGF0YUdyb3VwW10CAAAACAgJ5QAAAAIAAAAuAAAAAVMAAAAmAAAACeYAAAACAAAAFgAAAAFUAAAAJwAAAAnhAAAAAAAAAAAAAAAEVQAAAJABU3lzdGVtLkNvbGxlY3Rpb25zLkdlbmVyaWMuTGlzdGAxW1tBcGxvcmlzLkNoYXJ0LkRlbHRhQmFyLCBBcGxvcmlzLkNoYXJ0LCBWZXJzaW9uPTQuMC4wLjE0ODYsIEN1bHR1cmU9bmV1dHJhbCwgUHVibGljS2V5VG9rZW49MTZmYzEzYTIyNmMwZTk1MV1dAwAAAAZfaXRlbXMFX3NpemUIX3ZlcnNpb24EAAAYQXBsb3Jpcy5DaGFydC5EZWx0YUJhcltdAgAAAAgICecAAAAAAAAAAAAAAAFWAAAAJgAAAAnjAAAAAAAAAAAAAAABVwAAACcAAAAJ4QAAAAAAAAAAAAAABFgAAACTAVN5c3RlbS5Db2xsZWN0aW9ucy5HZW5lcmljLkxpc3RgMVtbQXBsb3Jpcy5DaGFydC5EZWx0YUJyaWRnZSwgQXBsb3Jpcy5DaGFydCwgVmVyc2lvbj00LjAuMC4xNDg2LCBDdWx0dXJlPW5ldXRyYWwsIFB1YmxpY0tleVRva2VuPTE2ZmMxM2EyMjZjMGU5NTFdXQMAAAAGX2l0ZW1zBV9zaXplCF92ZXJzaW9uBAAAG0FwbG9yaXMuQ2hhcnQuRGVsdGFCcmlkZ2VbXQIAAAAICAnoAAAAAAAAAAAAAAABWQAAACYAAAAJ4wAAAAAAAAAAAAAAAVoAAAAnAAAACeEAAAAAAAAAAAAAAARbAAAAkwFTeXN0ZW0uQ29sbGVjdGlvbnMuR2VuZXJpYy5MaXN0YDFbW0FwbG9yaXMuQ2hhcnQuR3Jvd3RoQXJyb3csIEFwbG9yaXMuQ2hhcnQsIFZlcnNpb249NC4wLjAuMTQ4NiwgQ3VsdHVyZT1uZXV0cmFsLCBQdWJsaWNLZXlUb2tlbj0xNmZjMTNhMjI2YzBlOTUxXV0DAAAABl9pdGVtcwVfc2l6ZQhfdmVyc2lvbgQAABtBcGxvcmlzLkNoYXJ0Lkdyb3d0aEFycm93W10CAAAACAgJ6QAAAAAAAAAAAAAAAVwAAAAmAAAACeMAAAAAAAAAAAAAAAFdAAAAJwAAAAnhAAAAAAAAAAAAAAAEXgAAAJoBU3lzdGVtLkNvbGxlY3Rpb25zLkdlbmVyaWMuTGlzdGAxW1tBcGxvcmlzLkNoYXJ0LldhdGVyZmFsbENvbm5lY3RvciwgQXBsb3Jpcy5DaGFydCwgVmVyc2lvbj00LjAuMC4xNDg2LCBDdWx0dXJlPW5ldXRyYWwsIFB1YmxpY0tleVRva2VuPTE2ZmMxM2EyMjZjMGU5NTFdXQMAAAAGX2l0ZW1zBV9zaXplCF92ZXJzaW9uBAAAIkFwbG9yaXMuQ2hhcnQuV2F0ZXJmYWxsQ29ubmVjdG9yW10CAAAACAgJ6gAAAAAAAAAAAAAAAV8AAAAmAAAACeMAAAAAAAAAAAAAAAFgAAAAJwAAAAnhAAAAAAAAAAAAAAAEYQAAAJgBU3lzdGVtLkNvbGxlY3Rpb25zLkdlbmVyaWMuTGlzdGAxW1tBcGxvcmlzLkNoYXJ0LkVsZW1lbnRDb25uZWN0b3IsIEFwbG9yaXMuQ2hhcnQsIFZlcnNpb249NC4wLjAuMTQ4NiwgQ3VsdHVyZT1uZXV0cmFsLCBQdWJsaWNLZXlUb2tlbj0xNmZjMTNhMjI2YzBlOTUxXV0DAAAABl9pdGVtcwVfc2l6ZQhfdmVyc2lvbgQAACBBcGxvcmlzLkNoYXJ0LkVsZW1lbnRDb25uZWN0b3JbXQIAAAAICAnrAAAAAAAAAAAAAAABYgAAACYAAAAJ4wAAAAAAAAAAAAAAAWMAAAAnAAAACeEAAAAAAAAAAAAAAAVkAAAArQFBcGxvcmlzLkJhc2UuT2JqZWN0cy5EYXRhT2JqZWN0Q29sbGVjdGlvbmAxW1tBcGxvcmlzLkNoYXJ0LkNvbHVtbk9yaWVudGVkTGVnZW5kRWxlbWVudCwgQXBsb3Jpcy5DaGFydCwgVmVyc2lvbj00LjAuMC4xNDg2LCBDdWx0dXJlPW5ldXRyYWwsIFB1YmxpY0tleVRva2VuPTE2ZmMxM2EyMjZjMGU5NTFdXQYAAAALbUNvbGxlY3Rpb24FbUxpc3QYRGF0YU9iamVjdCttQ2hpbGRPYmplY3RzEkRhdGFPYmplY3QrbVBhcmVudBVEYXRhT2JqZWN0K21Db250YWluZXIZRGF0YU9iamVjdCttVmlzdWFsT2JqZWN0cwQDAwQEA6sBQXBsb3Jpcy5CYXNlLk9iamVjdHMuU29ydGFibGVDb2xsZWN0aW9uYDFbW0FwbG9yaXMuQ2hhcnQuQ29sdW1uT3JpZW50ZWRMZWdlbmRFbGVtZW50LCBBcGxvcmlzLkNoYXJ0LCBWZXJzaW9uPTQuMC4wLjE0ODYsIEN1bHR1cmU9bmV1dHJhbCwgUHVibGljS2V5VG9rZW49MTZmYzEzYTIyNmMwZTk1MV1dAwAAAKMBU3lzdGVtLkNvbGxlY3Rpb25zLkdlbmVyaWMuTGlzdGAxW1tBcGxvcmlzLkNoYXJ0LkNvbHVtbk9yaWVudGVkTGVnZW5k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nsAAAACe0AAAAJFAAAAAkBAAAACe4AAAABZgAAAB0AAAAB7wAAACIAAABOF8VBFl2mQwHwAAAAIgAAAC66fUOKLrJDCfEAAAAJ8gAAAAAAAAAKAfMAAAB4AAAAAAAAAAAAAAAB9AAAAHgAAAAAAAAAAAAAAAAAAAAB9QAAABUAAAAAAAAAAAAAAAAAAAAAAAAApAEAAP////8BAQoJ9gAAAAEACgABZwAAACYAAAAJ9wAAAAEAAAABAAAAAWgAAAAnAAAACfgAAAABAAAAAQAAAA9yAAAABAAAAAsAAIA/AACAPwAAgD8AAIA/D3MAAAAAAAAACAV2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AAACfkAAAAJ+gAAAAEAAAD+////AQAAAAEAAAABAAAAAQAAAAEAAAABAAAAAAABBXc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wAAAAn8AAAAAQAAAAAAAAAAAAAAAAAAAAABBXsAAAAfQXBsb3Jpcy5CYXNlLk9iamVjdHMuUGVyc0lkRGF0YQIAAAADbUlkC21DdXN0b21EYXRhBwIIAwAAAAn9AAAACgV+AAAAGkFwbG9yaXMuQmFzZS5PYmplY3RzLkNvbG9yBwAAABJEYXRhT2JqZWN0K21QYXJlbnQVRGF0YU9iamVjdCttQ29udGFpbmVyBW1UeXBlBG1SR0IQbVRoZW1lQ29sb3JJbmRleAxtQXV0b1VwZGF0ZWQJbU1vZGlmaWVkAgIAAAAAAAgICAEBAwAAAAoKAAAAAAAAAAANAAAAAAEBfwAAAH4AAAAKCgEAAAAAAAAA/////wABB5EAAAAAAQAAABAAAAAEH0FwbG9yaXMuQmFzZS5PYmplY3RzLkRhdGFPYmplY3QDAAAACQkAAAAJCgAAAAkLAAAACQwAAAAJEAAAAAkRAAAACQ0AAAAJDgAAAAkPAAAACQcAAAAJBgAAAAkYAAAACRQAAAANAweSAAAAAAEAAAAEAAAABBxBcGxvcmlzLkJhc2UuVUkuVmlzdWFsT2JqZWN0AwAAAAkdAAAADQMEkwAAAJEBU3lzdGVtLkNvbGxlY3Rpb25zLkdlbmVyaWMuTGlzdGAxW1tBcGxvcmlzLkNoYXJ0LlZhbHVlTGluZSwgQXBsb3Jpcy5DaGFydCwgVmVyc2lvbj00LjAuMC4xNDg2LCBDdWx0dXJlPW5ldXRyYWwsIFB1YmxpY0tleVRva2VuPTE2ZmMxM2EyMjZjMGU5NTFdXQMAAAAGX2l0ZW1zBV9zaXplCF92ZXJzaW9uBAAAGUFwbG9yaXMuQ2hhcnQuVmFsdWVMaW5lW10CAAAACAgJ/gAAAAAAAAAAAAAAAZQAAAAmAAAACeMAAAAAAAAAAAAAAAGVAAAAJwAAAAnhAAAAAAAAAAAAAAAElgAAAJEBU3lzdGVtLkNvbGxlY3Rpb25zLkdlbmVyaWMuTGlzdGAxW1tBcGxvcmlzLkNoYXJ0LkF4aXNCcmVhaywgQXBsb3Jpcy5DaGFydCwgVmVyc2lvbj00LjAuMC4xNDg2LCBDdWx0dXJlPW5ldXRyYWwsIFB1YmxpY0tleVRva2VuPTE2ZmMxM2EyMjZjMGU5NTFdXQMAAAAGX2l0ZW1zBV9zaXplCF92ZXJzaW9uBAAAGUFwbG9yaXMuQ2hhcnQuQXhpc0JyZWFrW10CAAAACAgJ/wAAAAAAAAAAAAAAAZcAAAAmAAAACeMAAAAAAAAAAAAAAAGYAAAAJwAAAAnhAAAAAAAAAAAAAAAEmgAAAJABU3lzdGVtLkNvbGxlY3Rpb25zLkdlbmVyaWMuTGlzdGAxW1tBcGxvcmlzLkNoYXJ0LlRpY2tNYXJrLCBBcGxvcmlzLkNoYXJ0LCBWZXJzaW9uPTQuMC4wLjE0ODYsIEN1bHR1cmU9bmV1dHJhbCwgUHVibGljS2V5VG9rZW49MTZmYzEzYTIyNmMwZTk1MV1dAwAAAAZfaXRlbXMFX3NpemUIX3ZlcnNpb24EAAAYQXBsb3Jpcy5DaGFydC5UaWNrTWFya1tdAgAAAAgICQABAAAAAAAAAAAAAAGbAAAAJgAAAAnjAAAAAAAAAAAAAAABnAAAACcAAAAJ4QAAAAAAAAAAAAAAAZ8AAAB2AAAACgoAAABAPwkBAQAACQIBAAABAAAA/v///wAAAAABAAAAAAAAAAAAAAABAAAAAAAAAAAAAAGgAAAAewAAAAkDAQAACgWt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GAAAACgAAAAAAQEEJfAAAAAl9AAAACQQBAAABAAkFAQAAAa4AAAB+AAAACgoBAAAAAAAAAP////8AAQSzAAAAlgFTeXN0ZW0uQ29sbGVjdGlvbnMuR2VuZXJpYy5MaXN0YDFbW0FwbG9yaXMuQmFzZS5PYmplY3RzLlZhcmlhYmxlLCBBcGxvcmlzLkJhc2UsIFZlcnNpb249NC4wLjAuMTQ4NiwgQ3VsdHVyZT1uZXV0cmFsLCBQdWJsaWNLZXlUb2tlbj0xNmZjMTNhMjI2YzBlOTUxXV0DAAAABl9pdGVtcwVfc2l6ZQhfdmVyc2lvbgQAAB9BcGxvcmlzLkJhc2UuT2JqZWN0cy5WYXJpYWJsZVtdAwAAAAgICQYBAAAAAAAAAAAAAAG0AAAAewAAAAkHAQAACge1AAAAAAEAAAAIAAAABB9BcGxvcmlzLkJhc2UuT2JqZWN0cy5EYXRhT2JqZWN0AwAAAAkrAAAACSwAAAAJLQAAAAkuAAAACSkAAAAJKgAAAAoKB7YAAAAAAQAAAAQAAAAEHEFwbG9yaXMuQmFzZS5VSS5WaXN1YWxPYmplY3QDAAAACTEAAAAJNQAAAAoKAbcAAACTAAAACf4AAAAAAAAAAAAAAAG4AAAAJgAAAAnjAAAAAAAAAAAAAAABuQAAACcAAAAJ4QAAAAAAAAAAAAAAAboAAACWAAAACf8AAAAAAAAAAAAAAAG7AAAAJgAAAAnjAAAAAAAAAAAAAAABvAAAACcAAAAJ4QAAAAAAAAAAAAAAAb4AAACaAAAACQgBAAAFAAAAawAAAAG/AAAAJgAAAAkJAQAABQAAAGsAAAABwAAAACcAAAAJ4QAAAAAAAAAAAAAAAcMAAAB2AAAACgoAAABAPwkKAQAACQsBAAABAAAA/v///wAAAAABAAAAAAAAAAAAAAABAAAAAAAAAAAAAAHEAAAAewAAAAkMAQAACgXR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CVBcGxvcmlzLkNoYXJ0LkNvbHVtbk9yaWVudGVkQ2hhcnRBeGlzAgAAAAEBAQsaQXBsb3Jpcy5CYXNlLk9iamVjdHMuQ29sb3IDAAAAAQEaQXBsb3Jpcy5CYXNlLk9iamVjdHMuQ29sb3IDAAAAAwAAAAkHAAAACgAAAAAAQEEJfAAAAAl9AAAACQ0BAAABAAkOAQAAAdIAAAB+AAAACgoAAAAA////AA4AAAAAAQHXAAAAswAAAAkGAQAAAAAAAAEAAAAB2AAAAHsAAAAJDwEAAAoH2QAAAAABAAAACAAAAAQfQXBsb3Jpcy5CYXNlLk9iamVjdHMuRGF0YU9iamVjdAMAAAAJOwAAAAk8AAAACT0AAAAJPgAAAAk5AAAACToAAAAJEAEAAAkRAQAAB9oAAAAAAQAAAAQAAAAEHEFwbG9yaXMuQmFzZS5VSS5WaXN1YWxPYmplY3QDAAAACUEAAAAJRQAAAAoKB98AAAAAAQAAACAAAAAEHUFwbG9yaXMuQ2hhcnQuQ2hhcnREYXRhU2VyaWVzAgAAAAkSAQAACRMBAAAJFAEAAAkVAQAADRwH4AAAAAABAAAAIAAAAAQfQXBsb3Jpcy5CYXNlLk9iamVjdHMuRGF0YU9iamVjdAMAAAAJEgEAAAkUAQAACRMBAAAJFQEAAA0cB+EAAAAAAQAAAAAAAAAEHEFwbG9yaXMuQmFzZS5VSS5WaXN1YWxPYmplY3QDAAAAB+IAAAAAAQAAAAAAAAAEIkFwbG9yaXMuQ2hhcnQuQW5ub3RhdGlvbkRhdGFTZXJpZXMCAAAAB+MAAAAAAQAAAAAAAAAEH0FwbG9yaXMuQmFzZS5PYmplY3RzLkRhdGFPYmplY3QDAAAAB+QAAAAAAQAAAAAAAAAEHUFwbG9yaXMuQ2hhcnQuQW5ub3RhdGlvbkdyb3VwAgAAAAflAAAAAAEAAAAQAAAABBxBcGxvcmlzLkNoYXJ0LkNoYXJ0RGF0YUdyb3VwAgAAAAkWAQAACRcBAAANDgfmAAAAAAEAAAAQAAAABB9BcGxvcmlzLkJhc2UuT2JqZWN0cy5EYXRhT2JqZWN0AwAAAAkXAQAACRYBAAANDgfnAAAAAAEAAAAAAAAABBZBcGxvcmlzLkNoYXJ0LkRlbHRhQmFyAgAAAAfoAAAAAAEAAAAAAAAABBlBcGxvcmlzLkNoYXJ0LkRlbHRhQnJpZGdlAgAAAAfpAAAAAAEAAAAAAAAABBlBcGxvcmlzLkNoYXJ0Lkdyb3d0aEFycm93AgAAAAfqAAAAAAEAAAAAAAAABCBBcGxvcmlzLkNoYXJ0LldhdGVyZmFsbENvbm5lY3RvcgIAAAAH6wAAAAABAAAAAAAAAAQeQXBsb3Jpcy5DaGFydC5FbGVtZW50Q29ubmVjdG9yAgAAAATsAAAAowFTeXN0ZW0uQ29sbGVjdGlvbnMuR2VuZXJpYy5MaXN0YDFbW0FwbG9yaXMuQ2hhcnQuQ29sdW1uT3JpZW50ZWRMZWdlbmRFbGVtZW50LCBBcGxvcmlzLkNoYXJ0LCBWZXJzaW9uPTQuMC4wLjE0ODYsIEN1bHR1cmU9bmV1dHJhbCwgUHVibGljS2V5VG9rZW49MTZmYzEzYTIyNmMwZTk1MV1dAwAAAAZfaXRlbXMFX3NpemUIX3ZlcnNpb24EAAArQXBsb3Jpcy5DaGFydC5Db2x1bW5PcmllbnRlZExlZ2VuZEVsZW1lbnRbXQIAAAAICAkYAQAABAAAABsAAAAB7QAAACYAAAAJGQEAAAQAAAAEAAAAAe4AAAAnAAAACRoBAAAAAAAAAAAAAAHxAAAAdgAAAAoKAAAAAAAJGwEAAAkcAQAAAQAAAP7///8BAAAAAQAAAAEAAAABAAAAAQAAAAEAAAAAAAEB8gAAAHcAAAAKCgkdAQAACR4BAAABAAAAAAAAAAAAAAAAAAAAAAEB9gAAAHsAAAAJHwEAAAoH9wAAAAABAAAABAAAAAQfQXBsb3Jpcy5CYXNlLk9iamVjdHMuRGF0YU9iamVjdAMAAAAJZAAAAA0DB/gAAAAAAQAAAAQAAAAEHEFwbG9yaXMuQmFzZS5VSS5WaXN1YWxPYmplY3QDAAAACWYAAAANAwH5AAAAfgAAAAoKAAAAAAAAAAANAAAAAAEB+gAAAH4AAAAKCgEAAAAAAAAA/////wABAfsAAAB+AAAACgoBAAAA////AP////8AAQH8AAAAfgAAAAoKAQAAAAAAAAD/////AAEP/QAAAAEAAAAIAAAAAAf+AAAAAAEAAAAAAAAABBdBcGxvcmlzLkNoYXJ0LlZhbHVlTGluZQIAAAAH/wAAAAABAAAAAAAAAAQXQXBsb3Jpcy5DaGFydC5BeGlzQnJlYWsCAAAABwABAAAAAQAAAAAAAAAEFkFwbG9yaXMuQ2hhcnQuVGlja01hcmsCAAAABQEBAAAaQXBsb3Jpcy5CYXNlLk9iamVjdHMuQ29sb3IHAAAAEkRhdGFPYmplY3QrbVBhcmVudBVEYXRhT2JqZWN0K21Db250YWluZXIFbVR5cGUEbVJHQhBtVGhlbWVDb2xvckluZGV4DG1BdXRvVXBkYXRlZAltTW9kaWZpZWQEAgAAAAAAH0FwbG9yaXMuQmFzZS5PYmplY3RzLkxpbmVGb3JtYXQDAAAACAgIAQEDAAAACZ8AAAAKAAAAAAAAAAANAAAAAAAFAgEAABpBcGxvcmlzLkJhc2UuT2JqZWN0cy5Db2xvcgcAAAASRGF0YU9iamVjdCttUGFyZW50FURhdGFPYmplY3QrbUNvbnRhaW5lcgVtVHlwZQRtUkdCEG1UaGVtZUNvbG9ySW5kZXgMbUF1dG9VcGRhdGVkCW1Nb2RpZmllZAQCAAAAAAAfQXBsb3Jpcy5CYXNlLk9iamVjdHMuTGluZUZvcm1hdAMAAAAICAgBAQMAAAAJnwAAAAoBAAAAAAAAAP////8AAQ8DAQAAAQAAAAg1AQAAAQQBAAB+AAAACgoAAAAAAAAAAA0AAAAAAQEFAQAAfgAAAAoKAQAAAAAAAAD/////AAEHBgEAAAABAAAAAAAAAAQdQXBsb3Jpcy5CYXNlLk9iamVjdHMuVmFyaWFibGUDAAAADwcBAAABAAAACAAAAAAHCAEAAAABAAAAIAAAAAQWQXBsb3Jpcy5DaGFydC5UaWNrTWFyawIAAAAJIAEAAAkhAQAACSIBAAAJIwEAAAkkAQAADRsHCQEAAAABAAAAIAAAAAQfQXBsb3Jpcy5CYXNlLk9iamVjdHMuRGF0YU9iamVjdAMAAAAJIAEAAAkhAQAACSIBAAAJIwEAAAkkAQAADRsFCgEAABpBcGxvcmlzLkJhc2UuT2JqZWN0cy5Db2xvcgcAAAASRGF0YU9iamVjdCttUGFyZW50FURhdGFPYmplY3QrbUNvbnRhaW5lcgVtVHlwZQRtUkdCEG1UaGVtZUNvbG9ySW5kZXgMbUF1dG9VcGRhdGVkCW1Nb2RpZmllZAQCAAAAAAAfQXBsb3Jpcy5CYXNlLk9iamVjdHMuTGluZUZvcm1hdAMAAAAICAgBAQMAAAAJwwAAAAoAAAAAAAAAAA0AAAAAAAULAQAAGkFwbG9yaXMuQmFzZS5PYmplY3RzLkNvbG9yBwAAABJEYXRhT2JqZWN0K21QYXJlbnQVRGF0YU9iamVjdCttQ29udGFpbmVyBW1UeXBlBG1SR0IQbVRoZW1lQ29sb3JJbmRleAxtQXV0b1VwZGF0ZWQJbU1vZGlmaWVkBAIAAAAAAB9BcGxvcmlzLkJhc2UuT2JqZWN0cy5MaW5lRm9ybWF0AwAAAAgICAEBAwAAAAnDAAAACgEAAAAAAAAA/////wABDwwBAAABAAAACDYBAAABDQEAAH4AAAAKCgAAAAAAAAAADQAAAAABAQ4BAAB+AAAACgoBAAAAAAAAAP////8AAQ8PAQAAAQAAAAgAAAAABRAB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cAAAAJAQAAAAAAAAAACWkAAAADAAAACWoAAAAJawAAAAlsAAAAAQAAAAAKCZkAAAAJbQAAAAEAAAAKAAAAAAAAAAAFEQ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wAAAAkBAAAAAAAAAAAGJQEAAAEuAwAAAAYmAQAAASwGJwEAAAEtBigBAAABKwEAAAAACgoGKQEAAAhNL2QveXl5eQAAAAAKAAAAAAAAAAAFEgEAAB1BcGxvcmlzLkNoYXJ0LkNoYXJ0RGF0YVNlcmllcxwAAAAGbUNoYXJ0C21TZXJpZXNUeXBlCW1FeGNlbFJvdwptRXhjZWxSb3cyBW1BeGlzDW1EYXRhRWxlbWVudHMSbVNlcmllc0Rlc2NyaXB0aW9uE21TZXJpZXNEZXNjcmlwdGlvbjIKbVN0YWNrZWRPbgxtQ3VzdG9tV2lkdGgPbUN1c3RvbVBvc2l0aW9uDW1DdXN0b21aT3JkZXIJbVBvbHlsaW5lCG1Qb2x5Z29uFG1SZXN0b3JlTGFiZWxWaXNpYmxlBm1MYWJlbA9tTGFiZWxQb3NpdGlvbnMRbUxhYmVsQW5jaG9yTW9kZXMObUxhYmVsUG9zaXRpb24LbVNtb290aExpbmUObVNhbWVUeXBlSW5kZXgMbUJhclBvc2l0aW9uFm1MZWdlbmRVcGRhdGVTdXNwZW5kZWQUbVBlbmRpbmdMZWdlbmRVcGRhdGUYRGF0YU9iamVjdCttQ2hpbGRPYmplY3RzEkRhdGFPYmplY3QrbVBhcmVudBVEYXRhT2JqZWN0K21Db250YWluZXIZRGF0YU9iamVjdCttVmlzdWFsT2JqZWN0cwQEAAAEBAEBBAAAAAQEAAQEBAAAAAAAAAMEBAMhQXBsb3Jpcy5DaGFydC5Db2x1bW5PcmllbnRlZENoYXJ0AgAAABhBcGxvcmlzLkNoYXJ0LlNlcmllc1R5cGUCAAAACAglQXBsb3Jpcy5DaGFydC5Db2x1bW5PcmllbnRlZENoYXJ0QXhpcwIAAACiAUFwbG9yaXMuQmFzZS5PYmplY3RzLkRhdGFPYmplY3RDb2xsZWN0aW9uYDFbW0FwbG9yaXMuQ2hhcnQuQ2hhcnREYXRhRWxlbWVudCwgQXBsb3Jpcy5DaGFydCwgVmVyc2lvbj00LjAuMC4xNDg2LCBDdWx0dXJlPW5ldXRyYWwsIFB1YmxpY0tleVRva2VuPTE2ZmMxM2EyMjZjMGU5NTFdXQMAAAAdQXBsb3Jpcy5DaGFydC5DaGFydERhdGFTZXJpZXMCAAAACwsIHkFwbG9yaXMuQmFzZS5VSS5WaXN1YWxQb2x5bGluZQMAAAAdQXBsb3Jpcy5CYXNlLlVJLlZpc3VhbFBvbHlnb24DAAAAARxBcGxvcmlzLkNoYXJ0LkNvbm5lY3RlZExhYmVsAgAAABdTeXN0ZW0uRHJhd2luZy5Qb2ludEZbXQQAAAAZQXBsb3Jpcy5CYXNlLkFuY2hvck1vZGVbXQMAAAAIAQgI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ASoBAAATAAAAAAAAAAIAAAD/////CQcAAAAJKwEAAAYsAQAABVRvdGFsCgoAAIA+AAAAAAAAAAAKCgAJLQEAAAkuAQAACS8BAAAAAAAAAAAAAAAAAAAAAAAAAAAJMAEAAAkBAAAACQEAAAAJMQEAAAETAQAAEgEAAAkBAAAAATIBAAATAAAAAAAAAAMAAAD/////CQcAAAAJMwEAAAY0AQAACUludGVuc2l2ZQoKAACAPgAAgD4AAAAACgoACTUBAAAJNgEAAAk3AQAAAAAAAAABAAAAAQAAAAAAAAAACTgBAAAJAQAAAAkBAAAACTkBAAABFAEAABIBAAAJAQAAAAE6AQAAEwAAAAAAAAAEAAAA/////wkHAAAACTsBAAAGPAEAAAhNb2RlcmF0ZQoKAACAPgAAAD8AAAAACgoACT0BAAAJPgEAAAk/AQAAAAAAAAACAAAAAgAAAAAAAAAACUABAAAJAQAAAAkBAAAACUEBAAABFQEAABIBAAAJAQAAAAFCAQAAEwAAAAAAAAAFAAAA/////wkHAAAACUMBAAAGRAEAAAdMaW1pdGVkCgoAAIA+AABAPwAAAAAKCgAJRQEAAAlGAQAACUcBAAAAAAAAAAMAAAADAAAAAAAAAAAJSAEAAAkBAAAACQEAAAAJSQEAAAUWAQAAHEFwbG9yaXMuQ2hhcnQuQ2hhcnREYXRhR3JvdXARAAAABm1DaGFydBFtR3JvdXBEZXNjcmlwdGlvbgdtSGlkZGVuDG1Hcm91cEFuY2hvcgptQ3VzdG9tU3VtE21QbGFjZWhvbGRlcnNCZWZvcmUQbVRvdGFsTGFiZWxDb3VudAltQmFyQ291bnQTbUxhYmVsQmFyUmVmZXJlbmNlcwxtVG90YWxMYWJlbHMObUNhdGVnb3J5TGFiZWwQbUFubm90YXRpb25Hcm91cBJtTWFnbml0dWRlUHJvdmlkZXIYRGF0YU9iamVjdCttQ2hpbGRPYmplY3RzEkRhdGFPYmplY3QrbVBhcmVudBVEYXRhT2JqZWN0K21Db250YWluZXIZRGF0YU9iamVjdCttVmlzdWFsT2JqZWN0cwQCAAQCAAAABwQEBAQDBAQDIUFwbG9yaXMuQ2hhcnQuQ29sdW1uT3JpZW50ZWRDaGFydAIAAAABHkFwbG9yaXMuQ2hhcnQuQ2hhcnRHcm91cEFuY2hvcgIAAAAICAgIF0FwbG9yaXMuQmFzZS5VSS5MYWJlbFtdAwAAABVBcGxvcmlzLkJhc2UuVUkuTGFiZWwDAAAAHUFwbG9yaXMuQ2hhcnQuQW5ub3RhdGlvbkdyb3VwAgAAACBBcGxvcmlzLkNoYXJ0LklNYWduaXR1ZGVQcm92aWRlcgIAAAC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kBAAAABkoBAAAMR29hbCBTZXR0aW5nAAVLAQAAHkFwbG9yaXMuQ2hhcnQuQ2hhcnRHcm91cEFuY2hvcgEAAAAHdmFsdWVfXwAIAgAAAAAAAAAKAAAAAAQAAAAEAAAACUwBAAAJTQEAAAlOAQAACgkHAAAACU8BAAAJAQAAAAkBAAAACVABAAABFwEAABYBAAAJAQAAAAZRAQAAD0NhcmVlciBQbGFubmluZwABUgEAAEsBAAAAAAAACgAAAAAEAAAABAAAAAlMAQAACVMBAAAJVAEAAAoJBwAAAAlVAQAACQEAAAAJAQAAAAlWAQAABxgBAAAAAQAAAAQAAAAEKUFwbG9yaXMuQ2hhcnQuQ29sdW1uT3JpZW50ZWRMZWdlbmRFbGVtZW50AgAAAAlXAQAACVgBAAAJWQEAAAlaAQAABxkBAAAAAQAAAAQAAAAEH0FwbG9yaXMuQmFzZS5PYmplY3RzLkRhdGFPYmplY3QDAAAACVcBAAAJWAEAAAlZAQAACVoBAAAHGgEAAAABAAAAAAAAAAQcQXBsb3Jpcy5CYXNlLlVJLlZpc3VhbE9iamVjdAMAAAABGwEAAH4AAAAKCgAAAAAAAAAADQAAAAABARwBAAB+AAAACgoBAAAAAAAAAP////8AAQEdAQAAfgAAAAoKAQAAAP///wD/////AAEBHgEAAH4AAAAKCgEAAAAAAAAA/////wABDx8BAAABAAAACAAAAAAFIAE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CAAAACVsBAAAKCVwBAAAJBwAAAAEAAAAAAAAAAAFdAQAAIgAAAATTF0IzW5pDAV4BAAAiAAAABNMHQjNbmkMACV8BAAAJBwAAAAkBAAAACWABAAABIQEAACABAAAJYQEAAAoJYgEAAAkHAAAAAZqZmZmZmck/AWMBAAAiAAAABNMXQqyIbEMBZAEAACIAAAAE0wdCrIhsQwAJZQEAAAkHAAAACQEAAAAJZgEAAAEiAQAAIAEAAAlnAQAACgloAQAACQcAAAABmpmZmZmZ2T8BaQEAACIAAAAE0xdC8lokQwFqAQAAIgAAAATTB0LyWiRDAAlrAQAACQcAAAAJAQAAAAlsAQAAASMBAAAgAQAACW0BAAAKCW4BAAAJBwAAAAEzMzMzMzPjPwFvAQAAIgAAAATTF0JvWrhCAXABAAAiAAAABNMHQm9auEIACXEBAAAJBwAAAAkBAAAACXIBAAABJAEAACABAAAJcwEAAAoJdAEAAAkHAAAAAZqZmZmZmek/AXUBAAAiAAAABNMXQuz7n0EBdgEAACIAAAAE0wdC7PufQQAJdwEAAAkHAAAACQEAAAAJeAEAAAUrAQAAogFBcGxvcmlzLkJhc2UuT2JqZWN0cy5EYXRhT2JqZWN0Q29sbGVjdGlvbmAxW1tBcGxvcmlzLkNoYXJ0LkNoYXJ0RGF0YUVsZW1lbnQsIEFwbG9yaXMuQ2hhcnQsIFZlcnNpb249NC4wLjAuMTQ4Ni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NoYXJ0RGF0YUVsZW1lbnQsIEFwbG9yaXMuQ2hhcnQsIFZlcnNpb249NC4wLjAuMTQ4NiwgQ3VsdHVyZT1uZXV0cmFsLCBQdWJsaWNLZXlUb2tlbj0xNmZjMTNhMjI2YzBlOTUxXV0DAAAAmAFTeXN0ZW0uQ29sbGVjdGlvbnMuR2VuZXJpYy5MaXN0YDFbW0FwbG9yaXMuQ2hhcnQuQ2hhcnREYXRhRWxlbWVudCwgQXBsb3Jpcy5DaGFydCwgVmVyc2lvbj00LjAuMC4xNDg2LCBDdWx0dXJlPW5ldXRyYWwsIFB1YmxpY0tleVRva2VuPTE2ZmMxM2EyMjZjMGU5NTFdXZgBU3lzdGVtLkNvbGxlY3Rpb25zLkdlbmVyaWMuTGlzdGAxW1tBcGxvcmlzLkJhc2UuT2JqZWN0cy5EYXRhT2JqZWN0LCBBcGxvcmlzLkJhc2UsIFZlcnNpb249NC4wLjAuMTQ4Ni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wLjAuMTQ4NiwgQ3VsdHVyZT1uZXV0cmFsLCBQdWJsaWNLZXlUb2tlbj0xNmZjMTNhMjI2YzBlOTUxXV0DAAAACgl5AQAACXoBAAAJEgEAAAkBAAAACXsBAAAFLQEAABxBcGxvcmlzLkNoYXJ0LkNvbm5lY3RlZExhYmVsJAAAAA5tQ29ubmVjdG9yTGluZRBtWk9yZGVyQ29ubmVjdG9yDm1Db25uZWN0b3JNb2RlGW1BbmdsZWRDb25uZWN0b3JEaXJlY3Rpb24QbUNvbm5lY3RvclRhcmdldBltQ29ubmVjdG9yVGFyZ2V0QXJlYVNoYXBlGm1Db25uZWN0b3JEaXNwbGF5VGhyZXNob2xkE21Db25uZWN0QW5jaG9yUG9pbnQVTGFiZWwrbUFuY2hvclBvc2l0aW9uEUxhYmVsK21BbmNob3JNb2RlFUxhYmVsK21BZGRJbm5lck1hcmdpbhxMYWJlbCttT2Zmc2V0RGlyZWN0aW9uQW5jaG9yHUxhYmVsK21PZmZzZXRPcnRob2dvbmFsQW5jaG9yEUxhYmVsK21UZXh0Rm9ybWF0D0xhYmVsK21Sb3RhdGlvbhBMYWJlbCttQmFja0NvbG9yE0xhYmVsK21Vc2VCYWNrQ29sb3IUTGFiZWwrbVVzZUJhY2tncm91bmQUTGFiZWwrbUxpbmVBbGlnbm1lbnQPTGFiZWwrbVRleHRTaXplFUxhYmVsK21MYWJlbFJlY3RhbmdsZRtMYWJlbCttSW5uZXJNYXJnaW5MZWZ0UmlnaHQLTGFiZWwrbVRleHQQTGFiZWwrbVZhcmlhYmxlcxNMYWJlbCttVmFyaWFibGVMaXN0FExhYmVsK21DdXN0b21Db250ZW5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ABAQEBAAABAQAAAAEAAQ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qQXBsb3Jpcy5CYXNlLlVJLkxhYmVsK0xpbmVBbGlnbm1lbnRPcHRpb25zAwAAABRTeXN0ZW0uRHJhd2luZy5TaXplRgQAAAAZU3lzdGVtLkRyYXdpbmcuUmVjdGFuZ2xlRgQAAAALoAFTeXN0ZW0uQ29sbGVjdGlvbnMuT2JqZWN0TW9kZWwuQ29sbGVjdGlvbmAxW1tBcGxvcmlzLkJhc2UuT2JqZWN0cy5WYXJpYWJsZSwgQXBsb3Jpcy5CYXNlLCBWZXJzaW9uPTQuMC4wLjE0ODYsIEN1bHR1cmU9bmV1dHJhbCwgUHVibGljS2V5VG9rZW49MTZmYzEzYTIyNmMwZTk1MV1dlgFTeXN0ZW0uQ29sbGVjdGlvbnMuR2VuZXJpYy5MaXN0YDFbW0FwbG9yaXMuQmFzZS5PYmplY3RzLlZhcmlhYmxlLCBBcGxvcmlzLkJhc2UsIFZlcnNpb249NC4wLjAuMTQ4NiwgQ3VsdHVyZT1uZXV0cmFsLCBQdWJsaWNLZXlUb2tlbj0xNmZjMTNhMjI2YzBlOTUxXV0ICAEBCAEBD1N5c3RlbS5JbnRQdHJbXQECAAAAClgCAAAFfAEAACtBcGxvcmlzLkNoYXJ0LkNvbm5lY3RlZExhYmVsK2VDb25uZWN0b3JNb2RlAQAAAAd2YWx1ZV9fAAgCAAAAAQAAAAV9AQAANkFwbG9yaXMuQ2hhcnQuQ29ubmVjdGVkTGFiZWwrZUFuZ2xlZENvbm5lY3RvckRpcmVjdGlvbgEAAAAHdmFsdWVfXwAIAgAAAAAAAAABfgEAABUAAACJdjhDN2HoQhBMukHKhT1DBX8BAAAtQXBsb3Jpcy5DaGFydC5Db25uZWN0ZWRMYWJlbCtlVGFyZ2V0QXJlYVNoYXBlAQAAAAd2YWx1ZV9fAAgCAAAAAAAAAAAAEEEBAYABAAAiAAAASM6XQ4HzUkMBgQEAAKYAAAAEAAAAAAAAAAAAAAAACYIBAAAAAAAACYMBAAAAAAGEAQAArwAAAAAAAAABhQEAAHgAAAAAAOBBAABgQQGGAQAAFQAAAAAAAAAAAAAAAAAAAAAAAABeutk/CSwBAAAKCYcBAAAGiAEAAAAgAwAA/////wABCgmJAQAAAQAKAAcuAQAAAAEAAAACAAAABBVTeXN0ZW0uRHJhd2luZy5Qb2ludEYEAAAAAYoBAAAiAAAASM6XQ4HzUkMBiwEAACIAAAAE0wNCHRA4QwcvAQAAAAEAAAACAAAABBdBcGxvcmlzLkJhc2UuQW5jaG9yTW9kZQMAAAABjAEAAKYAAAAEAAAAAY0BAACmAAAAAgAAAAEwAQAAJgAAAAmOAQAAAQAAAAEAAAABMQEAACcAAAAJjwEAAAEAAAADAAAAATMBAAArAQAACgmQAQAACZEBAAAJEwEAAAkBAAAACZIBAAABNQEAAC0BAAAKWAIAAAGTAQAAfAEAAAEAAAABlAEAAH0BAAAAAAAAAZUBAAAVAAAAC8BVQ6mdsUIQTLpBkudYQwGWAQAAfwEAAAAAAAAAABBBAQGXAQAAIgAAAEjOl0OdQkVDAZgBAACmAAAABAAAAAAAAAAAAAAAAAmZAQAAAAAAAAmaAQAAAAABmwEAAK8AAAAAAAAAAZwBAAB4AAAAAAAAAAAAAAABnQEAABUAAAAAAAAAAAAAAAAAAAAAAAAAAAAAAAk0AQAACgmeAQAACYgBAAAgAwAA/////wABCgmfAQAAAQAKAAc2AQAAAAEAAAACAAAABBVTeXN0ZW0uRHJhd2luZy5Qb2ludEYEAAAAAaABAAAiAAAASM6XQ51CRUMBoQEAACIAAAAE0wNCaHomQwc3AQAAAAEAAAACAAAABBdBcGxvcmlzLkJhc2UuQW5jaG9yTW9kZQMAAAABogEAAKYAAAAEAAAAAaMBAACmAAAAAgAAAAE4AQAAJgAAAAmkAQAAAQAAAAEAAAABOQEAACcAAAAJpQEAAAEAAAABAAAAATsBAAArAQAACgmmAQAACacBAAAJFAEAAAkBAAAACagBAAABPQEAAC0BAAAKWAIAAAGpAQAAfAEAAAEAAAABqgEAAH0BAAAAAAAAAasBAAAVAAAAjQlzQ7IW50IITLpBDSs+QwGsAQAAfwEAAAAAAAAAABBBAQGtAQAAIgAAAEjOl0PgoFJDAa4BAACmAAAABAAAAAAAAAAAAAAAAAmvAQAAAAAAAAmwAQAAAAABsQEAAK8AAAAAAAAAAbIBAAB4AAAAAAAAAAAAAAABswEAABUAAAAAAAAAAAAAAAAAAAAAAAAAAAAAAAk8AQAACgm0AQAACYgBAAAgAwAA/////wABCgm1AQAAAQAKAAc+AQAAAAEAAAACAAAABBVTeXN0ZW0uRHJhd2luZy5Qb2ludEYEAAAAAbYBAAAiAAAASM6XQ+CgUkMBtwEAACIAAAAE0wNC4mU7Qwc/AQAAAAEAAAACAAAABBdBcGxvcmlzLkJhc2UuQW5jaG9yTW9kZQMAAAABuAEAAKYAAAAEAAAAAbkBAACmAAAAAgAAAAFAAQAAJgAAAAm6AQAAAQAAAAEAAAABQQEAACcAAAAJuwEAAAEAAAABAAAAAUMBAAArAQAACgm8AQAACb0BAAAJFQEAAAkBAAAACb4BAAABRQEAAC0BAAAKWAIAAAG/AQAAfAEAAAEAAAABwAEAAH0BAAAAAAAAAcEBAAAVAAAAiCmIQ+hkC0MATLpBflEmQwHCAQAAfwEAAAAAAAAAABBBAQHDAQAAIgAAAEjOl0OnjV5DAcQBAACmAAAABAAAAAAAAAAAAAAAAAnFAQAAAAAAAAnGAQAAAAABxwEAAK8AAAAAAAAAAcgBAAB4AAAAAAAAAAAAAAAByQEAABUAAAAAAAAAAAAAAAAAAAAAAAAAAAAAAAlEAQAACgnKAQAACYgBAAAgAwAA/////wABCgnLAQAAAQAKAAdGAQAAAAEAAAACAAAABBVTeXN0ZW0uRHJhd2luZy5Qb2ludEYEAAAAAcwBAAAiAAAASM6XQ6eNXkMBzQEAACIAAAAE0wNC8Pk5QwdHAQAAAAEAAAACAAAABBdBcGxvcmlzLkJhc2UuQW5jaG9yTW9kZQMAAAABzgEAAKYAAAAEAAAAAc8BAACmAAAAAgAAAAFIAQAAJgAAAAnQAQAAAQAAAAEAAAABSQEAACcAAAAJ0QEAAAEAAAABAAAAD0wBAAAEAAAACAAAAAABAAAAAgAAAAMAAAAHTQEAAAABAAAABAAAAAQVQXBsb3Jpcy5CYXNlLlVJLkxhYmVsAwAAAAnSAQAACdMBAAAJ1AEAAAnVAQAAAU4BAAA1AAAAAdYBAAAiAAAACqLSQjPbnEMB1wEAAKYAAAADAAAAAAAAAAAAAAAACdgBAAAAAAAACdkBAAAAAAHaAQAArwAAAAAAAAAB2wEAAHgAAAAAAHxCAABAQQHcAQAAFQAAALrolkJ00ZxDdv9wQqOLLkESg74/CUoBAAAKCd0BAAAJiAEAACADAAD/////AQEKCd4BAAABAAoAAU8BAAAmAAAACd8BAAAAAAAAAAAAAAFQAQAAJwAAAAngAQAABQAAAAkAAAAHUwEAAAABAAAABAAAAAQVQXBsb3Jpcy5CYXNlLlVJLkxhYmVsAwAAAAnhAQAACeIBAAAJ4wEAAAnkAQAAAVQBAAA1AAAAAeUBAAAiAAAAjQlwQzPbnEMB5gEAAKYAAAADAAAAAAAAAAAAAAAACecBAAAAAAAACegBAAAAAAHpAQAArwAAAAAAAAAB6gEAAHgAAAAAAKZCAABAQQHrAQAAFQAAALroSEN00ZxD0tycQqOLLkESg74/CVEBAAAKCewBAAAJiAEAACADAAD/////AQEKCe0BAAABAAoAAVUBAAAmAAAACeMAAAAAAAAAAAAAAAFWAQAAJwAAAAnuAQAABQAAAA0AAAAFVwEAAClBcGxvcmlzLkNoYXJ0LkNvbHVtbk9yaWVudGVkTGVnZW5kRWxlbWVudA0AAAAHbUxlZ2VuZAttRGF0YVNlcmllcxRMZWdlbmRFbGVtZW50K21MYWJlbBhMZWdlbmRFbGVtZW50K21SZWN0YW5nbGUTTGVnZW5kRWxlbWVudCttTGluZRVMZWdlbmRFbGVtZW50K21DaXJjbGUVTGVnZW5kRWxlbWVudCttTWFya2VyFExlZ2VuZEVsZW1lbnQrbUluZGV4HUxlZ2VuZEVsZW1lbnQrbUxhYmVsUG9zaXRpb25zGERhdGFPYmplY3QrbUNoaWxkT2JqZWN0cxJEYXRhT2JqZWN0K21QYXJlbnQVRGF0YU9iamVjdCttQ29udGFpbmVyGURhdGFPYmplY3QrbVZpc3VhbE9iamVjdHMEBAQEBAQEAAQDBAQDIkFwbG9yaXMuQ2hhcnQuQ29sdW1uT3JpZW50ZWRMZWdlbmQCAAAAHUFwbG9yaXMuQ2hhcnQuQ2hhcnREYXRhU2VyaWVzAgAAABVBcGxvcmlzLkJhc2UuVUkuTGFiZWwDAAAAGkFwbG9yaXMuQmFzZS5VSS5WaXN1YWxSZWN0AwAAABpBcGxvcmlzLkJhc2UuVUkuVmlzdWFsTGluZQMAAAAdQXBsb3Jpcy5CYXNlLlVJLlZpc3VhbEVsbGlwc2UDAAAAGkFwbG9yaXMuQ2hhcnQuVmlzdWFsTWFya2VyAgAAAAgXU3lzdGVtLkRyYXdpbmcuUG9pbnRGW10EAAAAmAFTeXN0ZW0uQ29sbGVjdGlvbnMuR2VuZXJpYy5MaXN0YDFbW0FwbG9yaXMuQmFzZS5PYmplY3RzLkRhdGFPYmplY3QsIEFwbG9yaXMuQmFzZSwgVmVyc2lvbj00LjAuMC4xNDg2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AuMC4xNDg2LCBDdWx0dXJlPW5ldXRyYWwsIFB1YmxpY0tleVRva2VuPTE2ZmMxM2EyMjZjMGU5NTFdXQIAAAAJFAAAAAkSAQAACe8BAAAJ8AEAAAoKCgAAAAAKCfEBAAAJFAAAAAkBAAAACfIBAAABWAEAAFcBAAAJFAAAAAkTAQAACfMBAAAJ9AEAAAoKCgEAAAAKCfUBAAAJFAAAAAkBAAAACfYBAAABWQEAAFcBAAAJFAAAAAkUAQAACfcBAAAJ+AEAAAoKCgIAAAAKCfkBAAAJFAAAAAkBAAAACfoBAAABWgEAAFcBAAAJFAAAAAkVAQAACfsBAAAJ/AEAAAoKCgMAAAAKCf0BAAAJFAAAAAkBAAAACf4BAAABWwEAADEAAAAB/wEAACIAAAAE0xdCM1uaQwEAAgAAIgAAAATTB0IzW5pDCQECAADMAQAA/////wEBCgkCAgAAAQAKAAFcAQAANQAAAAEDAgAAIgAAAATTAUIzW5pDAQQCAACmAAAAAgAAAAAAAAAAAAAAAAkFAgAAAAAAAAkGAgAAAAABBwIAAK8AAAAAAAAAAQgCAAB4AAAAAACAQQAAQEEBCQIAABUAAAC66IJBdNGXQ3otjEGjiy5BEoO+PwYKAgAAAjAlCgkLAgAACYgBAADQAgAA/////wEBCgkMAgAAAQAKAAFfAQAAJgAAAAnjAAAAAAAAAAAAAAABYAEAACcAAAAJDQIAAAIAAAACAAAAAWEBAAAxAAAAAQ4CAAAiAAAABNMXQqyIbEMBDwIAACIAAAAE0wdCrIhsQwkQAgAAzAEAAP////8BAQoJEQIAAAEACgABYgEAADUAAAABEgIAACIAAAAE0wFCrIhsQwETAgAApgAAAAIAAAAAAAAAAAAAAAAJFAIAAAAAAAAJFQIAAAAAARYCAACvAAAAAAAAAAEXAgAAeAAAAAAAuEEAAEBBARgCAAAVAAAAAAAgQbroZkM0Fr9Bo4suQRKDvj8GGQIAAAMyMCUKCRoCAAAJiAEAANACAAD/////AQEKCRsCAAABAAoAAWUBAAAmAAAACeMAAAAAAAAAAAAAAAFmAQAAJwAAAAkcAgAAAgAAAAIAAAABZwEAADEAAAABHQIAACIAAAAE0xdC8lokQwEeAgAAIgAAAATTB0LyWiRDCR8CAADMAQAA/////wEBCgkgAgAAAQAKAAFoAQAANQAAAAEhAgAAIgAAAATTAULyWiRDASICAACmAAAAAgAAAAAAAAAAAAAAAAkjAgAAAAAAAAkkAgAAAAABJQIAAK8AAAAAAAAAASYCAAB4AAAAAAC4QQAAQEEBJwIAABUAAAAAACBBRhcfQzQWv0Gjiy5BEoO+PwYoAgAAAzQwJQoJKQIAAAmIAQAA0AIAAP////8BAQoJKgIAAAEACgABawEAACYAAAAJ4wAAAAAAAAAAAAAAAWwBAAAnAAAACSsCAAACAAAAAgAAAAFtAQAAMQAAAAEsAgAAIgAAAATTF0JvWrhCAS0CAAAiAAAABNMHQm9auEIJLgIAAMwBAAD/////AQEKCS8CAAABAAoAAW4BAAA1AAAAATACAAAiAAAABNMBQm9auEIBMQIAAKYAAAACAAAAAAAAAAAAAAAACTICAAAAAAAACTMCAAAAAAE0AgAArwAAAAAAAAABNQIAAHgAAAAAALhBAABAQQE2AgAAFQAAAAAAIEEuuqxCNBa/QaOLLkESg74/BjcCAAADNjAlCgk4AgAACYgBAADQAgAA/////wEBCgk5AgAAAQAKAAFxAQAAJgAAAAnjAAAAAAAAAAAAAAABcgEAACcAAAAJOgIAAAIAAAACAAAAAXMBAAAxAAAAATsCAAAiAAAABNMXQuz7n0EBPAIAACIAAAAE0wdC7PufQQk9AgAAzAEAAP////8BAQoJPgIAAAEACgABdAEAADUAAAABPwIAACIAAAAE0wFC7PufQQFAAgAApgAAAAIAAAAAAAAAAAAAAAAJQQIAAAAAAAAJQgIAAAAAAUMCAACvAAAAAAAAAAFEAgAAeAAAAAAAuEEAAEBBAUUCAAAVAAAAAAAgQS66aEE0Fr9Bo4suQRKDvj8GRgIAAAM4MCUKCUcCAAAJiAEAANACAAD/////AQEKCUgCAAABAAoAAXcBAAAmAAAACUkCAAAAAAAAAAAAAAF4AQAAJwAAAAlKAgAAAgAAAAIAAAAEeQEAAJgBU3lzdGVtLkNvbGxlY3Rpb25zLkdlbmVyaWMuTGlzdGAxW1tBcGxvcmlzLkNoYXJ0LkNoYXJ0RGF0YUVsZW1lbnQsIEFwbG9yaXMuQ2hhcnQsIFZlcnNpb249NC4wLjAuMTQ4NiwgQ3VsdHVyZT1uZXV0cmFsLCBQdWJsaWNLZXlUb2tlbj0xNmZjMTNhMjI2YzBlOTUxXV0DAAAABl9pdGVtcwVfc2l6ZQhfdmVyc2lvbgQAACBBcGxvcmlzLkNoYXJ0LkNoYXJ0RGF0YUVsZW1lbnRbXQIAAAAICAlLAgAAAgAAAC4AAAABegEAACYAAAAJTAIAAAIAAAAWAAAAAXsBAAAnAAAACeEAAAAAAAAAAAAAAAWC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EgEAAAoAAAAAAEBBCXwAAAAJfQAAAAlNAgAAAQAJTgIAAAGDAQAAfgAAAAoKAAAAAP///wAOAAAAAAEBhwEAALMAAAAJTwIAAAEAAAABAAAAAYkBAAB7AAAACVACAAAKB44BAAAAAQAAAAQAAAAEH0FwbG9yaXMuQmFzZS5PYmplY3RzLkRhdGFPYmplY3QDAAAACSsBAAANAwePAQAAAAEAAAAEAAAABBxBcGxvcmlzLkJhc2UuVUkuVmlzdWFsT2JqZWN0AwAAAAktAQAADQMBkAEAAHkBAAAJUQIAAAIAAAAUAAAAAZEBAAAmAAAACVICAAACAAAAFAAAAAGSAQAAJwAAAAlTAgAAAAAAAAAAAAAFmQE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dQXBsb3Jpcy5DaGFydC5DaGFydERhdGFTZXJpZXMCAAAAAQEBCxpBcGxvcmlzLkJhc2UuT2JqZWN0cy5Db2xvcgMAAAABARpBcGxvcmlzLkJhc2UuT2JqZWN0cy5Db2xvcgMAAAADAAAACRMBAAAKAAAAAABAQQl8AAAACX0AAAAJVAIAAAEACVUCAAABmgEAAH4AAAAKCgEAAAAAAAAA/////wABAZ4BAACzAAAACVYCAAABAAAAAQAAAAGfAQAAewAAAAlXAgAACgekAQAAAAEAAAAEAAAABB9BcGxvcmlzLkJhc2UuT2JqZWN0cy5EYXRhT2JqZWN0AwAAAAkzAQAADQMHpQEAAAABAAAABAAAAAQcQXBsb3Jpcy5CYXNlLlVJLlZpc3VhbE9iamVjdAMAAAAJNQEAAA0DAaYBAAB5AQAACVgCAAACAAAAFAAAAAGnAQAAJgAAAAlZAgAAAgAAABQAAAABqAEAACcAAAAJUwIAAAAAAAAAAAAABa8B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UFwbG9yaXMuQ2hhcnQuQ2hhcnREYXRhU2VyaWVzAgAAAAEBAQsaQXBsb3Jpcy5CYXNlLk9iamVjdHMuQ29sb3IDAAAAAQEaQXBsb3Jpcy5CYXNlLk9iamVjdHMuQ29sb3IDAAAAAwAAAAkUAQAACgAAAAAAQEEJfAAAAAl9AAAACVoCAAABAAlbAgAAAbABAAB+AAAACgoBAAAAAAAAAP////8AAQG0AQAAswAAAAlcAgAAAQAAAAEAAAABtQEAAHsAAAAJXQIAAAoHugEAAAABAAAABAAAAAQfQXBsb3Jpcy5CYXNlLk9iamVjdHMuRGF0YU9iamVjdAMAAAAJOwEAAA0DB7sBAAAAAQAAAAQAAAAEHEFwbG9yaXMuQmFzZS5VSS5WaXN1YWxPYmplY3QDAAAACT0BAAANAwG8AQAAeQEAAAleAgAAAgAAAAIAAAABvQEAACYAAAAJXwIAAAIAAAACAAAAAb4BAAAnAAAACWACAAAAAAAAAAAAAAXFAQ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1BcGxvcmlzLkNoYXJ0LkNoYXJ0RGF0YVNlcmllcwIAAAABAQELGkFwbG9yaXMuQmFzZS5PYmplY3RzLkNvbG9yAwAAAAEBGkFwbG9yaXMuQmFzZS5PYmplY3RzLkNvbG9yAwAAAAMAAAAJFQEAAAoAAAAAAEBBCXwAAAAJfQAAAAlhAgAAAQAJYgIAAAHGAQAAfgAAAAoKAQAAAAAAAAD/////AAEBygEAALMAAAAJYwIAAAEAAAABAAAAAcsBAAB7AAAACWQCAAAKB9ABAAAAAQAAAAQAAAAEH0FwbG9yaXMuQmFzZS5PYmplY3RzLkRhdGFPYmplY3QDAAAACUMBAAANAwfRAQAAAAEAAAAEAAAABBxBcGxvcmlzLkJhc2UuVUkuVmlzdWFsT2JqZWN0AwAAAAlFAQAADQMB0gEAADUAAAABZQIAACIAAAAKi3VCTadhQgFmAgAApgAAAAEAAAAAAAAAAAAAAAAJZwIAAAAAAAAJaAIAAAAAAWkCAACvAAAAAAAAAAFqAgAAeAAAAAAAuEEAAEBBAWsCAAAVAAAAF11EQnTRNUI0Fr9Bo4suQRKDvj8GbAIAAAM2OSUKCW0CAAAJiAEAADQDAAD/////AQEKCW4CAAABAAoAAdMBAAA1AAAAAW8CAAAiAAAAiFi1QlPzqUEBcAIAAKYAAAABAAAAAAAAAAAAAAAACXECAAAAAAAACXICAAAAAAFzAgAArwAAAAAAAAABdAIAAHgAAAAAALhBAABAQQF1AgAAFQAAAIsunkIAACBBNBa/QaOLLkESg74/BnYCAAADNzklCgl3AgAACYgBAAA0AwAA/////wEBCgl4AgAAAQAKAAHUAQAANQAAAAF5AgAAIgAAAIzr70J0VXxCAXoCAACmAAAAAQAAAAAAAAAAAAAAAAl7AgAAAAAAAAl8AgAAAAABfQIAAK8AAAAAAAAAAX4CAAB4AAAAAAC4QQAAQEEBfwIAABUAAAAXXdhC0UVPQjQWv0Gjiy5BEoO+PwaAAgAAAzY3JQoJgQIAAAmIAQAANAMAAP////8BAQoJggIAAAEACgAB1QEAADUAAAABgwIAACIAAABIPxVD6/VwQgGEAgAApgAAAAEAAAAAAAAAAAAAAAAJhQIAAAAAAAAJhgIAAAAAAYcCAACvAAAAAAAAAAGIAgAAeAAAAAAAuEEAAEBBAYkCAAAVAAAA0UUJQxddREI0Fr9Bo4suQRKDvj8GigIAAAM2OCUKCYsCAAAJiAEAADQDAAD/////AQEKCYwCAAABAAoAAdgBAAAkAAAACgoAAAAAAChBCXwAAAAJfQAAAAmNAgAAAAAJjgIAAAHZAQAAfgAAAAoKAAAAAP///wAOAAAAAAEB3QEAALMAAAAJjwIAAAEAAAABAAAAAd4BAAB7AAAACZACAAAKB98BAAAAAQAAAAAAAAAEH0FwbG9yaXMuQmFzZS5PYmplY3RzLkRhdGFPYmplY3QDAAAAB+ABAAAAAQAAAAgAAAAEHEFwbG9yaXMuQmFzZS5VSS5WaXN1YWxPYmplY3QDAAAACU4BAAAJ0gEAAAnTAQAACdQBAAAJ1QEAAA0DAeEBAAA1AAAAAZECAAAiAAAAShtEQzdh3EIBkgIAAKYAAAABAAAAAAAAAAAAAKBACZMCAAAAAAAACZQCAAABAAGVAgAArwAAAAAAAAABlgIAAHgAAAAAALhBAABAQQGXAgAAFQAAAEYXPUOLLsZCNBa/QaOLLkESg74/BpgCAAADNTQlCgmZAgAACYgBAAA0AwAA/////wEBCgmaAgAAAQAKAAHiAQAANQAAAAGbAgAAIgAAAMxkYUOpnaVCAZwCAACmAAAAAQAAAAAAAAAAAAAAAAmdAgAAAAAAAAmeAgAAAAABnwIAAK8AAAAAAAAAAaACAAB4AAAAAAC4QQAAQEEBoQIAABUAAADoolVD6aKPQjQWv0Gjiy5BEoO+PwaiAgAAAzYyJQoJowIAAAmIAQAANAMAAP////8BAQoJpAIAAAEACgAB4wEAADUAAAABpQIAACIAAABOrn5DshbbQgGmAgAApgAAAAEAAAAAAAAAAAAAAAAJpwIAAAAAAAAJqAIAAAAAAakCAACvAAAAAAAAAAGqAgAAeAAAAAAAuEEAAEBBAasCAAAVAAAALrpyQxddxEI0Fr9Bo4suQRKDvj8GrAIAAAM1NCUKCa0CAAAJiAEAADQDAAD/////AQEKCa4CAAABAAoAAeQBAAA1AAAAAa8CAAAiAAAA6PuNQ+hkBUMBsAIAAKYAAAABAAAAAAAAAAAAAAAACbECAAAAAAAACbICAAAAAAGzAgAArwAAAAAAAAABtAIAAHgAAAAAALhBAABAQQG1AgAAFQAAALroh0NddPVCNBa/QaOLLkESg74/BrYCAAADNDglCgm3AgAACYgBAAA0AwAA/////wEBCgm4AgAAAQAKAAHnAQAAJAAAAAoKAAAAAAAoQQl8AAAACX0AAAAJuQIAAAAACboCAAAB6AEAAH4AAAAKCgAAAAD///8ADgAAAAABAewBAACzAAAACbsCAAABAAAAAQAAAAHtAQAAewAAAAm8AgAACgfuAQAAAAEAAAAIAAAABBxBcGxvcmlzLkJhc2UuVUkuVmlzdWFsT2JqZWN0AwAAAAlUAQAACeEBAAAJ4gEAAAnjAQAACeQBAAANAwHvAQAANQAAAAG9AgAAIgAAABiJMEIW3ahDAb4CAACmAAAABQAAAAAAAAAAAAAAAAm/AgAAAAAAAAnAAgAAAAABwQIAAK8AAAAAAAAAAcICAAB4AAAAAADIQQAAQEEBwwIAABUAAAC66CpC6KKoQ9ehzUGjiy5BEoO+PwksAQAACgnEAgAACYgBAACEAwAA/////wEBCgnFAgAAAQAKAAHwAQAAHQAAAAHGAgAAIgAAAE4X7UEW3ahDAccCAAAiAAAAGIkkQsScrkMJyAIAAAnJAgAAAAAAAAoBygIAAHgAAAAAAAAAAAAAAAHLAgAAeAAAAAAAAAAAAAAAAAAAAAHMAgAAFQAAAAAAAAAAAAAAAAAAAAAAAACYAwAA/////wEBCgnNAgAAAQAKAAHxAQAAJgAAAAnOAgAAAAAAAAAAAAAB8gEAACcAAAAJzwIAAAIAAAACAAAAAfMBAAA1AAAAAdACAAAiAAAAg5atQhbdqEMB0QIAAKYAAAAFAAAAAAAAAAAAAAAACdICAAAAAAAACdMCAAAAAAHUAgAArwAAAAAAAAAB1QIAAHgAAAAAADhCAABAQQHWAgAAFQAAALroqkLooqhDAi4zQqOLLkESg74/CTQBAAAKCdcCAAAJiAEAAIQDAAD/////AQEKCdgCAAABAAoAAfQBAAAdAAAAAdkCAAAiAAAAy5eQQhbdqEMB2gIAACIAAACDlqdCxJyuQwnbAgAACdwCAAAAAAAACgHdAgAAeAAAAAAAAAAAAAAAAd4CAAB4AAAAAAAAAAAAAAAAAAAAAd8CAAAVAAAAAAAAAAAAAAAAAAAAAAAAAJgDAAD/////AQEKCeACAAABAAoAAfUBAAAmAAAACc4CAAAAAAAAAAAAAAH2AQAAJwAAAAnhAgAAAgAAAAIAAAAB9wEAADUAAAAB4gIAACIAAACDixRDFt2oQwHjAgAApgAAAAUAAAAAAAAAAAAAAAAJ5AIAAAAAAAAJ5QIAAAAAAeYCAACvAAAAAAAAAAHnAgAAeAAAAAAAQEIAAEBBAegCAAAVAAAA0UUTQ+iiqEPUczpCo4suQRKDvj8JPAEAAAoJ6QIAAAmIAQAAhAMAAP////8BAQoJ6gIAAAEACgAB+AEAAB0AAAAB6wIAACIAAAAnDAZDFt2oQwHsAgAAIgAAAIOLEUPEnK5DCe0CAAAJ7gIAAAAAAAAKAe8CAAB4AAAAAAAAAAAAAAAB8AIAAHgAAAAAAAAAAAAAAAAAAAAB8QIAABUAAAAAAAAAAAAAAAAAAAAAAAAAmAMAAP////8BAQoJ8gIAAAEACgAB+QEAACYAAAAJzgIAAAAAAAAAAAAAAfoBAAAnAAAACfMCAAACAAAAAgAAAAH7AQAANQAAAAH0AgAAIgAAADkdVEMW3ahDAfUCAACmAAAABQAAAAAAAAAAAAAAAAn2AgAAAAAAAAn3AgAAAAAB+AIAAK8AAAAAAAAAAfkCAAB4AAAAAAAUQgAAQEEB+gIAABUAAAC66FJD6KKoQ9RzEkKjiy5BEoO+PwlEAQAACgn7AgAACYgBAACEAwAA/////wEBCgn8AgAAAQAKAAH8AQAAHQAAAAH9AgAAIgAAAN2dRUMW3ahDAf4CAAAiAAAAOR1RQ8ScrkMJ/wIAAAkAAwAAAAAAAAoBAQMAAHgAAAAAAAAAAAAAAAECAwAAeAAAAAAAAAAAAAAAAAAAAAEDAwAAFQAAAAAAAAAAAAAAAAAAAAAAAACYAwAA/////wEBCgkEAwAAAQAKAAH9AQAAJgAAAAnOAgAAAAAAAAAAAAAB/gEAACcAAAAJBQMAAAIAAAACAAAAAQECAAB2AAAACgoAAABAPwkGAwAACQcDAAABAAAA/v///wAAAAABAAAAAAAAAAAAAAABAAAAAAAAAAAAAAECAgAAewAAAAkIAwAACgEFAgAAJAAAAAoKAAAAAAAoQQl8AAAACX0AAAAJCQMAAAAACQoDAAABBgIAAH4AAAAKCgAAAAD///8ADgAAAAABAQsCAACzAAAACQsDAAABAAAAAQAAAAEMAgAAewAAAAkMAwAACgcNAgAAAAEAAAAEAAAABBxBcGxvcmlzLkJhc2UuVUkuVmlzdWFsT2JqZWN0AwAAAAlbAQAACVwBAAAKCgEQAgAAdgAAAAoKAAAAQD8JDQMAAAkOAwAAAQAAAP7///8AAAAAAQAAAAAAAAAAAAAAAQAAAAAAAAAAAAABEQIAAHsAAAAJDwMAAAoBFAIAACQAAAAKCgAAAAAAKEEJfAAAAAl9AAAACRADAAAAAAkRAwAAARUCAAB+AAAACgoAAAAA////AA4AAAAAAQEaAgAAswAAAAkSAwAAAQAAAAMAAAABGwIAAHsAAAAJEwMAAAoHHAIAAAABAAAABAAAAAQcQXBsb3Jpcy5CYXNlLlVJLlZpc3VhbE9iamVjdAMAAAAJYQEAAAliAQAACgoBHwIAAHYAAAAKCgAAAEA/CRQDAAAJFQMAAAEAAAD+////AAAAAAEAAAAAAAAAAAAAAAEAAAAAAAAAAAAAASACAAB7AAAACRYDAAAKASMCAAAkAAAACgoAAAAAAChBCXwAAAAJfQAAAAkXAwAAAAAJGAMAAAEkAgAAfgAAAAoKAAAAAP///wAOAAAAAAEBKQIAALMAAAAJGQMAAAEAAAADAAAAASoCAAB7AAAACRoDAAAKBysCAAAAAQAAAAQAAAAEHEFwbG9yaXMuQmFzZS5VSS5WaXN1YWxPYmplY3QDAAAACWcBAAAJaAEAAAoKAS4CAAB2AAAACgoAAABAPwkbAwAACRwDAAABAAAA/v///wAAAAABAAAAAAAAAAAAAAABAAAAAAAAAAAAAAEvAgAAewAAAAkdAwAACgEyAgAAJAAAAAoKAAAAAAAoQQl8AAAACX0AAAAJHgMAAAAACR8DAAABMwIAAH4AAAAKCgAAAAD///8ADgAAAAABATgCAACzAAAACSADAAABAAAAAwAAAAE5AgAAewAAAAkhAwAACgc6AgAAAAEAAAAEAAAABBxBcGxvcmlzLkJhc2UuVUkuVmlzdWFsT2JqZWN0AwAAAAltAQAACW4BAAAKCgE9AgAAdgAAAAoKAAAAQD8JIgMAAAkjAwAAAQAAAP7///8AAAAAAQAAAAAAAAAAAAAAAQAAAAAAAAAAAAABPgIAAHsAAAAJJAMAAAoBQQIAACQAAAAKCgAAAAAAKEEJfAAAAAl9AAAACSUDAAAAAAkmAwAAAUICAAB+AAAACgoAAAAA////AA4AAAAAAQFHAgAAswAAAAknAwAAAQAAAAMAAAABSAIAAHsAAAAJKAMAAAoHSQIAAAABAAAAAAAAAAQfQXBsb3Jpcy5CYXNlLk9iamVjdHMuRGF0YU9iamVjdAMAAAAHSgIAAAABAAAABAAAAAQcQXBsb3Jpcy5CYXNlLlVJLlZpc3VhbE9iamVjdAMAAAAJcwEAAAl0AQAACgoHSwIAAAABAAAAEAAAAAQeQXBsb3Jpcy5DaGFydC5DaGFydERhdGFFbGVtZW50AgAAAAkpAwAACSoDAAANDgdMAgAAAAEAAAAQAAAABB9BcGxvcmlzLkJhc2UuT2JqZWN0cy5EYXRhT2JqZWN0AwAAAAkqAwAACSkDAAANDgFNAgAAfgAAAAoKAAAAAAAAAAANAAAAAAEBTgIAAH4AAAAKCgEAAAAAAAAA/////wABB08CAAAAAQAAAAQAAAAEHUFwbG9yaXMuQmFzZS5PYmplY3RzLlZhcmlhYmxlAwAAAAUrAwAAHUFwbG9yaXMuQmFzZS5PYmplY3RzLlZhcmlhYmxlAgAAAAZOdW1iZXIIUG9zaXRpb24AAAgIAwAAAAEAAAAAAAAAASwDAAArAwAAAAAAAAAAAAABLQMAACsDAAAAAAAAAAAAAAEuAwAAKwMAAAAAAAAAAAAAD1ACAAABAAAACAAAAAAHUQIAAAABAAAAEAAAAAQeQXBsb3Jpcy5DaGFydC5DaGFydERhdGFFbGVtZW50AgAAAAkvAwAACTADAAANDgdSAgAAAAEAAAAQAAAABB9BcGxvcmlzLkJhc2UuT2JqZWN0cy5EYXRhT2JqZWN0AwAAAAkvAwAACTADAAANDgdTAgAAAAEAAAAAAAAABBxBcGxvcmlzLkJhc2UuVUkuVmlzdWFsT2JqZWN0AwAAAAFUAgAAfgAAAAoKAAAAAAAAAAANAAAAAAEBVQIAAH4AAAAKCgEAAAAAAAAA/////wABB1YCAAAAAQAAAAQAAAAEHUFwbG9yaXMuQmFzZS5PYmplY3RzLlZhcmlhYmxlAwAAAAExAwAAKwMAAAEAAAAAAAAAATIDAAArAwAAAAAAAAAAAAABMwMAACsDAAAAAAAAAAAAAAE0AwAAKwMAAAAAAAAAAAAAD1cCAAABAAAACAAAAAAHWAIAAAABAAAAEAAAAAQeQXBsb3Jpcy5DaGFydC5DaGFydERhdGFFbGVtZW50AgAAAAk1AwAACTYDAAANDgdZAgAAAAEAAAAQAAAABB9BcGxvcmlzLkJhc2UuT2JqZWN0cy5EYXRhT2JqZWN0AwAAAAk1AwAACTYDAAANDgFaAgAAfgAAAAoKAAAAAAAAAAANAAAAAAEBWwIAAH4AAAAKCgEAAAAAAAAA/////wABB1wCAAAAAQAAAAQAAAAEHUFwbG9yaXMuQmFzZS5PYmplY3RzLlZhcmlhYmxlAwAAAAE3AwAAKwMAAAEAAAAAAAAAATgDAAArAwAAAAAAAAAAAAABOQMAACsDAAAAAAAAAAAAAAE6AwAAKwMAAAAAAAAAAAAAD10CAAABAAAACAAAAAAHXgIAAAABAAAABAAAAAQeQXBsb3Jpcy5DaGFydC5DaGFydERhdGFFbGVtZW50AgAAAAk7AwAACTwDAAAKCgdfAgAAAAEAAAAEAAAABB9BcGxvcmlzLkJhc2UuT2JqZWN0cy5EYXRhT2JqZWN0AwAAAAk7AwAACTwDAAAKCgdgAgAAAAEAAAAAAAAABBxBcGxvcmlzLkJhc2UuVUkuVmlzdWFsT2JqZWN0AwAAAAFhAgAAfgAAAAoKAAAAAAAAAAANAAAAAAEBYgIAAH4AAAAKCgEAAAAAAAAA/////wABB2MCAAAAAQAAAAQAAAAEHUFwbG9yaXMuQmFzZS5PYmplY3RzLlZhcmlhYmxlAwAAAAE9AwAAKwMAAAEAAAAAAAAAAT4DAAArAwAAAAAAAAAAAAABPwMAACsDAAAAAAAAAAAAAAFAAwAAKwMAAAAAAAAAAAAAD2QCAAABAAAACAAAAAABZwIAACQAAAAKCgAAAAAAKEEJfAAAAAl9AAAACUEDAAAAAAlCAwAAAWgCAAB+AAAACgoAAAAA////AA4AAAAAAAFtAgAAswAAAAlDAwAAAQAAAAEAAAABbgIAAHsAAAAJRAMAAAoBcQIAACQAAAAKCgAAAAAAKEEJfAAAAAl9AAAACUUDAAAAAAlGAwAAAXICAAB+AAAACgoAAAAA////AA4AAAAAAQF3AgAAswAAAAlHAwAAAQAAAAEAAAABeAIAAHsAAAAJSAMAAAoBewIAACQAAAAKCgAAAAAAKEEJfAAAAAl9AAAACUkDAAAAAAlKAwAAAXwCAAB+AAAACgoAAAAA////AA4AAAAAAAGBAgAAswAAAAlLAwAAAQAAAAEAAAABggIAAHsAAAAJTAMAAAoBhQIAACQAAAAKCgAAAAAAKEEJfAAAAAl9AAAACU0DAAAAAAlOAwAAAYYCAAB+AAAACgoAAAAA////AA4AAAAAAAGLAgAAswAAAAlPAwAAAQAAAAEAAAABjAIAAHsAAAAJUAMAAAoBjQIAAH4AAAAKCgAAAAAAAAAADQAAAAAAAY4CAAB+AAAACgoAAAAAAAAAAA0AAAAAAQePAgAAAAEAAAAEAAAABB1BcGxvcmlzLkJhc2UuT2JqZWN0cy5WYXJpYWJsZQMAAAABUQMAACsDAAABAAAAAAAAAAFSAwAAKwMAAAAAAAAAAAAAAVMDAAArAwAAAAAAAAAAAAABVAMAACsDAAAAAAAAAAAAAA+QAgAAAQAAAAgcAQAAAZMCAAAkAAAACgoAAAAAAChBCXwAAAAJfQAAAAlVAwAAAAAJVgMAAAGUAgAAfgAAAAoKAAAAAP///wAOAAAAAAABmQIAALMAAAAJVwMAAAEAAAADAAAAAZoCAAB7AAAACVgDAAAKAZ0CAAAkAAAACgoAAAAAAChBCXwAAAAJfQAAAAlZAwAAAAAJWgMAAAGeAgAAfgAAAAoKAAAAAP///wAOAAAAAAEBowIAALMAAAAJWwMAAAEAAAADAAAAAaQCAAB7AAAACVwDAAAKAacCAAAkAAAACgoAAAAAAChBCXwAAAAJfQAAAAldAwAAAAAJXgMAAAGoAgAAfgAAAAoKAAAAAP///wAOAAAAAAABrQIAALMAAAAJXwMAAAEAAAADAAAAAa4CAAB7AAAACWADAAAKAbECAAAkAAAACgoAAAAAAChBCXwAAAAJfQAAAAlhAwAAAAAJYgMAAAGyAgAAfgAAAAoKAAAAAP///wAOAAAAAAABtwIAALMAAAAJYwMAAAEAAAADAAAAAbgCAAB7AAAACWQDAAAKAbkCAAB+AAAACgoAAAAAAAAAAA0AAAAAAAG6AgAAfgAAAAoKAAAAAAAAAAANAAAAAAEHuwIAAAABAAAABAAAAAQdQXBsb3Jpcy5CYXNlLk9iamVjdHMuVmFyaWFibGUDAAAAAWUDAAArAwAAAQAAAAAAAAABZgMAACsDAAAAAAAAAAAAAAFnAwAAKwMAAAAAAAAAAAAAAWgDAAArAwAAAAAAAAAAAAAPvAIAAAEAAAAIHQEAAAG/AgAAJAAAAAoKAAAAAAAoQQl8AAAACX0AAAAJaQMAAAAACWoDAAABwAIAAH4AAAAKCgEAAAAAAAAA/////wABAcQCAACzAAAACWsDAAABAAAAAQAAAAHFAgAAewAAAAlsAwAACgHIAgAAdgAAAAoKAAAAQD8JbQMAAAluAwAAAQAAAP7///8AAAAAAQAAAAAAAAAAAAAAAQAAAAAAAAAAAAAByQIAAHcAAAAKCglvAwAACXADAAABAAAA/v///wAAAAD/////AQABzQIAAHsAAAAJcQMAAAoHzgIAAAABAAAAAAAAAAQfQXBsb3Jpcy5CYXNlLk9iamVjdHMuRGF0YU9iamVjdAMAAAAHzwIAAAABAAAABAAAAAQcQXBsb3Jpcy5CYXNlLlVJLlZpc3VhbE9iamVjdAMAAAAJ7wEAAAnwAQAACgoB0gIAACQAAAAKCgAAAAAAKEEJfAAAAAl9AAAACXIDAAAAAAlzAwAAAdMCAAB+AAAACgoBAAAAAAAAAP////8AAQHXAgAAswAAAAl0AwAAAQAAAAEAAAAB2AIAAHsAAAAJdQMAAAoB2wIAAHYAAAAKCgAAAEA/CXYDAAAJdwMAAAEAAAD+////AAAAAAEAAAAAAAAAAAAAAAEAAAAAAAAAAAAAAdwCAAB3AAAACgoJeAMAAAl5AwAAAQAAAP7///8AAAAA/////wEAAeACAAB7AAAACXoDAAAKB+ECAAAAAQAAAAQAAAAEHEFwbG9yaXMuQmFzZS5VSS5WaXN1YWxPYmplY3QDAAAACfMBAAAJ9AEAAAoKAeQCAAAkAAAACgoAAAAAAChBCXwAAAAJfQAAAAl7AwAAAAAJfAMAAAHlAgAAfgAAAAoKAQAAAAAAAAD/////AAEB6QIAALMAAAAJfQMAAAEAAAABAAAAAeoCAAB7AAAACX4DAAAKAe0CAAB2AAAACgoAAABAPwl/AwAACYADAAABAAAA/v///wAAAAABAAAAAAAAAAAAAAABAAAAAAAAAAAAAAHuAgAAdwAAAAoKCYEDAAAJggMAAAEAAAD+////AAAAAP////8BAAHyAgAAewAAAAmDAwAACgfzAgAAAAEAAAAEAAAABBxBcGxvcmlzLkJhc2UuVUkuVmlzdWFsT2JqZWN0AwAAAAn3AQAACfgBAAAKCgH2AgAAJAAAAAoKAAAAAAAoQQl8AAAACX0AAAAJhAMAAAAACYUDAAAB9wIAAH4AAAAKCgEAAAAAAAAA/////wABAfsCAACzAAAACYYDAAABAAAAAQAAAAH8AgAAewAAAAmHAwAACgH/AgAAdgAAAAoKAAAAQD8JiAMAAAmJAwAAAQAAAP7///8AAAAAAQAAAAAAAAAAAAAAAQAAAAAAAAAAAAABAAMAAHcAAAAKCgmKAwAACYsDAAABAAAA/v///wAAAAD/////AQABBAMAAHsAAAAJjAMAAAoHBQMAAAABAAAABAAAAAQcQXBsb3Jpcy5CYXNlLlVJLlZpc3VhbE9iamVjdAMAAAAJ+wEAAAn8AQAACgoBBgMAAH4AAAAKCgAAAAAAAAAADQAAAAAABQcDAAAaQXBsb3Jpcy5CYXNlLk9iamVjdHMuQ29sb3IHAAAAEkRhdGFPYmplY3QrbVBhcmVudBVEYXRhT2JqZWN0K21Db250YWluZXIFbVR5cGUEbVJHQhBtVGhlbWVDb2xvckluZGV4DG1BdXRvVXBkYXRlZAltTW9kaWZpZWQEAgAAAAAAH0FwbG9yaXMuQmFzZS5PYmplY3RzLkxpbmVGb3JtYXQDAAAACAgIAQEDAAAACQECAAAKAQAAAAAAAAD/////AAEPCAMAAAEAAAAIOgEAAAEJAwAAfgAAAAoKAAAAAAAAAAANAAAAAAABCgMAAH4AAAAKCgAAAAAAAAAADQAAAAABBwsDAAAAAQAAAAQAAAAEHUFwbG9yaXMuQmFzZS5PYmplY3RzLlZhcmlhYmxlAwAAAAGNAwAAKwMAAAEAAAAAAAAAAY4DAAArAwAAAAAAAAAAAAABjwMAACsDAAAAAAAAAAAAAAGQAwAAKwMAAAAAAAAAAAAADwwDAAABAAAACCYAAAABDQMAAH4AAAAKCgAAAAAAAAAADQAAAAAABQ4DAAAaQXBsb3Jpcy5CYXNlLk9iamVjdHMuQ29sb3IHAAAAEkRhdGFPYmplY3QrbVBhcmVudBVEYXRhT2JqZWN0K21Db250YWluZXIFbVR5cGUEbVJHQhBtVGhlbWVDb2xvckluZGV4DG1BdXRvVXBkYXRlZAltTW9kaWZpZWQEAgAAAAAAH0FwbG9yaXMuQmFzZS5PYmplY3RzLkxpbmVGb3JtYXQDAAAACAgIAQEDAAAACRACAAAKAQAAAAAAAAD/////AAEPDwMAAAEAAAAIOQEAAAEQAwAAfgAAAAoKAAAAAAAAAAANAAAAAAABEQMAAH4AAAAKCgAAAAAAAAAADQAAAAABBxIDAAAAAQAAAAQAAAAEHUFwbG9yaXMuQmFzZS5PYmplY3RzLlZhcmlhYmxlAwAAAAGRAwAAKwMAAAEAAAAAAAAAAZIDAAArAwAAAAAAAAAAAAABkwMAACsDAAAAAAAAAAAAAAGUAwAAKwMAAAAAAAAAAAAADxMDAAABAAAACCMAAAABFAMAAH4AAAAKCgAAAAAAAAAADQAAAAAABRUDAAAaQXBsb3Jpcy5CYXNlLk9iamVjdHMuQ29sb3IHAAAAEkRhdGFPYmplY3QrbVBhcmVudBVEYXRhT2JqZWN0K21Db250YWluZXIFbVR5cGUEbVJHQhBtVGhlbWVDb2xvckluZGV4DG1BdXRvVXBkYXRlZAltTW9kaWZpZWQEAgAAAAAAH0FwbG9yaXMuQmFzZS5PYmplY3RzLkxpbmVGb3JtYXQDAAAACAgIAQEDAAAACR8CAAAKAQAAAAAAAAD/////AAEPFgMAAAEAAAAINwEAAAEXAwAAfgAAAAoKAAAAAAAAAAANAAAAAAABGAMAAH4AAAAKCgAAAAAAAAAADQAAAAABBxkDAAAAAQAAAAQAAAAEHUFwbG9yaXMuQmFzZS5PYmplY3RzLlZhcmlhYmxlAwAAAAGVAwAAKwMAAAEAAAAAAAAAAZYDAAArAwAAAAAAAAAAAAABlwMAACsDAAAAAAAAAAAAAAGYAwAAKwMAAAAAAAAAAAAADxoDAAABAAAACCsAAAABGwMAAH4AAAAKCgAAAAAAAAAADQAAAAAABRwDAAAaQXBsb3Jpcy5CYXNlLk9iamVjdHMuQ29sb3IHAAAAEkRhdGFPYmplY3QrbVBhcmVudBVEYXRhT2JqZWN0K21Db250YWluZXIFbVR5cGUEbVJHQhBtVGhlbWVDb2xvckluZGV4DG1BdXRvVXBkYXRlZAltTW9kaWZpZWQEAgAAAAAAH0FwbG9yaXMuQmFzZS5PYmplY3RzLkxpbmVGb3JtYXQDAAAACAgIAQEDAAAACS4CAAAKAQAAAAAAAAD/////AAEPHQMAAAEAAAAIOwEAAAEeAwAAfgAAAAoKAAAAAAAAAAANAAAAAAABHwMAAH4AAAAKCgAAAAAAAAAADQAAAAABByADAAAAAQAAAAQAAAAEHUFwbG9yaXMuQmFzZS5PYmplY3RzLlZhcmlhYmxlAwAAAAGZAwAAKwMAAAEAAAAAAAAAAZoDAAArAwAAAAAAAAAAAAABmwMAACsDAAAAAAAAAAAAAAGcAwAAKwMAAAAAAAAAAAAADyEDAAABAAAACCoAAAABIgMAAH4AAAAKCgAAAAAAAAAADQAAAAAABSMDAAAaQXBsb3Jpcy5CYXNlLk9iamVjdHMuQ29sb3IHAAAAEkRhdGFPYmplY3QrbVBhcmVudBVEYXRhT2JqZWN0K21Db250YWluZXIFbVR5cGUEbVJHQhBtVGhlbWVDb2xvckluZGV4DG1BdXRvVXBkYXRlZAltTW9kaWZpZWQEAgAAAAAAH0FwbG9yaXMuQmFzZS5PYmplY3RzLkxpbmVGb3JtYXQDAAAACAgIAQEDAAAACT0CAAAKAQAAAAAAAAD/////AAEPJAMAAAEAAAAIOAEAAAElAwAAfgAAAAoKAAAAAAAAAAANAAAAAAABJgMAAH4AAAAKCgAAAAAAAAAADQAAAAABBycDAAAAAQAAAAQAAAAEHUFwbG9yaXMuQmFzZS5PYmplY3RzLlZhcmlhYmxlAwAAAAGdAwAAKwMAAAEAAAAAAAAAAZ4DAAArAwAAAAAAAAAAAAABnwMAACsDAAAAAAAAAAAAAAGgAwAAKwMAAAAAAAAAAAAADygDAAABAAAACBsBAAAFKQM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C4wLjE0ODY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C4wLjE0ODYsIEN1bHR1cmU9bmV1dHJhbCwgUHVibGljS2V5VG9rZW49MTZmYzEzYTIyNmMwZTk1MV1dAgAAAAmhAwAACaIDAAAKCaMDAAAKCRIBAAAIBjEgfqTmGuY/CgAAAAAJpAMAAAmlAwAAAAAAAAAJpgMAAAkSAQAACQEAAAAJpwMAAAEqAwAAKQMAAAmoAwAACakDAAAKCaoDAAAKCRIBAAAIBqvx+B83VuE/CgEAAAAJqwMAAAmsAwAAAAAAAAAJrQMAAAkSAQAACQEAAAAJrgMAAAEvAwAAKQMAAAmvAwAACbADAAAKCbEDAAAKCRMBAAAIBjk5OTk5Oek/CgAAAAAJsgMAAAmzAwAAAAAAAAAJtAMAAAkTAQAACQEAAAAJtQMAAAEwAwAAKQMAAAm2AwAACbcDAAAKCbgDAAAKCRMBAAAIBsTDw8PDw+M/CgEAAAAJuQMAAAm6AwAAAAAAAAAJuwMAAAkTAQAACQEAAAAJvAMAAAE1AwAAKQMAAAm9AwAACb4DAAAKCb8DAAAKCRQBAAAIBmrCuNV+g+U/CgAAAAAJwAMAAAnBAwAAAAAAAAAJwgMAAAkUAQAACQEAAAAJwwMAAAE2AwAAKQMAAAnEAwAACcUDAAAKCcYDAAAKCRQBAAAIBoF8imDeZOE/CgEAAAAJxwMAAAnIAwAAAAAAAAAJyQMAAAkUAQAACQEAAAAJygMAAAE7AwAAKQMAAAnLAwAACcwDAAAKCc0DAAAKCRUBAAAIBkFcqDkJxOU/CgAAAAAJzgMAAAnPAwAAAAAAAAAJ0AMAAAkVAQAACQEAAAAJ0QMAAAE8AwAAKQMAAAnSAwAACdMDAAAKCdQDAAAKCRUBAAAIBvDolbH9jt4/CgEAAAAJ1QMAAAnWAwAAAAAAAAAJ1wMAAAkVAQAACQEAAAAJ2AMAAAFBAwAAfgAAAAoKAAAAAAAAAAANAAAAAAABQgMAAH4AAAAKCgAAAAAAAAAADQAAAAABB0MDAAAAAQAAAAQAAAAEHUFwbG9yaXMuQmFzZS5PYmplY3RzLlZhcmlhYmxlAwAAAAHZAwAAKwMAAAEAAAAAAAAAAdoDAAArAwAAAAAAAAAAAAAB2wMAACsDAAAAAAAAAAAAAAHcAwAAKwMAAAAAAAAAAAAAD0QDAAABAAAACB8BAAABRQMAAH4AAAAKCgAAAAAAAAAADQAAAAAAAUYDAAB+AAAACgoAAAAAAAAAAA0AAAAAAQdHAwAAAAEAAAAEAAAABB1BcGxvcmlzLkJhc2UuT2JqZWN0cy5WYXJpYWJsZQMAAAAB3QMAACsDAAABAAAAAAAAAAHeAwAAKwMAAAAAAAAAAAAAAd8DAAArAwAAAAAAAAAAAAAB4AMAACsDAAAAAAAAAAAAAA9IAwAAAQAAAAggAQAAAUkDAAB+AAAACgoAAAAAAAAAAA0AAAAAAAFKAwAAfgAAAAoKAAAAAAAAAAANAAAAAAEHSwMAAAABAAAABAAAAAQdQXBsb3Jpcy5CYXNlLk9iamVjdHMuVmFyaWFibGUDAAAAAeEDAAArAwAAAQAAAAAAAAAB4gMAACsDAAAAAAAAAAAAAAHjAwAAKwMAAAAAAAAAAAAAAeQDAAArAwAAAAAAAAAAAAAPTAMAAAEAAAAIIQEAAAFNAwAAfgAAAAoKAAAAAAAAAAANAAAAAAABTgMAAH4AAAAKCgAAAAAAAAAADQAAAAABB08DAAAAAQAAAAQAAAAEHUFwbG9yaXMuQmFzZS5PYmplY3RzLlZhcmlhYmxlAwAAAAHlAwAAKwMAAAEAAAAAAAAAAeYDAAArAwAAAAAAAAAAAAAB5wMAACsDAAAAAAAAAAAAAAHoAwAAKwMAAAAAAAAAAAAAD1ADAAABAAAACB4BAAABVQMAAH4AAAAKCgAAAAAAAAAADQAAAAAAAVYDAAB+AAAACgoAAAAAAAAAAA0AAAAAAQdXAwAAAAEAAAAEAAAABB1BcGxvcmlzLkJhc2UuT2JqZWN0cy5WYXJpYWJsZQMAAAAB6QMAACsDAAABAAAAAAAAAAHqAwAAKwMAAAAAAAAAAAAAAesDAAArAwAAAAAAAAAAAAAB7AMAACsDAAAAAAAAAAAAAA9YAwAAAQAAAAgjAQAAAVkDAAB+AAAACgoAAAAAAAAAAA0AAAAAAAFaAwAAfgAAAAoKAAAAAAAAAAANAAAAAAEHWwMAAAABAAAABAAAAAQdQXBsb3Jpcy5CYXNlLk9iamVjdHMuVmFyaWFibGUDAAAAAe0DAAArAwAAAQAAAAAAAAAB7gMAACsDAAAAAAAAAAAAAAHvAwAAKwMAAAAAAAAAAAAAAfADAAArAwAAAAAAAAAAAAAPXAMAAAEAAAAIJAEAAAFdAwAAfgAAAAoKAAAAAAAAAAANAAAAAAABXgMAAH4AAAAKCgAAAAAAAAAADQAAAAABB18DAAAAAQAAAAQAAAAEHUFwbG9yaXMuQmFzZS5PYmplY3RzLlZhcmlhYmxlAwAAAAHxAwAAKwMAAAEAAAAAAAAAAfIDAAArAwAAAAAAAAAAAAAB8wMAACsDAAAAAAAAAAAAAAH0AwAAKwMAAAAAAAAAAAAAD2ADAAABAAAACCUBAAABYQMAAH4AAAAKCgAAAAAAAAAADQAAAAAAAWIDAAB+AAAACgoAAAAAAAAAAA0AAAAAAQdjAwAAAAEAAAAEAAAABB1BcGxvcmlzLkJhc2UuT2JqZWN0cy5WYXJpYWJsZQMAAAAB9QMAACsDAAABAAAAAAAAAAH2AwAAKwMAAAAAAAAAAAAAAfcDAAArAwAAAAAAAAAAAAAB+AMAACsDAAAAAAAAAAAAAA9kAwAAAQAAAAgiAQAAAWkDAAB+AAAACgoAAAAAAAAAAA0AAAAAAAFqAwAAfgAAAAoKAQAAAAAAAAD/////AAEHawMAAAABAAAABAAAAAQdQXBsb3Jpcy5CYXNlLk9iamVjdHMuVmFyaWFibGUDAAAAAfkDAAArAwAAAQAAAAAAAAAB+gMAACsDAAAAAAAAAAAAAAH7AwAAKwMAAAAAAAAAAAAAAfwDAAArAwAAAAAAAAAAAAAPbAMAAAEAAAAIMAEAAAFtAwAAfgAAAAoKAAAAAP///wAOAAAAAAAFbgMAABpBcGxvcmlzLkJhc2UuT2JqZWN0cy5Db2xvcgcAAAASRGF0YU9iamVjdCttUGFyZW50FURhdGFPYmplY3QrbUNvbnRhaW5lcgVtVHlwZQRtUkdCEG1UaGVtZUNvbG9ySW5kZXgMbUF1dG9VcGRhdGVkCW1Nb2RpZmllZAQCAAAAAAAfQXBsb3Jpcy5CYXNlLk9iamVjdHMuTGluZUZvcm1hdAMAAAAICAgBAQMAAAAJyAIAAAoBAAAAAAAAAP////8AAQFvAwAAfgAAAAoKAAAAAEY7NAAIAAAAAAABcAMAAH4AAAAKCgEAAAD///8A/////wAAD3EDAAABAAAACDMBAAABcgMAAH4AAAAKCgAAAAAAAAAADQAAAAAAAXMDAAB+AAAACgoBAAAAAAAAAP////8AAQd0AwAAAAEAAAAEAAAABB1BcGxvcmlzLkJhc2UuT2JqZWN0cy5WYXJpYWJsZQMAAAAB/QMAACsDAAABAAAAAAAAAAH+AwAAKwMAAAAAAAAAAAAAAf8DAAArAwAAAAAAAAAAAAABAAQAACsDAAAAAAAAAAAAAA91AwAAAQAAAAgvAQAAAXYDAAB+AAAACgoAAAAA////AA4AAAAAAAV3AwAAGkFwbG9yaXMuQmFzZS5PYmplY3RzLkNvbG9yBwAAABJEYXRhT2JqZWN0K21QYXJlbnQVRGF0YU9iamVjdCttQ29udGFpbmVyBW1UeXBlBG1SR0IQbVRoZW1lQ29sb3JJbmRleAxtQXV0b1VwZGF0ZWQJbU1vZGlmaWVkBAIAAAAAAB9BcGxvcmlzLkJhc2UuT2JqZWN0cy5MaW5lRm9ybWF0AwAAAAgICAEBAwAAAAnbAgAACgEAAAAAAAAA/////wABAXgDAAB+AAAACgoAAAAAP2l+AAUAAAAAAAF5AwAAfgAAAAoKAQAAAP///wD/////AAAPegMAAAEAAAAINAEAAAF7AwAAfgAAAAoKAAAAAAAAAAANAAAAAAABfAMAAH4AAAAKCgEAAAAAAAAA/////wABB30DAAAAAQAAAAQAAAAEHUFwbG9yaXMuQmFzZS5PYmplY3RzLlZhcmlhYmxlAwAAAAEBBAAAKwMAAAEAAAAAAAAAAQIEAAArAwAAAAAAAAAAAAABAwQAACsDAAAAAAAAAAAAAAEEBAAAKwMAAAAAAAAAAAAAD34DAAABAAAACC4BAAABfwMAAH4AAAAKCgAAAAD///8ADgAAAAAABYADAAAaQXBsb3Jpcy5CYXNlLk9iamVjdHMuQ29sb3IHAAAAEkRhdGFPYmplY3QrbVBhcmVudBVEYXRhT2JqZWN0K21Db250YWluZXIFbVR5cGUEbVJHQhBtVGhlbWVDb2xvckluZGV4DG1BdXRvVXBkYXRlZAltTW9kaWZpZWQEAgAAAAAAH0FwbG9yaXMuQmFzZS5PYmplY3RzLkxpbmVGb3JtYXQDAAAACAgIAQEDAAAACe0CAAAKAQAAAAAAAAD/////AAEBgQMAAH4AAAAKCgAAAAByhIwABgAAAAAAAYIDAAB+AAAACgoBAAAA////AP////8AAA+DAwAAAQAAAAgyAQAAAYQDAAB+AAAACgoAAAAAAAAAAA0AAAAAAAGFAwAAfgAAAAoKAQAAAAAAAAD/////AAEHhgMAAAABAAAABAAAAAQdQXBsb3Jpcy5CYXNlLk9iamVjdHMuVmFyaWFibGUDAAAAAQUEAAArAwAAAQAAAAAAAAABBgQAACsDAAAAAAAAAAAAAAEHBAAAKwMAAAAAAAAAAAAAAQgEAAArAwAAAAAAAAAAAAAPhwMAAAEAAAAILQEAAAGIAwAAfgAAAAoKAAAAAP///wAOAAAAAAAFiQMAABpBcGxvcmlzLkJhc2UuT2JqZWN0cy5Db2xvcgcAAAASRGF0YU9iamVjdCttUGFyZW50FURhdGFPYmplY3QrbUNvbnRhaW5lcgVtVHlwZQRtUkdCEG1UaGVtZUNvbG9ySW5kZXgMbUF1dG9VcGRhdGVkCW1Nb2RpZmllZAQCAAAAAAAfQXBsb3Jpcy5CYXNlLk9iamVjdHMuTGluZUZvcm1hdAMAAAAICAgBAQMAAAAJ/wIAAAoBAAAAAAAAAP////8AAQGKAwAAfgAAAAoKAAAAAO0hJQAHAAAAAAABiwMAAH4AAAAKCgEAAAD///8A/////wAAD4wDAAABAAAACDEBAAABoQMAAC0BAAAKWAIAAAEJBAAAfAEAAAIAAAABCgQAAH0BAAABAAAAAQsEAAAVAAAABvhGQk2neUIQTLpBk0xzQwEMBAAAfwEAAAAAAAAAAKBAAAENBAAAIgAAAAqLdUIdEDhDAQ4EAACmAAAAAAAAAAAAAAAAAAAAAAkPBAAAAAAAAAkQBAAAAQABEQQAAK8AAAAAAAAAARIEAAB4AAAAAAAUQgAAYEEBEwQAABUAAAAAAAAAAAAAAAAAAAAAAAAAXrrZPwYUBAAAAzY5JQoJFQQAAAmIAQAANAMAAP////8AAQoJFgQAAAEACgABogMAAB0AAAABFwQAACIAAAAG+DpCM1uaQwEYBAAAIgAAAAcPmEJNp21CCRkEAAAJGgQAAAAAAAAKARsEAAB4AAAAAAAAAAAAAAABHAQAAHgAAAAAAAAAAAAAAAAAAAABHQQAABUAAAAAAAAAAAAAAAAAAAAAAAAApAEAAAAAAAABAQoJHgQAAAEACgAHowMAAAABAAAAAgAAAAQaQXBsb3Jpcy5CYXNlLlVJLlZpc3VhbExpbmUDAAAACgoHpAMAAAABAAAAAwAAAAQVU3lzdGVtLkRyYXdpbmcuUG9pbnRGBAAAAAEfBAAAIgAAAAqLdUIdEDhDASAEAAAiAAAABvguQh0QOEMBIQQAACIAAAAHD55CHRA4QwelAwAAAAEAAAADAAAABBdBcGxvcmlzLkJhc2UuQW5jaG9yTW9kZQMAAAABIgQAAKYAAAAAAAAAASMEAACmAAAAAgAAAAEkBAAApgAAAAQAAAABpgMAACYAAAAJ3wEAAAAAAAAAAAAAAacDAAAnAAAACSUEAAACAAAACAAAAAGoAwAALQEAAApYAgAAASYEAAB8AQAAAgAAAAEnBAAAfQEAAAEAAAABKAQAABUAAACJdjhDN2HoQhBMukHKhT1DASkEAAB/AQAAAAAAAAAAoEAAASoEAAAiAAAAShtEQ4HzUkMBKwQAAKYAAAAAAAAAAAAAAAAAAAAACSwEAAAAAAAACS0EAAABAAEuBAAArwAAAAAAAAABLwQAAHgAAAAAABRCAABgQQEwBAAAFQAAAAAAAAAAAAAAAAAAAAAAAABeutk/BjEEAAADNTQlCgkyBAAACYgBAAA0AwAA/////wABCgkzBAAAAQAKAAGpAwAAHQAAAAE0BAAAIgAAAIl2NUMzW5pDATUEAAAiAAAAC8BSQzdh4kIJNgQAAAk3BAAAAAAAAAoBOAQAAHgAAAAAAAAAAAAAAAE5BAAAeAAAAAAAAAAAAAAAAAAAAAE6BAAAFQAAAAAAAAAAAAAAAAAAAAAAAACkAQAAAAAAAAEBCgk7BAAAAQAKAAeqAwAAAAEAAAACAAAABBpBcGxvcmlzLkJhc2UuVUkuVmlzdWFsTGluZQMAAAAKCgerAwAAAAEAAAADAAAABBVTeXN0ZW0uRHJhd2luZy5Qb2ludEYEAAAAATwEAAAiAAAAShtEQ4HzUkMBPQQAACIAAACJdjJDgfNSQwE+BAAAIgAAAAvAVUOB81JDB6wDAAAAAQAAAAMAAAAEF0FwbG9yaXMuQmFzZS5BbmNob3JNb2RlAwAAAAE/BAAApgAAAAAAAAABQAQAAKYAAAACAAAAAUEEAACmAAAABAAAAAGtAwAAJgAAAAnjAAAAAAAAAAAAAAABrgMAACcAAAAJQgQAAAIAAAAIAAAAAa8DAAAtAQAAClgCAAABQwQAAHwBAAACAAAAAUQEAAB9AQAAAQAAAAFFBAAAFQAAAAYPnkJT89lBEEy6Qf47i0MBRgQAAH8BAAAAAAAAAACgQAABRwQAACIAAACIWLVCaHomQwFIBAAApgAAAAAAAAAAAAAAAAAAAAAJSQQAAAAAAAAJSgQAAAEAAUsEAACvAAAAAAAAAAFMBAAAeAAAAAAAFEIAAGBBAU0EAAAVAAAAAAAAAAAAAAAAAAAAAAAAAF662T8GTgQAAAM3OSUKCU8EAAAJiAEAADQDAAD/////AAEKCVAEAAABAAoAAbADAAAdAAAAAVEEAAAiAAAABg+YQjNbmkMBUgQAACIAAAAKotJCU/PBQQlTBAAACVQEAAAAAAAACgFVBAAAeAAAAAAAAAAAAAAAAVYEAAB4AAAAAAAAAAAAAAAAAAAAAVcEAAAVAAAAAAAAAAAAAAAAAAAAAAAAAKQBAAAAAAAAAQEKCVgEAAABAAoAB7EDAAAAAQAAAAIAAAAEGkFwbG9yaXMuQmFzZS5VSS5WaXN1YWxMaW5lAwAAAAoKB7IDAAAAAQAAAAMAAAAEFVN5c3RlbS5EcmF3aW5nLlBvaW50RgQAAAABWQQAACIAAACIWLVCaHomQwFaBAAAIgAAAAYPkkJoeiZDAVsEAAAiAAAACqLYQmh6JkMHswMAAAABAAAAAwAAAAQXQXBsb3Jpcy5CYXNlLkFuY2hvck1vZGUDAAAAAVwEAACmAAAAAAAAAAFdBAAApgAAAAIAAAABXgQAAKYAAAAEAAAAAbQDAAAmAAAACV8EAAAAAAAAAAAAAAG1AwAAJwAAAAlgBAAAAgAAAAQAAAABtgMAAC0BAAAKWAIAAAFhBAAAfAEAAAIAAAABYgQAAH0BAAABAAAAAWMEAAAVAAAAC8BVQ6mdsUIQTLpBkudYQwFkBAAAfwEAAAAAAAAAAKBAAAFlBAAAIgAAAMxkYUOdQkVDAWYEAACmAAAAAAAAAAAAAAAAAAAAAAlnBAAAAAAAAAloBAAAAQABaQQAAK8AAAAAAAAAAWoEAAB4AAAAAAAUQgAAYEEBawQAABUAAAAAAAAAAAAAAAAAAAAAAAAAXrrZPwZsBAAAAzYyJQoJbQQAAAmIAQAANAMAAP////8AAQoJbgQAAAEACgABtwMAAB0AAAABbwQAACIAAAALwFJDM1uaQwFwBAAAIgAAAI0JcEOpnatCCXEEAAAJcgQAAAAAAAAKAXMEAAB4AAAAAAAAAAAAAAABdAQAAHgAAAAAAAAAAAAAAAAAAAABdQQAABUAAAAAAAAAAAAAAAAAAAAAAAAApAEAAAAAAAABAQoJdgQAAAEACgAHuAMAAAABAAAAAgAAAAQaQXBsb3Jpcy5CYXNlLlVJLlZpc3VhbExpbmUDAAAACgoHuQMAAAABAAAAAwAAAAQVU3lzdGVtLkRyYXdpbmcuUG9pbnRGBAAAAAF3BAAAIgAAAMxkYUOdQkVDAXgEAAAiAAAAC8BPQ51CRUMBeQQAACIAAACNCXNDnUJFQwe6AwAAAAEAAAADAAAABBdBcGxvcmlzLkJhc2UuQW5jaG9yTW9kZQMAAAABegQAAKYAAAAAAAAAAXsEAACmAAAAAgAAAAF8BAAApgAAAAQAAAABuwMAACYAAAAJXwQAAAAAAAAAAAAAAbwDAAAnAAAACX0EAAACAAAABAAAAAG9AwAALQEAAApYAgAAAX4EAAB8AQAAAgAAAAF/BAAAfQEAAAEAAAABgAQAABUAAAAKothCuiqKQhBMukEJoWxDAYEEAAB/AQAAAAAAAAAAoEAAAYIEAAAiAAAAjOvvQuJlO0MBgwQAAKYAAAAAAAAAAAAAAAAAAAAACYQEAAAAAAAACYUEAAABAAGGBAAArwAAAAAAAAABhwQAAHgAAAAAABRCAABgQQGIBAAAFQAAAAAAAAAAAAAAAAAAAAAAAABeutk/BokEAAADNjclCgmKBAAACYgBAAA0AwAA/////wABCgmLBAAAAQAKAAG+AwAAHQAAAAGMBAAAIgAAAAqi0kIzW5pDAY0EAAAiAAAAh5oGQ7oqhEIJjgQAAAmPBAAAAAAAAAoBkAQAAHgAAAAAAAAAAAAAAAGRBAAAeAAAAAAAAAAAAAAAAAAAAAGSBAAAFQAAAAAAAAAAAAAAAAAAAAAAAACkAQAAAAAAAAEBCgmTBAAAAQAKAAe/AwAAAAEAAAACAAAABBpBcGxvcmlzLkJhc2UuVUkuVmlzdWFsTGluZQMAAAAKCgfAAwAAAAEAAAADAAAABBVTeXN0ZW0uRHJhd2luZy5Qb2ludEYEAAAAAZQEAAAiAAAAjOvvQuJlO0MBlQQAACIAAAAKosxC4mU7QwGWBAAAIgAAAIeaCUPiZTtDB8EDAAAAAQAAAAMAAAAEF0FwbG9yaXMuQmFzZS5BbmNob3JNb2RlAwAAAAGXBAAApgAAAAAAAAABmAQAAKYAAAACAAAAAZkEAACmAAAABAAAAAHCAwAAJgAAAAlfBAAAAAAAAAAAAAABwwMAACcAAAAJmgQAAAIAAAAEAAAAAcQDAAAtAQAAClgCAAABmwQAAHwBAAACAAAAAZwEAAB9AQAAAQAAAAGdBAAAFQAAAI0Jc0OyFudCCEy6QQ0rPkMBngQAAH8BAAAAAAAAAACgQAABnwQAACIAAABOrn5D4KBSQwGgBAAApgAAAAAAAAAAAAAAAAAAAAAJoQQAAAAAAAAJogQAAAEAAaMEAACvAAAAAAAAAAGkBAAAeAAAAAAAFEIAAGBBAaUEAAAVAAAAAAAAAAAAAAAAAAAAAAAAAF662T8GpgQAAAM1NCUKCacEAAAJiAEAADQDAAD/////AAEKCagEAAABAAoAAcUDAAAdAAAAAakEAAAiAAAAjQlwQzNbmkMBqgQAACIAAACHqYZDshbhQgmrBAAACawEAAAAAAAACgGtBAAAeAAAAAAAAAAAAAAAAa4EAAB4AAAAAAAAAAAAAAAAAAAAAa8EAAAVAAAAAAAAAAAAAAAAAAAAAAAAAKQBAAAAAAAAAQEKCbAEAAABAAoAB8YDAAAAAQAAAAIAAAAEGkFwbG9yaXMuQmFzZS5VSS5WaXN1YWxMaW5lAwAAAAoKB8cDAAAAAQAAAAMAAAAEFVN5c3RlbS5EcmF3aW5nLlBvaW50RgQAAAABsQQAACIAAABOrn5D4KBSQwGyBAAAIgAAAI0JbUPgoFJDAbMEAAAiAAAAhymIQ+CgUkMHyAMAAAABAAAAAwAAAAQXQXBsb3Jpcy5CYXNlLkFuY2hvck1vZGUDAAAAAbQEAACmAAAAAAAAAAG1BAAApgAAAAIAAAABtgQAAKYAAAAEAAAAAckDAAAmAAAACV8EAAAAAAAAAAAAAAHKAwAAJwAAAAm3BAAAAgAAAAQAAAABywMAAC0BAAAKWAIAAAG4BAAAfAEAAAIAAAABuQQAAH0BAAABAAAAAboEAAAVAAAAh5oJQ/Z6hEIQTLpB63hvQwG7BAAAfwEAAAAAAAAAAKBAAAG8BAAAIgAAAEg/FUPw+TlDAb0EAACmAAAAAAAAAAAAAAAAAAAAAAm+BAAAAAAAAAm/BAAAAQABwAQAAK8AAAAAAAAAAcEEAAB4AAAAAAAUQgAAYEEBwgQAABUAAAAAAAAAAAAAAAAAAAAAAAAAXrrZPwbDBAAAAzY4JQoJxAQAAAmIAQAANAMAAP////8AAQoJxQQAAAEACgABzAMAAB0AAAABxgQAACIAAACHmgZDM1uaQwHHBAAAIgAAAAnkI0Pr9XxCCcgEAAAJyQQAAAAAAAAKAcoEAAB4AAAAAAAAAAAAAAABywQAAHgAAAAAAAAAAAAAAAAAAAABzAQAABUAAAAAAAAAAAAAAAAAAAAAAAAApAEAAAAAAAABAQoJzQQAAAEACgAHzQMAAAABAAAAAgAAAAQaQXBsb3Jpcy5CYXNlLlVJLlZpc3VhbExpbmUDAAAACgoHzgMAAAABAAAAAwAAAAQVU3lzdGVtLkRyYXdpbmcuUG9pbnRGBAAAAAHOBAAAIgAAAEg/FUPw+TlDAc8EAAAiAAAAh5oDQ/D5OUMB0AQAACIAAAAJ5CZD8Pk5QwfPAwAAAAEAAAADAAAABBdBcGxvcmlzLkJhc2UuQW5jaG9yTW9kZQMAAAAB0QQAAKYAAAAAAAAAAdIEAACmAAAAAgAAAAHTBAAApgAAAAQAAAAB0AMAACYAAAAJSQIAAAAAAAAAAAAAAdEDAAAnAAAACdQEAAACAAAABAAAAAHSAwAALQEAAApYAgAAAdUEAAB8AQAAAgAAAAHWBAAAfQEAAAEAAAAB1wQAABUAAACIKYhD6GQLQwBMukF+USZDAdgEAAB/AQAAAAAAAAAAoEAAAdkEAAAiAAAA6PuNQ6eNXkMB2gQAAKYAAAAAAAAAAAAAAAAAAAAACdsEAAAAAAAACdwEAAABAAHdBAAArwAAAAAAAAAB3gQAAHgAAAAAABRCAABgQQHfBAAAFQAAAAAAAAAAAAAAAAAAAAAAAABeutk/BuAEAAADNDglCgnhBAAACYgBAAA0AwAA/////wABCgniBAAAAQAKAAHTAwAAHQAAAAHjBAAAIgAAAIiphkMzW5pDAeQEAAAiAAAASE6VQ+hkCEMJ5QQAAAnmBAAAAAAAAAoB5wQAAHgAAAAAAAAAAAAAAAHoBAAAeAAAAAAAAAAAAAAAAAAAAAHpBAAAFQAAAAAAAAAAAAAAAAAAAAAAAACkAQAAAAAAAAEBCgnqBAAAAQAKAAfUAwAAAAEAAAACAAAABBpBcGxvcmlzLkJhc2UuVUkuVmlzdWFsTGluZQMAAAAKCgfVAwAAAAEAAAADAAAABBVTeXN0ZW0uRHJhd2luZy5Qb2ludEYEAAAAAesEAAAiAAAA6PuNQ6eNXkMB7AQAACIAAACIKYVDp41eQwHtBAAAIgAAAEjOlkOnjV5DB9YDAAAAAQAAAAMAAAAEF0FwbG9yaXMuQmFzZS5BbmNob3JNb2RlAwAAAAHuBAAApgAAAAAAAAAB7wQAAKYAAAACAAAAAfAEAACmAAAABAAAAAHXAwAAJgAAAAlJAgAAAAAAAAAAAAAB2AMAACcAAAAJ8QQAAAIAAAAEAAAABQ8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kFwbG9yaXMuQ2hhcnQuQ2hhcnREYXRhRWxlbWVudAIAAAABAQELGkFwbG9yaXMuQmFzZS5PYmplY3RzLkNvbG9yAwAAAAEBGkFwbG9yaXMuQmFzZS5PYmplY3RzLkNvbG9yAwAAAAMAAAAJKQMAAAoAAAAAAEBBCXwAAAAJfQAAAAnyBAAAAQAJ8wQAAAEQBAAAfgAAAAoKAAAAAO0hJQAHAAAAAAEBFQQAALMAAAAJ9AQAAAEAAAADAAAAARYEAAB7AAAACfUEAAAKARkEAAB2AAAACgoAAABAPwn2BAAACfcEAAABAAAA/v///wAAAAABAAAAAAAAAAAAAAABAAAAAAAAAAAAAAEaBAAAdwAAAAoKCfgEAAAJ+QQAAAEAAAD+////AAAAAP////8AAAEeBAAAewAAAAn6BAAACgclBAAAAAEAAAAEAAAABBxBcGxvcmlzLkJhc2UuVUkuVmlzdWFsT2JqZWN0AwAAAAmiAwAACaEDAAAKCgUsB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SoDAAAKAAAAAABAQQl8AAAACX0AAAAJ+wQAAAEACfwEAAABLQQAAH4AAAAKCgAAAADtISUABwAAAAABATIEAACzAAAACf0EAAABAAAAAwAAAAEzBAAAewAAAAn+BAAACgE2BAAAdgAAAAoKAAAAQD8J/wQAAAkABQAAAQAAAP7///8AAAAAAQAAAAAAAAAAAAAAAQAAAAAAAAAAAAABNwQAAHcAAAAKCgkBBQAACQIFAAABAAAA/v///wAAAAD/////AAABOwQAAHsAAAAJAwUAAAoHQgQAAAABAAAABAAAAAQcQXBsb3Jpcy5CYXNlLlVJLlZpc3VhbE9iamVjdAMAAAAJqQMAAAmoAwAACgoFSQQ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eQXBsb3Jpcy5DaGFydC5DaGFydERhdGFFbGVtZW50AgAAAAEBAQsaQXBsb3Jpcy5CYXNlLk9iamVjdHMuQ29sb3IDAAAAAQEaQXBsb3Jpcy5CYXNlLk9iamVjdHMuQ29sb3IDAAAAAwAAAAkvAwAACgAAAAAAQEEJfAAAAAl9AAAACQQFAAABAAkFBQAAAUoEAAB+AAAACgoAAAAAP2l+AAUAAAAAAQFPBAAAswAAAAkGBQAAAQAAAAMAAAABUAQAAHsAAAAJBwUAAAoBUwQAAHYAAAAKCgAAAEA/CQgFAAAJCQUAAAEAAAD+////AAAAAAEAAAAAAAAAAAAAAAEAAAAAAAAAAAAAAVQEAAB3AAAACgoJCgUAAAkLBQAAAQAAAP7///8AAAAA/////wAAAVgEAAB7AAAACQwFAAAKB18EAAAAAQAAAAAAAAAEH0FwbG9yaXMuQmFzZS5PYmplY3RzLkRhdGFPYmplY3QDAAAAB2AEAAAAAQAAAAQAAAAEHEFwbG9yaXMuQmFzZS5VSS5WaXN1YWxPYmplY3QDAAAACbADAAAJrwMAAAoKBWc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kFwbG9yaXMuQ2hhcnQuQ2hhcnREYXRhRWxlbWVudAIAAAABAQELGkFwbG9yaXMuQmFzZS5PYmplY3RzLkNvbG9yAwAAAAEBGkFwbG9yaXMuQmFzZS5PYmplY3RzLkNvbG9yAwAAAAMAAAAJMAMAAAoAAAAAAEBBCXwAAAAJfQAAAAkNBQAAAQAJDgUAAAFoBAAAfgAAAAoKAAAAAD9pfgAFAAAAAAEBbQQAALMAAAAJDwUAAAEAAAADAAAAAW4EAAB7AAAACRAFAAAKAXEEAAB2AAAACgoAAABAPwkRBQAACRIFAAABAAAA/v///wAAAAABAAAAAAAAAAAAAAABAAAAAAAAAAAAAAFyBAAAdwAAAAoKCRMFAAAJFAUAAAEAAAD+////AAAAAP////8AAAF2BAAAewAAAAkVBQAACgd9BAAAAAEAAAAEAAAABBxBcGxvcmlzLkJhc2UuVUkuVmlzdWFsT2JqZWN0AwAAAAm3AwAACbYDAAAKCgWEB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TUDAAAKAAAAAABAQQl8AAAACX0AAAAJFgUAAAEACRcFAAABhQQAAH4AAAAKCgAAAAByhIwABgAAAAABAYoEAACzAAAACRgFAAABAAAAAwAAAAGLBAAAewAAAAkZBQAACgGOBAAAdgAAAAoKAAAAQD8JGgUAAAkbBQAAAQAAAP7///8AAAAAAQAAAAAAAAAAAAAAAQAAAAAAAAAAAAABjwQAAHcAAAAKCgkcBQAACR0FAAABAAAA/v///wAAAAD/////AAABkwQAAHsAAAAJHgUAAAoHmgQAAAABAAAABAAAAAQcQXBsb3Jpcy5CYXNlLlVJLlZpc3VhbE9iamVjdAMAAAAJvgMAAAm9AwAACgoFoQQ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eQXBsb3Jpcy5DaGFydC5DaGFydERhdGFFbGVtZW50AgAAAAEBAQsaQXBsb3Jpcy5CYXNlLk9iamVjdHMuQ29sb3IDAAAAAQEaQXBsb3Jpcy5CYXNlLk9iamVjdHMuQ29sb3IDAAAAAwAAAAk2AwAACgAAAAAAQEEJfAAAAAl9AAAACR8FAAABAAkgBQAAAaIEAAB+AAAACgoAAAAAcoSMAAYAAAAAAQGnBAAAswAAAAkhBQAAAQAAAAMAAAABqAQAAHsAAAAJIgUAAAoBqwQAAHYAAAAKCgAAAEA/CSMFAAAJJAUAAAEAAAD+////AAAAAAEAAAAAAAAAAAAAAAEAAAAAAAAAAAAAAawEAAB3AAAACgoJJQUAAAkmBQAAAQAAAP7///8AAAAA/////wAAAbAEAAB7AAAACScFAAAKB7cEAAAAAQAAAAQAAAAEHEFwbG9yaXMuQmFzZS5VSS5WaXN1YWxPYmplY3QDAAAACcUDAAAJxAMAAAoKBb4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EEAAAEHkFwbG9yaXMuQ2hhcnQuQ2hhcnREYXRhRWxlbWVudAIAAAABAQELGkFwbG9yaXMuQmFzZS5PYmplY3RzLkNvbG9yAwAAAAEBGkFwbG9yaXMuQmFzZS5PYmplY3RzLkNvbG9yAwAAAAMAAAAJOwMAAAoAAAAAAEBBCXwAAAAJfQAAAAkoBQAAAQAJKQUAAAG/BAAAfgAAAAoKAAAAAEY7NAAIAAAAAAEBxAQAALMAAAAJKgUAAAEAAAABAAAAAcUEAAB7AAAACSsFAAAKAcgEAAB2AAAACgoAAABAPwksBQAACS0FAAABAAAA/v///wAAAAABAAAAAAAAAAAAAAABAAAAAAAAAAAAAAHJBAAAdwAAAAoKCS4FAAAJLwUAAAEAAAD+////AAAAAP////8AAAHNBAAAewAAAAkwBQAACgfUBAAAAAEAAAAEAAAABBxBcGxvcmlzLkJhc2UuVUkuVmlzdWFsT2JqZWN0AwAAAAnMAwAACcsDAAAKCgXbB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BBAAABB5BcGxvcmlzLkNoYXJ0LkNoYXJ0RGF0YUVsZW1lbnQCAAAAAQEBCxpBcGxvcmlzLkJhc2UuT2JqZWN0cy5Db2xvcgMAAAABARpBcGxvcmlzLkJhc2UuT2JqZWN0cy5Db2xvcgMAAAADAAAACTwDAAAKAAAAAABAQQl8AAAACX0AAAAJMQUAAAEACTIFAAAB3AQAAH4AAAAKCgAAAABGOzQACAAAAAABAeEEAACzAAAACTMFAAABAAAAAwAAAAHiBAAAewAAAAk0BQAACgHlBAAAdgAAAAoKAAAAQD8JNQUAAAk2BQAAAQAAAP7///8AAAAAAQAAAAAAAAAAAAAAAQAAAAAAAAAAAAAB5gQAAHcAAAAKCgk3BQAACTgFAAABAAAA/v///wAAAAD/////AAAB6gQAAHsAAAAJOQUAAAoH8QQAAAABAAAABAAAAAQcQXBsb3Jpcy5CYXNlLlVJLlZpc3VhbE9iamVjdAMAAAAJ0wMAAAnSAwAACgoB8gQAAH4AAAAKCgAAAAAAAAAADQAAAAABAfMEAAB+AAAACgoBAAAAAAAAAP////8AAQf0BAAAAAEAAAAEAAAABB1BcGxvcmlzLkJhc2UuT2JqZWN0cy5WYXJpYWJsZQMAAAABOgUAACsDAAABAAAAAAAAAAE7BQAAKwMAAAAAAAAAAAAAATwFAAArAwAAAAAAAAAAAAABPQUAACsDAAAAAAAAAAAAAA/1BAAAAQAAAAgAAAAABfYEAAAaQXBsb3Jpcy5CYXNlLk9iamVjdHMuQ29sb3IHAAAAEkRhdGFPYmplY3QrbVBhcmVudBVEYXRhT2JqZWN0K21Db250YWluZXIFbVR5cGUEbVJHQhBtVGhlbWVDb2xvckluZGV4DG1BdXRvVXBkYXRlZAltTW9kaWZpZWQEAgAAAAAAH0FwbG9yaXMuQmFzZS5PYmplY3RzLkxpbmVGb3JtYXQDAAAACAgIAQEDAAAACRkEAAAKAAAAAP///wAOAAAAAAAF9wQAABpBcGxvcmlzLkJhc2UuT2JqZWN0cy5Db2xvcgcAAAASRGF0YU9iamVjdCttUGFyZW50FURhdGFPYmplY3QrbUNvbnRhaW5lcgVtVHlwZQRtUkdCEG1UaGVtZUNvbG9ySW5kZXgMbUF1dG9VcGRhdGVkCW1Nb2RpZmllZAQCAAAAAAAfQXBsb3Jpcy5CYXNlLk9iamVjdHMuTGluZUZvcm1hdAMAAAAICAgBAQMAAAAJGQQAAAoBAAAAAAAAAP////8AAQH4BAAAfgAAAAoKAAAAAEY7NAAIAAAAAAAB+QQAAH4AAAAKCgEAAAD///8A/////wAAD/oEAAABAAAACBIBAAAB+wQAAH4AAAAKCgAAAAAAAAAADQAAAAABAfwEAAB+AAAACgoBAAAAAAAAAP////8AAQf9BAAAAAEAAAAEAAAABB1BcGxvcmlzLkJhc2UuT2JqZWN0cy5WYXJpYWJsZQMAAAABPgUAACsDAAABAAAAAAAAAAE/BQAAKwMAAAAAAAAAAAAAAUAFAAArAwAAAAAAAAAAAAABQQUAACsDAAAAAAAAAAAAAA/+BAAAAQAAAAgAAAAABf8EAAAaQXBsb3Jpcy5CYXNlLk9iamVjdHMuQ29sb3IHAAAAEkRhdGFPYmplY3QrbVBhcmVudBVEYXRhT2JqZWN0K21Db250YWluZXIFbVR5cGUEbVJHQhBtVGhlbWVDb2xvckluZGV4DG1BdXRvVXBkYXRlZAltTW9kaWZpZWQEAgAAAAAAH0FwbG9yaXMuQmFzZS5PYmplY3RzLkxpbmVGb3JtYXQDAAAACAgIAQEDAAAACTYEAAAKAAAAAP///wAOAAAAAAAFAAUAABpBcGxvcmlzLkJhc2UuT2JqZWN0cy5Db2xvcgcAAAASRGF0YU9iamVjdCttUGFyZW50FURhdGFPYmplY3QrbUNvbnRhaW5lcgVtVHlwZQRtUkdCEG1UaGVtZUNvbG9ySW5kZXgMbUF1dG9VcGRhdGVkCW1Nb2RpZmllZAQCAAAAAAAfQXBsb3Jpcy5CYXNlLk9iamVjdHMuTGluZUZvcm1hdAMAAAAICAgBAQMAAAAJNgQAAAoBAAAAAAAAAP////8AAQEBBQAAfgAAAAoKAAAAAEY7NAAIAAAAAAABAgUAAH4AAAAKCgEAAAD///8A/////wAADwMFAAABAAAACBMBAAABBAUAAH4AAAAKCgAAAAAAAAAADQAAAAABAQUFAAB+AAAACgoBAAAAAAAAAP////8AAQcGBQAAAAEAAAAEAAAABB1BcGxvcmlzLkJhc2UuT2JqZWN0cy5WYXJpYWJsZQMAAAABQgUAACsDAAABAAAAAAAAAAFDBQAAKwMAAAAAAAAAAAAAAUQFAAArAwAAAAAAAAAAAAABRQUAACsDAAAAAAAAAAAAAA8HBQAAAQAAAAgAAAAABQgFAAAaQXBsb3Jpcy5CYXNlLk9iamVjdHMuQ29sb3IHAAAAEkRhdGFPYmplY3QrbVBhcmVudBVEYXRhT2JqZWN0K21Db250YWluZXIFbVR5cGUEbVJHQhBtVGhlbWVDb2xvckluZGV4DG1BdXRvVXBkYXRlZAltTW9kaWZpZWQEAgAAAAAAH0FwbG9yaXMuQmFzZS5PYmplY3RzLkxpbmVGb3JtYXQDAAAACAgIAQEDAAAACVMEAAAKAAAAAP///wAOAAAAAAAFCQUAABpBcGxvcmlzLkJhc2UuT2JqZWN0cy5Db2xvcgcAAAASRGF0YU9iamVjdCttUGFyZW50FURhdGFPYmplY3QrbUNvbnRhaW5lcgVtVHlwZQRtUkdCEG1UaGVtZUNvbG9ySW5kZXgMbUF1dG9VcGRhdGVkCW1Nb2RpZmllZAQCAAAAAAAfQXBsb3Jpcy5CYXNlLk9iamVjdHMuTGluZUZvcm1hdAMAAAAICAgBAQMAAAAJUwQAAAoBAAAAAAAAAP////8AAQEKBQAAfgAAAAoKAAAAAD9pfgAFAAAAAAABCwUAAH4AAAAKCgEAAAD///8A/////wAADwwFAAABAAAACAwBAAABDQUAAH4AAAAKCgAAAAAAAAAADQAAAAABAQ4FAAB+AAAACgoBAAAAAAAAAP////8AAQcPBQAAAAEAAAAEAAAABB1BcGxvcmlzLkJhc2UuT2JqZWN0cy5WYXJpYWJsZQMAAAABRgUAACsDAAABAAAAAAAAAAFHBQAAKwMAAAAAAAAAAAAAAUgFAAArAwAAAAAAAAAAAAABSQUAACsDAAAAAAAAAAAAAA8QBQAAAQAAAAgAAAAABREFAAAaQXBsb3Jpcy5CYXNlLk9iamVjdHMuQ29sb3IHAAAAEkRhdGFPYmplY3QrbVBhcmVudBVEYXRhT2JqZWN0K21Db250YWluZXIFbVR5cGUEbVJHQhBtVGhlbWVDb2xvckluZGV4DG1BdXRvVXBkYXRlZAltTW9kaWZpZWQEAgAAAAAAH0FwbG9yaXMuQmFzZS5PYmplY3RzLkxpbmVGb3JtYXQDAAAACAgIAQEDAAAACXEEAAAKAAAAAP///wAOAAAAAAAFEgUAABpBcGxvcmlzLkJhc2UuT2JqZWN0cy5Db2xvcgcAAAASRGF0YU9iamVjdCttUGFyZW50FURhdGFPYmplY3QrbUNvbnRhaW5lcgVtVHlwZQRtUkdCEG1UaGVtZUNvbG9ySW5kZXgMbUF1dG9VcGRhdGVkCW1Nb2RpZmllZAQCAAAAAAAfQXBsb3Jpcy5CYXNlLk9iamVjdHMuTGluZUZvcm1hdAMAAAAICAgBAQMAAAAJcQQAAAoBAAAAAAAAAP////8AAQETBQAAfgAAAAoKAAAAAD9pfgAFAAAAAAABFAUAAH4AAAAKCgEAAAD///8A/////wAADxUFAAABAAAACBEBAAABFgUAAH4AAAAKCgAAAAAAAAAADQAAAAABARcFAAB+AAAACgoBAAAAAAAAAP////8AAQcYBQAAAAEAAAAEAAAABB1BcGxvcmlzLkJhc2UuT2JqZWN0cy5WYXJpYWJsZQMAAAABSgUAACsDAAABAAAAAAAAAAFLBQAAKwMAAAAAAAAAAAAAAUwFAAArAwAAAAAAAAAAAAABTQUAACsDAAAAAAAAAAAAAA8ZBQAAAQAAAAgAAAAABRoFAAAaQXBsb3Jpcy5CYXNlLk9iamVjdHMuQ29sb3IHAAAAEkRhdGFPYmplY3QrbVBhcmVudBVEYXRhT2JqZWN0K21Db250YWluZXIFbVR5cGUEbVJHQhBtVGhlbWVDb2xvckluZGV4DG1BdXRvVXBkYXRlZAltTW9kaWZpZWQEAgAAAAAAH0FwbG9yaXMuQmFzZS5PYmplY3RzLkxpbmVGb3JtYXQDAAAACAgIAQEDAAAACY4EAAAKAAAAAP///wAOAAAAAAAFGwUAABpBcGxvcmlzLkJhc2UuT2JqZWN0cy5Db2xvcgcAAAASRGF0YU9iamVjdCttUGFyZW50FURhdGFPYmplY3QrbUNvbnRhaW5lcgVtVHlwZQRtUkdCEG1UaGVtZUNvbG9ySW5kZXgMbUF1dG9VcGRhdGVkCW1Nb2RpZmllZAQCAAAAAAAfQXBsb3Jpcy5CYXNlLk9iamVjdHMuTGluZUZvcm1hdAMAAAAICAgBAQMAAAAJjgQAAAoBAAAAAAAAAP////8AAQEcBQAAfgAAAAoKAAAAAHKEjAAGAAAAAAABHQUAAH4AAAAKCgEAAAD///8A/////wAADx4FAAABAAAACA4BAAABHwUAAH4AAAAKCgAAAAAAAAAADQAAAAABASAFAAB+AAAACgoBAAAAAAAAAP////8AAQchBQAAAAEAAAAEAAAABB1BcGxvcmlzLkJhc2UuT2JqZWN0cy5WYXJpYWJsZQMAAAABTgUAACsDAAABAAAAAAAAAAFPBQAAKwMAAAAAAAAAAAAAAVAFAAArAwAAAAAAAAAAAAABUQUAACsDAAAAAAAAAAAAAA8iBQAAAQAAAAgAAAAABSMFAAAaQXBsb3Jpcy5CYXNlLk9iamVjdHMuQ29sb3IHAAAAEkRhdGFPYmplY3QrbVBhcmVudBVEYXRhT2JqZWN0K21Db250YWluZXIFbVR5cGUEbVJHQhBtVGhlbWVDb2xvckluZGV4DG1BdXRvVXBkYXRlZAltTW9kaWZpZWQEAgAAAAAAH0FwbG9yaXMuQmFzZS5PYmplY3RzLkxpbmVGb3JtYXQDAAAACAgIAQEDAAAACasEAAAKAAAAAP///wAOAAAAAAAFJAUAABpBcGxvcmlzLkJhc2UuT2JqZWN0cy5Db2xvcgcAAAASRGF0YU9iamVjdCttUGFyZW50FURhdGFPYmplY3QrbUNvbnRhaW5lcgVtVHlwZQRtUkdCEG1UaGVtZUNvbG9ySW5kZXgMbUF1dG9VcGRhdGVkCW1Nb2RpZmllZAQCAAAAAAAfQXBsb3Jpcy5CYXNlLk9iamVjdHMuTGluZUZvcm1hdAMAAAAICAgBAQMAAAAJqwQAAAoBAAAAAAAAAP////8AAQElBQAAfgAAAAoKAAAAAHKEjAAGAAAAAAABJgUAAH4AAAAKCgEAAAD///8A/////wAADycFAAABAAAACA0BAAABKAUAAH4AAAAKCgAAAAAAAAAADQAAAAABASkFAAB+AAAACgoBAAAAAAAAAP////8AAQcqBQAAAAEAAAAEAAAABB1BcGxvcmlzLkJhc2UuT2JqZWN0cy5WYXJpYWJsZQMAAAABUgUAACsDAAABAAAAAAAAAAFTBQAAKwMAAAAAAAAAAAAAAVQFAAArAwAAAAAAAAAAAAABVQUAACsDAAAAAAAAAAAAAA8rBQAAAQAAAAgAAAAABSwFAAAaQXBsb3Jpcy5CYXNlLk9iamVjdHMuQ29sb3IHAAAAEkRhdGFPYmplY3QrbVBhcmVudBVEYXRhT2JqZWN0K21Db250YWluZXIFbVR5cGUEbVJHQhBtVGhlbWVDb2xvckluZGV4DG1BdXRvVXBkYXRlZAltTW9kaWZpZWQEAgAAAAAAH0FwbG9yaXMuQmFzZS5PYmplY3RzLkxpbmVGb3JtYXQDAAAACAgIAQEDAAAACcgEAAAKAAAAAP///wAOAAAAAAAFLQUAABpBcGxvcmlzLkJhc2UuT2JqZWN0cy5Db2xvcgcAAAASRGF0YU9iamVjdCttUGFyZW50FURhdGFPYmplY3QrbUNvbnRhaW5lcgVtVHlwZQRtUkdCEG1UaGVtZUNvbG9ySW5kZXgMbUF1dG9VcGRhdGVkCW1Nb2RpZmllZAQCAAAAAAAfQXBsb3Jpcy5CYXNlLk9iamVjdHMuTGluZUZvcm1hdAMAAAAICAgBAQMAAAAJyAQAAAoBAAAAAAAAAP////8AAQEuBQAAfgAAAAoKAAAAAO0hJQAHAAAAAAABLwUAAH4AAAAKCgEAAAD///8A/////wAADzAFAAABAAAACBABAAABMQUAAH4AAAAKCgAAAAAAAAAADQAAAAABATIFAAB+AAAACgoBAAAAAAAAAP////8AAQczBQAAAAEAAAAEAAAABB1BcGxvcmlzLkJhc2UuT2JqZWN0cy5WYXJpYWJsZQMAAAABVgUAACsDAAABAAAAAAAAAAFXBQAAKwMAAAAAAAAAAAAAAVgFAAArAwAAAAAAAAAAAAABWQUAACsDAAAAAAAAAAAAAA80BQAAAQAAAAgAAAAABTUFAAAaQXBsb3Jpcy5CYXNlLk9iamVjdHMuQ29sb3IHAAAAEkRhdGFPYmplY3QrbVBhcmVudBVEYXRhT2JqZWN0K21Db250YWluZXIFbVR5cGUEbVJHQhBtVGhlbWVDb2xvckluZGV4DG1BdXRvVXBkYXRlZAltTW9kaWZpZWQEAgAAAAAAH0FwbG9yaXMuQmFzZS5PYmplY3RzLkxpbmVGb3JtYXQDAAAACAgIAQEDAAAACeUEAAAKAAAAAP///wAOAAAAAAAFNgUAABpBcGxvcmlzLkJhc2UuT2JqZWN0cy5Db2xvcgcAAAASRGF0YU9iamVjdCttUGFyZW50FURhdGFPYmplY3QrbUNvbnRhaW5lcgVtVHlwZQRtUkdCEG1UaGVtZUNvbG9ySW5kZXgMbUF1dG9VcGRhdGVkCW1Nb2RpZmllZAQCAAAAAAAfQXBsb3Jpcy5CYXNlLk9iamVjdHMuTGluZUZvcm1hdAMAAAAICAgBAQMAAAAJ5QQAAAoBAAAAAAAAAP////8AAQE3BQAAfgAAAAoKAAAAAO0hJQAHAAAAAAABOAUAAH4AAAAKCgEAAAD///8A/////wAADzkFAAABAAAACA8BAAAL"/>
  <p:tag name="APLORISTAG" val="MFNMiJ7Tp18tdIikC.268"/>
</p:tagLst>
</file>

<file path=ppt/tags/tag988.xml><?xml version="1.0" encoding="utf-8"?>
<p:tagLst xmlns:a="http://schemas.openxmlformats.org/drawingml/2006/main" xmlns:r="http://schemas.openxmlformats.org/officeDocument/2006/relationships" xmlns:p="http://schemas.openxmlformats.org/presentationml/2006/main">
  <p:tag name="APLORISTAG" val="MFNMiJ7Tp18tdIikC.269"/>
</p:tagLst>
</file>

<file path=ppt/tags/tag989.xml><?xml version="1.0" encoding="utf-8"?>
<p:tagLst xmlns:a="http://schemas.openxmlformats.org/drawingml/2006/main" xmlns:r="http://schemas.openxmlformats.org/officeDocument/2006/relationships" xmlns:p="http://schemas.openxmlformats.org/presentationml/2006/main">
  <p:tag name="APLORISTAG" val="MFNMiJ7Tp18tdIikC.270"/>
</p:tagLst>
</file>

<file path=ppt/tags/tag99.xml><?xml version="1.0" encoding="utf-8"?>
<p:tagLst xmlns:a="http://schemas.openxmlformats.org/drawingml/2006/main" xmlns:r="http://schemas.openxmlformats.org/officeDocument/2006/relationships" xmlns:p="http://schemas.openxmlformats.org/presentationml/2006/main">
  <p:tag name="APLORISTAG" val="MMq8K+TY0y1GzdU7X.45"/>
</p:tagLst>
</file>

<file path=ppt/tags/tag990.xml><?xml version="1.0" encoding="utf-8"?>
<p:tagLst xmlns:a="http://schemas.openxmlformats.org/drawingml/2006/main" xmlns:r="http://schemas.openxmlformats.org/officeDocument/2006/relationships" xmlns:p="http://schemas.openxmlformats.org/presentationml/2006/main">
  <p:tag name="APLORISTAG" val="MFNMiJ7Tp18tdIikC.348"/>
</p:tagLst>
</file>

<file path=ppt/tags/tag991.xml><?xml version="1.0" encoding="utf-8"?>
<p:tagLst xmlns:a="http://schemas.openxmlformats.org/drawingml/2006/main" xmlns:r="http://schemas.openxmlformats.org/officeDocument/2006/relationships" xmlns:p="http://schemas.openxmlformats.org/presentationml/2006/main">
  <p:tag name="APLORISTAG" val="MFNMiJ7Tp18tdIikC.349"/>
</p:tagLst>
</file>

<file path=ppt/tags/tag992.xml><?xml version="1.0" encoding="utf-8"?>
<p:tagLst xmlns:a="http://schemas.openxmlformats.org/drawingml/2006/main" xmlns:r="http://schemas.openxmlformats.org/officeDocument/2006/relationships" xmlns:p="http://schemas.openxmlformats.org/presentationml/2006/main">
  <p:tag name="APLORISTAG" val="MFNMiJ7Tp18tdIikC.350"/>
</p:tagLst>
</file>

<file path=ppt/tags/tag993.xml><?xml version="1.0" encoding="utf-8"?>
<p:tagLst xmlns:a="http://schemas.openxmlformats.org/drawingml/2006/main" xmlns:r="http://schemas.openxmlformats.org/officeDocument/2006/relationships" xmlns:p="http://schemas.openxmlformats.org/presentationml/2006/main">
  <p:tag name="APLORISTAG" val="MFNMiJ7Tp18tdIikC.351"/>
</p:tagLst>
</file>

<file path=ppt/tags/tag994.xml><?xml version="1.0" encoding="utf-8"?>
<p:tagLst xmlns:a="http://schemas.openxmlformats.org/drawingml/2006/main" xmlns:r="http://schemas.openxmlformats.org/officeDocument/2006/relationships" xmlns:p="http://schemas.openxmlformats.org/presentationml/2006/main">
  <p:tag name="APLORISTAG" val="MFNMiJ7Tp18tdIikC.352"/>
</p:tagLst>
</file>

<file path=ppt/tags/tag995.xml><?xml version="1.0" encoding="utf-8"?>
<p:tagLst xmlns:a="http://schemas.openxmlformats.org/drawingml/2006/main" xmlns:r="http://schemas.openxmlformats.org/officeDocument/2006/relationships" xmlns:p="http://schemas.openxmlformats.org/presentationml/2006/main">
  <p:tag name="APLORISTAG" val="MFNMiJ7Tp18tdIikC.353"/>
</p:tagLst>
</file>

<file path=ppt/tags/tag996.xml><?xml version="1.0" encoding="utf-8"?>
<p:tagLst xmlns:a="http://schemas.openxmlformats.org/drawingml/2006/main" xmlns:r="http://schemas.openxmlformats.org/officeDocument/2006/relationships" xmlns:p="http://schemas.openxmlformats.org/presentationml/2006/main">
  <p:tag name="APLORISTAG" val="MFNMiJ7Tp18tdIikC.354"/>
</p:tagLst>
</file>

<file path=ppt/tags/tag997.xml><?xml version="1.0" encoding="utf-8"?>
<p:tagLst xmlns:a="http://schemas.openxmlformats.org/drawingml/2006/main" xmlns:r="http://schemas.openxmlformats.org/officeDocument/2006/relationships" xmlns:p="http://schemas.openxmlformats.org/presentationml/2006/main">
  <p:tag name="APLORISTAG" val="MFNMiJ7Tp18tdIikC.38"/>
</p:tagLst>
</file>

<file path=ppt/tags/tag998.xml><?xml version="1.0" encoding="utf-8"?>
<p:tagLst xmlns:a="http://schemas.openxmlformats.org/drawingml/2006/main" xmlns:r="http://schemas.openxmlformats.org/officeDocument/2006/relationships" xmlns:p="http://schemas.openxmlformats.org/presentationml/2006/main">
  <p:tag name="APLORISTAG" val="MFNMiJ7Tp18tdIikC.42"/>
</p:tagLst>
</file>

<file path=ppt/tags/tag999.xml><?xml version="1.0" encoding="utf-8"?>
<p:tagLst xmlns:a="http://schemas.openxmlformats.org/drawingml/2006/main" xmlns:r="http://schemas.openxmlformats.org/officeDocument/2006/relationships" xmlns:p="http://schemas.openxmlformats.org/presentationml/2006/main">
  <p:tag name="APLORISTAG" val="MFNMiJ7Tp18tdIikC.283"/>
</p:tagLst>
</file>

<file path=ppt/theme/theme1.xml><?xml version="1.0" encoding="utf-8"?>
<a:theme xmlns:a="http://schemas.openxmlformats.org/drawingml/2006/main" name="Default Theme">
  <a:themeElements>
    <a:clrScheme name="Tyton 2">
      <a:dk1>
        <a:srgbClr val="000000"/>
      </a:dk1>
      <a:lt1>
        <a:sysClr val="window" lastClr="FFFFFF"/>
      </a:lt1>
      <a:dk2>
        <a:srgbClr val="22414E"/>
      </a:dk2>
      <a:lt2>
        <a:srgbClr val="DBDCDE"/>
      </a:lt2>
      <a:accent1>
        <a:srgbClr val="3F697E"/>
      </a:accent1>
      <a:accent2>
        <a:srgbClr val="72848C"/>
      </a:accent2>
      <a:accent3>
        <a:srgbClr val="ED2125"/>
      </a:accent3>
      <a:accent4>
        <a:srgbClr val="463B34"/>
      </a:accent4>
      <a:accent5>
        <a:srgbClr val="C39874"/>
      </a:accent5>
      <a:accent6>
        <a:srgbClr val="F7941E"/>
      </a:accent6>
      <a:hlink>
        <a:srgbClr val="F7941E"/>
      </a:hlink>
      <a:folHlink>
        <a:srgbClr val="ED212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efault Theme.thmx</Template>
  <TotalTime>34968</TotalTime>
  <Words>3795</Words>
  <Application>Microsoft Office PowerPoint</Application>
  <PresentationFormat>On-screen Show (4:3)</PresentationFormat>
  <Paragraphs>1001</Paragraphs>
  <Slides>36</Slides>
  <Notes>2</Notes>
  <HiddenSlides>0</HiddenSlides>
  <MMClips>0</MMClips>
  <ScaleCrop>false</ScaleCrop>
  <HeadingPairs>
    <vt:vector size="4" baseType="variant">
      <vt:variant>
        <vt:lpstr>Theme</vt:lpstr>
      </vt:variant>
      <vt:variant>
        <vt:i4>1</vt:i4>
      </vt:variant>
      <vt:variant>
        <vt:lpstr>Slide Titles</vt:lpstr>
      </vt:variant>
      <vt:variant>
        <vt:i4>36</vt:i4>
      </vt:variant>
    </vt:vector>
  </HeadingPairs>
  <TitlesOfParts>
    <vt:vector size="37" baseType="lpstr">
      <vt:lpstr>Default Theme</vt:lpstr>
      <vt:lpstr>PowerPoint Presentation</vt:lpstr>
      <vt:lpstr>PowerPoint Presentation</vt:lpstr>
      <vt:lpstr>PowerPoint Presentation</vt:lpstr>
      <vt:lpstr>PowerPoint Presentation</vt:lpstr>
      <vt:lpstr>PowerPoint Presentation</vt:lpstr>
      <vt:lpstr>1</vt:lpstr>
      <vt:lpstr>PowerPoint Presentation</vt:lpstr>
      <vt:lpstr>PowerPoint Presentation</vt:lpstr>
      <vt:lpstr>PowerPoint Presentation</vt:lpstr>
      <vt:lpstr>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vt:lpstr>
      <vt:lpstr>PowerPoint Presentation</vt:lpstr>
      <vt:lpstr>PowerPoint Presentation</vt:lpstr>
      <vt:lpstr>PowerPoint Presentation</vt:lpstr>
      <vt:lpstr>PowerPoint Presentation</vt:lpstr>
      <vt:lpstr>PowerPoint Presentation</vt:lpstr>
      <vt:lpstr>PowerPoint Presentation</vt:lpstr>
      <vt:lpstr>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pcoming Webinars</vt:lpstr>
    </vt:vector>
  </TitlesOfParts>
  <Company>Education Growth Advisor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 Sarkisian</dc:creator>
  <cp:lastModifiedBy>Nancy Millichap</cp:lastModifiedBy>
  <cp:revision>1263</cp:revision>
  <cp:lastPrinted>2016-01-20T15:02:51Z</cp:lastPrinted>
  <dcterms:created xsi:type="dcterms:W3CDTF">2015-10-05T18:29:54Z</dcterms:created>
  <dcterms:modified xsi:type="dcterms:W3CDTF">2016-04-06T19:06:38Z</dcterms:modified>
</cp:coreProperties>
</file>